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11"/>
  </p:notesMasterIdLst>
  <p:sldIdLst>
    <p:sldId id="256" r:id="rId5"/>
    <p:sldId id="2147378288" r:id="rId6"/>
    <p:sldId id="2147378289" r:id="rId7"/>
    <p:sldId id="2147378279" r:id="rId8"/>
    <p:sldId id="2147378280" r:id="rId9"/>
    <p:sldId id="2147378281" r:id="rId10"/>
  </p:sldIdLst>
  <p:sldSz cx="12192000" cy="6858000"/>
  <p:notesSz cx="6735763" cy="9866313"/>
  <p:embeddedFontLst>
    <p:embeddedFont>
      <p:font typeface="Calibri" panose="020F0502020204030204" pitchFamily="34" charset="0"/>
      <p:regular r:id="rId12"/>
      <p:bold r:id="rId13"/>
      <p:italic r:id="rId14"/>
      <p:boldItalic r:id="rId15"/>
    </p:embeddedFont>
    <p:embeddedFont>
      <p:font typeface="Calibri Light" panose="020F0302020204030204" pitchFamily="34" charset="0"/>
      <p:regular r:id="rId16"/>
      <p:italic r:id="rId17"/>
    </p:embeddedFont>
    <p:embeddedFont>
      <p:font typeface="Raleway" pitchFamily="2" charset="0"/>
      <p:regular r:id="rId18"/>
      <p:bold r:id="rId19"/>
      <p:italic r:id="rId20"/>
      <p:boldItalic r:id="rId21"/>
    </p:embeddedFont>
  </p:embeddedFontLst>
  <p:defaultTextStyle>
    <a:defPPr>
      <a:defRPr lang="en-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27EE304-5C97-82BD-A9DD-9B7CFCADDA40}" name="Consultant Myriam Grubo" initials="CMG" userId="Consultant Myriam Grubo" providerId="None"/>
  <p188:author id="{34EE651C-0E8E-0A59-1320-E599AB926004}" name="Caryn Fenner | Afrigen Biologics" initials="CF|AB" userId="S::carynf@afrigen.co.za::b5bf6675-1587-4c1f-9661-41981fc2d962" providerId="AD"/>
  <p188:author id="{C62418F5-1053-5C6A-406F-4F4F3A4F984C}" name="Landry Bertaux" initials="LB" userId="S::lbertaux@medicinespatentpool.org::bd54fd6a-a816-43fe-bb55-2b5291f805c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6A28"/>
    <a:srgbClr val="D9E4F5"/>
    <a:srgbClr val="007BBF"/>
    <a:srgbClr val="EC6923"/>
    <a:srgbClr val="017B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7BDAD1-D25B-4F4D-A498-C2BDD3AFC425}" v="3" dt="2023-08-15T10:31:53.2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02" autoAdjust="0"/>
    <p:restoredTop sz="94660"/>
  </p:normalViewPr>
  <p:slideViewPr>
    <p:cSldViewPr snapToGrid="0">
      <p:cViewPr varScale="1">
        <p:scale>
          <a:sx n="108" d="100"/>
          <a:sy n="108" d="100"/>
        </p:scale>
        <p:origin x="76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2.fntdata"/><Relationship Id="rId18" Type="http://schemas.openxmlformats.org/officeDocument/2006/relationships/font" Target="fonts/font7.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font" Target="fonts/font10.fntdata"/><Relationship Id="rId7" Type="http://schemas.openxmlformats.org/officeDocument/2006/relationships/slide" Target="slides/slide3.xml"/><Relationship Id="rId12" Type="http://schemas.openxmlformats.org/officeDocument/2006/relationships/font" Target="fonts/font1.fntdata"/><Relationship Id="rId17" Type="http://schemas.openxmlformats.org/officeDocument/2006/relationships/font" Target="fonts/font6.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5.fntdata"/><Relationship Id="rId20"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4.fntdata"/><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3.fntdata"/><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idar PYONE" userId="2da13175-5305-4802-b1c1-4567b4cff195" providerId="ADAL" clId="{AC7BDAD1-D25B-4F4D-A498-C2BDD3AFC425}"/>
    <pc:docChg chg="undo custSel modSld">
      <pc:chgData name="Thidar PYONE" userId="2da13175-5305-4802-b1c1-4567b4cff195" providerId="ADAL" clId="{AC7BDAD1-D25B-4F4D-A498-C2BDD3AFC425}" dt="2023-08-15T10:33:46.430" v="292" actId="1038"/>
      <pc:docMkLst>
        <pc:docMk/>
      </pc:docMkLst>
      <pc:sldChg chg="modSp mod">
        <pc:chgData name="Thidar PYONE" userId="2da13175-5305-4802-b1c1-4567b4cff195" providerId="ADAL" clId="{AC7BDAD1-D25B-4F4D-A498-C2BDD3AFC425}" dt="2023-08-15T10:28:06.609" v="12" actId="20577"/>
        <pc:sldMkLst>
          <pc:docMk/>
          <pc:sldMk cId="4096737308" sldId="256"/>
        </pc:sldMkLst>
        <pc:spChg chg="mod">
          <ac:chgData name="Thidar PYONE" userId="2da13175-5305-4802-b1c1-4567b4cff195" providerId="ADAL" clId="{AC7BDAD1-D25B-4F4D-A498-C2BDD3AFC425}" dt="2023-08-15T10:28:06.609" v="12" actId="20577"/>
          <ac:spMkLst>
            <pc:docMk/>
            <pc:sldMk cId="4096737308" sldId="256"/>
            <ac:spMk id="9" creationId="{7A456ED9-D24C-4CFB-7028-AB2906F42B25}"/>
          </ac:spMkLst>
        </pc:spChg>
      </pc:sldChg>
      <pc:sldChg chg="addSp modSp mod">
        <pc:chgData name="Thidar PYONE" userId="2da13175-5305-4802-b1c1-4567b4cff195" providerId="ADAL" clId="{AC7BDAD1-D25B-4F4D-A498-C2BDD3AFC425}" dt="2023-08-15T10:33:46.430" v="292" actId="1038"/>
        <pc:sldMkLst>
          <pc:docMk/>
          <pc:sldMk cId="649913251" sldId="2147378281"/>
        </pc:sldMkLst>
        <pc:spChg chg="add mod">
          <ac:chgData name="Thidar PYONE" userId="2da13175-5305-4802-b1c1-4567b4cff195" providerId="ADAL" clId="{AC7BDAD1-D25B-4F4D-A498-C2BDD3AFC425}" dt="2023-08-15T10:32:41.092" v="249" actId="1038"/>
          <ac:spMkLst>
            <pc:docMk/>
            <pc:sldMk cId="649913251" sldId="2147378281"/>
            <ac:spMk id="3" creationId="{9E8A42BB-606E-A5CC-8832-FC0A3BCE8D2B}"/>
          </ac:spMkLst>
        </pc:spChg>
        <pc:spChg chg="add mod">
          <ac:chgData name="Thidar PYONE" userId="2da13175-5305-4802-b1c1-4567b4cff195" providerId="ADAL" clId="{AC7BDAD1-D25B-4F4D-A498-C2BDD3AFC425}" dt="2023-08-15T10:32:08.484" v="222" actId="1035"/>
          <ac:spMkLst>
            <pc:docMk/>
            <pc:sldMk cId="649913251" sldId="2147378281"/>
            <ac:spMk id="4" creationId="{8725C6A7-A953-6B40-676E-F692B1E51E9F}"/>
          </ac:spMkLst>
        </pc:spChg>
        <pc:spChg chg="mod">
          <ac:chgData name="Thidar PYONE" userId="2da13175-5305-4802-b1c1-4567b4cff195" providerId="ADAL" clId="{AC7BDAD1-D25B-4F4D-A498-C2BDD3AFC425}" dt="2023-08-15T10:33:14.847" v="277" actId="1038"/>
          <ac:spMkLst>
            <pc:docMk/>
            <pc:sldMk cId="649913251" sldId="2147378281"/>
            <ac:spMk id="38" creationId="{7137989D-9326-D91F-8888-7FAA83449DF7}"/>
          </ac:spMkLst>
        </pc:spChg>
        <pc:spChg chg="mod">
          <ac:chgData name="Thidar PYONE" userId="2da13175-5305-4802-b1c1-4567b4cff195" providerId="ADAL" clId="{AC7BDAD1-D25B-4F4D-A498-C2BDD3AFC425}" dt="2023-08-15T10:33:22.433" v="278" actId="14100"/>
          <ac:spMkLst>
            <pc:docMk/>
            <pc:sldMk cId="649913251" sldId="2147378281"/>
            <ac:spMk id="39" creationId="{F0A9FB65-04D4-CBFB-0652-3737A460C1F0}"/>
          </ac:spMkLst>
        </pc:spChg>
        <pc:spChg chg="mod">
          <ac:chgData name="Thidar PYONE" userId="2da13175-5305-4802-b1c1-4567b4cff195" providerId="ADAL" clId="{AC7BDAD1-D25B-4F4D-A498-C2BDD3AFC425}" dt="2023-08-15T10:31:34.711" v="111" actId="14100"/>
          <ac:spMkLst>
            <pc:docMk/>
            <pc:sldMk cId="649913251" sldId="2147378281"/>
            <ac:spMk id="40" creationId="{09C9717A-9B1B-09CE-BB87-633A1A17D11D}"/>
          </ac:spMkLst>
        </pc:spChg>
        <pc:spChg chg="mod">
          <ac:chgData name="Thidar PYONE" userId="2da13175-5305-4802-b1c1-4567b4cff195" providerId="ADAL" clId="{AC7BDAD1-D25B-4F4D-A498-C2BDD3AFC425}" dt="2023-08-15T10:33:02.822" v="269" actId="1035"/>
          <ac:spMkLst>
            <pc:docMk/>
            <pc:sldMk cId="649913251" sldId="2147378281"/>
            <ac:spMk id="41" creationId="{3A9DF9C2-1054-8C66-C202-D145743E2AD2}"/>
          </ac:spMkLst>
        </pc:spChg>
        <pc:spChg chg="mod">
          <ac:chgData name="Thidar PYONE" userId="2da13175-5305-4802-b1c1-4567b4cff195" providerId="ADAL" clId="{AC7BDAD1-D25B-4F4D-A498-C2BDD3AFC425}" dt="2023-08-15T10:33:46.430" v="292" actId="1038"/>
          <ac:spMkLst>
            <pc:docMk/>
            <pc:sldMk cId="649913251" sldId="2147378281"/>
            <ac:spMk id="45" creationId="{FEEBF7FE-6013-761B-753A-620C38533698}"/>
          </ac:spMkLst>
        </pc:spChg>
        <pc:graphicFrameChg chg="mod modGraphic">
          <ac:chgData name="Thidar PYONE" userId="2da13175-5305-4802-b1c1-4567b4cff195" providerId="ADAL" clId="{AC7BDAD1-D25B-4F4D-A498-C2BDD3AFC425}" dt="2023-08-15T10:30:50.607" v="51" actId="1036"/>
          <ac:graphicFrameMkLst>
            <pc:docMk/>
            <pc:sldMk cId="649913251" sldId="2147378281"/>
            <ac:graphicFrameMk id="22" creationId="{DA3C978E-42D5-18F3-5BAE-FB3CFD2FC67E}"/>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RO"/>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4DABF946-E9A6-D045-ADBE-3FA452CF680F}" type="datetimeFigureOut">
              <a:rPr lang="en-RO" smtClean="0"/>
              <a:t>08/15/2023</a:t>
            </a:fld>
            <a:endParaRPr lang="en-RO"/>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RO"/>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RO"/>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28FF7CC6-C56B-E34B-9A16-8F294AC5515F}" type="slidenum">
              <a:rPr lang="en-RO" smtClean="0"/>
              <a:t>‹#›</a:t>
            </a:fld>
            <a:endParaRPr lang="en-RO"/>
          </a:p>
        </p:txBody>
      </p:sp>
    </p:spTree>
    <p:extLst>
      <p:ext uri="{BB962C8B-B14F-4D97-AF65-F5344CB8AC3E}">
        <p14:creationId xmlns:p14="http://schemas.microsoft.com/office/powerpoint/2010/main" val="1293586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fld id="{28FF7CC6-C56B-E34B-9A16-8F294AC5515F}" type="slidenum">
              <a:rPr lang="en-RO" smtClean="0"/>
              <a:t>2</a:t>
            </a:fld>
            <a:endParaRPr lang="en-RO"/>
          </a:p>
        </p:txBody>
      </p:sp>
    </p:spTree>
    <p:extLst>
      <p:ext uri="{BB962C8B-B14F-4D97-AF65-F5344CB8AC3E}">
        <p14:creationId xmlns:p14="http://schemas.microsoft.com/office/powerpoint/2010/main" val="3660797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fld id="{28FF7CC6-C56B-E34B-9A16-8F294AC5515F}" type="slidenum">
              <a:rPr lang="en-RO" smtClean="0"/>
              <a:t>3</a:t>
            </a:fld>
            <a:endParaRPr lang="en-RO"/>
          </a:p>
        </p:txBody>
      </p:sp>
    </p:spTree>
    <p:extLst>
      <p:ext uri="{BB962C8B-B14F-4D97-AF65-F5344CB8AC3E}">
        <p14:creationId xmlns:p14="http://schemas.microsoft.com/office/powerpoint/2010/main" val="26758379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8FF7CC6-C56B-E34B-9A16-8F294AC5515F}" type="slidenum">
              <a:rPr lang="en-RO" smtClean="0"/>
              <a:t>4</a:t>
            </a:fld>
            <a:endParaRPr lang="en-RO"/>
          </a:p>
        </p:txBody>
      </p:sp>
    </p:spTree>
    <p:extLst>
      <p:ext uri="{BB962C8B-B14F-4D97-AF65-F5344CB8AC3E}">
        <p14:creationId xmlns:p14="http://schemas.microsoft.com/office/powerpoint/2010/main" val="2798959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ga7443ca9f7_0_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5" name="Google Shape;225;ga7443ca9f7_0_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095563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61C9CC5-8F69-C515-494B-241CD8362682}"/>
              </a:ext>
            </a:extLst>
          </p:cNvPr>
          <p:cNvPicPr>
            <a:picLocks noChangeAspect="1"/>
          </p:cNvPicPr>
          <p:nvPr userDrawn="1"/>
        </p:nvPicPr>
        <p:blipFill>
          <a:blip r:embed="rId2"/>
          <a:stretch>
            <a:fillRect/>
          </a:stretch>
        </p:blipFill>
        <p:spPr>
          <a:xfrm>
            <a:off x="19050" y="6350"/>
            <a:ext cx="12153900" cy="6845300"/>
          </a:xfrm>
          <a:prstGeom prst="rect">
            <a:avLst/>
          </a:prstGeom>
        </p:spPr>
      </p:pic>
      <p:pic>
        <p:nvPicPr>
          <p:cNvPr id="8" name="Picture 7">
            <a:extLst>
              <a:ext uri="{FF2B5EF4-FFF2-40B4-BE49-F238E27FC236}">
                <a16:creationId xmlns:a16="http://schemas.microsoft.com/office/drawing/2014/main" id="{615B2D36-07D2-670A-7323-5F16D5630C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99516" y="414618"/>
            <a:ext cx="2680529" cy="1683123"/>
          </a:xfrm>
          <a:prstGeom prst="rect">
            <a:avLst/>
          </a:prstGeom>
        </p:spPr>
      </p:pic>
      <p:sp>
        <p:nvSpPr>
          <p:cNvPr id="12" name="Text Placeholder 11">
            <a:extLst>
              <a:ext uri="{FF2B5EF4-FFF2-40B4-BE49-F238E27FC236}">
                <a16:creationId xmlns:a16="http://schemas.microsoft.com/office/drawing/2014/main" id="{32D42430-A5FF-1BFE-16F3-E74F1E7F244C}"/>
              </a:ext>
            </a:extLst>
          </p:cNvPr>
          <p:cNvSpPr>
            <a:spLocks noGrp="1"/>
          </p:cNvSpPr>
          <p:nvPr>
            <p:ph type="body" sz="quarter" idx="10" hasCustomPrompt="1"/>
          </p:nvPr>
        </p:nvSpPr>
        <p:spPr>
          <a:xfrm>
            <a:off x="719847" y="3085202"/>
            <a:ext cx="7013575" cy="1285875"/>
          </a:xfrm>
        </p:spPr>
        <p:txBody>
          <a:bodyPr>
            <a:normAutofit/>
          </a:bodyPr>
          <a:lstStyle>
            <a:lvl1pPr marL="0" indent="0">
              <a:buNone/>
              <a:defRPr sz="4000" b="0" i="0">
                <a:solidFill>
                  <a:schemeClr val="bg1"/>
                </a:solidFill>
                <a:latin typeface="Raleway" pitchFamily="2" charset="77"/>
              </a:defRPr>
            </a:lvl1pPr>
            <a:lvl2pPr marL="457200" indent="0">
              <a:buNone/>
              <a:defRPr b="1">
                <a:solidFill>
                  <a:schemeClr val="bg1"/>
                </a:solidFill>
                <a:latin typeface=""/>
              </a:defRPr>
            </a:lvl2pPr>
            <a:lvl3pPr marL="914400" indent="0">
              <a:buNone/>
              <a:defRPr b="1">
                <a:solidFill>
                  <a:schemeClr val="bg1"/>
                </a:solidFill>
                <a:latin typeface=""/>
              </a:defRPr>
            </a:lvl3pPr>
            <a:lvl4pPr marL="1371600" indent="0">
              <a:buNone/>
              <a:defRPr b="1">
                <a:solidFill>
                  <a:schemeClr val="bg1"/>
                </a:solidFill>
                <a:latin typeface=""/>
              </a:defRPr>
            </a:lvl4pPr>
            <a:lvl5pPr marL="1828800" indent="0">
              <a:buNone/>
              <a:defRPr b="1">
                <a:solidFill>
                  <a:schemeClr val="bg1"/>
                </a:solidFill>
                <a:latin typeface=""/>
              </a:defRPr>
            </a:lvl5pPr>
          </a:lstStyle>
          <a:p>
            <a:pPr lvl="0"/>
            <a:r>
              <a:rPr lang="en-GB"/>
              <a:t>CLICK TO EDIT PRESENTATION TITLE</a:t>
            </a:r>
            <a:endParaRPr lang="en-RO"/>
          </a:p>
        </p:txBody>
      </p:sp>
      <p:sp>
        <p:nvSpPr>
          <p:cNvPr id="14" name="Text Placeholder 13">
            <a:extLst>
              <a:ext uri="{FF2B5EF4-FFF2-40B4-BE49-F238E27FC236}">
                <a16:creationId xmlns:a16="http://schemas.microsoft.com/office/drawing/2014/main" id="{19F1C765-1AAD-9930-1EFB-CFE4A150E4C7}"/>
              </a:ext>
            </a:extLst>
          </p:cNvPr>
          <p:cNvSpPr>
            <a:spLocks noGrp="1"/>
          </p:cNvSpPr>
          <p:nvPr>
            <p:ph type="body" sz="quarter" idx="11" hasCustomPrompt="1"/>
          </p:nvPr>
        </p:nvSpPr>
        <p:spPr>
          <a:xfrm>
            <a:off x="719138" y="4652963"/>
            <a:ext cx="7013575" cy="523630"/>
          </a:xfrm>
        </p:spPr>
        <p:txBody>
          <a:bodyPr>
            <a:normAutofit/>
          </a:bodyPr>
          <a:lstStyle>
            <a:lvl1pPr marL="0" indent="0">
              <a:buNone/>
              <a:defRPr sz="2400" b="0" i="0">
                <a:solidFill>
                  <a:schemeClr val="bg1"/>
                </a:solidFill>
                <a:latin typeface="Raleway" pitchFamily="2" charset="77"/>
              </a:defRPr>
            </a:lvl1pPr>
            <a:lvl2pPr marL="457200" indent="0">
              <a:buNone/>
              <a:defRPr>
                <a:solidFill>
                  <a:schemeClr val="bg1"/>
                </a:solidFill>
                <a:latin typeface=""/>
              </a:defRPr>
            </a:lvl2pPr>
            <a:lvl3pPr marL="914400" indent="0">
              <a:buNone/>
              <a:defRPr>
                <a:solidFill>
                  <a:schemeClr val="bg1"/>
                </a:solidFill>
                <a:latin typeface=""/>
              </a:defRPr>
            </a:lvl3pPr>
            <a:lvl4pPr marL="1371600" indent="0">
              <a:buNone/>
              <a:defRPr>
                <a:solidFill>
                  <a:schemeClr val="bg1"/>
                </a:solidFill>
                <a:latin typeface=""/>
              </a:defRPr>
            </a:lvl4pPr>
            <a:lvl5pPr marL="1828800" indent="0">
              <a:buNone/>
              <a:defRPr>
                <a:solidFill>
                  <a:schemeClr val="bg1"/>
                </a:solidFill>
                <a:latin typeface=""/>
              </a:defRPr>
            </a:lvl5pPr>
          </a:lstStyle>
          <a:p>
            <a:pPr lvl="0"/>
            <a:r>
              <a:rPr lang="en-GB"/>
              <a:t>Click to Edit Presenter Name Surname</a:t>
            </a:r>
            <a:endParaRPr lang="en-RO"/>
          </a:p>
        </p:txBody>
      </p:sp>
      <p:sp>
        <p:nvSpPr>
          <p:cNvPr id="15" name="Text Placeholder 13">
            <a:extLst>
              <a:ext uri="{FF2B5EF4-FFF2-40B4-BE49-F238E27FC236}">
                <a16:creationId xmlns:a16="http://schemas.microsoft.com/office/drawing/2014/main" id="{A65A89AE-C54D-6E1A-8658-A16630236AFC}"/>
              </a:ext>
            </a:extLst>
          </p:cNvPr>
          <p:cNvSpPr>
            <a:spLocks noGrp="1"/>
          </p:cNvSpPr>
          <p:nvPr>
            <p:ph type="body" sz="quarter" idx="12" hasCustomPrompt="1"/>
          </p:nvPr>
        </p:nvSpPr>
        <p:spPr>
          <a:xfrm>
            <a:off x="719138" y="5277996"/>
            <a:ext cx="7013575" cy="523630"/>
          </a:xfrm>
        </p:spPr>
        <p:txBody>
          <a:bodyPr>
            <a:normAutofit/>
          </a:bodyPr>
          <a:lstStyle>
            <a:lvl1pPr marL="0" indent="0">
              <a:buNone/>
              <a:defRPr sz="2400" b="0" i="0">
                <a:solidFill>
                  <a:schemeClr val="accent1">
                    <a:lumMod val="60000"/>
                    <a:lumOff val="40000"/>
                  </a:schemeClr>
                </a:solidFill>
                <a:latin typeface="Raleway" pitchFamily="2" charset="77"/>
              </a:defRPr>
            </a:lvl1pPr>
            <a:lvl2pPr marL="457200" indent="0">
              <a:buNone/>
              <a:defRPr>
                <a:solidFill>
                  <a:schemeClr val="bg1"/>
                </a:solidFill>
                <a:latin typeface=""/>
              </a:defRPr>
            </a:lvl2pPr>
            <a:lvl3pPr marL="914400" indent="0">
              <a:buNone/>
              <a:defRPr>
                <a:solidFill>
                  <a:schemeClr val="bg1"/>
                </a:solidFill>
                <a:latin typeface=""/>
              </a:defRPr>
            </a:lvl3pPr>
            <a:lvl4pPr marL="1371600" indent="0">
              <a:buNone/>
              <a:defRPr>
                <a:solidFill>
                  <a:schemeClr val="bg1"/>
                </a:solidFill>
                <a:latin typeface=""/>
              </a:defRPr>
            </a:lvl4pPr>
            <a:lvl5pPr marL="1828800" indent="0">
              <a:buNone/>
              <a:defRPr>
                <a:solidFill>
                  <a:schemeClr val="bg1"/>
                </a:solidFill>
                <a:latin typeface=""/>
              </a:defRPr>
            </a:lvl5pPr>
          </a:lstStyle>
          <a:p>
            <a:pPr lvl="0"/>
            <a:r>
              <a:rPr lang="en-GB"/>
              <a:t>Click to Edit Job Description / Date</a:t>
            </a:r>
            <a:endParaRPr lang="en-RO"/>
          </a:p>
        </p:txBody>
      </p:sp>
    </p:spTree>
    <p:extLst>
      <p:ext uri="{BB962C8B-B14F-4D97-AF65-F5344CB8AC3E}">
        <p14:creationId xmlns:p14="http://schemas.microsoft.com/office/powerpoint/2010/main" val="1365589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1524167"/>
            <a:ext cx="3849547" cy="4351338"/>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6" y="6318245"/>
            <a:ext cx="403412"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9" name="Picture Placeholder 18">
            <a:extLst>
              <a:ext uri="{FF2B5EF4-FFF2-40B4-BE49-F238E27FC236}">
                <a16:creationId xmlns:a16="http://schemas.microsoft.com/office/drawing/2014/main" id="{FA1BF709-66DC-7384-5D01-2DE99C667F32}"/>
              </a:ext>
            </a:extLst>
          </p:cNvPr>
          <p:cNvSpPr>
            <a:spLocks noGrp="1"/>
          </p:cNvSpPr>
          <p:nvPr>
            <p:ph type="pic" sz="quarter" idx="13"/>
          </p:nvPr>
        </p:nvSpPr>
        <p:spPr>
          <a:xfrm>
            <a:off x="5173439" y="1497456"/>
            <a:ext cx="6773792" cy="4378036"/>
          </a:xfrm>
          <a:custGeom>
            <a:avLst/>
            <a:gdLst>
              <a:gd name="connsiteX0" fmla="*/ 526847 w 5316105"/>
              <a:gd name="connsiteY0" fmla="*/ 0 h 3435904"/>
              <a:gd name="connsiteX1" fmla="*/ 3962609 w 5316105"/>
              <a:gd name="connsiteY1" fmla="*/ 0 h 3435904"/>
              <a:gd name="connsiteX2" fmla="*/ 4981251 w 5316105"/>
              <a:gd name="connsiteY2" fmla="*/ 0 h 3435904"/>
              <a:gd name="connsiteX3" fmla="*/ 5314567 w 5316105"/>
              <a:gd name="connsiteY3" fmla="*/ 288370 h 3435904"/>
              <a:gd name="connsiteX4" fmla="*/ 5316105 w 5316105"/>
              <a:gd name="connsiteY4" fmla="*/ 330944 h 3435904"/>
              <a:gd name="connsiteX5" fmla="*/ 5316105 w 5316105"/>
              <a:gd name="connsiteY5" fmla="*/ 374646 h 3435904"/>
              <a:gd name="connsiteX6" fmla="*/ 5125397 w 5316105"/>
              <a:gd name="connsiteY6" fmla="*/ 3125050 h 3435904"/>
              <a:gd name="connsiteX7" fmla="*/ 4854222 w 5316105"/>
              <a:gd name="connsiteY7" fmla="*/ 3431975 h 3435904"/>
              <a:gd name="connsiteX8" fmla="*/ 4813358 w 5316105"/>
              <a:gd name="connsiteY8" fmla="*/ 3435904 h 3435904"/>
              <a:gd name="connsiteX9" fmla="*/ 313321 w 5316105"/>
              <a:gd name="connsiteY9" fmla="*/ 3435904 h 3435904"/>
              <a:gd name="connsiteX10" fmla="*/ 264105 w 5316105"/>
              <a:gd name="connsiteY10" fmla="*/ 3430722 h 3435904"/>
              <a:gd name="connsiteX11" fmla="*/ 1763 w 5316105"/>
              <a:gd name="connsiteY11" fmla="*/ 3149828 h 3435904"/>
              <a:gd name="connsiteX12" fmla="*/ 0 w 5316105"/>
              <a:gd name="connsiteY12" fmla="*/ 3100602 h 3435904"/>
              <a:gd name="connsiteX13" fmla="*/ 0 w 5316105"/>
              <a:gd name="connsiteY13" fmla="*/ 3067123 h 3435904"/>
              <a:gd name="connsiteX14" fmla="*/ 190955 w 5316105"/>
              <a:gd name="connsiteY14" fmla="*/ 313148 h 3435904"/>
              <a:gd name="connsiteX15" fmla="*/ 526847 w 5316105"/>
              <a:gd name="connsiteY15" fmla="*/ 0 h 343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6105" h="3435904">
                <a:moveTo>
                  <a:pt x="526847" y="0"/>
                </a:moveTo>
                <a:lnTo>
                  <a:pt x="3962609" y="0"/>
                </a:lnTo>
                <a:lnTo>
                  <a:pt x="4981251" y="0"/>
                </a:lnTo>
                <a:cubicBezTo>
                  <a:pt x="5151948" y="0"/>
                  <a:pt x="5291373" y="126442"/>
                  <a:pt x="5314567" y="288370"/>
                </a:cubicBezTo>
                <a:lnTo>
                  <a:pt x="5316105" y="330944"/>
                </a:lnTo>
                <a:lnTo>
                  <a:pt x="5316105" y="374646"/>
                </a:lnTo>
                <a:lnTo>
                  <a:pt x="5125397" y="3125050"/>
                </a:lnTo>
                <a:cubicBezTo>
                  <a:pt x="5114689" y="3279351"/>
                  <a:pt x="5000981" y="3403379"/>
                  <a:pt x="4854222" y="3431975"/>
                </a:cubicBezTo>
                <a:lnTo>
                  <a:pt x="4813358" y="3435904"/>
                </a:lnTo>
                <a:lnTo>
                  <a:pt x="313321" y="3435904"/>
                </a:lnTo>
                <a:lnTo>
                  <a:pt x="264105" y="3430722"/>
                </a:lnTo>
                <a:cubicBezTo>
                  <a:pt x="126925" y="3401347"/>
                  <a:pt x="21609" y="3288623"/>
                  <a:pt x="1763" y="3149828"/>
                </a:cubicBezTo>
                <a:lnTo>
                  <a:pt x="0" y="3100602"/>
                </a:lnTo>
                <a:lnTo>
                  <a:pt x="0" y="3067123"/>
                </a:lnTo>
                <a:lnTo>
                  <a:pt x="190955" y="313148"/>
                </a:lnTo>
                <a:cubicBezTo>
                  <a:pt x="203193" y="136804"/>
                  <a:pt x="349962" y="0"/>
                  <a:pt x="526847" y="0"/>
                </a:cubicBez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10" name="Round Same-side Corner of Rectangle 9">
            <a:extLst>
              <a:ext uri="{FF2B5EF4-FFF2-40B4-BE49-F238E27FC236}">
                <a16:creationId xmlns:a16="http://schemas.microsoft.com/office/drawing/2014/main" id="{E0E3B0D8-73B7-EB19-BA68-3DE8FC94B3F5}"/>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pic>
        <p:nvPicPr>
          <p:cNvPr id="4" name="Content Placeholder 9" descr="Logo&#10;&#10;Description automatically generated">
            <a:extLst>
              <a:ext uri="{FF2B5EF4-FFF2-40B4-BE49-F238E27FC236}">
                <a16:creationId xmlns:a16="http://schemas.microsoft.com/office/drawing/2014/main" id="{5B8C74E2-31A0-7E5C-7208-D953A5CD4358}"/>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1738832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11" name="Picture Placeholder 10">
            <a:extLst>
              <a:ext uri="{FF2B5EF4-FFF2-40B4-BE49-F238E27FC236}">
                <a16:creationId xmlns:a16="http://schemas.microsoft.com/office/drawing/2014/main" id="{956A4350-665C-1B21-1989-9C963D3E26E3}"/>
              </a:ext>
            </a:extLst>
          </p:cNvPr>
          <p:cNvSpPr>
            <a:spLocks noGrp="1"/>
          </p:cNvSpPr>
          <p:nvPr>
            <p:ph type="pic" sz="quarter" idx="13"/>
          </p:nvPr>
        </p:nvSpPr>
        <p:spPr>
          <a:xfrm rot="5400000">
            <a:off x="-222959" y="659992"/>
            <a:ext cx="5698019" cy="4378036"/>
          </a:xfrm>
          <a:custGeom>
            <a:avLst/>
            <a:gdLst>
              <a:gd name="connsiteX0" fmla="*/ 0 w 5698019"/>
              <a:gd name="connsiteY0" fmla="*/ 4378036 h 4378036"/>
              <a:gd name="connsiteX1" fmla="*/ 0 w 5698019"/>
              <a:gd name="connsiteY1" fmla="*/ 0 h 4378036"/>
              <a:gd name="connsiteX2" fmla="*/ 3973392 w 5698019"/>
              <a:gd name="connsiteY2" fmla="*/ 0 h 4378036"/>
              <a:gd name="connsiteX3" fmla="*/ 5271348 w 5698019"/>
              <a:gd name="connsiteY3" fmla="*/ 0 h 4378036"/>
              <a:gd name="connsiteX4" fmla="*/ 5696060 w 5698019"/>
              <a:gd name="connsiteY4" fmla="*/ 367442 h 4378036"/>
              <a:gd name="connsiteX5" fmla="*/ 5698019 w 5698019"/>
              <a:gd name="connsiteY5" fmla="*/ 421690 h 4378036"/>
              <a:gd name="connsiteX6" fmla="*/ 5698019 w 5698019"/>
              <a:gd name="connsiteY6" fmla="*/ 477375 h 4378036"/>
              <a:gd name="connsiteX7" fmla="*/ 5455019 w 5698019"/>
              <a:gd name="connsiteY7" fmla="*/ 3981945 h 4378036"/>
              <a:gd name="connsiteX8" fmla="*/ 5109487 w 5698019"/>
              <a:gd name="connsiteY8" fmla="*/ 4373029 h 4378036"/>
              <a:gd name="connsiteX9" fmla="*/ 5057418 w 5698019"/>
              <a:gd name="connsiteY9" fmla="*/ 4378036 h 437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98019" h="4378036">
                <a:moveTo>
                  <a:pt x="0" y="4378036"/>
                </a:moveTo>
                <a:lnTo>
                  <a:pt x="0" y="0"/>
                </a:lnTo>
                <a:lnTo>
                  <a:pt x="3973392" y="0"/>
                </a:lnTo>
                <a:lnTo>
                  <a:pt x="5271348" y="0"/>
                </a:lnTo>
                <a:cubicBezTo>
                  <a:pt x="5488850" y="0"/>
                  <a:pt x="5666506" y="161113"/>
                  <a:pt x="5696060" y="367442"/>
                </a:cubicBezTo>
                <a:lnTo>
                  <a:pt x="5698019" y="421690"/>
                </a:lnTo>
                <a:lnTo>
                  <a:pt x="5698019" y="477375"/>
                </a:lnTo>
                <a:lnTo>
                  <a:pt x="5455019" y="3981945"/>
                </a:lnTo>
                <a:cubicBezTo>
                  <a:pt x="5441375" y="4178556"/>
                  <a:pt x="5296488" y="4336592"/>
                  <a:pt x="5109487" y="4373029"/>
                </a:cubicBezTo>
                <a:lnTo>
                  <a:pt x="5057418" y="4378036"/>
                </a:ln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5359078" y="365125"/>
            <a:ext cx="5994722"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5371391" y="2539154"/>
            <a:ext cx="5994722" cy="3155554"/>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6" y="6318245"/>
            <a:ext cx="403412"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2" name="Text Placeholder 10">
            <a:extLst>
              <a:ext uri="{FF2B5EF4-FFF2-40B4-BE49-F238E27FC236}">
                <a16:creationId xmlns:a16="http://schemas.microsoft.com/office/drawing/2014/main" id="{D07A997D-27FD-77BA-57AE-7299451BA8B8}"/>
              </a:ext>
            </a:extLst>
          </p:cNvPr>
          <p:cNvSpPr>
            <a:spLocks noGrp="1"/>
          </p:cNvSpPr>
          <p:nvPr>
            <p:ph type="body" sz="quarter" idx="14" hasCustomPrompt="1"/>
          </p:nvPr>
        </p:nvSpPr>
        <p:spPr>
          <a:xfrm>
            <a:off x="5277997" y="1955323"/>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EC937F6F-65F2-B487-6832-5BFC87748A42}"/>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8839486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11" name="Picture Placeholder 10">
            <a:extLst>
              <a:ext uri="{FF2B5EF4-FFF2-40B4-BE49-F238E27FC236}">
                <a16:creationId xmlns:a16="http://schemas.microsoft.com/office/drawing/2014/main" id="{956A4350-665C-1B21-1989-9C963D3E26E3}"/>
              </a:ext>
            </a:extLst>
          </p:cNvPr>
          <p:cNvSpPr>
            <a:spLocks noGrp="1"/>
          </p:cNvSpPr>
          <p:nvPr>
            <p:ph type="pic" sz="quarter" idx="13"/>
          </p:nvPr>
        </p:nvSpPr>
        <p:spPr>
          <a:xfrm rot="5400000">
            <a:off x="6459492" y="659994"/>
            <a:ext cx="5698019" cy="4378036"/>
          </a:xfrm>
          <a:custGeom>
            <a:avLst/>
            <a:gdLst>
              <a:gd name="connsiteX0" fmla="*/ 0 w 5698019"/>
              <a:gd name="connsiteY0" fmla="*/ 4378036 h 4378036"/>
              <a:gd name="connsiteX1" fmla="*/ 0 w 5698019"/>
              <a:gd name="connsiteY1" fmla="*/ 0 h 4378036"/>
              <a:gd name="connsiteX2" fmla="*/ 3973392 w 5698019"/>
              <a:gd name="connsiteY2" fmla="*/ 0 h 4378036"/>
              <a:gd name="connsiteX3" fmla="*/ 5271348 w 5698019"/>
              <a:gd name="connsiteY3" fmla="*/ 0 h 4378036"/>
              <a:gd name="connsiteX4" fmla="*/ 5696060 w 5698019"/>
              <a:gd name="connsiteY4" fmla="*/ 367442 h 4378036"/>
              <a:gd name="connsiteX5" fmla="*/ 5698019 w 5698019"/>
              <a:gd name="connsiteY5" fmla="*/ 421690 h 4378036"/>
              <a:gd name="connsiteX6" fmla="*/ 5698019 w 5698019"/>
              <a:gd name="connsiteY6" fmla="*/ 477375 h 4378036"/>
              <a:gd name="connsiteX7" fmla="*/ 5455019 w 5698019"/>
              <a:gd name="connsiteY7" fmla="*/ 3981945 h 4378036"/>
              <a:gd name="connsiteX8" fmla="*/ 5109487 w 5698019"/>
              <a:gd name="connsiteY8" fmla="*/ 4373029 h 4378036"/>
              <a:gd name="connsiteX9" fmla="*/ 5057418 w 5698019"/>
              <a:gd name="connsiteY9" fmla="*/ 4378036 h 437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98019" h="4378036">
                <a:moveTo>
                  <a:pt x="0" y="4378036"/>
                </a:moveTo>
                <a:lnTo>
                  <a:pt x="0" y="0"/>
                </a:lnTo>
                <a:lnTo>
                  <a:pt x="3973392" y="0"/>
                </a:lnTo>
                <a:lnTo>
                  <a:pt x="5271348" y="0"/>
                </a:lnTo>
                <a:cubicBezTo>
                  <a:pt x="5488850" y="0"/>
                  <a:pt x="5666506" y="161113"/>
                  <a:pt x="5696060" y="367442"/>
                </a:cubicBezTo>
                <a:lnTo>
                  <a:pt x="5698019" y="421690"/>
                </a:lnTo>
                <a:lnTo>
                  <a:pt x="5698019" y="477375"/>
                </a:lnTo>
                <a:lnTo>
                  <a:pt x="5455019" y="3981945"/>
                </a:lnTo>
                <a:cubicBezTo>
                  <a:pt x="5441375" y="4178556"/>
                  <a:pt x="5296488" y="4336592"/>
                  <a:pt x="5109487" y="4373029"/>
                </a:cubicBezTo>
                <a:lnTo>
                  <a:pt x="5057418" y="4378036"/>
                </a:ln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65510" y="365125"/>
            <a:ext cx="5823691"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77823" y="2362156"/>
            <a:ext cx="5823691" cy="3332551"/>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4" y="6318245"/>
            <a:ext cx="403413" cy="365125"/>
          </a:xfrm>
        </p:spPr>
        <p:txBody>
          <a:bodyPr/>
          <a:lstStyle>
            <a:lvl1pP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1484630A-50FF-906C-E37C-ADE237AB8EEB}"/>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2" name="Text Placeholder 10">
            <a:extLst>
              <a:ext uri="{FF2B5EF4-FFF2-40B4-BE49-F238E27FC236}">
                <a16:creationId xmlns:a16="http://schemas.microsoft.com/office/drawing/2014/main" id="{8522A39D-C883-FA06-4B8D-B5DC04C98CE8}"/>
              </a:ext>
            </a:extLst>
          </p:cNvPr>
          <p:cNvSpPr>
            <a:spLocks noGrp="1"/>
          </p:cNvSpPr>
          <p:nvPr>
            <p:ph type="body" sz="quarter" idx="14" hasCustomPrompt="1"/>
          </p:nvPr>
        </p:nvSpPr>
        <p:spPr>
          <a:xfrm>
            <a:off x="838200" y="1778326"/>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0F8D562F-43F4-5A5A-2BA5-982B2A4FC670}"/>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20735496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CB15AA48-A9BF-4DE9-1FC8-BA08B70E2B8E}"/>
              </a:ext>
            </a:extLst>
          </p:cNvPr>
          <p:cNvPicPr>
            <a:picLocks noChangeAspect="1"/>
          </p:cNvPicPr>
          <p:nvPr userDrawn="1"/>
        </p:nvPicPr>
        <p:blipFill>
          <a:blip r:embed="rId2"/>
          <a:stretch>
            <a:fillRect/>
          </a:stretch>
        </p:blipFill>
        <p:spPr>
          <a:xfrm>
            <a:off x="2590800" y="12700"/>
            <a:ext cx="9601200" cy="6845300"/>
          </a:xfrm>
          <a:prstGeom prst="rect">
            <a:avLst/>
          </a:prstGeom>
        </p:spPr>
      </p:pic>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14" name="Picture Placeholder 13">
            <a:extLst>
              <a:ext uri="{FF2B5EF4-FFF2-40B4-BE49-F238E27FC236}">
                <a16:creationId xmlns:a16="http://schemas.microsoft.com/office/drawing/2014/main" id="{604920B2-DA0F-9C29-D5F6-150F5320A500}"/>
              </a:ext>
            </a:extLst>
          </p:cNvPr>
          <p:cNvSpPr>
            <a:spLocks noGrp="1"/>
          </p:cNvSpPr>
          <p:nvPr>
            <p:ph type="pic" sz="quarter" idx="13"/>
          </p:nvPr>
        </p:nvSpPr>
        <p:spPr>
          <a:xfrm>
            <a:off x="5615709" y="533976"/>
            <a:ext cx="6169953" cy="5437996"/>
          </a:xfrm>
          <a:custGeom>
            <a:avLst/>
            <a:gdLst>
              <a:gd name="connsiteX0" fmla="*/ 3737681 w 5672232"/>
              <a:gd name="connsiteY0" fmla="*/ 157 h 4999321"/>
              <a:gd name="connsiteX1" fmla="*/ 5672232 w 5672232"/>
              <a:gd name="connsiteY1" fmla="*/ 2899674 h 4999321"/>
              <a:gd name="connsiteX2" fmla="*/ 2759889 w 5672232"/>
              <a:gd name="connsiteY2" fmla="*/ 4999321 h 4999321"/>
              <a:gd name="connsiteX3" fmla="*/ 321856 w 5672232"/>
              <a:gd name="connsiteY3" fmla="*/ 2426996 h 4999321"/>
              <a:gd name="connsiteX4" fmla="*/ 3737681 w 5672232"/>
              <a:gd name="connsiteY4" fmla="*/ 157 h 4999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2232" h="4999321">
                <a:moveTo>
                  <a:pt x="3737681" y="157"/>
                </a:moveTo>
                <a:cubicBezTo>
                  <a:pt x="4828396" y="-13458"/>
                  <a:pt x="5672232" y="860653"/>
                  <a:pt x="5672232" y="2899674"/>
                </a:cubicBezTo>
                <a:cubicBezTo>
                  <a:pt x="5672232" y="4483828"/>
                  <a:pt x="4150261" y="4999321"/>
                  <a:pt x="2759889" y="4999321"/>
                </a:cubicBezTo>
                <a:cubicBezTo>
                  <a:pt x="1369518" y="4999321"/>
                  <a:pt x="-828619" y="4188576"/>
                  <a:pt x="321856" y="2426996"/>
                </a:cubicBezTo>
                <a:cubicBezTo>
                  <a:pt x="1309373" y="915113"/>
                  <a:pt x="2646967" y="13772"/>
                  <a:pt x="3737681" y="157"/>
                </a:cubicBez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13682" y="365125"/>
            <a:ext cx="5875519"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2594698"/>
            <a:ext cx="4538472" cy="3100009"/>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5" name="Round Same-side Corner of Rectangle 14">
            <a:extLst>
              <a:ext uri="{FF2B5EF4-FFF2-40B4-BE49-F238E27FC236}">
                <a16:creationId xmlns:a16="http://schemas.microsoft.com/office/drawing/2014/main" id="{33B6CC4F-BCFD-6AD7-5D81-D2153DCCDB4C}"/>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8" name="Text Placeholder 10">
            <a:extLst>
              <a:ext uri="{FF2B5EF4-FFF2-40B4-BE49-F238E27FC236}">
                <a16:creationId xmlns:a16="http://schemas.microsoft.com/office/drawing/2014/main" id="{177D8440-35AC-60F6-4EBB-0B2415578A87}"/>
              </a:ext>
            </a:extLst>
          </p:cNvPr>
          <p:cNvSpPr>
            <a:spLocks noGrp="1"/>
          </p:cNvSpPr>
          <p:nvPr>
            <p:ph type="body" sz="quarter" idx="14" hasCustomPrompt="1"/>
          </p:nvPr>
        </p:nvSpPr>
        <p:spPr>
          <a:xfrm>
            <a:off x="838200" y="2010868"/>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8B94579A-9CE7-FA0A-F753-F44381DD6818}"/>
              </a:ext>
            </a:extLst>
          </p:cNvPr>
          <p:cNvPicPr>
            <a:picLocks noChangeAspect="1"/>
          </p:cNvPicPr>
          <p:nvPr userDrawn="1"/>
        </p:nvPicPr>
        <p:blipFill>
          <a:blip r:embed="rId3"/>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11251402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14" name="Picture Placeholder 13">
            <a:extLst>
              <a:ext uri="{FF2B5EF4-FFF2-40B4-BE49-F238E27FC236}">
                <a16:creationId xmlns:a16="http://schemas.microsoft.com/office/drawing/2014/main" id="{604920B2-DA0F-9C29-D5F6-150F5320A500}"/>
              </a:ext>
            </a:extLst>
          </p:cNvPr>
          <p:cNvSpPr>
            <a:spLocks noGrp="1"/>
          </p:cNvSpPr>
          <p:nvPr>
            <p:ph type="pic" sz="quarter" idx="13"/>
          </p:nvPr>
        </p:nvSpPr>
        <p:spPr>
          <a:xfrm flipH="1">
            <a:off x="519249" y="533976"/>
            <a:ext cx="6169953" cy="5437996"/>
          </a:xfrm>
          <a:custGeom>
            <a:avLst/>
            <a:gdLst>
              <a:gd name="connsiteX0" fmla="*/ 3737681 w 5672232"/>
              <a:gd name="connsiteY0" fmla="*/ 157 h 4999321"/>
              <a:gd name="connsiteX1" fmla="*/ 5672232 w 5672232"/>
              <a:gd name="connsiteY1" fmla="*/ 2899674 h 4999321"/>
              <a:gd name="connsiteX2" fmla="*/ 2759889 w 5672232"/>
              <a:gd name="connsiteY2" fmla="*/ 4999321 h 4999321"/>
              <a:gd name="connsiteX3" fmla="*/ 321856 w 5672232"/>
              <a:gd name="connsiteY3" fmla="*/ 2426996 h 4999321"/>
              <a:gd name="connsiteX4" fmla="*/ 3737681 w 5672232"/>
              <a:gd name="connsiteY4" fmla="*/ 157 h 4999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2232" h="4999321">
                <a:moveTo>
                  <a:pt x="3737681" y="157"/>
                </a:moveTo>
                <a:cubicBezTo>
                  <a:pt x="4828396" y="-13458"/>
                  <a:pt x="5672232" y="860653"/>
                  <a:pt x="5672232" y="2899674"/>
                </a:cubicBezTo>
                <a:cubicBezTo>
                  <a:pt x="5672232" y="4483828"/>
                  <a:pt x="4150261" y="4999321"/>
                  <a:pt x="2759889" y="4999321"/>
                </a:cubicBezTo>
                <a:cubicBezTo>
                  <a:pt x="1369518" y="4999321"/>
                  <a:pt x="-828619" y="4188576"/>
                  <a:pt x="321856" y="2426996"/>
                </a:cubicBezTo>
                <a:cubicBezTo>
                  <a:pt x="1309373" y="915113"/>
                  <a:pt x="2646967" y="13772"/>
                  <a:pt x="3737681" y="157"/>
                </a:cubicBez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6008943" y="365125"/>
            <a:ext cx="5994722"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6854807" y="2422242"/>
            <a:ext cx="4669879" cy="3272466"/>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Text Placeholder 10">
            <a:extLst>
              <a:ext uri="{FF2B5EF4-FFF2-40B4-BE49-F238E27FC236}">
                <a16:creationId xmlns:a16="http://schemas.microsoft.com/office/drawing/2014/main" id="{A2751307-0040-BFB6-82CA-2AD21D28DCFE}"/>
              </a:ext>
            </a:extLst>
          </p:cNvPr>
          <p:cNvSpPr>
            <a:spLocks noGrp="1"/>
          </p:cNvSpPr>
          <p:nvPr>
            <p:ph type="body" sz="quarter" idx="14" hasCustomPrompt="1"/>
          </p:nvPr>
        </p:nvSpPr>
        <p:spPr>
          <a:xfrm>
            <a:off x="6823896" y="1838411"/>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A12A4CE0-C35F-B917-C4C0-9034B18BC7CF}"/>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41262799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0C810760-117A-74C2-61E4-8D6BF183F641}"/>
              </a:ext>
            </a:extLst>
          </p:cNvPr>
          <p:cNvSpPr>
            <a:spLocks noGrp="1"/>
          </p:cNvSpPr>
          <p:nvPr>
            <p:ph type="pic" sz="quarter" idx="13"/>
          </p:nvPr>
        </p:nvSpPr>
        <p:spPr>
          <a:xfrm>
            <a:off x="5587720" y="0"/>
            <a:ext cx="6610630" cy="6858000"/>
          </a:xfrm>
          <a:custGeom>
            <a:avLst/>
            <a:gdLst>
              <a:gd name="connsiteX0" fmla="*/ 1281105 w 6610630"/>
              <a:gd name="connsiteY0" fmla="*/ 0 h 6858000"/>
              <a:gd name="connsiteX1" fmla="*/ 6610630 w 6610630"/>
              <a:gd name="connsiteY1" fmla="*/ 0 h 6858000"/>
              <a:gd name="connsiteX2" fmla="*/ 6610630 w 6610630"/>
              <a:gd name="connsiteY2" fmla="*/ 6858000 h 6858000"/>
              <a:gd name="connsiteX3" fmla="*/ 1281105 w 6610630"/>
              <a:gd name="connsiteY3" fmla="*/ 6858000 h 6858000"/>
              <a:gd name="connsiteX4" fmla="*/ 1249515 w 6610630"/>
              <a:gd name="connsiteY4" fmla="*/ 6822444 h 6858000"/>
              <a:gd name="connsiteX5" fmla="*/ 0 w 6610630"/>
              <a:gd name="connsiteY5" fmla="*/ 3429000 h 6858000"/>
              <a:gd name="connsiteX6" fmla="*/ 1249515 w 6610630"/>
              <a:gd name="connsiteY6" fmla="*/ 3555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0630" h="6858000">
                <a:moveTo>
                  <a:pt x="1281105" y="0"/>
                </a:moveTo>
                <a:lnTo>
                  <a:pt x="6610630" y="0"/>
                </a:lnTo>
                <a:lnTo>
                  <a:pt x="6610630" y="6858000"/>
                </a:lnTo>
                <a:lnTo>
                  <a:pt x="1281105" y="6858000"/>
                </a:lnTo>
                <a:lnTo>
                  <a:pt x="1249515" y="6822444"/>
                </a:lnTo>
                <a:cubicBezTo>
                  <a:pt x="468917" y="5900271"/>
                  <a:pt x="0" y="4718024"/>
                  <a:pt x="0" y="3429000"/>
                </a:cubicBezTo>
                <a:cubicBezTo>
                  <a:pt x="0" y="2139976"/>
                  <a:pt x="468917" y="957728"/>
                  <a:pt x="1249515" y="35556"/>
                </a:cubicBez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10873" y="365125"/>
            <a:ext cx="5497330"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799652" y="2445744"/>
            <a:ext cx="4385806" cy="3248963"/>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4" name="Round Same-side Corner of Rectangle 13">
            <a:extLst>
              <a:ext uri="{FF2B5EF4-FFF2-40B4-BE49-F238E27FC236}">
                <a16:creationId xmlns:a16="http://schemas.microsoft.com/office/drawing/2014/main" id="{615A328B-188D-6A02-DD00-2045CD8B5D4A}"/>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5" name="Text Placeholder 10">
            <a:extLst>
              <a:ext uri="{FF2B5EF4-FFF2-40B4-BE49-F238E27FC236}">
                <a16:creationId xmlns:a16="http://schemas.microsoft.com/office/drawing/2014/main" id="{99FA521E-719F-E26C-6B72-9C64B5E3C23B}"/>
              </a:ext>
            </a:extLst>
          </p:cNvPr>
          <p:cNvSpPr>
            <a:spLocks noGrp="1"/>
          </p:cNvSpPr>
          <p:nvPr>
            <p:ph type="body" sz="quarter" idx="14" hasCustomPrompt="1"/>
          </p:nvPr>
        </p:nvSpPr>
        <p:spPr>
          <a:xfrm>
            <a:off x="838201" y="1765192"/>
            <a:ext cx="4471930"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D8175807-14F4-42FC-9282-434B2C2D2344}"/>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42868765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10873" y="365125"/>
            <a:ext cx="5497330"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799652" y="2130326"/>
            <a:ext cx="4385806" cy="3564382"/>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4" name="Round Same-side Corner of Rectangle 13">
            <a:extLst>
              <a:ext uri="{FF2B5EF4-FFF2-40B4-BE49-F238E27FC236}">
                <a16:creationId xmlns:a16="http://schemas.microsoft.com/office/drawing/2014/main" id="{615A328B-188D-6A02-DD00-2045CD8B5D4A}"/>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6" name="Picture Placeholder 15">
            <a:extLst>
              <a:ext uri="{FF2B5EF4-FFF2-40B4-BE49-F238E27FC236}">
                <a16:creationId xmlns:a16="http://schemas.microsoft.com/office/drawing/2014/main" id="{FA644EC8-A7B2-A037-6F2B-D3B461169B99}"/>
              </a:ext>
            </a:extLst>
          </p:cNvPr>
          <p:cNvSpPr>
            <a:spLocks noGrp="1"/>
          </p:cNvSpPr>
          <p:nvPr>
            <p:ph type="pic" sz="quarter" idx="15"/>
          </p:nvPr>
        </p:nvSpPr>
        <p:spPr>
          <a:xfrm>
            <a:off x="6654799" y="0"/>
            <a:ext cx="5122230" cy="6126163"/>
          </a:xfrm>
          <a:custGeom>
            <a:avLst/>
            <a:gdLst>
              <a:gd name="connsiteX0" fmla="*/ 0 w 5122230"/>
              <a:gd name="connsiteY0" fmla="*/ 444500 h 6126163"/>
              <a:gd name="connsiteX1" fmla="*/ 2411413 w 5122230"/>
              <a:gd name="connsiteY1" fmla="*/ 444500 h 6126163"/>
              <a:gd name="connsiteX2" fmla="*/ 2411413 w 5122230"/>
              <a:gd name="connsiteY2" fmla="*/ 6126163 h 6126163"/>
              <a:gd name="connsiteX3" fmla="*/ 0 w 5122230"/>
              <a:gd name="connsiteY3" fmla="*/ 6126163 h 6126163"/>
              <a:gd name="connsiteX4" fmla="*/ 3569465 w 5122230"/>
              <a:gd name="connsiteY4" fmla="*/ 147918 h 6126163"/>
              <a:gd name="connsiteX5" fmla="*/ 5122230 w 5122230"/>
              <a:gd name="connsiteY5" fmla="*/ 147918 h 6126163"/>
              <a:gd name="connsiteX6" fmla="*/ 5122230 w 5122230"/>
              <a:gd name="connsiteY6" fmla="*/ 5842626 h 6126163"/>
              <a:gd name="connsiteX7" fmla="*/ 3569465 w 5122230"/>
              <a:gd name="connsiteY7" fmla="*/ 5842626 h 6126163"/>
              <a:gd name="connsiteX8" fmla="*/ 2478796 w 5122230"/>
              <a:gd name="connsiteY8" fmla="*/ 0 h 6126163"/>
              <a:gd name="connsiteX9" fmla="*/ 3491736 w 5122230"/>
              <a:gd name="connsiteY9" fmla="*/ 0 h 6126163"/>
              <a:gd name="connsiteX10" fmla="*/ 3491736 w 5122230"/>
              <a:gd name="connsiteY10" fmla="*/ 5694708 h 6126163"/>
              <a:gd name="connsiteX11" fmla="*/ 2478796 w 5122230"/>
              <a:gd name="connsiteY11" fmla="*/ 5694708 h 612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2230" h="6126163">
                <a:moveTo>
                  <a:pt x="0" y="444500"/>
                </a:moveTo>
                <a:lnTo>
                  <a:pt x="2411413" y="444500"/>
                </a:lnTo>
                <a:lnTo>
                  <a:pt x="2411413" y="6126163"/>
                </a:lnTo>
                <a:lnTo>
                  <a:pt x="0" y="6126163"/>
                </a:lnTo>
                <a:close/>
                <a:moveTo>
                  <a:pt x="3569465" y="147918"/>
                </a:moveTo>
                <a:lnTo>
                  <a:pt x="5122230" y="147918"/>
                </a:lnTo>
                <a:lnTo>
                  <a:pt x="5122230" y="5842626"/>
                </a:lnTo>
                <a:lnTo>
                  <a:pt x="3569465" y="5842626"/>
                </a:lnTo>
                <a:close/>
                <a:moveTo>
                  <a:pt x="2478796" y="0"/>
                </a:moveTo>
                <a:lnTo>
                  <a:pt x="3491736" y="0"/>
                </a:lnTo>
                <a:lnTo>
                  <a:pt x="3491736" y="5694708"/>
                </a:lnTo>
                <a:lnTo>
                  <a:pt x="2478796" y="5694708"/>
                </a:ln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pic>
        <p:nvPicPr>
          <p:cNvPr id="4" name="Content Placeholder 9" descr="Logo&#10;&#10;Description automatically generated">
            <a:extLst>
              <a:ext uri="{FF2B5EF4-FFF2-40B4-BE49-F238E27FC236}">
                <a16:creationId xmlns:a16="http://schemas.microsoft.com/office/drawing/2014/main" id="{3EBCCB9A-82B7-4E80-CC4A-FD6800DC6531}"/>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41036589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F011220-DAC9-2C3C-C5AD-5E8BED515A32}"/>
              </a:ext>
            </a:extLst>
          </p:cNvPr>
          <p:cNvSpPr/>
          <p:nvPr userDrawn="1"/>
        </p:nvSpPr>
        <p:spPr>
          <a:xfrm rot="10800000" flipH="1">
            <a:off x="-39229" y="0"/>
            <a:ext cx="4596993" cy="6864275"/>
          </a:xfrm>
          <a:custGeom>
            <a:avLst/>
            <a:gdLst>
              <a:gd name="connsiteX0" fmla="*/ 3315888 w 4596993"/>
              <a:gd name="connsiteY0" fmla="*/ 6864275 h 6864275"/>
              <a:gd name="connsiteX1" fmla="*/ 3347478 w 4596993"/>
              <a:gd name="connsiteY1" fmla="*/ 6828719 h 6864275"/>
              <a:gd name="connsiteX2" fmla="*/ 4596993 w 4596993"/>
              <a:gd name="connsiteY2" fmla="*/ 3435275 h 6864275"/>
              <a:gd name="connsiteX3" fmla="*/ 3347478 w 4596993"/>
              <a:gd name="connsiteY3" fmla="*/ 41831 h 6864275"/>
              <a:gd name="connsiteX4" fmla="*/ 3315888 w 4596993"/>
              <a:gd name="connsiteY4" fmla="*/ 6275 h 6864275"/>
              <a:gd name="connsiteX5" fmla="*/ 0 w 4596993"/>
              <a:gd name="connsiteY5" fmla="*/ 0 h 6864275"/>
              <a:gd name="connsiteX6" fmla="*/ 0 w 4596993"/>
              <a:gd name="connsiteY6" fmla="*/ 6858024 h 686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6993" h="6864275">
                <a:moveTo>
                  <a:pt x="3315888" y="6864275"/>
                </a:moveTo>
                <a:lnTo>
                  <a:pt x="3347478" y="6828719"/>
                </a:lnTo>
                <a:cubicBezTo>
                  <a:pt x="4128076" y="5906546"/>
                  <a:pt x="4596993" y="4724299"/>
                  <a:pt x="4596993" y="3435275"/>
                </a:cubicBezTo>
                <a:cubicBezTo>
                  <a:pt x="4596993" y="2146251"/>
                  <a:pt x="4128076" y="964003"/>
                  <a:pt x="3347478" y="41831"/>
                </a:cubicBezTo>
                <a:lnTo>
                  <a:pt x="3315888" y="6275"/>
                </a:lnTo>
                <a:lnTo>
                  <a:pt x="0" y="0"/>
                </a:lnTo>
                <a:lnTo>
                  <a:pt x="0" y="685802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482278" y="2535090"/>
            <a:ext cx="3707758" cy="1608647"/>
          </a:xfrm>
        </p:spPr>
        <p:txBody>
          <a:bodyPr anchor="ctr">
            <a:noAutofit/>
          </a:bodyPr>
          <a:lstStyle>
            <a:lvl1pPr>
              <a:defRPr sz="3600" b="0" i="0">
                <a:solidFill>
                  <a:schemeClr val="bg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5560056" y="2199774"/>
            <a:ext cx="5389207" cy="3564382"/>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Text Placeholder 10">
            <a:extLst>
              <a:ext uri="{FF2B5EF4-FFF2-40B4-BE49-F238E27FC236}">
                <a16:creationId xmlns:a16="http://schemas.microsoft.com/office/drawing/2014/main" id="{A33E65FE-8C9B-0DC0-C776-353216E6A221}"/>
              </a:ext>
            </a:extLst>
          </p:cNvPr>
          <p:cNvSpPr>
            <a:spLocks noGrp="1"/>
          </p:cNvSpPr>
          <p:nvPr>
            <p:ph type="body" sz="quarter" idx="14" hasCustomPrompt="1"/>
          </p:nvPr>
        </p:nvSpPr>
        <p:spPr>
          <a:xfrm>
            <a:off x="5546812" y="1529030"/>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Picture 3" descr="Logo, company name&#10;&#10;Description automatically generated">
            <a:extLst>
              <a:ext uri="{FF2B5EF4-FFF2-40B4-BE49-F238E27FC236}">
                <a16:creationId xmlns:a16="http://schemas.microsoft.com/office/drawing/2014/main" id="{34886534-58D9-34F2-C894-A05F547B7E0D}"/>
              </a:ext>
            </a:extLst>
          </p:cNvPr>
          <p:cNvPicPr>
            <a:picLocks noChangeAspect="1"/>
          </p:cNvPicPr>
          <p:nvPr userDrawn="1"/>
        </p:nvPicPr>
        <p:blipFill>
          <a:blip r:embed="rId2"/>
          <a:stretch>
            <a:fillRect/>
          </a:stretch>
        </p:blipFill>
        <p:spPr>
          <a:xfrm>
            <a:off x="143715" y="5584273"/>
            <a:ext cx="1444793" cy="1444793"/>
          </a:xfrm>
          <a:prstGeom prst="rect">
            <a:avLst/>
          </a:prstGeom>
        </p:spPr>
      </p:pic>
    </p:spTree>
    <p:extLst>
      <p:ext uri="{BB962C8B-B14F-4D97-AF65-F5344CB8AC3E}">
        <p14:creationId xmlns:p14="http://schemas.microsoft.com/office/powerpoint/2010/main" val="20992701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8158D1-75B9-B0B6-F957-E0109C368DD2}"/>
              </a:ext>
            </a:extLst>
          </p:cNvPr>
          <p:cNvPicPr>
            <a:picLocks noChangeAspect="1"/>
          </p:cNvPicPr>
          <p:nvPr userDrawn="1"/>
        </p:nvPicPr>
        <p:blipFill>
          <a:blip r:embed="rId2"/>
          <a:stretch>
            <a:fillRect/>
          </a:stretch>
        </p:blipFill>
        <p:spPr>
          <a:xfrm>
            <a:off x="2590800" y="6350"/>
            <a:ext cx="9601200" cy="6845300"/>
          </a:xfrm>
          <a:prstGeom prst="rect">
            <a:avLst/>
          </a:prstGeom>
        </p:spPr>
      </p:pic>
      <p:sp>
        <p:nvSpPr>
          <p:cNvPr id="13" name="Freeform 12">
            <a:extLst>
              <a:ext uri="{FF2B5EF4-FFF2-40B4-BE49-F238E27FC236}">
                <a16:creationId xmlns:a16="http://schemas.microsoft.com/office/drawing/2014/main" id="{6F011220-DAC9-2C3C-C5AD-5E8BED515A32}"/>
              </a:ext>
            </a:extLst>
          </p:cNvPr>
          <p:cNvSpPr/>
          <p:nvPr userDrawn="1"/>
        </p:nvSpPr>
        <p:spPr>
          <a:xfrm rot="10800000" flipH="1">
            <a:off x="-39229" y="0"/>
            <a:ext cx="4596993" cy="6864275"/>
          </a:xfrm>
          <a:custGeom>
            <a:avLst/>
            <a:gdLst>
              <a:gd name="connsiteX0" fmla="*/ 3315888 w 4596993"/>
              <a:gd name="connsiteY0" fmla="*/ 6864275 h 6864275"/>
              <a:gd name="connsiteX1" fmla="*/ 3347478 w 4596993"/>
              <a:gd name="connsiteY1" fmla="*/ 6828719 h 6864275"/>
              <a:gd name="connsiteX2" fmla="*/ 4596993 w 4596993"/>
              <a:gd name="connsiteY2" fmla="*/ 3435275 h 6864275"/>
              <a:gd name="connsiteX3" fmla="*/ 3347478 w 4596993"/>
              <a:gd name="connsiteY3" fmla="*/ 41831 h 6864275"/>
              <a:gd name="connsiteX4" fmla="*/ 3315888 w 4596993"/>
              <a:gd name="connsiteY4" fmla="*/ 6275 h 6864275"/>
              <a:gd name="connsiteX5" fmla="*/ 0 w 4596993"/>
              <a:gd name="connsiteY5" fmla="*/ 0 h 6864275"/>
              <a:gd name="connsiteX6" fmla="*/ 0 w 4596993"/>
              <a:gd name="connsiteY6" fmla="*/ 6858024 h 686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6993" h="6864275">
                <a:moveTo>
                  <a:pt x="3315888" y="6864275"/>
                </a:moveTo>
                <a:lnTo>
                  <a:pt x="3347478" y="6828719"/>
                </a:lnTo>
                <a:cubicBezTo>
                  <a:pt x="4128076" y="5906546"/>
                  <a:pt x="4596993" y="4724299"/>
                  <a:pt x="4596993" y="3435275"/>
                </a:cubicBezTo>
                <a:cubicBezTo>
                  <a:pt x="4596993" y="2146251"/>
                  <a:pt x="4128076" y="964003"/>
                  <a:pt x="3347478" y="41831"/>
                </a:cubicBezTo>
                <a:lnTo>
                  <a:pt x="3315888" y="6275"/>
                </a:lnTo>
                <a:lnTo>
                  <a:pt x="0" y="0"/>
                </a:lnTo>
                <a:lnTo>
                  <a:pt x="0" y="685802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482278" y="2535090"/>
            <a:ext cx="3707758" cy="1608647"/>
          </a:xfrm>
        </p:spPr>
        <p:txBody>
          <a:bodyPr anchor="ctr">
            <a:noAutofit/>
          </a:bodyPr>
          <a:lstStyle>
            <a:lvl1pPr>
              <a:defRPr sz="3600" b="0" i="0">
                <a:solidFill>
                  <a:schemeClr val="bg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5560056" y="2199774"/>
            <a:ext cx="5389207" cy="3564382"/>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Text Placeholder 10">
            <a:extLst>
              <a:ext uri="{FF2B5EF4-FFF2-40B4-BE49-F238E27FC236}">
                <a16:creationId xmlns:a16="http://schemas.microsoft.com/office/drawing/2014/main" id="{A33E65FE-8C9B-0DC0-C776-353216E6A221}"/>
              </a:ext>
            </a:extLst>
          </p:cNvPr>
          <p:cNvSpPr>
            <a:spLocks noGrp="1"/>
          </p:cNvSpPr>
          <p:nvPr>
            <p:ph type="body" sz="quarter" idx="14" hasCustomPrompt="1"/>
          </p:nvPr>
        </p:nvSpPr>
        <p:spPr>
          <a:xfrm>
            <a:off x="5546812" y="1529030"/>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Picture 3" descr="Logo, company name&#10;&#10;Description automatically generated">
            <a:extLst>
              <a:ext uri="{FF2B5EF4-FFF2-40B4-BE49-F238E27FC236}">
                <a16:creationId xmlns:a16="http://schemas.microsoft.com/office/drawing/2014/main" id="{34886534-58D9-34F2-C894-A05F547B7E0D}"/>
              </a:ext>
            </a:extLst>
          </p:cNvPr>
          <p:cNvPicPr>
            <a:picLocks noChangeAspect="1"/>
          </p:cNvPicPr>
          <p:nvPr userDrawn="1"/>
        </p:nvPicPr>
        <p:blipFill>
          <a:blip r:embed="rId3"/>
          <a:stretch>
            <a:fillRect/>
          </a:stretch>
        </p:blipFill>
        <p:spPr>
          <a:xfrm>
            <a:off x="143715" y="5584273"/>
            <a:ext cx="1444793" cy="1444793"/>
          </a:xfrm>
          <a:prstGeom prst="rect">
            <a:avLst/>
          </a:prstGeom>
        </p:spPr>
      </p:pic>
    </p:spTree>
    <p:extLst>
      <p:ext uri="{BB962C8B-B14F-4D97-AF65-F5344CB8AC3E}">
        <p14:creationId xmlns:p14="http://schemas.microsoft.com/office/powerpoint/2010/main" val="17742003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6" y="6318245"/>
            <a:ext cx="403412"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1" name="Picture Placeholder 8">
            <a:extLst>
              <a:ext uri="{FF2B5EF4-FFF2-40B4-BE49-F238E27FC236}">
                <a16:creationId xmlns:a16="http://schemas.microsoft.com/office/drawing/2014/main" id="{E2191B05-DADD-8FB9-62FD-532B6348E428}"/>
              </a:ext>
            </a:extLst>
          </p:cNvPr>
          <p:cNvSpPr>
            <a:spLocks noGrp="1"/>
          </p:cNvSpPr>
          <p:nvPr>
            <p:ph type="pic" sz="quarter" idx="10"/>
          </p:nvPr>
        </p:nvSpPr>
        <p:spPr>
          <a:xfrm>
            <a:off x="3317421" y="609600"/>
            <a:ext cx="3676650" cy="5200649"/>
          </a:xfrm>
          <a:pattFill prst="pct5">
            <a:fgClr>
              <a:schemeClr val="accent1"/>
            </a:fgClr>
            <a:bgClr>
              <a:schemeClr val="bg1"/>
            </a:bgClr>
          </a:pattFill>
        </p:spPr>
      </p:sp>
      <p:sp>
        <p:nvSpPr>
          <p:cNvPr id="12" name="Picture Placeholder 9">
            <a:extLst>
              <a:ext uri="{FF2B5EF4-FFF2-40B4-BE49-F238E27FC236}">
                <a16:creationId xmlns:a16="http://schemas.microsoft.com/office/drawing/2014/main" id="{BC6AA04F-13C1-AD39-987A-7D0D2AAAE3C3}"/>
              </a:ext>
            </a:extLst>
          </p:cNvPr>
          <p:cNvSpPr>
            <a:spLocks noGrp="1"/>
          </p:cNvSpPr>
          <p:nvPr>
            <p:ph type="pic" sz="quarter" idx="11"/>
          </p:nvPr>
        </p:nvSpPr>
        <p:spPr>
          <a:xfrm>
            <a:off x="7146471" y="609600"/>
            <a:ext cx="4461273" cy="2171700"/>
          </a:xfrm>
          <a:pattFill prst="pct5">
            <a:fgClr>
              <a:schemeClr val="accent1"/>
            </a:fgClr>
            <a:bgClr>
              <a:schemeClr val="bg1"/>
            </a:bgClr>
          </a:pattFill>
        </p:spPr>
      </p:sp>
      <p:sp>
        <p:nvSpPr>
          <p:cNvPr id="14" name="Picture Placeholder 10">
            <a:extLst>
              <a:ext uri="{FF2B5EF4-FFF2-40B4-BE49-F238E27FC236}">
                <a16:creationId xmlns:a16="http://schemas.microsoft.com/office/drawing/2014/main" id="{15DF6086-D5FC-F9E8-EBB0-42637BCF5E70}"/>
              </a:ext>
            </a:extLst>
          </p:cNvPr>
          <p:cNvSpPr>
            <a:spLocks noGrp="1"/>
          </p:cNvSpPr>
          <p:nvPr>
            <p:ph type="pic" sz="quarter" idx="13"/>
          </p:nvPr>
        </p:nvSpPr>
        <p:spPr>
          <a:xfrm>
            <a:off x="7146471" y="2915974"/>
            <a:ext cx="4461273" cy="2894275"/>
          </a:xfrm>
          <a:pattFill prst="pct5">
            <a:fgClr>
              <a:schemeClr val="accent1"/>
            </a:fgClr>
            <a:bgClr>
              <a:schemeClr val="bg1"/>
            </a:bgClr>
          </a:pattFill>
        </p:spPr>
      </p:sp>
      <p:sp>
        <p:nvSpPr>
          <p:cNvPr id="17" name="Title 1">
            <a:extLst>
              <a:ext uri="{FF2B5EF4-FFF2-40B4-BE49-F238E27FC236}">
                <a16:creationId xmlns:a16="http://schemas.microsoft.com/office/drawing/2014/main" id="{6949990A-5BF8-694E-5F13-420AB4CEFE9E}"/>
              </a:ext>
            </a:extLst>
          </p:cNvPr>
          <p:cNvSpPr>
            <a:spLocks noGrp="1"/>
          </p:cNvSpPr>
          <p:nvPr>
            <p:ph type="title" hasCustomPrompt="1"/>
          </p:nvPr>
        </p:nvSpPr>
        <p:spPr>
          <a:xfrm>
            <a:off x="678671" y="632475"/>
            <a:ext cx="2354148" cy="1904350"/>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cxnSp>
        <p:nvCxnSpPr>
          <p:cNvPr id="23" name="Straight Connector 22">
            <a:extLst>
              <a:ext uri="{FF2B5EF4-FFF2-40B4-BE49-F238E27FC236}">
                <a16:creationId xmlns:a16="http://schemas.microsoft.com/office/drawing/2014/main" id="{75F30679-5078-6077-6E96-09C7D8F37A71}"/>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pic>
        <p:nvPicPr>
          <p:cNvPr id="2" name="Content Placeholder 9" descr="Logo&#10;&#10;Description automatically generated">
            <a:extLst>
              <a:ext uri="{FF2B5EF4-FFF2-40B4-BE49-F238E27FC236}">
                <a16:creationId xmlns:a16="http://schemas.microsoft.com/office/drawing/2014/main" id="{B9713FE2-6167-0373-B20A-2013283A7261}"/>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19726170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118EC0E-B0F1-BE34-C83E-22EC40F67DB4}"/>
              </a:ext>
            </a:extLst>
          </p:cNvPr>
          <p:cNvPicPr>
            <a:picLocks noChangeAspect="1"/>
          </p:cNvPicPr>
          <p:nvPr userDrawn="1"/>
        </p:nvPicPr>
        <p:blipFill>
          <a:blip r:embed="rId2">
            <a:alphaModFix/>
          </a:blip>
          <a:stretch>
            <a:fillRect/>
          </a:stretch>
        </p:blipFill>
        <p:spPr>
          <a:xfrm>
            <a:off x="2590800" y="12700"/>
            <a:ext cx="9601200" cy="6845300"/>
          </a:xfrm>
          <a:prstGeom prst="rect">
            <a:avLst/>
          </a:prstGeom>
        </p:spPr>
      </p:pic>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pic>
        <p:nvPicPr>
          <p:cNvPr id="4" name="Content Placeholder 9" descr="Logo&#10;&#10;Description automatically generated">
            <a:extLst>
              <a:ext uri="{FF2B5EF4-FFF2-40B4-BE49-F238E27FC236}">
                <a16:creationId xmlns:a16="http://schemas.microsoft.com/office/drawing/2014/main" id="{1FA5DBDB-3F49-DE9D-A6E5-154A1719B273}"/>
              </a:ext>
            </a:extLst>
          </p:cNvPr>
          <p:cNvPicPr>
            <a:picLocks noChangeAspect="1"/>
          </p:cNvPicPr>
          <p:nvPr userDrawn="1"/>
        </p:nvPicPr>
        <p:blipFill>
          <a:blip r:embed="rId3"/>
          <a:stretch>
            <a:fillRect/>
          </a:stretch>
        </p:blipFill>
        <p:spPr>
          <a:xfrm>
            <a:off x="207653" y="6110992"/>
            <a:ext cx="1221061" cy="630298"/>
          </a:xfrm>
          <a:prstGeom prst="rect">
            <a:avLst/>
          </a:prstGeom>
        </p:spPr>
      </p:pic>
    </p:spTree>
    <p:extLst>
      <p:ext uri="{BB962C8B-B14F-4D97-AF65-F5344CB8AC3E}">
        <p14:creationId xmlns:p14="http://schemas.microsoft.com/office/powerpoint/2010/main" val="40883362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E2191B05-DADD-8FB9-62FD-532B6348E428}"/>
              </a:ext>
            </a:extLst>
          </p:cNvPr>
          <p:cNvSpPr>
            <a:spLocks noGrp="1"/>
          </p:cNvSpPr>
          <p:nvPr>
            <p:ph type="pic" sz="quarter" idx="10"/>
          </p:nvPr>
        </p:nvSpPr>
        <p:spPr>
          <a:xfrm>
            <a:off x="0" y="0"/>
            <a:ext cx="12192000" cy="6858000"/>
          </a:xfrm>
          <a:pattFill prst="pct5">
            <a:fgClr>
              <a:schemeClr val="accent1"/>
            </a:fgClr>
            <a:bgClr>
              <a:schemeClr val="bg1"/>
            </a:bgClr>
          </a:pattFill>
        </p:spPr>
      </p:sp>
    </p:spTree>
    <p:extLst>
      <p:ext uri="{BB962C8B-B14F-4D97-AF65-F5344CB8AC3E}">
        <p14:creationId xmlns:p14="http://schemas.microsoft.com/office/powerpoint/2010/main" val="20127007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597D9C2-0FAC-062D-1F53-4C07F10AD61E}"/>
              </a:ext>
            </a:extLst>
          </p:cNvPr>
          <p:cNvSpPr>
            <a:spLocks noGrp="1"/>
          </p:cNvSpPr>
          <p:nvPr>
            <p:ph type="dt" sz="half" idx="10"/>
          </p:nvPr>
        </p:nvSpPr>
        <p:spPr/>
        <p:txBody>
          <a:bodyPr/>
          <a:lstStyle>
            <a:lvl1pPr>
              <a:defRPr b="0" i="0">
                <a:latin typeface="Raleway" pitchFamily="2" charset="77"/>
              </a:defRPr>
            </a:lvl1pPr>
          </a:lstStyle>
          <a:p>
            <a:endParaRPr lang="en-RO"/>
          </a:p>
        </p:txBody>
      </p:sp>
      <p:sp>
        <p:nvSpPr>
          <p:cNvPr id="3" name="Footer Placeholder 2">
            <a:extLst>
              <a:ext uri="{FF2B5EF4-FFF2-40B4-BE49-F238E27FC236}">
                <a16:creationId xmlns:a16="http://schemas.microsoft.com/office/drawing/2014/main" id="{37240306-7147-9B3A-DEDB-E6C2FBF954AF}"/>
              </a:ext>
            </a:extLst>
          </p:cNvPr>
          <p:cNvSpPr>
            <a:spLocks noGrp="1"/>
          </p:cNvSpPr>
          <p:nvPr>
            <p:ph type="ftr" sz="quarter" idx="11"/>
          </p:nvPr>
        </p:nvSpPr>
        <p:spPr/>
        <p:txBody>
          <a:bodyPr/>
          <a:lstStyle>
            <a:lvl1pPr>
              <a:defRPr b="0" i="0">
                <a:latin typeface="Raleway" pitchFamily="2" charset="77"/>
              </a:defRPr>
            </a:lvl1pPr>
          </a:lstStyle>
          <a:p>
            <a:endParaRPr lang="en-RO"/>
          </a:p>
        </p:txBody>
      </p:sp>
      <p:sp>
        <p:nvSpPr>
          <p:cNvPr id="4" name="Slide Number Placeholder 3">
            <a:extLst>
              <a:ext uri="{FF2B5EF4-FFF2-40B4-BE49-F238E27FC236}">
                <a16:creationId xmlns:a16="http://schemas.microsoft.com/office/drawing/2014/main" id="{3F58FB0D-E2BA-C1D5-4170-651E1F151788}"/>
              </a:ext>
            </a:extLst>
          </p:cNvPr>
          <p:cNvSpPr>
            <a:spLocks noGrp="1"/>
          </p:cNvSpPr>
          <p:nvPr>
            <p:ph type="sldNum" sz="quarter" idx="12"/>
          </p:nvPr>
        </p:nvSpPr>
        <p:spPr/>
        <p:txBody>
          <a:bodyPr/>
          <a:lstStyle>
            <a:lvl1pPr>
              <a:defRPr b="0" i="0">
                <a:latin typeface="Raleway" pitchFamily="2" charset="77"/>
              </a:defRPr>
            </a:lvl1pPr>
          </a:lstStyle>
          <a:p>
            <a:fld id="{1D1C8182-8BBE-B542-ADE5-8820B104469B}" type="slidenum">
              <a:rPr lang="en-RO" smtClean="0"/>
              <a:pPr/>
              <a:t>‹#›</a:t>
            </a:fld>
            <a:endParaRPr lang="en-RO"/>
          </a:p>
        </p:txBody>
      </p:sp>
    </p:spTree>
    <p:extLst>
      <p:ext uri="{BB962C8B-B14F-4D97-AF65-F5344CB8AC3E}">
        <p14:creationId xmlns:p14="http://schemas.microsoft.com/office/powerpoint/2010/main" val="20587755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0CFD8F8-E616-FC46-8FC6-6EAF571DA103}"/>
              </a:ext>
            </a:extLst>
          </p:cNvPr>
          <p:cNvSpPr/>
          <p:nvPr userDrawn="1"/>
        </p:nvSpPr>
        <p:spPr>
          <a:xfrm>
            <a:off x="11634788" y="0"/>
            <a:ext cx="557212" cy="6858000"/>
          </a:xfrm>
          <a:prstGeom prst="rect">
            <a:avLst/>
          </a:prstGeom>
          <a:solidFill>
            <a:srgbClr val="E2E9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RO" sz="1600" err="1">
              <a:solidFill>
                <a:schemeClr val="bg1"/>
              </a:solidFill>
            </a:endParaRPr>
          </a:p>
        </p:txBody>
      </p:sp>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470898"/>
          </a:xfrm>
          <a:prstGeom prst="rect">
            <a:avLst/>
          </a:prstGeom>
        </p:spPr>
        <p:txBody>
          <a:bodyPr vert="horz" wrap="square" lIns="0" tIns="0" rIns="0" bIns="0" rtlCol="0" anchor="t" anchorCtr="0">
            <a:spAutoFit/>
          </a:bodyPr>
          <a:lstStyle>
            <a:lvl1pPr>
              <a:defRPr sz="3400" b="0" i="0">
                <a:solidFill>
                  <a:srgbClr val="E2E9F7"/>
                </a:solidFill>
                <a:latin typeface="Raleway" pitchFamily="2" charset="77"/>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10800"/>
          </a:xfrm>
          <a:prstGeom prst="rect">
            <a:avLst/>
          </a:prstGeom>
          <a:ln w="6350">
            <a:noFill/>
            <a:miter lim="800000"/>
          </a:ln>
        </p:spPr>
        <p:txBody>
          <a:bodyPr vert="horz" wrap="square" lIns="0" tIns="0" rIns="0" bIns="0" rtlCol="0">
            <a:spAutoFit/>
          </a:bodyPr>
          <a:lstStyle>
            <a:lvl1pPr>
              <a:defRPr lang="en-US" sz="800" b="0" i="0" dirty="0">
                <a:solidFill>
                  <a:srgbClr val="0080C6"/>
                </a:solidFill>
                <a:latin typeface="Raleway" pitchFamily="2" charset="77"/>
                <a:ea typeface="+mn-ea"/>
                <a:cs typeface="+mn-cs"/>
              </a:defRPr>
            </a:lvl1pPr>
          </a:lstStyle>
          <a:p>
            <a:pPr lvl="0">
              <a:buNone/>
            </a:pPr>
            <a:r>
              <a:rPr lang="en-US"/>
              <a:t>Add tracker</a:t>
            </a:r>
          </a:p>
        </p:txBody>
      </p:sp>
      <p:sp>
        <p:nvSpPr>
          <p:cNvPr id="3" name="TextBox 2">
            <a:extLst>
              <a:ext uri="{FF2B5EF4-FFF2-40B4-BE49-F238E27FC236}">
                <a16:creationId xmlns:a16="http://schemas.microsoft.com/office/drawing/2014/main" id="{190E412B-DC55-B545-9A21-B85AE3435848}"/>
              </a:ext>
            </a:extLst>
          </p:cNvPr>
          <p:cNvSpPr txBox="1"/>
          <p:nvPr userDrawn="1"/>
        </p:nvSpPr>
        <p:spPr>
          <a:xfrm>
            <a:off x="1699404" y="645255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RO" sz="1600"/>
          </a:p>
        </p:txBody>
      </p:sp>
      <p:sp>
        <p:nvSpPr>
          <p:cNvPr id="10" name="Slide Number">
            <a:extLst>
              <a:ext uri="{FF2B5EF4-FFF2-40B4-BE49-F238E27FC236}">
                <a16:creationId xmlns:a16="http://schemas.microsoft.com/office/drawing/2014/main" id="{483A3A10-724E-CE4E-9F58-2447AAEE2379}"/>
              </a:ext>
            </a:extLst>
          </p:cNvPr>
          <p:cNvSpPr>
            <a:spLocks noChangeArrowheads="1"/>
          </p:cNvSpPr>
          <p:nvPr userDrawn="1">
            <p:custDataLst>
              <p:tags r:id="rId4"/>
            </p:custDataLst>
          </p:nvPr>
        </p:nvSpPr>
        <p:spPr bwMode="black">
          <a:xfrm>
            <a:off x="11650710" y="6443367"/>
            <a:ext cx="390460" cy="360063"/>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2800" b="0" i="0" smtClean="0">
                <a:solidFill>
                  <a:schemeClr val="bg1"/>
                </a:solidFill>
                <a:latin typeface="Raleway" pitchFamily="2" charset="77"/>
                <a:ea typeface="+mn-ea"/>
                <a:cs typeface="+mn-cs"/>
              </a:rPr>
              <a:pPr algn="r" defTabSz="610744" fontAlgn="auto">
                <a:spcBef>
                  <a:spcPts val="0"/>
                </a:spcBef>
                <a:spcAft>
                  <a:spcPts val="0"/>
                </a:spcAft>
                <a:defRPr/>
              </a:pPr>
              <a:t>‹#›</a:t>
            </a:fld>
            <a:endParaRPr lang="en-US" sz="2800" b="0" i="0">
              <a:solidFill>
                <a:schemeClr val="bg1"/>
              </a:solidFill>
              <a:latin typeface="Raleway" pitchFamily="2" charset="77"/>
              <a:ea typeface="+mn-ea"/>
              <a:cs typeface="+mn-cs"/>
            </a:endParaRPr>
          </a:p>
        </p:txBody>
      </p:sp>
      <p:pic>
        <p:nvPicPr>
          <p:cNvPr id="13" name="Picture 12">
            <a:extLst>
              <a:ext uri="{FF2B5EF4-FFF2-40B4-BE49-F238E27FC236}">
                <a16:creationId xmlns:a16="http://schemas.microsoft.com/office/drawing/2014/main" id="{5208E011-20E7-E042-8138-08447FF3ED00}"/>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396918" y="6404770"/>
            <a:ext cx="1970121" cy="398660"/>
          </a:xfrm>
          <a:prstGeom prst="rect">
            <a:avLst/>
          </a:prstGeom>
        </p:spPr>
      </p:pic>
    </p:spTree>
    <p:extLst>
      <p:ext uri="{BB962C8B-B14F-4D97-AF65-F5344CB8AC3E}">
        <p14:creationId xmlns:p14="http://schemas.microsoft.com/office/powerpoint/2010/main" val="20949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ctr">
            <a:noAutofit/>
          </a:bodyPr>
          <a:lstStyle>
            <a:lvl1pPr>
              <a:defRPr sz="32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cxnSp>
        <p:nvCxnSpPr>
          <p:cNvPr id="19" name="Straight Connector 18">
            <a:extLst>
              <a:ext uri="{FF2B5EF4-FFF2-40B4-BE49-F238E27FC236}">
                <a16:creationId xmlns:a16="http://schemas.microsoft.com/office/drawing/2014/main" id="{242BF4A7-EB4E-8366-4011-2F4543630FB7}"/>
              </a:ext>
            </a:extLst>
          </p:cNvPr>
          <p:cNvCxnSpPr>
            <a:cxnSpLocks/>
            <a:stCxn id="4" idx="3"/>
          </p:cNvCxnSpPr>
          <p:nvPr userDrawn="1"/>
        </p:nvCxnSpPr>
        <p:spPr>
          <a:xfrm>
            <a:off x="1476827" y="6325233"/>
            <a:ext cx="10150397" cy="8718"/>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07E39F92-E663-E16B-FEC9-67531DD05AF3}"/>
              </a:ext>
            </a:extLst>
          </p:cNvPr>
          <p:cNvSpPr/>
          <p:nvPr userDrawn="1"/>
        </p:nvSpPr>
        <p:spPr>
          <a:xfrm>
            <a:off x="11580935" y="6149775"/>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1" name="Slide Number Placeholder 5">
            <a:extLst>
              <a:ext uri="{FF2B5EF4-FFF2-40B4-BE49-F238E27FC236}">
                <a16:creationId xmlns:a16="http://schemas.microsoft.com/office/drawing/2014/main" id="{D8E448CD-E58E-55FC-226B-4A95825EAC1A}"/>
              </a:ext>
            </a:extLst>
          </p:cNvPr>
          <p:cNvSpPr>
            <a:spLocks noGrp="1"/>
          </p:cNvSpPr>
          <p:nvPr>
            <p:ph type="sldNum" sz="quarter" idx="12"/>
          </p:nvPr>
        </p:nvSpPr>
        <p:spPr>
          <a:xfrm>
            <a:off x="11580934" y="6151389"/>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23" name="Text Placeholder 18">
            <a:extLst>
              <a:ext uri="{FF2B5EF4-FFF2-40B4-BE49-F238E27FC236}">
                <a16:creationId xmlns:a16="http://schemas.microsoft.com/office/drawing/2014/main" id="{9E97F523-5539-3815-536C-9FF0121C4C3B}"/>
              </a:ext>
            </a:extLst>
          </p:cNvPr>
          <p:cNvSpPr>
            <a:spLocks noGrp="1"/>
          </p:cNvSpPr>
          <p:nvPr>
            <p:ph type="body" sz="quarter" idx="13" hasCustomPrompt="1"/>
          </p:nvPr>
        </p:nvSpPr>
        <p:spPr>
          <a:xfrm>
            <a:off x="6118225" y="6490940"/>
            <a:ext cx="5235575" cy="288925"/>
          </a:xfrm>
        </p:spPr>
        <p:txBody>
          <a:bodyPr/>
          <a:lstStyle>
            <a:lvl1pPr algn="r">
              <a:defRPr sz="1400" b="0" i="0">
                <a:solidFill>
                  <a:schemeClr val="accent1"/>
                </a:solidFill>
                <a:latin typeface="Raleway" pitchFamily="2" charset="77"/>
              </a:defRPr>
            </a:lvl1pPr>
          </a:lstStyle>
          <a:p>
            <a:pPr lvl="0"/>
            <a:r>
              <a:rPr lang="en-GB"/>
              <a:t>Click to edit confidentiality level</a:t>
            </a:r>
          </a:p>
        </p:txBody>
      </p:sp>
      <p:pic>
        <p:nvPicPr>
          <p:cNvPr id="4" name="Picture 3">
            <a:extLst>
              <a:ext uri="{FF2B5EF4-FFF2-40B4-BE49-F238E27FC236}">
                <a16:creationId xmlns:a16="http://schemas.microsoft.com/office/drawing/2014/main" id="{72D56D06-2CED-FB94-4585-75CBF76A8F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1012" y="5940384"/>
            <a:ext cx="1225815" cy="769698"/>
          </a:xfrm>
          <a:prstGeom prst="rect">
            <a:avLst/>
          </a:prstGeom>
        </p:spPr>
      </p:pic>
    </p:spTree>
    <p:extLst>
      <p:ext uri="{BB962C8B-B14F-4D97-AF65-F5344CB8AC3E}">
        <p14:creationId xmlns:p14="http://schemas.microsoft.com/office/powerpoint/2010/main" val="185695406"/>
      </p:ext>
    </p:extLst>
  </p:cSld>
  <p:clrMapOvr>
    <a:masterClrMapping/>
  </p:clrMapOvr>
  <p:extLst>
    <p:ext uri="{DCECCB84-F9BA-43D5-87BE-67443E8EF086}">
      <p15:sldGuideLst xmlns:p15="http://schemas.microsoft.com/office/powerpoint/2012/main">
        <p15:guide id="1" orient="horz" pos="2160">
          <p15:clr>
            <a:srgbClr val="FBAE40"/>
          </p15:clr>
        </p15:guide>
        <p15:guide id="2" pos="52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pic>
        <p:nvPicPr>
          <p:cNvPr id="5" name="Picture 4" descr="A picture containing light&#10;&#10;Description automatically generated">
            <a:extLst>
              <a:ext uri="{FF2B5EF4-FFF2-40B4-BE49-F238E27FC236}">
                <a16:creationId xmlns:a16="http://schemas.microsoft.com/office/drawing/2014/main" id="{26E51F96-8A5E-7FC5-4CB7-9042629F4F2A}"/>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10709631" y="5369818"/>
            <a:ext cx="920660" cy="1410047"/>
          </a:xfrm>
          <a:prstGeom prst="rect">
            <a:avLst/>
          </a:prstGeom>
        </p:spPr>
      </p:pic>
      <p:cxnSp>
        <p:nvCxnSpPr>
          <p:cNvPr id="7" name="Straight Connector 6">
            <a:extLst>
              <a:ext uri="{FF2B5EF4-FFF2-40B4-BE49-F238E27FC236}">
                <a16:creationId xmlns:a16="http://schemas.microsoft.com/office/drawing/2014/main" id="{C3CA5994-50B0-B3EE-D8B0-4CCB3DB69B85}"/>
              </a:ext>
            </a:extLst>
          </p:cNvPr>
          <p:cNvCxnSpPr>
            <a:cxnSpLocks/>
            <a:stCxn id="4" idx="3"/>
          </p:cNvCxnSpPr>
          <p:nvPr userDrawn="1"/>
        </p:nvCxnSpPr>
        <p:spPr>
          <a:xfrm>
            <a:off x="1476827" y="6325233"/>
            <a:ext cx="9546773" cy="8718"/>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149775"/>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ctr">
            <a:noAutofit/>
          </a:bodyPr>
          <a:lstStyle>
            <a:lvl1pPr>
              <a:defRPr sz="3200" b="0" i="0">
                <a:solidFill>
                  <a:schemeClr val="accent1"/>
                </a:solidFill>
                <a:latin typeface="Raleway" pitchFamily="2" charset="77"/>
              </a:defRPr>
            </a:lvl1pPr>
          </a:lstStyle>
          <a:p>
            <a:r>
              <a:rPr lang="en-GB"/>
              <a:t>CLICK TO EDIT MASTER TITLE STYLE</a:t>
            </a:r>
            <a:endParaRPr lang="en-RO"/>
          </a:p>
        </p:txBody>
      </p:sp>
      <p:sp>
        <p:nvSpPr>
          <p:cNvPr id="3" name="Content Placeholder 2" hidden="1">
            <a:extLst>
              <a:ext uri="{FF2B5EF4-FFF2-40B4-BE49-F238E27FC236}">
                <a16:creationId xmlns:a16="http://schemas.microsoft.com/office/drawing/2014/main" id="{1BD6C6B7-3A39-E88B-FB10-9C3B2A17D58F}"/>
              </a:ext>
            </a:extLst>
          </p:cNvPr>
          <p:cNvSpPr>
            <a:spLocks noGrp="1"/>
          </p:cNvSpPr>
          <p:nvPr>
            <p:ph idx="1"/>
          </p:nvPr>
        </p:nvSpPr>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151389"/>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9" name="Text Placeholder 18">
            <a:extLst>
              <a:ext uri="{FF2B5EF4-FFF2-40B4-BE49-F238E27FC236}">
                <a16:creationId xmlns:a16="http://schemas.microsoft.com/office/drawing/2014/main" id="{2A87831A-A8BD-DD0F-E62B-82B74AD7487C}"/>
              </a:ext>
            </a:extLst>
          </p:cNvPr>
          <p:cNvSpPr>
            <a:spLocks noGrp="1"/>
          </p:cNvSpPr>
          <p:nvPr>
            <p:ph type="body" sz="quarter" idx="13" hasCustomPrompt="1"/>
          </p:nvPr>
        </p:nvSpPr>
        <p:spPr>
          <a:xfrm>
            <a:off x="5788025" y="6490940"/>
            <a:ext cx="5235575" cy="288925"/>
          </a:xfrm>
        </p:spPr>
        <p:txBody>
          <a:bodyPr/>
          <a:lstStyle>
            <a:lvl1pPr algn="r">
              <a:defRPr sz="1400">
                <a:solidFill>
                  <a:schemeClr val="accent1"/>
                </a:solidFill>
              </a:defRPr>
            </a:lvl1pPr>
          </a:lstStyle>
          <a:p>
            <a:pPr lvl="0"/>
            <a:r>
              <a:rPr lang="en-GB"/>
              <a:t>Click to edit confidentiality level</a:t>
            </a:r>
          </a:p>
        </p:txBody>
      </p:sp>
      <p:pic>
        <p:nvPicPr>
          <p:cNvPr id="4" name="Picture 3">
            <a:extLst>
              <a:ext uri="{FF2B5EF4-FFF2-40B4-BE49-F238E27FC236}">
                <a16:creationId xmlns:a16="http://schemas.microsoft.com/office/drawing/2014/main" id="{AC3F09C2-4E01-7F26-AD2F-59108C9F41B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51012" y="5940384"/>
            <a:ext cx="1225815" cy="769698"/>
          </a:xfrm>
          <a:prstGeom prst="rect">
            <a:avLst/>
          </a:prstGeom>
        </p:spPr>
      </p:pic>
    </p:spTree>
    <p:extLst>
      <p:ext uri="{BB962C8B-B14F-4D97-AF65-F5344CB8AC3E}">
        <p14:creationId xmlns:p14="http://schemas.microsoft.com/office/powerpoint/2010/main" val="3273872512"/>
      </p:ext>
    </p:extLst>
  </p:cSld>
  <p:clrMapOvr>
    <a:masterClrMapping/>
  </p:clrMapOvr>
  <p:extLst>
    <p:ext uri="{DCECCB84-F9BA-43D5-87BE-67443E8EF086}">
      <p15:sldGuideLst xmlns:p15="http://schemas.microsoft.com/office/powerpoint/2012/main">
        <p15:guide id="1" orient="horz" pos="2160">
          <p15:clr>
            <a:srgbClr val="FBAE40"/>
          </p15:clr>
        </p15:guide>
        <p15:guide id="2" pos="52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4" y="6318245"/>
            <a:ext cx="40341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pic>
        <p:nvPicPr>
          <p:cNvPr id="4" name="Content Placeholder 9" descr="Logo&#10;&#10;Description automatically generated">
            <a:extLst>
              <a:ext uri="{FF2B5EF4-FFF2-40B4-BE49-F238E27FC236}">
                <a16:creationId xmlns:a16="http://schemas.microsoft.com/office/drawing/2014/main" id="{56908AD9-DB36-A1A8-B379-16551AF64E29}"/>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1451634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1322111"/>
            <a:ext cx="3403294" cy="3569378"/>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4" y="6318245"/>
            <a:ext cx="40341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5" name="Oval 14">
            <a:extLst>
              <a:ext uri="{FF2B5EF4-FFF2-40B4-BE49-F238E27FC236}">
                <a16:creationId xmlns:a16="http://schemas.microsoft.com/office/drawing/2014/main" id="{416C350C-B7B0-C46C-4B40-A446A0ECDC4E}"/>
              </a:ext>
            </a:extLst>
          </p:cNvPr>
          <p:cNvSpPr/>
          <p:nvPr userDrawn="1"/>
        </p:nvSpPr>
        <p:spPr>
          <a:xfrm>
            <a:off x="5155894" y="2296310"/>
            <a:ext cx="2595179" cy="25951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5" name="Picture Placeholder 4">
            <a:extLst>
              <a:ext uri="{FF2B5EF4-FFF2-40B4-BE49-F238E27FC236}">
                <a16:creationId xmlns:a16="http://schemas.microsoft.com/office/drawing/2014/main" id="{96A690A9-7F1E-AF4F-3C86-A69FD3D6AD56}"/>
              </a:ext>
            </a:extLst>
          </p:cNvPr>
          <p:cNvSpPr>
            <a:spLocks noGrp="1"/>
          </p:cNvSpPr>
          <p:nvPr>
            <p:ph type="pic" sz="quarter" idx="13"/>
          </p:nvPr>
        </p:nvSpPr>
        <p:spPr>
          <a:xfrm>
            <a:off x="5013881" y="2178090"/>
            <a:ext cx="2577351" cy="2577351"/>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7" name="Text Placeholder 36">
            <a:extLst>
              <a:ext uri="{FF2B5EF4-FFF2-40B4-BE49-F238E27FC236}">
                <a16:creationId xmlns:a16="http://schemas.microsoft.com/office/drawing/2014/main" id="{BD0B0046-28B6-23AE-3197-9E66E2FC653F}"/>
              </a:ext>
            </a:extLst>
          </p:cNvPr>
          <p:cNvSpPr>
            <a:spLocks noGrp="1"/>
          </p:cNvSpPr>
          <p:nvPr>
            <p:ph type="body" sz="quarter" idx="18" hasCustomPrompt="1"/>
          </p:nvPr>
        </p:nvSpPr>
        <p:spPr>
          <a:xfrm>
            <a:off x="8089386" y="2601126"/>
            <a:ext cx="3113663" cy="457200"/>
          </a:xfrm>
        </p:spPr>
        <p:txBody>
          <a:bodyPr anchor="ctr">
            <a:noAutofit/>
          </a:bodyPr>
          <a:lstStyle>
            <a:lvl1pPr algn="l">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39" name="Text Placeholder 38">
            <a:extLst>
              <a:ext uri="{FF2B5EF4-FFF2-40B4-BE49-F238E27FC236}">
                <a16:creationId xmlns:a16="http://schemas.microsoft.com/office/drawing/2014/main" id="{5CBCBC4C-84AA-49F0-A910-C19CF96136F4}"/>
              </a:ext>
            </a:extLst>
          </p:cNvPr>
          <p:cNvSpPr>
            <a:spLocks noGrp="1"/>
          </p:cNvSpPr>
          <p:nvPr>
            <p:ph type="body" sz="quarter" idx="19"/>
          </p:nvPr>
        </p:nvSpPr>
        <p:spPr>
          <a:xfrm>
            <a:off x="8060677" y="3131526"/>
            <a:ext cx="3165511" cy="1936225"/>
          </a:xfrm>
        </p:spPr>
        <p:txBody>
          <a:bodyPr>
            <a:noAutofit/>
          </a:bodyPr>
          <a:lstStyle>
            <a:lvl1pPr algn="l">
              <a:defRPr sz="1400" b="0" i="0">
                <a:latin typeface="Raleway" pitchFamily="2" charset="77"/>
              </a:defRPr>
            </a:lvl1pPr>
          </a:lstStyle>
          <a:p>
            <a:pPr lvl="0"/>
            <a:r>
              <a:rPr lang="en-GB"/>
              <a:t>Click to edit Master text style</a:t>
            </a:r>
            <a:endParaRPr lang="en-RO"/>
          </a:p>
        </p:txBody>
      </p:sp>
      <p:pic>
        <p:nvPicPr>
          <p:cNvPr id="4" name="Content Placeholder 9" descr="Logo&#10;&#10;Description automatically generated">
            <a:extLst>
              <a:ext uri="{FF2B5EF4-FFF2-40B4-BE49-F238E27FC236}">
                <a16:creationId xmlns:a16="http://schemas.microsoft.com/office/drawing/2014/main" id="{8AD8A024-DCE5-789A-32A5-D0F0BCAA0D95}"/>
              </a:ext>
            </a:extLst>
          </p:cNvPr>
          <p:cNvPicPr>
            <a:picLocks noChangeAspect="1"/>
          </p:cNvPicPr>
          <p:nvPr userDrawn="1"/>
        </p:nvPicPr>
        <p:blipFill>
          <a:blip r:embed="rId2"/>
          <a:stretch>
            <a:fillRect/>
          </a:stretch>
        </p:blipFill>
        <p:spPr>
          <a:xfrm>
            <a:off x="207653" y="6110992"/>
            <a:ext cx="1221061" cy="630298"/>
          </a:xfrm>
          <a:prstGeom prst="rect">
            <a:avLst/>
          </a:prstGeom>
        </p:spPr>
      </p:pic>
    </p:spTree>
    <p:extLst>
      <p:ext uri="{BB962C8B-B14F-4D97-AF65-F5344CB8AC3E}">
        <p14:creationId xmlns:p14="http://schemas.microsoft.com/office/powerpoint/2010/main" val="3694163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1322111"/>
            <a:ext cx="10515600" cy="769695"/>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4" y="6318245"/>
            <a:ext cx="40341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1" name="Oval 10">
            <a:extLst>
              <a:ext uri="{FF2B5EF4-FFF2-40B4-BE49-F238E27FC236}">
                <a16:creationId xmlns:a16="http://schemas.microsoft.com/office/drawing/2014/main" id="{7CA79227-61FB-60BC-D801-B04B51A8AECE}"/>
              </a:ext>
            </a:extLst>
          </p:cNvPr>
          <p:cNvSpPr/>
          <p:nvPr userDrawn="1"/>
        </p:nvSpPr>
        <p:spPr>
          <a:xfrm>
            <a:off x="2908452" y="2483595"/>
            <a:ext cx="1531345" cy="15313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2" name="Oval 11">
            <a:extLst>
              <a:ext uri="{FF2B5EF4-FFF2-40B4-BE49-F238E27FC236}">
                <a16:creationId xmlns:a16="http://schemas.microsoft.com/office/drawing/2014/main" id="{6F00E9A9-1C07-CC9B-6AD4-CA5B51D220CE}"/>
              </a:ext>
            </a:extLst>
          </p:cNvPr>
          <p:cNvSpPr/>
          <p:nvPr userDrawn="1"/>
        </p:nvSpPr>
        <p:spPr>
          <a:xfrm>
            <a:off x="5277078" y="2296308"/>
            <a:ext cx="1531345" cy="15313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3" name="Oval 12">
            <a:extLst>
              <a:ext uri="{FF2B5EF4-FFF2-40B4-BE49-F238E27FC236}">
                <a16:creationId xmlns:a16="http://schemas.microsoft.com/office/drawing/2014/main" id="{0BF37728-4C18-0518-C46C-2B78F10E96D4}"/>
              </a:ext>
            </a:extLst>
          </p:cNvPr>
          <p:cNvSpPr/>
          <p:nvPr userDrawn="1"/>
        </p:nvSpPr>
        <p:spPr>
          <a:xfrm>
            <a:off x="7656721" y="2461561"/>
            <a:ext cx="1531345" cy="15313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4" name="Oval 13">
            <a:extLst>
              <a:ext uri="{FF2B5EF4-FFF2-40B4-BE49-F238E27FC236}">
                <a16:creationId xmlns:a16="http://schemas.microsoft.com/office/drawing/2014/main" id="{6BE6C9C5-D23D-6B3F-F4CE-55A755C421FC}"/>
              </a:ext>
            </a:extLst>
          </p:cNvPr>
          <p:cNvSpPr/>
          <p:nvPr userDrawn="1"/>
        </p:nvSpPr>
        <p:spPr>
          <a:xfrm>
            <a:off x="9639757" y="2307324"/>
            <a:ext cx="1531345" cy="15313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5" name="Oval 14">
            <a:extLst>
              <a:ext uri="{FF2B5EF4-FFF2-40B4-BE49-F238E27FC236}">
                <a16:creationId xmlns:a16="http://schemas.microsoft.com/office/drawing/2014/main" id="{416C350C-B7B0-C46C-4B40-A446A0ECDC4E}"/>
              </a:ext>
            </a:extLst>
          </p:cNvPr>
          <p:cNvSpPr/>
          <p:nvPr userDrawn="1"/>
        </p:nvSpPr>
        <p:spPr>
          <a:xfrm>
            <a:off x="1013551" y="2483595"/>
            <a:ext cx="1531345" cy="15313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5" name="Picture Placeholder 4">
            <a:extLst>
              <a:ext uri="{FF2B5EF4-FFF2-40B4-BE49-F238E27FC236}">
                <a16:creationId xmlns:a16="http://schemas.microsoft.com/office/drawing/2014/main" id="{96A690A9-7F1E-AF4F-3C86-A69FD3D6AD56}"/>
              </a:ext>
            </a:extLst>
          </p:cNvPr>
          <p:cNvSpPr>
            <a:spLocks noGrp="1"/>
          </p:cNvSpPr>
          <p:nvPr>
            <p:ph type="pic" sz="quarter" idx="13"/>
          </p:nvPr>
        </p:nvSpPr>
        <p:spPr>
          <a:xfrm>
            <a:off x="871538" y="2365375"/>
            <a:ext cx="1520825" cy="1520825"/>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2" name="Picture Placeholder 4">
            <a:extLst>
              <a:ext uri="{FF2B5EF4-FFF2-40B4-BE49-F238E27FC236}">
                <a16:creationId xmlns:a16="http://schemas.microsoft.com/office/drawing/2014/main" id="{29E5580F-D364-0A14-A3C7-D66146A0483A}"/>
              </a:ext>
            </a:extLst>
          </p:cNvPr>
          <p:cNvSpPr>
            <a:spLocks noGrp="1"/>
          </p:cNvSpPr>
          <p:nvPr>
            <p:ph type="pic" sz="quarter" idx="14"/>
          </p:nvPr>
        </p:nvSpPr>
        <p:spPr>
          <a:xfrm>
            <a:off x="3063895" y="2365375"/>
            <a:ext cx="1520825" cy="1520825"/>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3" name="Picture Placeholder 4">
            <a:extLst>
              <a:ext uri="{FF2B5EF4-FFF2-40B4-BE49-F238E27FC236}">
                <a16:creationId xmlns:a16="http://schemas.microsoft.com/office/drawing/2014/main" id="{51967D3B-48B4-8538-CCBB-CCA897624E66}"/>
              </a:ext>
            </a:extLst>
          </p:cNvPr>
          <p:cNvSpPr>
            <a:spLocks noGrp="1"/>
          </p:cNvSpPr>
          <p:nvPr>
            <p:ph type="pic" sz="quarter" idx="15"/>
          </p:nvPr>
        </p:nvSpPr>
        <p:spPr>
          <a:xfrm>
            <a:off x="5245235" y="2365375"/>
            <a:ext cx="1520825" cy="1520825"/>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4" name="Picture Placeholder 4">
            <a:extLst>
              <a:ext uri="{FF2B5EF4-FFF2-40B4-BE49-F238E27FC236}">
                <a16:creationId xmlns:a16="http://schemas.microsoft.com/office/drawing/2014/main" id="{AEB554A5-4FBF-D942-8EE0-DE15D55B40CF}"/>
              </a:ext>
            </a:extLst>
          </p:cNvPr>
          <p:cNvSpPr>
            <a:spLocks noGrp="1"/>
          </p:cNvSpPr>
          <p:nvPr>
            <p:ph type="pic" sz="quarter" idx="16"/>
          </p:nvPr>
        </p:nvSpPr>
        <p:spPr>
          <a:xfrm>
            <a:off x="7569794" y="2365375"/>
            <a:ext cx="1520825" cy="1520825"/>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5" name="Picture Placeholder 4">
            <a:extLst>
              <a:ext uri="{FF2B5EF4-FFF2-40B4-BE49-F238E27FC236}">
                <a16:creationId xmlns:a16="http://schemas.microsoft.com/office/drawing/2014/main" id="{B7D5DE5E-7754-E619-0B37-872156ACC6E1}"/>
              </a:ext>
            </a:extLst>
          </p:cNvPr>
          <p:cNvSpPr>
            <a:spLocks noGrp="1"/>
          </p:cNvSpPr>
          <p:nvPr>
            <p:ph type="pic" sz="quarter" idx="17"/>
          </p:nvPr>
        </p:nvSpPr>
        <p:spPr>
          <a:xfrm>
            <a:off x="9806218" y="2365375"/>
            <a:ext cx="1520825" cy="1520825"/>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7" name="Text Placeholder 36">
            <a:extLst>
              <a:ext uri="{FF2B5EF4-FFF2-40B4-BE49-F238E27FC236}">
                <a16:creationId xmlns:a16="http://schemas.microsoft.com/office/drawing/2014/main" id="{BD0B0046-28B6-23AE-3197-9E66E2FC653F}"/>
              </a:ext>
            </a:extLst>
          </p:cNvPr>
          <p:cNvSpPr>
            <a:spLocks noGrp="1"/>
          </p:cNvSpPr>
          <p:nvPr>
            <p:ph type="body" sz="quarter" idx="18" hasCustomPrompt="1"/>
          </p:nvPr>
        </p:nvSpPr>
        <p:spPr>
          <a:xfrm>
            <a:off x="828809" y="4196078"/>
            <a:ext cx="1716087" cy="457200"/>
          </a:xfrm>
        </p:spPr>
        <p:txBody>
          <a:bodyPr anchor="ctr">
            <a:noAutofit/>
          </a:bodyPr>
          <a:lstStyle>
            <a:lvl1pPr algn="ctr">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39" name="Text Placeholder 38">
            <a:extLst>
              <a:ext uri="{FF2B5EF4-FFF2-40B4-BE49-F238E27FC236}">
                <a16:creationId xmlns:a16="http://schemas.microsoft.com/office/drawing/2014/main" id="{5CBCBC4C-84AA-49F0-A910-C19CF96136F4}"/>
              </a:ext>
            </a:extLst>
          </p:cNvPr>
          <p:cNvSpPr>
            <a:spLocks noGrp="1"/>
          </p:cNvSpPr>
          <p:nvPr>
            <p:ph type="body" sz="quarter" idx="19"/>
          </p:nvPr>
        </p:nvSpPr>
        <p:spPr>
          <a:xfrm>
            <a:off x="800100" y="4726479"/>
            <a:ext cx="1744663" cy="1223962"/>
          </a:xfrm>
        </p:spPr>
        <p:txBody>
          <a:bodyPr>
            <a:noAutofit/>
          </a:bodyPr>
          <a:lstStyle>
            <a:lvl1pPr algn="ctr">
              <a:defRPr sz="1400" b="0" i="0">
                <a:latin typeface="Raleway" pitchFamily="2" charset="77"/>
              </a:defRPr>
            </a:lvl1pPr>
          </a:lstStyle>
          <a:p>
            <a:pPr lvl="0"/>
            <a:r>
              <a:rPr lang="en-GB"/>
              <a:t>Click to edit Master text style</a:t>
            </a:r>
            <a:endParaRPr lang="en-RO"/>
          </a:p>
        </p:txBody>
      </p:sp>
      <p:sp>
        <p:nvSpPr>
          <p:cNvPr id="40" name="Text Placeholder 36">
            <a:extLst>
              <a:ext uri="{FF2B5EF4-FFF2-40B4-BE49-F238E27FC236}">
                <a16:creationId xmlns:a16="http://schemas.microsoft.com/office/drawing/2014/main" id="{63738E05-8F5B-F454-58D8-D6EA20194B47}"/>
              </a:ext>
            </a:extLst>
          </p:cNvPr>
          <p:cNvSpPr>
            <a:spLocks noGrp="1"/>
          </p:cNvSpPr>
          <p:nvPr>
            <p:ph type="body" sz="quarter" idx="20" hasCustomPrompt="1"/>
          </p:nvPr>
        </p:nvSpPr>
        <p:spPr>
          <a:xfrm>
            <a:off x="2868633" y="4196078"/>
            <a:ext cx="1716087" cy="457200"/>
          </a:xfrm>
        </p:spPr>
        <p:txBody>
          <a:bodyPr anchor="ctr">
            <a:noAutofit/>
          </a:bodyPr>
          <a:lstStyle>
            <a:lvl1pPr algn="ctr">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41" name="Text Placeholder 38">
            <a:extLst>
              <a:ext uri="{FF2B5EF4-FFF2-40B4-BE49-F238E27FC236}">
                <a16:creationId xmlns:a16="http://schemas.microsoft.com/office/drawing/2014/main" id="{9C8F02F5-F650-27B8-3E40-D12788190A99}"/>
              </a:ext>
            </a:extLst>
          </p:cNvPr>
          <p:cNvSpPr>
            <a:spLocks noGrp="1"/>
          </p:cNvSpPr>
          <p:nvPr>
            <p:ph type="body" sz="quarter" idx="21"/>
          </p:nvPr>
        </p:nvSpPr>
        <p:spPr>
          <a:xfrm>
            <a:off x="2839924" y="4726479"/>
            <a:ext cx="1744663" cy="1223962"/>
          </a:xfrm>
        </p:spPr>
        <p:txBody>
          <a:bodyPr>
            <a:noAutofit/>
          </a:bodyPr>
          <a:lstStyle>
            <a:lvl1pPr algn="ctr">
              <a:defRPr sz="1400" b="0" i="0">
                <a:latin typeface="Raleway" pitchFamily="2" charset="77"/>
              </a:defRPr>
            </a:lvl1pPr>
          </a:lstStyle>
          <a:p>
            <a:pPr lvl="0"/>
            <a:r>
              <a:rPr lang="en-GB"/>
              <a:t>Click to edit Master text style</a:t>
            </a:r>
            <a:endParaRPr lang="en-RO"/>
          </a:p>
        </p:txBody>
      </p:sp>
      <p:sp>
        <p:nvSpPr>
          <p:cNvPr id="42" name="Text Placeholder 36">
            <a:extLst>
              <a:ext uri="{FF2B5EF4-FFF2-40B4-BE49-F238E27FC236}">
                <a16:creationId xmlns:a16="http://schemas.microsoft.com/office/drawing/2014/main" id="{3114EFB6-6EA5-C8AD-C8F1-7B78A337ADE5}"/>
              </a:ext>
            </a:extLst>
          </p:cNvPr>
          <p:cNvSpPr>
            <a:spLocks noGrp="1"/>
          </p:cNvSpPr>
          <p:nvPr>
            <p:ph type="body" sz="quarter" idx="22" hasCustomPrompt="1"/>
          </p:nvPr>
        </p:nvSpPr>
        <p:spPr>
          <a:xfrm>
            <a:off x="5092336" y="4196078"/>
            <a:ext cx="1716087" cy="457200"/>
          </a:xfrm>
        </p:spPr>
        <p:txBody>
          <a:bodyPr anchor="ctr">
            <a:noAutofit/>
          </a:bodyPr>
          <a:lstStyle>
            <a:lvl1pPr algn="ctr">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43" name="Text Placeholder 38">
            <a:extLst>
              <a:ext uri="{FF2B5EF4-FFF2-40B4-BE49-F238E27FC236}">
                <a16:creationId xmlns:a16="http://schemas.microsoft.com/office/drawing/2014/main" id="{13F23B62-42CD-59DE-3E7A-B146DD9A2F17}"/>
              </a:ext>
            </a:extLst>
          </p:cNvPr>
          <p:cNvSpPr>
            <a:spLocks noGrp="1"/>
          </p:cNvSpPr>
          <p:nvPr>
            <p:ph type="body" sz="quarter" idx="23"/>
          </p:nvPr>
        </p:nvSpPr>
        <p:spPr>
          <a:xfrm>
            <a:off x="5063627" y="4726479"/>
            <a:ext cx="1744663" cy="1223962"/>
          </a:xfrm>
        </p:spPr>
        <p:txBody>
          <a:bodyPr>
            <a:noAutofit/>
          </a:bodyPr>
          <a:lstStyle>
            <a:lvl1pPr algn="ctr">
              <a:defRPr sz="1400" b="0" i="0">
                <a:latin typeface="Raleway" pitchFamily="2" charset="77"/>
              </a:defRPr>
            </a:lvl1pPr>
          </a:lstStyle>
          <a:p>
            <a:pPr lvl="0"/>
            <a:r>
              <a:rPr lang="en-GB"/>
              <a:t>Click to edit Master text style</a:t>
            </a:r>
            <a:endParaRPr lang="en-RO"/>
          </a:p>
        </p:txBody>
      </p:sp>
      <p:sp>
        <p:nvSpPr>
          <p:cNvPr id="44" name="Text Placeholder 36">
            <a:extLst>
              <a:ext uri="{FF2B5EF4-FFF2-40B4-BE49-F238E27FC236}">
                <a16:creationId xmlns:a16="http://schemas.microsoft.com/office/drawing/2014/main" id="{3B3C2F5D-2662-2874-A416-37116900CA9E}"/>
              </a:ext>
            </a:extLst>
          </p:cNvPr>
          <p:cNvSpPr>
            <a:spLocks noGrp="1"/>
          </p:cNvSpPr>
          <p:nvPr>
            <p:ph type="body" sz="quarter" idx="24" hasCustomPrompt="1"/>
          </p:nvPr>
        </p:nvSpPr>
        <p:spPr>
          <a:xfrm>
            <a:off x="7471979" y="4196078"/>
            <a:ext cx="1716087" cy="457200"/>
          </a:xfrm>
        </p:spPr>
        <p:txBody>
          <a:bodyPr anchor="ctr">
            <a:noAutofit/>
          </a:bodyPr>
          <a:lstStyle>
            <a:lvl1pPr algn="ctr">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45" name="Text Placeholder 38">
            <a:extLst>
              <a:ext uri="{FF2B5EF4-FFF2-40B4-BE49-F238E27FC236}">
                <a16:creationId xmlns:a16="http://schemas.microsoft.com/office/drawing/2014/main" id="{762FAD40-C167-D254-A805-7B51F8AA3E0D}"/>
              </a:ext>
            </a:extLst>
          </p:cNvPr>
          <p:cNvSpPr>
            <a:spLocks noGrp="1"/>
          </p:cNvSpPr>
          <p:nvPr>
            <p:ph type="body" sz="quarter" idx="25"/>
          </p:nvPr>
        </p:nvSpPr>
        <p:spPr>
          <a:xfrm>
            <a:off x="7443270" y="4726479"/>
            <a:ext cx="1744663" cy="1223962"/>
          </a:xfrm>
        </p:spPr>
        <p:txBody>
          <a:bodyPr>
            <a:noAutofit/>
          </a:bodyPr>
          <a:lstStyle>
            <a:lvl1pPr algn="ctr">
              <a:defRPr sz="1400" b="0" i="0">
                <a:latin typeface="Raleway" pitchFamily="2" charset="77"/>
              </a:defRPr>
            </a:lvl1pPr>
          </a:lstStyle>
          <a:p>
            <a:pPr lvl="0"/>
            <a:r>
              <a:rPr lang="en-GB"/>
              <a:t>Click to edit Master text style</a:t>
            </a:r>
            <a:endParaRPr lang="en-RO"/>
          </a:p>
        </p:txBody>
      </p:sp>
      <p:sp>
        <p:nvSpPr>
          <p:cNvPr id="46" name="Text Placeholder 36">
            <a:extLst>
              <a:ext uri="{FF2B5EF4-FFF2-40B4-BE49-F238E27FC236}">
                <a16:creationId xmlns:a16="http://schemas.microsoft.com/office/drawing/2014/main" id="{5E9C4030-5B81-96D1-01CB-CCA320BE3602}"/>
              </a:ext>
            </a:extLst>
          </p:cNvPr>
          <p:cNvSpPr>
            <a:spLocks noGrp="1"/>
          </p:cNvSpPr>
          <p:nvPr>
            <p:ph type="body" sz="quarter" idx="26" hasCustomPrompt="1"/>
          </p:nvPr>
        </p:nvSpPr>
        <p:spPr>
          <a:xfrm>
            <a:off x="9806218" y="4196078"/>
            <a:ext cx="1716087" cy="457200"/>
          </a:xfrm>
        </p:spPr>
        <p:txBody>
          <a:bodyPr anchor="ctr">
            <a:noAutofit/>
          </a:bodyPr>
          <a:lstStyle>
            <a:lvl1pPr algn="ctr">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47" name="Text Placeholder 38">
            <a:extLst>
              <a:ext uri="{FF2B5EF4-FFF2-40B4-BE49-F238E27FC236}">
                <a16:creationId xmlns:a16="http://schemas.microsoft.com/office/drawing/2014/main" id="{7D541862-D42E-1B01-03B3-E1C5B09B2697}"/>
              </a:ext>
            </a:extLst>
          </p:cNvPr>
          <p:cNvSpPr>
            <a:spLocks noGrp="1"/>
          </p:cNvSpPr>
          <p:nvPr>
            <p:ph type="body" sz="quarter" idx="27"/>
          </p:nvPr>
        </p:nvSpPr>
        <p:spPr>
          <a:xfrm>
            <a:off x="9777509" y="4726479"/>
            <a:ext cx="1744663" cy="1223962"/>
          </a:xfrm>
        </p:spPr>
        <p:txBody>
          <a:bodyPr>
            <a:noAutofit/>
          </a:bodyPr>
          <a:lstStyle>
            <a:lvl1pPr algn="ctr">
              <a:defRPr sz="1400" b="0" i="0">
                <a:latin typeface="Raleway" pitchFamily="2" charset="77"/>
              </a:defRPr>
            </a:lvl1pPr>
          </a:lstStyle>
          <a:p>
            <a:pPr lvl="0"/>
            <a:r>
              <a:rPr lang="en-GB"/>
              <a:t>Click to edit Master text style</a:t>
            </a:r>
            <a:endParaRPr lang="en-RO"/>
          </a:p>
        </p:txBody>
      </p:sp>
      <p:pic>
        <p:nvPicPr>
          <p:cNvPr id="4" name="Content Placeholder 9" descr="Logo&#10;&#10;Description automatically generated">
            <a:extLst>
              <a:ext uri="{FF2B5EF4-FFF2-40B4-BE49-F238E27FC236}">
                <a16:creationId xmlns:a16="http://schemas.microsoft.com/office/drawing/2014/main" id="{F2E0FFA0-A195-F4BF-4416-9A90ADEE2C6B}"/>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20189043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1292235"/>
            <a:ext cx="10515600" cy="1257116"/>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6" y="6318245"/>
            <a:ext cx="403412"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1" name="Picture Placeholder 3">
            <a:extLst>
              <a:ext uri="{FF2B5EF4-FFF2-40B4-BE49-F238E27FC236}">
                <a16:creationId xmlns:a16="http://schemas.microsoft.com/office/drawing/2014/main" id="{0F050AED-C15E-824D-5B19-81C82DE9437F}"/>
              </a:ext>
            </a:extLst>
          </p:cNvPr>
          <p:cNvSpPr>
            <a:spLocks noGrp="1"/>
          </p:cNvSpPr>
          <p:nvPr>
            <p:ph type="pic" sz="quarter" idx="10"/>
          </p:nvPr>
        </p:nvSpPr>
        <p:spPr>
          <a:xfrm>
            <a:off x="999827" y="3111104"/>
            <a:ext cx="3051755" cy="1830167"/>
          </a:xfrm>
          <a:pattFill prst="pct5">
            <a:fgClr>
              <a:schemeClr val="accent1"/>
            </a:fgClr>
            <a:bgClr>
              <a:schemeClr val="bg1"/>
            </a:bgClr>
          </a:pattFill>
        </p:spPr>
      </p:sp>
      <p:sp>
        <p:nvSpPr>
          <p:cNvPr id="12" name="Picture Placeholder 4">
            <a:extLst>
              <a:ext uri="{FF2B5EF4-FFF2-40B4-BE49-F238E27FC236}">
                <a16:creationId xmlns:a16="http://schemas.microsoft.com/office/drawing/2014/main" id="{1FD98743-6109-1FC9-A476-C1DE4B1DF6B4}"/>
              </a:ext>
            </a:extLst>
          </p:cNvPr>
          <p:cNvSpPr>
            <a:spLocks noGrp="1"/>
          </p:cNvSpPr>
          <p:nvPr>
            <p:ph type="pic" sz="quarter" idx="11"/>
          </p:nvPr>
        </p:nvSpPr>
        <p:spPr>
          <a:xfrm>
            <a:off x="4257841" y="3113221"/>
            <a:ext cx="3372859" cy="1825933"/>
          </a:xfrm>
          <a:pattFill prst="pct5">
            <a:fgClr>
              <a:schemeClr val="accent1"/>
            </a:fgClr>
            <a:bgClr>
              <a:schemeClr val="bg1"/>
            </a:bgClr>
          </a:pattFill>
        </p:spPr>
      </p:sp>
      <p:sp>
        <p:nvSpPr>
          <p:cNvPr id="13" name="Picture Placeholder 8">
            <a:extLst>
              <a:ext uri="{FF2B5EF4-FFF2-40B4-BE49-F238E27FC236}">
                <a16:creationId xmlns:a16="http://schemas.microsoft.com/office/drawing/2014/main" id="{DD0D713B-A960-5AD3-525F-53F9A7C32500}"/>
              </a:ext>
            </a:extLst>
          </p:cNvPr>
          <p:cNvSpPr>
            <a:spLocks noGrp="1"/>
          </p:cNvSpPr>
          <p:nvPr>
            <p:ph type="pic" sz="quarter" idx="13"/>
          </p:nvPr>
        </p:nvSpPr>
        <p:spPr>
          <a:xfrm>
            <a:off x="7836959" y="3111104"/>
            <a:ext cx="3051755" cy="1830167"/>
          </a:xfrm>
          <a:pattFill prst="pct5">
            <a:fgClr>
              <a:schemeClr val="accent1"/>
            </a:fgClr>
            <a:bgClr>
              <a:schemeClr val="bg1"/>
            </a:bgClr>
          </a:pattFill>
        </p:spPr>
      </p:sp>
      <p:sp>
        <p:nvSpPr>
          <p:cNvPr id="14" name="Shape 34">
            <a:extLst>
              <a:ext uri="{FF2B5EF4-FFF2-40B4-BE49-F238E27FC236}">
                <a16:creationId xmlns:a16="http://schemas.microsoft.com/office/drawing/2014/main" id="{E19344EB-D3DE-5E66-BF1F-421BE49A001A}"/>
              </a:ext>
            </a:extLst>
          </p:cNvPr>
          <p:cNvSpPr/>
          <p:nvPr userDrawn="1"/>
        </p:nvSpPr>
        <p:spPr>
          <a:xfrm>
            <a:off x="980777" y="2659621"/>
            <a:ext cx="1270272" cy="353447"/>
          </a:xfrm>
          <a:prstGeom prst="roundRect">
            <a:avLst>
              <a:gd name="adj" fmla="val 50000"/>
            </a:avLst>
          </a:prstGeom>
          <a:solidFill>
            <a:srgbClr val="007BBF"/>
          </a:solidFill>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gn="l">
              <a:defRPr sz="2600" spc="546">
                <a:solidFill>
                  <a:srgbClr val="53585F"/>
                </a:solidFill>
                <a:latin typeface="Lato Semibold"/>
                <a:ea typeface="Lato Semibold"/>
                <a:cs typeface="Lato Semibold"/>
                <a:sym typeface="Lato Semibold"/>
              </a:defRPr>
            </a:lvl1pPr>
          </a:lstStyle>
          <a:p>
            <a:pPr algn="ctr"/>
            <a:r>
              <a:rPr lang="id-ID" sz="1300" b="0" i="0" spc="260">
                <a:solidFill>
                  <a:schemeClr val="bg1"/>
                </a:solidFill>
                <a:latin typeface="Raleway" pitchFamily="2" charset="77"/>
                <a:ea typeface="Lato Semibold" panose="020F0502020204030203" pitchFamily="34" charset="0"/>
                <a:cs typeface="Lato Semibold" panose="020F0502020204030203" pitchFamily="34" charset="0"/>
              </a:rPr>
              <a:t>2012</a:t>
            </a:r>
          </a:p>
        </p:txBody>
      </p:sp>
      <p:sp>
        <p:nvSpPr>
          <p:cNvPr id="15" name="Shape 34">
            <a:extLst>
              <a:ext uri="{FF2B5EF4-FFF2-40B4-BE49-F238E27FC236}">
                <a16:creationId xmlns:a16="http://schemas.microsoft.com/office/drawing/2014/main" id="{57F16E23-954D-04B4-A22C-80E1905649B1}"/>
              </a:ext>
            </a:extLst>
          </p:cNvPr>
          <p:cNvSpPr/>
          <p:nvPr userDrawn="1"/>
        </p:nvSpPr>
        <p:spPr>
          <a:xfrm>
            <a:off x="4238791" y="2659621"/>
            <a:ext cx="1270272" cy="353447"/>
          </a:xfrm>
          <a:prstGeom prst="roundRect">
            <a:avLst>
              <a:gd name="adj" fmla="val 50000"/>
            </a:avLst>
          </a:prstGeom>
          <a:solidFill>
            <a:srgbClr val="007BBF"/>
          </a:solidFill>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gn="l">
              <a:defRPr sz="2600" spc="546">
                <a:solidFill>
                  <a:srgbClr val="53585F"/>
                </a:solidFill>
                <a:latin typeface="Lato Semibold"/>
                <a:ea typeface="Lato Semibold"/>
                <a:cs typeface="Lato Semibold"/>
                <a:sym typeface="Lato Semibold"/>
              </a:defRPr>
            </a:lvl1pPr>
          </a:lstStyle>
          <a:p>
            <a:pPr algn="ctr"/>
            <a:r>
              <a:rPr lang="id-ID" sz="1300" b="0" i="0" spc="260">
                <a:solidFill>
                  <a:schemeClr val="bg1"/>
                </a:solidFill>
                <a:latin typeface="Raleway" pitchFamily="2" charset="77"/>
                <a:ea typeface="Lato Semibold" panose="020F0502020204030203" pitchFamily="34" charset="0"/>
                <a:cs typeface="Lato Semibold" panose="020F0502020204030203" pitchFamily="34" charset="0"/>
              </a:rPr>
              <a:t>201</a:t>
            </a:r>
            <a:r>
              <a:rPr lang="en-US" sz="1300" b="0" i="0" spc="260">
                <a:solidFill>
                  <a:schemeClr val="bg1"/>
                </a:solidFill>
                <a:latin typeface="Raleway" pitchFamily="2" charset="77"/>
                <a:ea typeface="Lato Semibold" panose="020F0502020204030203" pitchFamily="34" charset="0"/>
                <a:cs typeface="Lato Semibold" panose="020F0502020204030203" pitchFamily="34" charset="0"/>
              </a:rPr>
              <a:t>4</a:t>
            </a:r>
            <a:endParaRPr lang="id-ID" sz="1300" b="0" i="0" spc="260">
              <a:solidFill>
                <a:schemeClr val="bg1"/>
              </a:solidFill>
              <a:latin typeface="Raleway" pitchFamily="2" charset="77"/>
              <a:ea typeface="Lato Semibold" panose="020F0502020204030203" pitchFamily="34" charset="0"/>
              <a:cs typeface="Lato Semibold" panose="020F0502020204030203" pitchFamily="34" charset="0"/>
            </a:endParaRPr>
          </a:p>
        </p:txBody>
      </p:sp>
      <p:sp>
        <p:nvSpPr>
          <p:cNvPr id="16" name="Shape 34">
            <a:extLst>
              <a:ext uri="{FF2B5EF4-FFF2-40B4-BE49-F238E27FC236}">
                <a16:creationId xmlns:a16="http://schemas.microsoft.com/office/drawing/2014/main" id="{404D15FB-14E0-E32A-B026-94228C6BDAB3}"/>
              </a:ext>
            </a:extLst>
          </p:cNvPr>
          <p:cNvSpPr/>
          <p:nvPr userDrawn="1"/>
        </p:nvSpPr>
        <p:spPr>
          <a:xfrm>
            <a:off x="7810441" y="2659621"/>
            <a:ext cx="1270272" cy="353447"/>
          </a:xfrm>
          <a:prstGeom prst="roundRect">
            <a:avLst>
              <a:gd name="adj" fmla="val 50000"/>
            </a:avLst>
          </a:prstGeom>
          <a:solidFill>
            <a:srgbClr val="007BBF"/>
          </a:solidFill>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gn="l">
              <a:defRPr sz="2600" spc="546">
                <a:solidFill>
                  <a:srgbClr val="53585F"/>
                </a:solidFill>
                <a:latin typeface="Lato Semibold"/>
                <a:ea typeface="Lato Semibold"/>
                <a:cs typeface="Lato Semibold"/>
                <a:sym typeface="Lato Semibold"/>
              </a:defRPr>
            </a:lvl1pPr>
          </a:lstStyle>
          <a:p>
            <a:pPr algn="ctr"/>
            <a:r>
              <a:rPr lang="id-ID" sz="1300" b="0" i="0" spc="260">
                <a:solidFill>
                  <a:schemeClr val="bg1"/>
                </a:solidFill>
                <a:latin typeface="Raleway" pitchFamily="2" charset="77"/>
                <a:ea typeface="Lato Semibold" panose="020F0502020204030203" pitchFamily="34" charset="0"/>
                <a:cs typeface="Lato Semibold" panose="020F0502020204030203" pitchFamily="34" charset="0"/>
              </a:rPr>
              <a:t>201</a:t>
            </a:r>
            <a:r>
              <a:rPr lang="en-US" sz="1300" b="0" i="0" spc="260">
                <a:solidFill>
                  <a:schemeClr val="bg1"/>
                </a:solidFill>
                <a:latin typeface="Raleway" pitchFamily="2" charset="77"/>
                <a:ea typeface="Lato Semibold" panose="020F0502020204030203" pitchFamily="34" charset="0"/>
                <a:cs typeface="Lato Semibold" panose="020F0502020204030203" pitchFamily="34" charset="0"/>
              </a:rPr>
              <a:t>8</a:t>
            </a:r>
            <a:endParaRPr lang="id-ID" sz="1300" b="0" i="0" spc="260">
              <a:solidFill>
                <a:schemeClr val="bg1"/>
              </a:solidFill>
              <a:latin typeface="Raleway" pitchFamily="2" charset="77"/>
              <a:ea typeface="Lato Semibold" panose="020F0502020204030203" pitchFamily="34" charset="0"/>
              <a:cs typeface="Lato Semibold" panose="020F0502020204030203" pitchFamily="34" charset="0"/>
            </a:endParaRPr>
          </a:p>
        </p:txBody>
      </p:sp>
      <p:sp>
        <p:nvSpPr>
          <p:cNvPr id="17" name="TextBox 16">
            <a:extLst>
              <a:ext uri="{FF2B5EF4-FFF2-40B4-BE49-F238E27FC236}">
                <a16:creationId xmlns:a16="http://schemas.microsoft.com/office/drawing/2014/main" id="{5E436E64-592F-A463-5A93-4F2FCFA777F4}"/>
              </a:ext>
            </a:extLst>
          </p:cNvPr>
          <p:cNvSpPr txBox="1"/>
          <p:nvPr userDrawn="1"/>
        </p:nvSpPr>
        <p:spPr>
          <a:xfrm>
            <a:off x="888974" y="5139723"/>
            <a:ext cx="3162608" cy="726802"/>
          </a:xfrm>
          <a:prstGeom prst="rect">
            <a:avLst/>
          </a:prstGeom>
          <a:noFill/>
        </p:spPr>
        <p:txBody>
          <a:bodyPr wrap="square" rtlCol="0">
            <a:spAutoFit/>
          </a:bodyPr>
          <a:lstStyle/>
          <a:p>
            <a:pPr>
              <a:lnSpc>
                <a:spcPts val="1700"/>
              </a:lnSpc>
            </a:pPr>
            <a:r>
              <a:rPr lang="id-ID" sz="1140" b="0" i="0" spc="-40">
                <a:solidFill>
                  <a:schemeClr val="tx1">
                    <a:lumMod val="75000"/>
                    <a:lumOff val="25000"/>
                  </a:schemeClr>
                </a:solidFill>
                <a:latin typeface="Raleway" pitchFamily="2" charset="77"/>
                <a:ea typeface="Lato regular" panose="020F0502020204030203" pitchFamily="34" charset="0"/>
                <a:cs typeface="Lato regular" panose="020F0502020204030203" pitchFamily="34" charset="0"/>
              </a:rPr>
              <a:t>Dan bek that mdan bek.lorem ipsum dolor sit amet alelon minting hana so tegu eh pue hom hai nyan</a:t>
            </a:r>
          </a:p>
        </p:txBody>
      </p:sp>
      <p:sp>
        <p:nvSpPr>
          <p:cNvPr id="18" name="TextBox 17">
            <a:extLst>
              <a:ext uri="{FF2B5EF4-FFF2-40B4-BE49-F238E27FC236}">
                <a16:creationId xmlns:a16="http://schemas.microsoft.com/office/drawing/2014/main" id="{08CD4ECF-CF4E-790A-C270-F558CC882B4D}"/>
              </a:ext>
            </a:extLst>
          </p:cNvPr>
          <p:cNvSpPr txBox="1"/>
          <p:nvPr userDrawn="1"/>
        </p:nvSpPr>
        <p:spPr>
          <a:xfrm>
            <a:off x="4156356" y="5139723"/>
            <a:ext cx="3654085" cy="528350"/>
          </a:xfrm>
          <a:prstGeom prst="rect">
            <a:avLst/>
          </a:prstGeom>
          <a:noFill/>
        </p:spPr>
        <p:txBody>
          <a:bodyPr wrap="square" rtlCol="0">
            <a:spAutoFit/>
          </a:bodyPr>
          <a:lstStyle/>
          <a:p>
            <a:pPr>
              <a:lnSpc>
                <a:spcPts val="1700"/>
              </a:lnSpc>
            </a:pPr>
            <a:r>
              <a:rPr lang="id-ID" sz="1140" b="0" i="0" spc="-40">
                <a:solidFill>
                  <a:schemeClr val="tx1">
                    <a:lumMod val="75000"/>
                    <a:lumOff val="25000"/>
                  </a:schemeClr>
                </a:solidFill>
                <a:latin typeface="Raleway" pitchFamily="2" charset="77"/>
                <a:ea typeface="Lato regular" panose="020F0502020204030203" pitchFamily="34" charset="0"/>
                <a:cs typeface="Lato regular" panose="020F0502020204030203" pitchFamily="34" charset="0"/>
              </a:rPr>
              <a:t>Dan bek that mdan bek.lorem ipsum dolor sit amet alelon minting hana so tegu eh pue hom hai nyan</a:t>
            </a:r>
          </a:p>
        </p:txBody>
      </p:sp>
      <p:sp>
        <p:nvSpPr>
          <p:cNvPr id="19" name="TextBox 18">
            <a:extLst>
              <a:ext uri="{FF2B5EF4-FFF2-40B4-BE49-F238E27FC236}">
                <a16:creationId xmlns:a16="http://schemas.microsoft.com/office/drawing/2014/main" id="{FAF6F93F-A3FF-CDCF-3AD6-B7086421F90D}"/>
              </a:ext>
            </a:extLst>
          </p:cNvPr>
          <p:cNvSpPr txBox="1"/>
          <p:nvPr userDrawn="1"/>
        </p:nvSpPr>
        <p:spPr>
          <a:xfrm>
            <a:off x="7735812" y="5139723"/>
            <a:ext cx="3162608" cy="726802"/>
          </a:xfrm>
          <a:prstGeom prst="rect">
            <a:avLst/>
          </a:prstGeom>
          <a:noFill/>
        </p:spPr>
        <p:txBody>
          <a:bodyPr wrap="square" rtlCol="0">
            <a:spAutoFit/>
          </a:bodyPr>
          <a:lstStyle/>
          <a:p>
            <a:pPr>
              <a:lnSpc>
                <a:spcPts val="1700"/>
              </a:lnSpc>
            </a:pPr>
            <a:r>
              <a:rPr lang="id-ID" sz="1140" b="0" i="0" spc="-40">
                <a:solidFill>
                  <a:schemeClr val="tx1">
                    <a:lumMod val="75000"/>
                    <a:lumOff val="25000"/>
                  </a:schemeClr>
                </a:solidFill>
                <a:latin typeface="Raleway" pitchFamily="2" charset="77"/>
                <a:ea typeface="Lato regular" panose="020F0502020204030203" pitchFamily="34" charset="0"/>
                <a:cs typeface="Lato regular" panose="020F0502020204030203" pitchFamily="34" charset="0"/>
              </a:rPr>
              <a:t>Dan bek that mdan bek.lorem ipsum dolor sit amet alelon minting hana so tegu eh pue hom hai nyan</a:t>
            </a:r>
          </a:p>
        </p:txBody>
      </p:sp>
      <p:pic>
        <p:nvPicPr>
          <p:cNvPr id="4" name="Content Placeholder 9" descr="Logo&#10;&#10;Description automatically generated">
            <a:extLst>
              <a:ext uri="{FF2B5EF4-FFF2-40B4-BE49-F238E27FC236}">
                <a16:creationId xmlns:a16="http://schemas.microsoft.com/office/drawing/2014/main" id="{F7E2C7E3-5BB9-0AD4-D87C-9F16946182F9}"/>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9586947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6308202" y="1524167"/>
            <a:ext cx="5045597" cy="4351338"/>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8" name="Picture Placeholder 17">
            <a:extLst>
              <a:ext uri="{FF2B5EF4-FFF2-40B4-BE49-F238E27FC236}">
                <a16:creationId xmlns:a16="http://schemas.microsoft.com/office/drawing/2014/main" id="{270F0D55-CB3D-698D-A72F-B17772024DE1}"/>
              </a:ext>
            </a:extLst>
          </p:cNvPr>
          <p:cNvSpPr>
            <a:spLocks noGrp="1"/>
          </p:cNvSpPr>
          <p:nvPr>
            <p:ph type="pic" sz="quarter" idx="13"/>
          </p:nvPr>
        </p:nvSpPr>
        <p:spPr>
          <a:xfrm>
            <a:off x="0" y="1469189"/>
            <a:ext cx="5883273" cy="4406317"/>
          </a:xfrm>
          <a:custGeom>
            <a:avLst/>
            <a:gdLst>
              <a:gd name="connsiteX0" fmla="*/ 0 w 5883273"/>
              <a:gd name="connsiteY0" fmla="*/ 0 h 4406317"/>
              <a:gd name="connsiteX1" fmla="*/ 5451266 w 5883273"/>
              <a:gd name="connsiteY1" fmla="*/ 0 h 4406317"/>
              <a:gd name="connsiteX2" fmla="*/ 5882228 w 5883273"/>
              <a:gd name="connsiteY2" fmla="*/ 460952 h 4406317"/>
              <a:gd name="connsiteX3" fmla="*/ 5636212 w 5883273"/>
              <a:gd name="connsiteY3" fmla="*/ 4004995 h 4406317"/>
              <a:gd name="connsiteX4" fmla="*/ 5288284 w 5883273"/>
              <a:gd name="connsiteY4" fmla="*/ 4398345 h 4406317"/>
              <a:gd name="connsiteX5" fmla="*/ 5205282 w 5883273"/>
              <a:gd name="connsiteY5" fmla="*/ 4406317 h 4406317"/>
              <a:gd name="connsiteX6" fmla="*/ 0 w 5883273"/>
              <a:gd name="connsiteY6" fmla="*/ 4406317 h 4406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83273" h="4406317">
                <a:moveTo>
                  <a:pt x="0" y="0"/>
                </a:moveTo>
                <a:lnTo>
                  <a:pt x="5451266" y="0"/>
                </a:lnTo>
                <a:cubicBezTo>
                  <a:pt x="5701565" y="0"/>
                  <a:pt x="5899458" y="211650"/>
                  <a:pt x="5882228" y="460952"/>
                </a:cubicBezTo>
                <a:lnTo>
                  <a:pt x="5636212" y="4004995"/>
                </a:lnTo>
                <a:cubicBezTo>
                  <a:pt x="5622474" y="4202745"/>
                  <a:pt x="5476582" y="4361697"/>
                  <a:pt x="5288284" y="4398345"/>
                </a:cubicBezTo>
                <a:lnTo>
                  <a:pt x="5205282" y="4406317"/>
                </a:lnTo>
                <a:lnTo>
                  <a:pt x="0" y="4406317"/>
                </a:ln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23" name="Round Same-side Corner of Rectangle 22">
            <a:extLst>
              <a:ext uri="{FF2B5EF4-FFF2-40B4-BE49-F238E27FC236}">
                <a16:creationId xmlns:a16="http://schemas.microsoft.com/office/drawing/2014/main" id="{BCEB2BFD-2528-8E25-AB10-08B61CC51013}"/>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pic>
        <p:nvPicPr>
          <p:cNvPr id="4" name="Content Placeholder 9" descr="Logo&#10;&#10;Description automatically generated">
            <a:extLst>
              <a:ext uri="{FF2B5EF4-FFF2-40B4-BE49-F238E27FC236}">
                <a16:creationId xmlns:a16="http://schemas.microsoft.com/office/drawing/2014/main" id="{483EF1A3-4C0A-D269-AAA9-09F56D826E72}"/>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636306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2005069"/>
            <a:ext cx="5045597" cy="3870435"/>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8" name="Picture Placeholder 17">
            <a:extLst>
              <a:ext uri="{FF2B5EF4-FFF2-40B4-BE49-F238E27FC236}">
                <a16:creationId xmlns:a16="http://schemas.microsoft.com/office/drawing/2014/main" id="{270F0D55-CB3D-698D-A72F-B17772024DE1}"/>
              </a:ext>
            </a:extLst>
          </p:cNvPr>
          <p:cNvSpPr>
            <a:spLocks noGrp="1"/>
          </p:cNvSpPr>
          <p:nvPr>
            <p:ph type="pic" sz="quarter" idx="13"/>
          </p:nvPr>
        </p:nvSpPr>
        <p:spPr>
          <a:xfrm flipH="1">
            <a:off x="6308727" y="1469189"/>
            <a:ext cx="5883273" cy="4406317"/>
          </a:xfrm>
          <a:custGeom>
            <a:avLst/>
            <a:gdLst>
              <a:gd name="connsiteX0" fmla="*/ 0 w 5883273"/>
              <a:gd name="connsiteY0" fmla="*/ 0 h 4406317"/>
              <a:gd name="connsiteX1" fmla="*/ 5451266 w 5883273"/>
              <a:gd name="connsiteY1" fmla="*/ 0 h 4406317"/>
              <a:gd name="connsiteX2" fmla="*/ 5882228 w 5883273"/>
              <a:gd name="connsiteY2" fmla="*/ 460952 h 4406317"/>
              <a:gd name="connsiteX3" fmla="*/ 5636212 w 5883273"/>
              <a:gd name="connsiteY3" fmla="*/ 4004995 h 4406317"/>
              <a:gd name="connsiteX4" fmla="*/ 5288284 w 5883273"/>
              <a:gd name="connsiteY4" fmla="*/ 4398345 h 4406317"/>
              <a:gd name="connsiteX5" fmla="*/ 5205282 w 5883273"/>
              <a:gd name="connsiteY5" fmla="*/ 4406317 h 4406317"/>
              <a:gd name="connsiteX6" fmla="*/ 0 w 5883273"/>
              <a:gd name="connsiteY6" fmla="*/ 4406317 h 4406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83273" h="4406317">
                <a:moveTo>
                  <a:pt x="0" y="0"/>
                </a:moveTo>
                <a:lnTo>
                  <a:pt x="5451266" y="0"/>
                </a:lnTo>
                <a:cubicBezTo>
                  <a:pt x="5701565" y="0"/>
                  <a:pt x="5899458" y="211650"/>
                  <a:pt x="5882228" y="460952"/>
                </a:cubicBezTo>
                <a:lnTo>
                  <a:pt x="5636212" y="4004995"/>
                </a:lnTo>
                <a:cubicBezTo>
                  <a:pt x="5622474" y="4202745"/>
                  <a:pt x="5476582" y="4361697"/>
                  <a:pt x="5288284" y="4398345"/>
                </a:cubicBezTo>
                <a:lnTo>
                  <a:pt x="5205282" y="4406317"/>
                </a:lnTo>
                <a:lnTo>
                  <a:pt x="0" y="4406317"/>
                </a:ln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10" name="Round Same-side Corner of Rectangle 9">
            <a:extLst>
              <a:ext uri="{FF2B5EF4-FFF2-40B4-BE49-F238E27FC236}">
                <a16:creationId xmlns:a16="http://schemas.microsoft.com/office/drawing/2014/main" id="{0F9DB782-BE20-3C11-229C-36C619B311AB}"/>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1" name="Text Placeholder 10">
            <a:extLst>
              <a:ext uri="{FF2B5EF4-FFF2-40B4-BE49-F238E27FC236}">
                <a16:creationId xmlns:a16="http://schemas.microsoft.com/office/drawing/2014/main" id="{8ECD17CD-2DA6-199A-49FE-E55015122BE7}"/>
              </a:ext>
            </a:extLst>
          </p:cNvPr>
          <p:cNvSpPr>
            <a:spLocks noGrp="1"/>
          </p:cNvSpPr>
          <p:nvPr>
            <p:ph type="body" sz="quarter" idx="14" hasCustomPrompt="1"/>
          </p:nvPr>
        </p:nvSpPr>
        <p:spPr>
          <a:xfrm>
            <a:off x="838200" y="1468438"/>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E43937E0-7294-95D6-5668-EF6DE9C4C5F7}"/>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28204548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7504253" y="1524167"/>
            <a:ext cx="3849547" cy="4351338"/>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4" y="6318245"/>
            <a:ext cx="40341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9" name="Picture Placeholder 18">
            <a:extLst>
              <a:ext uri="{FF2B5EF4-FFF2-40B4-BE49-F238E27FC236}">
                <a16:creationId xmlns:a16="http://schemas.microsoft.com/office/drawing/2014/main" id="{FA1BF709-66DC-7384-5D01-2DE99C667F32}"/>
              </a:ext>
            </a:extLst>
          </p:cNvPr>
          <p:cNvSpPr>
            <a:spLocks noGrp="1"/>
          </p:cNvSpPr>
          <p:nvPr>
            <p:ph type="pic" sz="quarter" idx="13"/>
          </p:nvPr>
        </p:nvSpPr>
        <p:spPr>
          <a:xfrm>
            <a:off x="566715" y="1497456"/>
            <a:ext cx="6773792" cy="4378036"/>
          </a:xfrm>
          <a:custGeom>
            <a:avLst/>
            <a:gdLst>
              <a:gd name="connsiteX0" fmla="*/ 526847 w 5316105"/>
              <a:gd name="connsiteY0" fmla="*/ 0 h 3435904"/>
              <a:gd name="connsiteX1" fmla="*/ 3962609 w 5316105"/>
              <a:gd name="connsiteY1" fmla="*/ 0 h 3435904"/>
              <a:gd name="connsiteX2" fmla="*/ 4981251 w 5316105"/>
              <a:gd name="connsiteY2" fmla="*/ 0 h 3435904"/>
              <a:gd name="connsiteX3" fmla="*/ 5314567 w 5316105"/>
              <a:gd name="connsiteY3" fmla="*/ 288370 h 3435904"/>
              <a:gd name="connsiteX4" fmla="*/ 5316105 w 5316105"/>
              <a:gd name="connsiteY4" fmla="*/ 330944 h 3435904"/>
              <a:gd name="connsiteX5" fmla="*/ 5316105 w 5316105"/>
              <a:gd name="connsiteY5" fmla="*/ 374646 h 3435904"/>
              <a:gd name="connsiteX6" fmla="*/ 5125397 w 5316105"/>
              <a:gd name="connsiteY6" fmla="*/ 3125050 h 3435904"/>
              <a:gd name="connsiteX7" fmla="*/ 4854222 w 5316105"/>
              <a:gd name="connsiteY7" fmla="*/ 3431975 h 3435904"/>
              <a:gd name="connsiteX8" fmla="*/ 4813358 w 5316105"/>
              <a:gd name="connsiteY8" fmla="*/ 3435904 h 3435904"/>
              <a:gd name="connsiteX9" fmla="*/ 313321 w 5316105"/>
              <a:gd name="connsiteY9" fmla="*/ 3435904 h 3435904"/>
              <a:gd name="connsiteX10" fmla="*/ 264105 w 5316105"/>
              <a:gd name="connsiteY10" fmla="*/ 3430722 h 3435904"/>
              <a:gd name="connsiteX11" fmla="*/ 1763 w 5316105"/>
              <a:gd name="connsiteY11" fmla="*/ 3149828 h 3435904"/>
              <a:gd name="connsiteX12" fmla="*/ 0 w 5316105"/>
              <a:gd name="connsiteY12" fmla="*/ 3100602 h 3435904"/>
              <a:gd name="connsiteX13" fmla="*/ 0 w 5316105"/>
              <a:gd name="connsiteY13" fmla="*/ 3067123 h 3435904"/>
              <a:gd name="connsiteX14" fmla="*/ 190955 w 5316105"/>
              <a:gd name="connsiteY14" fmla="*/ 313148 h 3435904"/>
              <a:gd name="connsiteX15" fmla="*/ 526847 w 5316105"/>
              <a:gd name="connsiteY15" fmla="*/ 0 h 343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6105" h="3435904">
                <a:moveTo>
                  <a:pt x="526847" y="0"/>
                </a:moveTo>
                <a:lnTo>
                  <a:pt x="3962609" y="0"/>
                </a:lnTo>
                <a:lnTo>
                  <a:pt x="4981251" y="0"/>
                </a:lnTo>
                <a:cubicBezTo>
                  <a:pt x="5151948" y="0"/>
                  <a:pt x="5291373" y="126442"/>
                  <a:pt x="5314567" y="288370"/>
                </a:cubicBezTo>
                <a:lnTo>
                  <a:pt x="5316105" y="330944"/>
                </a:lnTo>
                <a:lnTo>
                  <a:pt x="5316105" y="374646"/>
                </a:lnTo>
                <a:lnTo>
                  <a:pt x="5125397" y="3125050"/>
                </a:lnTo>
                <a:cubicBezTo>
                  <a:pt x="5114689" y="3279351"/>
                  <a:pt x="5000981" y="3403379"/>
                  <a:pt x="4854222" y="3431975"/>
                </a:cubicBezTo>
                <a:lnTo>
                  <a:pt x="4813358" y="3435904"/>
                </a:lnTo>
                <a:lnTo>
                  <a:pt x="313321" y="3435904"/>
                </a:lnTo>
                <a:lnTo>
                  <a:pt x="264105" y="3430722"/>
                </a:lnTo>
                <a:cubicBezTo>
                  <a:pt x="126925" y="3401347"/>
                  <a:pt x="21609" y="3288623"/>
                  <a:pt x="1763" y="3149828"/>
                </a:cubicBezTo>
                <a:lnTo>
                  <a:pt x="0" y="3100602"/>
                </a:lnTo>
                <a:lnTo>
                  <a:pt x="0" y="3067123"/>
                </a:lnTo>
                <a:lnTo>
                  <a:pt x="190955" y="313148"/>
                </a:lnTo>
                <a:cubicBezTo>
                  <a:pt x="203193" y="136804"/>
                  <a:pt x="349962" y="0"/>
                  <a:pt x="526847" y="0"/>
                </a:cubicBez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21" name="Round Same-side Corner of Rectangle 20">
            <a:extLst>
              <a:ext uri="{FF2B5EF4-FFF2-40B4-BE49-F238E27FC236}">
                <a16:creationId xmlns:a16="http://schemas.microsoft.com/office/drawing/2014/main" id="{61FB8074-4BD8-E800-F3A8-A43B6DD738EC}"/>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pic>
        <p:nvPicPr>
          <p:cNvPr id="4" name="Content Placeholder 9" descr="Logo&#10;&#10;Description automatically generated">
            <a:extLst>
              <a:ext uri="{FF2B5EF4-FFF2-40B4-BE49-F238E27FC236}">
                <a16:creationId xmlns:a16="http://schemas.microsoft.com/office/drawing/2014/main" id="{ED20DC08-FE9A-BDF0-DEA8-8FA8E4891D1E}"/>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3425262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066C26-E44F-99C6-ED28-9D9A0518459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RO"/>
          </a:p>
        </p:txBody>
      </p:sp>
      <p:sp>
        <p:nvSpPr>
          <p:cNvPr id="3" name="Text Placeholder 2">
            <a:extLst>
              <a:ext uri="{FF2B5EF4-FFF2-40B4-BE49-F238E27FC236}">
                <a16:creationId xmlns:a16="http://schemas.microsoft.com/office/drawing/2014/main" id="{A254EE8C-9037-0311-FA6E-8625185DF86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4" name="Date Placeholder 3">
            <a:extLst>
              <a:ext uri="{FF2B5EF4-FFF2-40B4-BE49-F238E27FC236}">
                <a16:creationId xmlns:a16="http://schemas.microsoft.com/office/drawing/2014/main" id="{97014609-2069-31D9-EB28-D5EE2043A84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Raleway" pitchFamily="2" charset="77"/>
              </a:defRPr>
            </a:lvl1pPr>
          </a:lstStyle>
          <a:p>
            <a:endParaRPr lang="en-RO"/>
          </a:p>
        </p:txBody>
      </p:sp>
      <p:sp>
        <p:nvSpPr>
          <p:cNvPr id="5" name="Footer Placeholder 4">
            <a:extLst>
              <a:ext uri="{FF2B5EF4-FFF2-40B4-BE49-F238E27FC236}">
                <a16:creationId xmlns:a16="http://schemas.microsoft.com/office/drawing/2014/main" id="{4C6DED9F-9736-585A-4416-8306B609A64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Raleway" pitchFamily="2" charset="77"/>
              </a:defRPr>
            </a:lvl1pPr>
          </a:lstStyle>
          <a:p>
            <a:endParaRPr lang="en-RO"/>
          </a:p>
        </p:txBody>
      </p:sp>
      <p:sp>
        <p:nvSpPr>
          <p:cNvPr id="6" name="Slide Number Placeholder 5">
            <a:extLst>
              <a:ext uri="{FF2B5EF4-FFF2-40B4-BE49-F238E27FC236}">
                <a16:creationId xmlns:a16="http://schemas.microsoft.com/office/drawing/2014/main" id="{D55AABB6-C0A0-6B7E-A311-1589B930117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Raleway" pitchFamily="2" charset="77"/>
              </a:defRPr>
            </a:lvl1pPr>
          </a:lstStyle>
          <a:p>
            <a:fld id="{1D1C8182-8BBE-B542-ADE5-8820B104469B}" type="slidenum">
              <a:rPr lang="en-RO" smtClean="0"/>
              <a:pPr/>
              <a:t>‹#›</a:t>
            </a:fld>
            <a:endParaRPr lang="en-RO"/>
          </a:p>
        </p:txBody>
      </p:sp>
    </p:spTree>
    <p:extLst>
      <p:ext uri="{BB962C8B-B14F-4D97-AF65-F5344CB8AC3E}">
        <p14:creationId xmlns:p14="http://schemas.microsoft.com/office/powerpoint/2010/main" val="14684210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75" r:id="rId3"/>
    <p:sldLayoutId id="2147483678" r:id="rId4"/>
    <p:sldLayoutId id="2147483679" r:id="rId5"/>
    <p:sldLayoutId id="2147483674" r:id="rId6"/>
    <p:sldLayoutId id="2147483660" r:id="rId7"/>
    <p:sldLayoutId id="2147483661" r:id="rId8"/>
    <p:sldLayoutId id="2147483662" r:id="rId9"/>
    <p:sldLayoutId id="2147483665" r:id="rId10"/>
    <p:sldLayoutId id="2147483663" r:id="rId11"/>
    <p:sldLayoutId id="2147483664" r:id="rId12"/>
    <p:sldLayoutId id="2147483671" r:id="rId13"/>
    <p:sldLayoutId id="2147483672" r:id="rId14"/>
    <p:sldLayoutId id="2147483666" r:id="rId15"/>
    <p:sldLayoutId id="2147483673" r:id="rId16"/>
    <p:sldLayoutId id="2147483682" r:id="rId17"/>
    <p:sldLayoutId id="2147483670" r:id="rId18"/>
    <p:sldLayoutId id="2147483676" r:id="rId19"/>
    <p:sldLayoutId id="2147483677" r:id="rId20"/>
    <p:sldLayoutId id="2147483655" r:id="rId21"/>
    <p:sldLayoutId id="2147483680" r:id="rId22"/>
    <p:sldLayoutId id="2147483681" r:id="rId23"/>
    <p:sldLayoutId id="2147483683" r:id="rId24"/>
  </p:sldLayoutIdLst>
  <p:hf hdr="0" ftr="0" dt="0"/>
  <p:txStyles>
    <p:titleStyle>
      <a:lvl1pPr algn="l" defTabSz="914400" rtl="0" eaLnBrk="1" latinLnBrk="0" hangingPunct="1">
        <a:lnSpc>
          <a:spcPct val="90000"/>
        </a:lnSpc>
        <a:spcBef>
          <a:spcPct val="0"/>
        </a:spcBef>
        <a:buNone/>
        <a:defRPr sz="3600" b="0" i="0" kern="1200">
          <a:solidFill>
            <a:schemeClr val="accent1"/>
          </a:solidFill>
          <a:latin typeface="Raleway" pitchFamily="2" charset="77"/>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tx1">
              <a:lumMod val="75000"/>
              <a:lumOff val="25000"/>
            </a:schemeClr>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lumMod val="75000"/>
              <a:lumOff val="25000"/>
            </a:schemeClr>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lumMod val="75000"/>
              <a:lumOff val="25000"/>
            </a:schemeClr>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b="0" i="0" kern="1200">
          <a:solidFill>
            <a:schemeClr val="tx1">
              <a:lumMod val="75000"/>
              <a:lumOff val="25000"/>
            </a:schemeClr>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tx1">
              <a:lumMod val="75000"/>
              <a:lumOff val="25000"/>
            </a:schemeClr>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2CD3024-0AA7-7C5B-6304-5FF398F3820A}"/>
              </a:ext>
            </a:extLst>
          </p:cNvPr>
          <p:cNvPicPr>
            <a:picLocks noChangeAspect="1"/>
          </p:cNvPicPr>
          <p:nvPr/>
        </p:nvPicPr>
        <p:blipFill>
          <a:blip r:embed="rId2"/>
          <a:stretch>
            <a:fillRect/>
          </a:stretch>
        </p:blipFill>
        <p:spPr>
          <a:xfrm>
            <a:off x="0" y="336532"/>
            <a:ext cx="12153900" cy="6845300"/>
          </a:xfrm>
          <a:prstGeom prst="rect">
            <a:avLst/>
          </a:prstGeom>
        </p:spPr>
      </p:pic>
      <p:sp>
        <p:nvSpPr>
          <p:cNvPr id="8" name="TextBox 7">
            <a:extLst>
              <a:ext uri="{FF2B5EF4-FFF2-40B4-BE49-F238E27FC236}">
                <a16:creationId xmlns:a16="http://schemas.microsoft.com/office/drawing/2014/main" id="{C82B697F-0C3B-87C2-25B1-F38697C9C5B3}"/>
              </a:ext>
            </a:extLst>
          </p:cNvPr>
          <p:cNvSpPr txBox="1"/>
          <p:nvPr/>
        </p:nvSpPr>
        <p:spPr>
          <a:xfrm>
            <a:off x="507196" y="2312632"/>
            <a:ext cx="10666610" cy="1446550"/>
          </a:xfrm>
          <a:prstGeom prst="rect">
            <a:avLst/>
          </a:prstGeom>
          <a:noFill/>
        </p:spPr>
        <p:txBody>
          <a:bodyPr wrap="square" rtlCol="0">
            <a:spAutoFit/>
          </a:bodyPr>
          <a:lstStyle/>
          <a:p>
            <a:r>
              <a:rPr lang="en-US" sz="4400" b="1" dirty="0">
                <a:solidFill>
                  <a:schemeClr val="bg1"/>
                </a:solidFill>
                <a:latin typeface="Raleway" pitchFamily="2" charset="77"/>
                <a:ea typeface="+mj-lt"/>
                <a:cs typeface="+mj-lt"/>
              </a:rPr>
              <a:t>mRNA-based vaccines initiatives in LMICs</a:t>
            </a:r>
            <a:endParaRPr lang="en-RO" sz="4400" b="1" dirty="0">
              <a:solidFill>
                <a:schemeClr val="bg1"/>
              </a:solidFill>
              <a:latin typeface=""/>
            </a:endParaRPr>
          </a:p>
        </p:txBody>
      </p:sp>
      <p:sp>
        <p:nvSpPr>
          <p:cNvPr id="9" name="TextBox 8">
            <a:extLst>
              <a:ext uri="{FF2B5EF4-FFF2-40B4-BE49-F238E27FC236}">
                <a16:creationId xmlns:a16="http://schemas.microsoft.com/office/drawing/2014/main" id="{7A456ED9-D24C-4CFB-7028-AB2906F42B25}"/>
              </a:ext>
            </a:extLst>
          </p:cNvPr>
          <p:cNvSpPr txBox="1"/>
          <p:nvPr/>
        </p:nvSpPr>
        <p:spPr>
          <a:xfrm>
            <a:off x="719847" y="4066161"/>
            <a:ext cx="8881353" cy="400110"/>
          </a:xfrm>
          <a:prstGeom prst="rect">
            <a:avLst/>
          </a:prstGeom>
          <a:noFill/>
        </p:spPr>
        <p:txBody>
          <a:bodyPr wrap="square" rtlCol="0">
            <a:spAutoFit/>
          </a:bodyPr>
          <a:lstStyle/>
          <a:p>
            <a:r>
              <a:rPr lang="en-US" sz="2000" dirty="0">
                <a:solidFill>
                  <a:schemeClr val="bg1"/>
                </a:solidFill>
                <a:latin typeface="Raleway" pitchFamily="2" charset="77"/>
              </a:rPr>
              <a:t>15</a:t>
            </a:r>
            <a:r>
              <a:rPr lang="en-US" sz="2000" baseline="30000" dirty="0">
                <a:solidFill>
                  <a:schemeClr val="bg1"/>
                </a:solidFill>
                <a:latin typeface="Raleway" pitchFamily="2" charset="77"/>
              </a:rPr>
              <a:t>th</a:t>
            </a:r>
            <a:r>
              <a:rPr lang="en-US" sz="2000" dirty="0">
                <a:solidFill>
                  <a:schemeClr val="bg1"/>
                </a:solidFill>
                <a:latin typeface="Raleway" pitchFamily="2" charset="77"/>
              </a:rPr>
              <a:t> August 2023</a:t>
            </a:r>
          </a:p>
        </p:txBody>
      </p:sp>
    </p:spTree>
    <p:extLst>
      <p:ext uri="{BB962C8B-B14F-4D97-AF65-F5344CB8AC3E}">
        <p14:creationId xmlns:p14="http://schemas.microsoft.com/office/powerpoint/2010/main" val="40967373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5" name="Group 84">
            <a:extLst>
              <a:ext uri="{FF2B5EF4-FFF2-40B4-BE49-F238E27FC236}">
                <a16:creationId xmlns:a16="http://schemas.microsoft.com/office/drawing/2014/main" id="{99F90C93-5629-4503-FF5A-EB3C8222D6F8}"/>
              </a:ext>
            </a:extLst>
          </p:cNvPr>
          <p:cNvGrpSpPr/>
          <p:nvPr/>
        </p:nvGrpSpPr>
        <p:grpSpPr>
          <a:xfrm>
            <a:off x="170128" y="1428597"/>
            <a:ext cx="4583648" cy="4983333"/>
            <a:chOff x="5620084" y="2410755"/>
            <a:chExt cx="2476167" cy="2981180"/>
          </a:xfrm>
        </p:grpSpPr>
        <p:grpSp>
          <p:nvGrpSpPr>
            <p:cNvPr id="86" name="Group 523">
              <a:extLst>
                <a:ext uri="{FF2B5EF4-FFF2-40B4-BE49-F238E27FC236}">
                  <a16:creationId xmlns:a16="http://schemas.microsoft.com/office/drawing/2014/main" id="{53CE88EB-B5AE-B028-8057-1D382B140258}"/>
                </a:ext>
              </a:extLst>
            </p:cNvPr>
            <p:cNvGrpSpPr/>
            <p:nvPr/>
          </p:nvGrpSpPr>
          <p:grpSpPr>
            <a:xfrm>
              <a:off x="5620084" y="2410755"/>
              <a:ext cx="2476167" cy="2732401"/>
              <a:chOff x="5620084" y="2410755"/>
              <a:chExt cx="2476167" cy="2732401"/>
            </a:xfrm>
          </p:grpSpPr>
          <p:grpSp>
            <p:nvGrpSpPr>
              <p:cNvPr id="88" name="Group 525">
                <a:extLst>
                  <a:ext uri="{FF2B5EF4-FFF2-40B4-BE49-F238E27FC236}">
                    <a16:creationId xmlns:a16="http://schemas.microsoft.com/office/drawing/2014/main" id="{5A160072-0A10-CBA1-48D6-838752ACE22F}"/>
                  </a:ext>
                </a:extLst>
              </p:cNvPr>
              <p:cNvGrpSpPr/>
              <p:nvPr/>
            </p:nvGrpSpPr>
            <p:grpSpPr>
              <a:xfrm>
                <a:off x="7263235" y="4119890"/>
                <a:ext cx="690146" cy="624158"/>
                <a:chOff x="7263235" y="4119890"/>
                <a:chExt cx="690146" cy="624158"/>
              </a:xfrm>
            </p:grpSpPr>
            <p:sp>
              <p:nvSpPr>
                <p:cNvPr id="153" name="Freeform 100">
                  <a:extLst>
                    <a:ext uri="{FF2B5EF4-FFF2-40B4-BE49-F238E27FC236}">
                      <a16:creationId xmlns:a16="http://schemas.microsoft.com/office/drawing/2014/main" id="{1D00B7B1-784A-A87B-ADCD-E5B910FEC263}"/>
                    </a:ext>
                  </a:extLst>
                </p:cNvPr>
                <p:cNvSpPr>
                  <a:spLocks noEditPoints="1"/>
                </p:cNvSpPr>
                <p:nvPr/>
              </p:nvSpPr>
              <p:spPr bwMode="auto">
                <a:xfrm>
                  <a:off x="7702419" y="4211836"/>
                  <a:ext cx="250962" cy="487861"/>
                </a:xfrm>
                <a:custGeom>
                  <a:avLst/>
                  <a:gdLst>
                    <a:gd name="T0" fmla="*/ 212 w 232"/>
                    <a:gd name="T1" fmla="*/ 163 h 451"/>
                    <a:gd name="T2" fmla="*/ 160 w 232"/>
                    <a:gd name="T3" fmla="*/ 44 h 451"/>
                    <a:gd name="T4" fmla="*/ 195 w 232"/>
                    <a:gd name="T5" fmla="*/ 7 h 451"/>
                    <a:gd name="T6" fmla="*/ 197 w 232"/>
                    <a:gd name="T7" fmla="*/ 9 h 451"/>
                    <a:gd name="T8" fmla="*/ 202 w 232"/>
                    <a:gd name="T9" fmla="*/ 16 h 451"/>
                    <a:gd name="T10" fmla="*/ 206 w 232"/>
                    <a:gd name="T11" fmla="*/ 26 h 451"/>
                    <a:gd name="T12" fmla="*/ 212 w 232"/>
                    <a:gd name="T13" fmla="*/ 33 h 451"/>
                    <a:gd name="T14" fmla="*/ 218 w 232"/>
                    <a:gd name="T15" fmla="*/ 51 h 451"/>
                    <a:gd name="T16" fmla="*/ 223 w 232"/>
                    <a:gd name="T17" fmla="*/ 75 h 451"/>
                    <a:gd name="T18" fmla="*/ 227 w 232"/>
                    <a:gd name="T19" fmla="*/ 100 h 451"/>
                    <a:gd name="T20" fmla="*/ 230 w 232"/>
                    <a:gd name="T21" fmla="*/ 118 h 451"/>
                    <a:gd name="T22" fmla="*/ 215 w 232"/>
                    <a:gd name="T23" fmla="*/ 122 h 451"/>
                    <a:gd name="T24" fmla="*/ 204 w 232"/>
                    <a:gd name="T25" fmla="*/ 117 h 451"/>
                    <a:gd name="T26" fmla="*/ 205 w 232"/>
                    <a:gd name="T27" fmla="*/ 134 h 451"/>
                    <a:gd name="T28" fmla="*/ 206 w 232"/>
                    <a:gd name="T29" fmla="*/ 154 h 451"/>
                    <a:gd name="T30" fmla="*/ 198 w 232"/>
                    <a:gd name="T31" fmla="*/ 177 h 451"/>
                    <a:gd name="T32" fmla="*/ 192 w 232"/>
                    <a:gd name="T33" fmla="*/ 215 h 451"/>
                    <a:gd name="T34" fmla="*/ 170 w 232"/>
                    <a:gd name="T35" fmla="*/ 276 h 451"/>
                    <a:gd name="T36" fmla="*/ 158 w 232"/>
                    <a:gd name="T37" fmla="*/ 322 h 451"/>
                    <a:gd name="T38" fmla="*/ 138 w 232"/>
                    <a:gd name="T39" fmla="*/ 385 h 451"/>
                    <a:gd name="T40" fmla="*/ 123 w 232"/>
                    <a:gd name="T41" fmla="*/ 425 h 451"/>
                    <a:gd name="T42" fmla="*/ 111 w 232"/>
                    <a:gd name="T43" fmla="*/ 436 h 451"/>
                    <a:gd name="T44" fmla="*/ 61 w 232"/>
                    <a:gd name="T45" fmla="*/ 450 h 451"/>
                    <a:gd name="T46" fmla="*/ 35 w 232"/>
                    <a:gd name="T47" fmla="*/ 437 h 451"/>
                    <a:gd name="T48" fmla="*/ 27 w 232"/>
                    <a:gd name="T49" fmla="*/ 432 h 451"/>
                    <a:gd name="T50" fmla="*/ 14 w 232"/>
                    <a:gd name="T51" fmla="*/ 402 h 451"/>
                    <a:gd name="T52" fmla="*/ 17 w 232"/>
                    <a:gd name="T53" fmla="*/ 377 h 451"/>
                    <a:gd name="T54" fmla="*/ 5 w 232"/>
                    <a:gd name="T55" fmla="*/ 356 h 451"/>
                    <a:gd name="T56" fmla="*/ 3 w 232"/>
                    <a:gd name="T57" fmla="*/ 335 h 451"/>
                    <a:gd name="T58" fmla="*/ 4 w 232"/>
                    <a:gd name="T59" fmla="*/ 324 h 451"/>
                    <a:gd name="T60" fmla="*/ 14 w 232"/>
                    <a:gd name="T61" fmla="*/ 303 h 451"/>
                    <a:gd name="T62" fmla="*/ 30 w 232"/>
                    <a:gd name="T63" fmla="*/ 278 h 451"/>
                    <a:gd name="T64" fmla="*/ 40 w 232"/>
                    <a:gd name="T65" fmla="*/ 255 h 451"/>
                    <a:gd name="T66" fmla="*/ 39 w 232"/>
                    <a:gd name="T67" fmla="*/ 239 h 451"/>
                    <a:gd name="T68" fmla="*/ 28 w 232"/>
                    <a:gd name="T69" fmla="*/ 209 h 451"/>
                    <a:gd name="T70" fmla="*/ 28 w 232"/>
                    <a:gd name="T71" fmla="*/ 171 h 451"/>
                    <a:gd name="T72" fmla="*/ 40 w 232"/>
                    <a:gd name="T73" fmla="*/ 150 h 451"/>
                    <a:gd name="T74" fmla="*/ 41 w 232"/>
                    <a:gd name="T75" fmla="*/ 135 h 451"/>
                    <a:gd name="T76" fmla="*/ 66 w 232"/>
                    <a:gd name="T77" fmla="*/ 128 h 451"/>
                    <a:gd name="T78" fmla="*/ 76 w 232"/>
                    <a:gd name="T79" fmla="*/ 131 h 451"/>
                    <a:gd name="T80" fmla="*/ 88 w 232"/>
                    <a:gd name="T81" fmla="*/ 122 h 451"/>
                    <a:gd name="T82" fmla="*/ 92 w 232"/>
                    <a:gd name="T83" fmla="*/ 121 h 451"/>
                    <a:gd name="T84" fmla="*/ 101 w 232"/>
                    <a:gd name="T85" fmla="*/ 128 h 451"/>
                    <a:gd name="T86" fmla="*/ 102 w 232"/>
                    <a:gd name="T87" fmla="*/ 121 h 451"/>
                    <a:gd name="T88" fmla="*/ 110 w 232"/>
                    <a:gd name="T89" fmla="*/ 110 h 451"/>
                    <a:gd name="T90" fmla="*/ 120 w 232"/>
                    <a:gd name="T91" fmla="*/ 114 h 451"/>
                    <a:gd name="T92" fmla="*/ 125 w 232"/>
                    <a:gd name="T93" fmla="*/ 106 h 451"/>
                    <a:gd name="T94" fmla="*/ 132 w 232"/>
                    <a:gd name="T95" fmla="*/ 91 h 451"/>
                    <a:gd name="T96" fmla="*/ 139 w 232"/>
                    <a:gd name="T97" fmla="*/ 98 h 451"/>
                    <a:gd name="T98" fmla="*/ 151 w 232"/>
                    <a:gd name="T99" fmla="*/ 87 h 451"/>
                    <a:gd name="T100" fmla="*/ 151 w 232"/>
                    <a:gd name="T101" fmla="*/ 84 h 451"/>
                    <a:gd name="T102" fmla="*/ 145 w 232"/>
                    <a:gd name="T103" fmla="*/ 77 h 451"/>
                    <a:gd name="T104" fmla="*/ 154 w 232"/>
                    <a:gd name="T105" fmla="*/ 71 h 451"/>
                    <a:gd name="T106" fmla="*/ 154 w 232"/>
                    <a:gd name="T107" fmla="*/ 64 h 451"/>
                    <a:gd name="T108" fmla="*/ 153 w 232"/>
                    <a:gd name="T109" fmla="*/ 50 h 451"/>
                    <a:gd name="T110" fmla="*/ 159 w 232"/>
                    <a:gd name="T111" fmla="*/ 57 h 451"/>
                    <a:gd name="T112" fmla="*/ 168 w 232"/>
                    <a:gd name="T113" fmla="*/ 50 h 451"/>
                    <a:gd name="T114" fmla="*/ 179 w 232"/>
                    <a:gd name="T115" fmla="*/ 44 h 451"/>
                    <a:gd name="T116" fmla="*/ 183 w 232"/>
                    <a:gd name="T117" fmla="*/ 26 h 451"/>
                    <a:gd name="T118" fmla="*/ 179 w 232"/>
                    <a:gd name="T119" fmla="*/ 16 h 451"/>
                    <a:gd name="T120" fmla="*/ 187 w 232"/>
                    <a:gd name="T121" fmla="*/ 12 h 451"/>
                    <a:gd name="T122" fmla="*/ 190 w 232"/>
                    <a:gd name="T123" fmla="*/ 3 h 451"/>
                    <a:gd name="T124" fmla="*/ 197 w 232"/>
                    <a:gd name="T125" fmla="*/ 3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451">
                      <a:moveTo>
                        <a:pt x="210" y="167"/>
                      </a:moveTo>
                      <a:lnTo>
                        <a:pt x="210" y="166"/>
                      </a:lnTo>
                      <a:lnTo>
                        <a:pt x="210" y="163"/>
                      </a:lnTo>
                      <a:lnTo>
                        <a:pt x="211" y="163"/>
                      </a:lnTo>
                      <a:lnTo>
                        <a:pt x="211" y="162"/>
                      </a:lnTo>
                      <a:lnTo>
                        <a:pt x="211" y="161"/>
                      </a:lnTo>
                      <a:lnTo>
                        <a:pt x="212" y="160"/>
                      </a:lnTo>
                      <a:lnTo>
                        <a:pt x="213" y="156"/>
                      </a:lnTo>
                      <a:lnTo>
                        <a:pt x="215" y="156"/>
                      </a:lnTo>
                      <a:lnTo>
                        <a:pt x="215" y="155"/>
                      </a:lnTo>
                      <a:lnTo>
                        <a:pt x="215" y="154"/>
                      </a:lnTo>
                      <a:lnTo>
                        <a:pt x="216" y="154"/>
                      </a:lnTo>
                      <a:lnTo>
                        <a:pt x="216" y="155"/>
                      </a:lnTo>
                      <a:lnTo>
                        <a:pt x="215" y="157"/>
                      </a:lnTo>
                      <a:lnTo>
                        <a:pt x="213" y="160"/>
                      </a:lnTo>
                      <a:lnTo>
                        <a:pt x="212" y="163"/>
                      </a:lnTo>
                      <a:lnTo>
                        <a:pt x="211" y="164"/>
                      </a:lnTo>
                      <a:lnTo>
                        <a:pt x="210" y="167"/>
                      </a:lnTo>
                      <a:close/>
                      <a:moveTo>
                        <a:pt x="163" y="42"/>
                      </a:moveTo>
                      <a:lnTo>
                        <a:pt x="165" y="42"/>
                      </a:lnTo>
                      <a:lnTo>
                        <a:pt x="165" y="43"/>
                      </a:lnTo>
                      <a:lnTo>
                        <a:pt x="165" y="44"/>
                      </a:lnTo>
                      <a:lnTo>
                        <a:pt x="165" y="45"/>
                      </a:lnTo>
                      <a:lnTo>
                        <a:pt x="165" y="47"/>
                      </a:lnTo>
                      <a:lnTo>
                        <a:pt x="166" y="47"/>
                      </a:lnTo>
                      <a:lnTo>
                        <a:pt x="165" y="47"/>
                      </a:lnTo>
                      <a:lnTo>
                        <a:pt x="163" y="47"/>
                      </a:lnTo>
                      <a:lnTo>
                        <a:pt x="162" y="47"/>
                      </a:lnTo>
                      <a:lnTo>
                        <a:pt x="161" y="47"/>
                      </a:lnTo>
                      <a:lnTo>
                        <a:pt x="160" y="47"/>
                      </a:lnTo>
                      <a:lnTo>
                        <a:pt x="160" y="45"/>
                      </a:lnTo>
                      <a:lnTo>
                        <a:pt x="160" y="44"/>
                      </a:lnTo>
                      <a:lnTo>
                        <a:pt x="160" y="43"/>
                      </a:lnTo>
                      <a:lnTo>
                        <a:pt x="160" y="42"/>
                      </a:lnTo>
                      <a:lnTo>
                        <a:pt x="161" y="42"/>
                      </a:lnTo>
                      <a:lnTo>
                        <a:pt x="162" y="42"/>
                      </a:lnTo>
                      <a:lnTo>
                        <a:pt x="162" y="41"/>
                      </a:lnTo>
                      <a:lnTo>
                        <a:pt x="162" y="40"/>
                      </a:lnTo>
                      <a:lnTo>
                        <a:pt x="163" y="40"/>
                      </a:lnTo>
                      <a:lnTo>
                        <a:pt x="165" y="41"/>
                      </a:lnTo>
                      <a:lnTo>
                        <a:pt x="163" y="41"/>
                      </a:lnTo>
                      <a:lnTo>
                        <a:pt x="163" y="42"/>
                      </a:lnTo>
                      <a:close/>
                      <a:moveTo>
                        <a:pt x="197" y="5"/>
                      </a:moveTo>
                      <a:lnTo>
                        <a:pt x="196" y="6"/>
                      </a:lnTo>
                      <a:lnTo>
                        <a:pt x="197" y="7"/>
                      </a:lnTo>
                      <a:lnTo>
                        <a:pt x="197" y="8"/>
                      </a:lnTo>
                      <a:lnTo>
                        <a:pt x="196" y="7"/>
                      </a:lnTo>
                      <a:lnTo>
                        <a:pt x="195" y="7"/>
                      </a:lnTo>
                      <a:lnTo>
                        <a:pt x="195" y="8"/>
                      </a:lnTo>
                      <a:lnTo>
                        <a:pt x="194" y="7"/>
                      </a:lnTo>
                      <a:lnTo>
                        <a:pt x="194" y="6"/>
                      </a:lnTo>
                      <a:lnTo>
                        <a:pt x="194" y="7"/>
                      </a:lnTo>
                      <a:lnTo>
                        <a:pt x="192" y="7"/>
                      </a:lnTo>
                      <a:lnTo>
                        <a:pt x="194" y="8"/>
                      </a:lnTo>
                      <a:lnTo>
                        <a:pt x="192" y="9"/>
                      </a:lnTo>
                      <a:lnTo>
                        <a:pt x="194" y="9"/>
                      </a:lnTo>
                      <a:lnTo>
                        <a:pt x="195" y="9"/>
                      </a:lnTo>
                      <a:lnTo>
                        <a:pt x="194" y="10"/>
                      </a:lnTo>
                      <a:lnTo>
                        <a:pt x="195" y="10"/>
                      </a:lnTo>
                      <a:lnTo>
                        <a:pt x="196" y="10"/>
                      </a:lnTo>
                      <a:lnTo>
                        <a:pt x="196" y="12"/>
                      </a:lnTo>
                      <a:lnTo>
                        <a:pt x="197" y="12"/>
                      </a:lnTo>
                      <a:lnTo>
                        <a:pt x="197" y="10"/>
                      </a:lnTo>
                      <a:lnTo>
                        <a:pt x="197" y="9"/>
                      </a:lnTo>
                      <a:lnTo>
                        <a:pt x="198" y="9"/>
                      </a:lnTo>
                      <a:lnTo>
                        <a:pt x="198" y="10"/>
                      </a:lnTo>
                      <a:lnTo>
                        <a:pt x="198" y="12"/>
                      </a:lnTo>
                      <a:lnTo>
                        <a:pt x="199" y="12"/>
                      </a:lnTo>
                      <a:lnTo>
                        <a:pt x="199" y="13"/>
                      </a:lnTo>
                      <a:lnTo>
                        <a:pt x="199" y="14"/>
                      </a:lnTo>
                      <a:lnTo>
                        <a:pt x="201" y="14"/>
                      </a:lnTo>
                      <a:lnTo>
                        <a:pt x="201" y="13"/>
                      </a:lnTo>
                      <a:lnTo>
                        <a:pt x="202" y="13"/>
                      </a:lnTo>
                      <a:lnTo>
                        <a:pt x="202" y="14"/>
                      </a:lnTo>
                      <a:lnTo>
                        <a:pt x="203" y="14"/>
                      </a:lnTo>
                      <a:lnTo>
                        <a:pt x="203" y="15"/>
                      </a:lnTo>
                      <a:lnTo>
                        <a:pt x="202" y="15"/>
                      </a:lnTo>
                      <a:lnTo>
                        <a:pt x="201" y="15"/>
                      </a:lnTo>
                      <a:lnTo>
                        <a:pt x="202" y="15"/>
                      </a:lnTo>
                      <a:lnTo>
                        <a:pt x="202" y="16"/>
                      </a:lnTo>
                      <a:lnTo>
                        <a:pt x="203" y="16"/>
                      </a:lnTo>
                      <a:lnTo>
                        <a:pt x="203" y="15"/>
                      </a:lnTo>
                      <a:lnTo>
                        <a:pt x="204" y="17"/>
                      </a:lnTo>
                      <a:lnTo>
                        <a:pt x="204" y="19"/>
                      </a:lnTo>
                      <a:lnTo>
                        <a:pt x="204" y="20"/>
                      </a:lnTo>
                      <a:lnTo>
                        <a:pt x="203" y="19"/>
                      </a:lnTo>
                      <a:lnTo>
                        <a:pt x="203" y="17"/>
                      </a:lnTo>
                      <a:lnTo>
                        <a:pt x="203" y="19"/>
                      </a:lnTo>
                      <a:lnTo>
                        <a:pt x="204" y="20"/>
                      </a:lnTo>
                      <a:lnTo>
                        <a:pt x="203" y="21"/>
                      </a:lnTo>
                      <a:lnTo>
                        <a:pt x="203" y="22"/>
                      </a:lnTo>
                      <a:lnTo>
                        <a:pt x="203" y="23"/>
                      </a:lnTo>
                      <a:lnTo>
                        <a:pt x="204" y="23"/>
                      </a:lnTo>
                      <a:lnTo>
                        <a:pt x="205" y="23"/>
                      </a:lnTo>
                      <a:lnTo>
                        <a:pt x="206" y="24"/>
                      </a:lnTo>
                      <a:lnTo>
                        <a:pt x="206" y="26"/>
                      </a:lnTo>
                      <a:lnTo>
                        <a:pt x="206" y="27"/>
                      </a:lnTo>
                      <a:lnTo>
                        <a:pt x="206" y="28"/>
                      </a:lnTo>
                      <a:lnTo>
                        <a:pt x="208" y="28"/>
                      </a:lnTo>
                      <a:lnTo>
                        <a:pt x="208" y="27"/>
                      </a:lnTo>
                      <a:lnTo>
                        <a:pt x="208" y="26"/>
                      </a:lnTo>
                      <a:lnTo>
                        <a:pt x="209" y="26"/>
                      </a:lnTo>
                      <a:lnTo>
                        <a:pt x="209" y="27"/>
                      </a:lnTo>
                      <a:lnTo>
                        <a:pt x="210" y="27"/>
                      </a:lnTo>
                      <a:lnTo>
                        <a:pt x="210" y="28"/>
                      </a:lnTo>
                      <a:lnTo>
                        <a:pt x="211" y="28"/>
                      </a:lnTo>
                      <a:lnTo>
                        <a:pt x="210" y="29"/>
                      </a:lnTo>
                      <a:lnTo>
                        <a:pt x="211" y="29"/>
                      </a:lnTo>
                      <a:lnTo>
                        <a:pt x="211" y="30"/>
                      </a:lnTo>
                      <a:lnTo>
                        <a:pt x="212" y="30"/>
                      </a:lnTo>
                      <a:lnTo>
                        <a:pt x="212" y="31"/>
                      </a:lnTo>
                      <a:lnTo>
                        <a:pt x="212" y="33"/>
                      </a:lnTo>
                      <a:lnTo>
                        <a:pt x="213" y="33"/>
                      </a:lnTo>
                      <a:lnTo>
                        <a:pt x="213" y="34"/>
                      </a:lnTo>
                      <a:lnTo>
                        <a:pt x="215" y="35"/>
                      </a:lnTo>
                      <a:lnTo>
                        <a:pt x="215" y="37"/>
                      </a:lnTo>
                      <a:lnTo>
                        <a:pt x="215" y="40"/>
                      </a:lnTo>
                      <a:lnTo>
                        <a:pt x="215" y="41"/>
                      </a:lnTo>
                      <a:lnTo>
                        <a:pt x="215" y="42"/>
                      </a:lnTo>
                      <a:lnTo>
                        <a:pt x="216" y="43"/>
                      </a:lnTo>
                      <a:lnTo>
                        <a:pt x="216" y="44"/>
                      </a:lnTo>
                      <a:lnTo>
                        <a:pt x="216" y="45"/>
                      </a:lnTo>
                      <a:lnTo>
                        <a:pt x="217" y="45"/>
                      </a:lnTo>
                      <a:lnTo>
                        <a:pt x="218" y="45"/>
                      </a:lnTo>
                      <a:lnTo>
                        <a:pt x="218" y="47"/>
                      </a:lnTo>
                      <a:lnTo>
                        <a:pt x="217" y="48"/>
                      </a:lnTo>
                      <a:lnTo>
                        <a:pt x="218" y="50"/>
                      </a:lnTo>
                      <a:lnTo>
                        <a:pt x="218" y="51"/>
                      </a:lnTo>
                      <a:lnTo>
                        <a:pt x="219" y="51"/>
                      </a:lnTo>
                      <a:lnTo>
                        <a:pt x="219" y="52"/>
                      </a:lnTo>
                      <a:lnTo>
                        <a:pt x="219" y="54"/>
                      </a:lnTo>
                      <a:lnTo>
                        <a:pt x="219" y="55"/>
                      </a:lnTo>
                      <a:lnTo>
                        <a:pt x="219" y="56"/>
                      </a:lnTo>
                      <a:lnTo>
                        <a:pt x="220" y="57"/>
                      </a:lnTo>
                      <a:lnTo>
                        <a:pt x="220" y="58"/>
                      </a:lnTo>
                      <a:lnTo>
                        <a:pt x="220" y="59"/>
                      </a:lnTo>
                      <a:lnTo>
                        <a:pt x="222" y="66"/>
                      </a:lnTo>
                      <a:lnTo>
                        <a:pt x="222" y="69"/>
                      </a:lnTo>
                      <a:lnTo>
                        <a:pt x="222" y="70"/>
                      </a:lnTo>
                      <a:lnTo>
                        <a:pt x="222" y="71"/>
                      </a:lnTo>
                      <a:lnTo>
                        <a:pt x="222" y="72"/>
                      </a:lnTo>
                      <a:lnTo>
                        <a:pt x="222" y="73"/>
                      </a:lnTo>
                      <a:lnTo>
                        <a:pt x="222" y="75"/>
                      </a:lnTo>
                      <a:lnTo>
                        <a:pt x="223" y="75"/>
                      </a:lnTo>
                      <a:lnTo>
                        <a:pt x="223" y="76"/>
                      </a:lnTo>
                      <a:lnTo>
                        <a:pt x="223" y="77"/>
                      </a:lnTo>
                      <a:lnTo>
                        <a:pt x="223" y="79"/>
                      </a:lnTo>
                      <a:lnTo>
                        <a:pt x="223" y="80"/>
                      </a:lnTo>
                      <a:lnTo>
                        <a:pt x="222" y="80"/>
                      </a:lnTo>
                      <a:lnTo>
                        <a:pt x="223" y="82"/>
                      </a:lnTo>
                      <a:lnTo>
                        <a:pt x="223" y="83"/>
                      </a:lnTo>
                      <a:lnTo>
                        <a:pt x="223" y="86"/>
                      </a:lnTo>
                      <a:lnTo>
                        <a:pt x="224" y="89"/>
                      </a:lnTo>
                      <a:lnTo>
                        <a:pt x="224" y="90"/>
                      </a:lnTo>
                      <a:lnTo>
                        <a:pt x="224" y="91"/>
                      </a:lnTo>
                      <a:lnTo>
                        <a:pt x="223" y="91"/>
                      </a:lnTo>
                      <a:lnTo>
                        <a:pt x="224" y="92"/>
                      </a:lnTo>
                      <a:lnTo>
                        <a:pt x="225" y="93"/>
                      </a:lnTo>
                      <a:lnTo>
                        <a:pt x="225" y="94"/>
                      </a:lnTo>
                      <a:lnTo>
                        <a:pt x="227" y="100"/>
                      </a:lnTo>
                      <a:lnTo>
                        <a:pt x="227" y="101"/>
                      </a:lnTo>
                      <a:lnTo>
                        <a:pt x="230" y="103"/>
                      </a:lnTo>
                      <a:lnTo>
                        <a:pt x="230" y="104"/>
                      </a:lnTo>
                      <a:lnTo>
                        <a:pt x="230" y="105"/>
                      </a:lnTo>
                      <a:lnTo>
                        <a:pt x="231" y="105"/>
                      </a:lnTo>
                      <a:lnTo>
                        <a:pt x="231" y="106"/>
                      </a:lnTo>
                      <a:lnTo>
                        <a:pt x="232" y="107"/>
                      </a:lnTo>
                      <a:lnTo>
                        <a:pt x="232" y="110"/>
                      </a:lnTo>
                      <a:lnTo>
                        <a:pt x="231" y="110"/>
                      </a:lnTo>
                      <a:lnTo>
                        <a:pt x="231" y="111"/>
                      </a:lnTo>
                      <a:lnTo>
                        <a:pt x="231" y="112"/>
                      </a:lnTo>
                      <a:lnTo>
                        <a:pt x="231" y="113"/>
                      </a:lnTo>
                      <a:lnTo>
                        <a:pt x="231" y="114"/>
                      </a:lnTo>
                      <a:lnTo>
                        <a:pt x="230" y="115"/>
                      </a:lnTo>
                      <a:lnTo>
                        <a:pt x="230" y="117"/>
                      </a:lnTo>
                      <a:lnTo>
                        <a:pt x="230" y="118"/>
                      </a:lnTo>
                      <a:lnTo>
                        <a:pt x="230" y="119"/>
                      </a:lnTo>
                      <a:lnTo>
                        <a:pt x="226" y="124"/>
                      </a:lnTo>
                      <a:lnTo>
                        <a:pt x="226" y="125"/>
                      </a:lnTo>
                      <a:lnTo>
                        <a:pt x="224" y="128"/>
                      </a:lnTo>
                      <a:lnTo>
                        <a:pt x="223" y="129"/>
                      </a:lnTo>
                      <a:lnTo>
                        <a:pt x="223" y="131"/>
                      </a:lnTo>
                      <a:lnTo>
                        <a:pt x="222" y="131"/>
                      </a:lnTo>
                      <a:lnTo>
                        <a:pt x="220" y="131"/>
                      </a:lnTo>
                      <a:lnTo>
                        <a:pt x="220" y="129"/>
                      </a:lnTo>
                      <a:lnTo>
                        <a:pt x="219" y="128"/>
                      </a:lnTo>
                      <a:lnTo>
                        <a:pt x="217" y="127"/>
                      </a:lnTo>
                      <a:lnTo>
                        <a:pt x="217" y="126"/>
                      </a:lnTo>
                      <a:lnTo>
                        <a:pt x="217" y="124"/>
                      </a:lnTo>
                      <a:lnTo>
                        <a:pt x="216" y="124"/>
                      </a:lnTo>
                      <a:lnTo>
                        <a:pt x="216" y="122"/>
                      </a:lnTo>
                      <a:lnTo>
                        <a:pt x="215" y="122"/>
                      </a:lnTo>
                      <a:lnTo>
                        <a:pt x="215" y="121"/>
                      </a:lnTo>
                      <a:lnTo>
                        <a:pt x="215" y="120"/>
                      </a:lnTo>
                      <a:lnTo>
                        <a:pt x="215" y="119"/>
                      </a:lnTo>
                      <a:lnTo>
                        <a:pt x="215" y="118"/>
                      </a:lnTo>
                      <a:lnTo>
                        <a:pt x="213" y="118"/>
                      </a:lnTo>
                      <a:lnTo>
                        <a:pt x="212" y="117"/>
                      </a:lnTo>
                      <a:lnTo>
                        <a:pt x="213" y="115"/>
                      </a:lnTo>
                      <a:lnTo>
                        <a:pt x="212" y="113"/>
                      </a:lnTo>
                      <a:lnTo>
                        <a:pt x="213" y="113"/>
                      </a:lnTo>
                      <a:lnTo>
                        <a:pt x="212" y="112"/>
                      </a:lnTo>
                      <a:lnTo>
                        <a:pt x="211" y="113"/>
                      </a:lnTo>
                      <a:lnTo>
                        <a:pt x="210" y="113"/>
                      </a:lnTo>
                      <a:lnTo>
                        <a:pt x="208" y="113"/>
                      </a:lnTo>
                      <a:lnTo>
                        <a:pt x="206" y="113"/>
                      </a:lnTo>
                      <a:lnTo>
                        <a:pt x="206" y="114"/>
                      </a:lnTo>
                      <a:lnTo>
                        <a:pt x="204" y="117"/>
                      </a:lnTo>
                      <a:lnTo>
                        <a:pt x="205" y="119"/>
                      </a:lnTo>
                      <a:lnTo>
                        <a:pt x="205" y="120"/>
                      </a:lnTo>
                      <a:lnTo>
                        <a:pt x="205" y="121"/>
                      </a:lnTo>
                      <a:lnTo>
                        <a:pt x="204" y="121"/>
                      </a:lnTo>
                      <a:lnTo>
                        <a:pt x="205" y="121"/>
                      </a:lnTo>
                      <a:lnTo>
                        <a:pt x="205" y="122"/>
                      </a:lnTo>
                      <a:lnTo>
                        <a:pt x="205" y="124"/>
                      </a:lnTo>
                      <a:lnTo>
                        <a:pt x="206" y="125"/>
                      </a:lnTo>
                      <a:lnTo>
                        <a:pt x="206" y="126"/>
                      </a:lnTo>
                      <a:lnTo>
                        <a:pt x="206" y="127"/>
                      </a:lnTo>
                      <a:lnTo>
                        <a:pt x="208" y="128"/>
                      </a:lnTo>
                      <a:lnTo>
                        <a:pt x="206" y="129"/>
                      </a:lnTo>
                      <a:lnTo>
                        <a:pt x="206" y="131"/>
                      </a:lnTo>
                      <a:lnTo>
                        <a:pt x="205" y="132"/>
                      </a:lnTo>
                      <a:lnTo>
                        <a:pt x="205" y="133"/>
                      </a:lnTo>
                      <a:lnTo>
                        <a:pt x="205" y="134"/>
                      </a:lnTo>
                      <a:lnTo>
                        <a:pt x="206" y="135"/>
                      </a:lnTo>
                      <a:lnTo>
                        <a:pt x="209" y="136"/>
                      </a:lnTo>
                      <a:lnTo>
                        <a:pt x="210" y="138"/>
                      </a:lnTo>
                      <a:lnTo>
                        <a:pt x="211" y="138"/>
                      </a:lnTo>
                      <a:lnTo>
                        <a:pt x="211" y="139"/>
                      </a:lnTo>
                      <a:lnTo>
                        <a:pt x="210" y="142"/>
                      </a:lnTo>
                      <a:lnTo>
                        <a:pt x="210" y="143"/>
                      </a:lnTo>
                      <a:lnTo>
                        <a:pt x="210" y="145"/>
                      </a:lnTo>
                      <a:lnTo>
                        <a:pt x="211" y="145"/>
                      </a:lnTo>
                      <a:lnTo>
                        <a:pt x="211" y="146"/>
                      </a:lnTo>
                      <a:lnTo>
                        <a:pt x="211" y="147"/>
                      </a:lnTo>
                      <a:lnTo>
                        <a:pt x="211" y="148"/>
                      </a:lnTo>
                      <a:lnTo>
                        <a:pt x="211" y="149"/>
                      </a:lnTo>
                      <a:lnTo>
                        <a:pt x="209" y="152"/>
                      </a:lnTo>
                      <a:lnTo>
                        <a:pt x="208" y="153"/>
                      </a:lnTo>
                      <a:lnTo>
                        <a:pt x="206" y="154"/>
                      </a:lnTo>
                      <a:lnTo>
                        <a:pt x="206" y="156"/>
                      </a:lnTo>
                      <a:lnTo>
                        <a:pt x="208" y="157"/>
                      </a:lnTo>
                      <a:lnTo>
                        <a:pt x="209" y="159"/>
                      </a:lnTo>
                      <a:lnTo>
                        <a:pt x="210" y="159"/>
                      </a:lnTo>
                      <a:lnTo>
                        <a:pt x="209" y="159"/>
                      </a:lnTo>
                      <a:lnTo>
                        <a:pt x="206" y="160"/>
                      </a:lnTo>
                      <a:lnTo>
                        <a:pt x="205" y="160"/>
                      </a:lnTo>
                      <a:lnTo>
                        <a:pt x="204" y="160"/>
                      </a:lnTo>
                      <a:lnTo>
                        <a:pt x="203" y="160"/>
                      </a:lnTo>
                      <a:lnTo>
                        <a:pt x="203" y="161"/>
                      </a:lnTo>
                      <a:lnTo>
                        <a:pt x="201" y="166"/>
                      </a:lnTo>
                      <a:lnTo>
                        <a:pt x="199" y="169"/>
                      </a:lnTo>
                      <a:lnTo>
                        <a:pt x="197" y="173"/>
                      </a:lnTo>
                      <a:lnTo>
                        <a:pt x="197" y="175"/>
                      </a:lnTo>
                      <a:lnTo>
                        <a:pt x="197" y="176"/>
                      </a:lnTo>
                      <a:lnTo>
                        <a:pt x="198" y="177"/>
                      </a:lnTo>
                      <a:lnTo>
                        <a:pt x="199" y="185"/>
                      </a:lnTo>
                      <a:lnTo>
                        <a:pt x="199" y="188"/>
                      </a:lnTo>
                      <a:lnTo>
                        <a:pt x="199" y="190"/>
                      </a:lnTo>
                      <a:lnTo>
                        <a:pt x="198" y="194"/>
                      </a:lnTo>
                      <a:lnTo>
                        <a:pt x="196" y="198"/>
                      </a:lnTo>
                      <a:lnTo>
                        <a:pt x="196" y="199"/>
                      </a:lnTo>
                      <a:lnTo>
                        <a:pt x="196" y="201"/>
                      </a:lnTo>
                      <a:lnTo>
                        <a:pt x="197" y="201"/>
                      </a:lnTo>
                      <a:lnTo>
                        <a:pt x="197" y="202"/>
                      </a:lnTo>
                      <a:lnTo>
                        <a:pt x="196" y="202"/>
                      </a:lnTo>
                      <a:lnTo>
                        <a:pt x="196" y="204"/>
                      </a:lnTo>
                      <a:lnTo>
                        <a:pt x="195" y="210"/>
                      </a:lnTo>
                      <a:lnTo>
                        <a:pt x="195" y="211"/>
                      </a:lnTo>
                      <a:lnTo>
                        <a:pt x="194" y="211"/>
                      </a:lnTo>
                      <a:lnTo>
                        <a:pt x="194" y="212"/>
                      </a:lnTo>
                      <a:lnTo>
                        <a:pt x="192" y="215"/>
                      </a:lnTo>
                      <a:lnTo>
                        <a:pt x="191" y="218"/>
                      </a:lnTo>
                      <a:lnTo>
                        <a:pt x="189" y="224"/>
                      </a:lnTo>
                      <a:lnTo>
                        <a:pt x="187" y="230"/>
                      </a:lnTo>
                      <a:lnTo>
                        <a:pt x="185" y="232"/>
                      </a:lnTo>
                      <a:lnTo>
                        <a:pt x="182" y="241"/>
                      </a:lnTo>
                      <a:lnTo>
                        <a:pt x="179" y="252"/>
                      </a:lnTo>
                      <a:lnTo>
                        <a:pt x="177" y="258"/>
                      </a:lnTo>
                      <a:lnTo>
                        <a:pt x="177" y="259"/>
                      </a:lnTo>
                      <a:lnTo>
                        <a:pt x="176" y="262"/>
                      </a:lnTo>
                      <a:lnTo>
                        <a:pt x="176" y="261"/>
                      </a:lnTo>
                      <a:lnTo>
                        <a:pt x="175" y="261"/>
                      </a:lnTo>
                      <a:lnTo>
                        <a:pt x="176" y="262"/>
                      </a:lnTo>
                      <a:lnTo>
                        <a:pt x="176" y="264"/>
                      </a:lnTo>
                      <a:lnTo>
                        <a:pt x="173" y="269"/>
                      </a:lnTo>
                      <a:lnTo>
                        <a:pt x="172" y="274"/>
                      </a:lnTo>
                      <a:lnTo>
                        <a:pt x="170" y="276"/>
                      </a:lnTo>
                      <a:lnTo>
                        <a:pt x="169" y="281"/>
                      </a:lnTo>
                      <a:lnTo>
                        <a:pt x="166" y="294"/>
                      </a:lnTo>
                      <a:lnTo>
                        <a:pt x="165" y="294"/>
                      </a:lnTo>
                      <a:lnTo>
                        <a:pt x="165" y="295"/>
                      </a:lnTo>
                      <a:lnTo>
                        <a:pt x="166" y="295"/>
                      </a:lnTo>
                      <a:lnTo>
                        <a:pt x="166" y="296"/>
                      </a:lnTo>
                      <a:lnTo>
                        <a:pt x="165" y="296"/>
                      </a:lnTo>
                      <a:lnTo>
                        <a:pt x="165" y="297"/>
                      </a:lnTo>
                      <a:lnTo>
                        <a:pt x="165" y="299"/>
                      </a:lnTo>
                      <a:lnTo>
                        <a:pt x="165" y="300"/>
                      </a:lnTo>
                      <a:lnTo>
                        <a:pt x="163" y="301"/>
                      </a:lnTo>
                      <a:lnTo>
                        <a:pt x="162" y="303"/>
                      </a:lnTo>
                      <a:lnTo>
                        <a:pt x="162" y="304"/>
                      </a:lnTo>
                      <a:lnTo>
                        <a:pt x="162" y="308"/>
                      </a:lnTo>
                      <a:lnTo>
                        <a:pt x="161" y="309"/>
                      </a:lnTo>
                      <a:lnTo>
                        <a:pt x="158" y="322"/>
                      </a:lnTo>
                      <a:lnTo>
                        <a:pt x="153" y="331"/>
                      </a:lnTo>
                      <a:lnTo>
                        <a:pt x="148" y="341"/>
                      </a:lnTo>
                      <a:lnTo>
                        <a:pt x="148" y="343"/>
                      </a:lnTo>
                      <a:lnTo>
                        <a:pt x="147" y="345"/>
                      </a:lnTo>
                      <a:lnTo>
                        <a:pt x="146" y="355"/>
                      </a:lnTo>
                      <a:lnTo>
                        <a:pt x="145" y="356"/>
                      </a:lnTo>
                      <a:lnTo>
                        <a:pt x="145" y="359"/>
                      </a:lnTo>
                      <a:lnTo>
                        <a:pt x="144" y="363"/>
                      </a:lnTo>
                      <a:lnTo>
                        <a:pt x="142" y="366"/>
                      </a:lnTo>
                      <a:lnTo>
                        <a:pt x="142" y="371"/>
                      </a:lnTo>
                      <a:lnTo>
                        <a:pt x="138" y="383"/>
                      </a:lnTo>
                      <a:lnTo>
                        <a:pt x="138" y="381"/>
                      </a:lnTo>
                      <a:lnTo>
                        <a:pt x="137" y="383"/>
                      </a:lnTo>
                      <a:lnTo>
                        <a:pt x="137" y="384"/>
                      </a:lnTo>
                      <a:lnTo>
                        <a:pt x="138" y="384"/>
                      </a:lnTo>
                      <a:lnTo>
                        <a:pt x="138" y="385"/>
                      </a:lnTo>
                      <a:lnTo>
                        <a:pt x="137" y="392"/>
                      </a:lnTo>
                      <a:lnTo>
                        <a:pt x="134" y="397"/>
                      </a:lnTo>
                      <a:lnTo>
                        <a:pt x="134" y="398"/>
                      </a:lnTo>
                      <a:lnTo>
                        <a:pt x="133" y="398"/>
                      </a:lnTo>
                      <a:lnTo>
                        <a:pt x="133" y="399"/>
                      </a:lnTo>
                      <a:lnTo>
                        <a:pt x="133" y="400"/>
                      </a:lnTo>
                      <a:lnTo>
                        <a:pt x="132" y="401"/>
                      </a:lnTo>
                      <a:lnTo>
                        <a:pt x="130" y="406"/>
                      </a:lnTo>
                      <a:lnTo>
                        <a:pt x="128" y="406"/>
                      </a:lnTo>
                      <a:lnTo>
                        <a:pt x="128" y="408"/>
                      </a:lnTo>
                      <a:lnTo>
                        <a:pt x="128" y="413"/>
                      </a:lnTo>
                      <a:lnTo>
                        <a:pt x="125" y="420"/>
                      </a:lnTo>
                      <a:lnTo>
                        <a:pt x="125" y="421"/>
                      </a:lnTo>
                      <a:lnTo>
                        <a:pt x="125" y="422"/>
                      </a:lnTo>
                      <a:lnTo>
                        <a:pt x="124" y="423"/>
                      </a:lnTo>
                      <a:lnTo>
                        <a:pt x="123" y="425"/>
                      </a:lnTo>
                      <a:lnTo>
                        <a:pt x="123" y="426"/>
                      </a:lnTo>
                      <a:lnTo>
                        <a:pt x="123" y="428"/>
                      </a:lnTo>
                      <a:lnTo>
                        <a:pt x="121" y="428"/>
                      </a:lnTo>
                      <a:lnTo>
                        <a:pt x="121" y="427"/>
                      </a:lnTo>
                      <a:lnTo>
                        <a:pt x="121" y="428"/>
                      </a:lnTo>
                      <a:lnTo>
                        <a:pt x="121" y="429"/>
                      </a:lnTo>
                      <a:lnTo>
                        <a:pt x="120" y="430"/>
                      </a:lnTo>
                      <a:lnTo>
                        <a:pt x="119" y="430"/>
                      </a:lnTo>
                      <a:lnTo>
                        <a:pt x="119" y="432"/>
                      </a:lnTo>
                      <a:lnTo>
                        <a:pt x="117" y="433"/>
                      </a:lnTo>
                      <a:lnTo>
                        <a:pt x="116" y="433"/>
                      </a:lnTo>
                      <a:lnTo>
                        <a:pt x="115" y="434"/>
                      </a:lnTo>
                      <a:lnTo>
                        <a:pt x="113" y="434"/>
                      </a:lnTo>
                      <a:lnTo>
                        <a:pt x="113" y="435"/>
                      </a:lnTo>
                      <a:lnTo>
                        <a:pt x="112" y="435"/>
                      </a:lnTo>
                      <a:lnTo>
                        <a:pt x="111" y="436"/>
                      </a:lnTo>
                      <a:lnTo>
                        <a:pt x="110" y="436"/>
                      </a:lnTo>
                      <a:lnTo>
                        <a:pt x="108" y="437"/>
                      </a:lnTo>
                      <a:lnTo>
                        <a:pt x="106" y="437"/>
                      </a:lnTo>
                      <a:lnTo>
                        <a:pt x="106" y="436"/>
                      </a:lnTo>
                      <a:lnTo>
                        <a:pt x="103" y="436"/>
                      </a:lnTo>
                      <a:lnTo>
                        <a:pt x="99" y="436"/>
                      </a:lnTo>
                      <a:lnTo>
                        <a:pt x="95" y="437"/>
                      </a:lnTo>
                      <a:lnTo>
                        <a:pt x="88" y="440"/>
                      </a:lnTo>
                      <a:lnTo>
                        <a:pt x="84" y="442"/>
                      </a:lnTo>
                      <a:lnTo>
                        <a:pt x="80" y="444"/>
                      </a:lnTo>
                      <a:lnTo>
                        <a:pt x="76" y="448"/>
                      </a:lnTo>
                      <a:lnTo>
                        <a:pt x="75" y="448"/>
                      </a:lnTo>
                      <a:lnTo>
                        <a:pt x="73" y="450"/>
                      </a:lnTo>
                      <a:lnTo>
                        <a:pt x="71" y="450"/>
                      </a:lnTo>
                      <a:lnTo>
                        <a:pt x="62" y="450"/>
                      </a:lnTo>
                      <a:lnTo>
                        <a:pt x="61" y="450"/>
                      </a:lnTo>
                      <a:lnTo>
                        <a:pt x="61" y="451"/>
                      </a:lnTo>
                      <a:lnTo>
                        <a:pt x="60" y="450"/>
                      </a:lnTo>
                      <a:lnTo>
                        <a:pt x="60" y="449"/>
                      </a:lnTo>
                      <a:lnTo>
                        <a:pt x="59" y="449"/>
                      </a:lnTo>
                      <a:lnTo>
                        <a:pt x="59" y="448"/>
                      </a:lnTo>
                      <a:lnTo>
                        <a:pt x="55" y="447"/>
                      </a:lnTo>
                      <a:lnTo>
                        <a:pt x="54" y="446"/>
                      </a:lnTo>
                      <a:lnTo>
                        <a:pt x="53" y="444"/>
                      </a:lnTo>
                      <a:lnTo>
                        <a:pt x="53" y="443"/>
                      </a:lnTo>
                      <a:lnTo>
                        <a:pt x="51" y="442"/>
                      </a:lnTo>
                      <a:lnTo>
                        <a:pt x="48" y="441"/>
                      </a:lnTo>
                      <a:lnTo>
                        <a:pt x="47" y="441"/>
                      </a:lnTo>
                      <a:lnTo>
                        <a:pt x="44" y="440"/>
                      </a:lnTo>
                      <a:lnTo>
                        <a:pt x="40" y="440"/>
                      </a:lnTo>
                      <a:lnTo>
                        <a:pt x="35" y="439"/>
                      </a:lnTo>
                      <a:lnTo>
                        <a:pt x="35" y="437"/>
                      </a:lnTo>
                      <a:lnTo>
                        <a:pt x="34" y="436"/>
                      </a:lnTo>
                      <a:lnTo>
                        <a:pt x="33" y="435"/>
                      </a:lnTo>
                      <a:lnTo>
                        <a:pt x="34" y="435"/>
                      </a:lnTo>
                      <a:lnTo>
                        <a:pt x="34" y="436"/>
                      </a:lnTo>
                      <a:lnTo>
                        <a:pt x="35" y="437"/>
                      </a:lnTo>
                      <a:lnTo>
                        <a:pt x="37" y="437"/>
                      </a:lnTo>
                      <a:lnTo>
                        <a:pt x="38" y="437"/>
                      </a:lnTo>
                      <a:lnTo>
                        <a:pt x="37" y="436"/>
                      </a:lnTo>
                      <a:lnTo>
                        <a:pt x="35" y="435"/>
                      </a:lnTo>
                      <a:lnTo>
                        <a:pt x="34" y="435"/>
                      </a:lnTo>
                      <a:lnTo>
                        <a:pt x="33" y="435"/>
                      </a:lnTo>
                      <a:lnTo>
                        <a:pt x="32" y="434"/>
                      </a:lnTo>
                      <a:lnTo>
                        <a:pt x="31" y="433"/>
                      </a:lnTo>
                      <a:lnTo>
                        <a:pt x="30" y="432"/>
                      </a:lnTo>
                      <a:lnTo>
                        <a:pt x="28" y="432"/>
                      </a:lnTo>
                      <a:lnTo>
                        <a:pt x="27" y="432"/>
                      </a:lnTo>
                      <a:lnTo>
                        <a:pt x="25" y="430"/>
                      </a:lnTo>
                      <a:lnTo>
                        <a:pt x="25" y="429"/>
                      </a:lnTo>
                      <a:lnTo>
                        <a:pt x="25" y="427"/>
                      </a:lnTo>
                      <a:lnTo>
                        <a:pt x="25" y="426"/>
                      </a:lnTo>
                      <a:lnTo>
                        <a:pt x="23" y="422"/>
                      </a:lnTo>
                      <a:lnTo>
                        <a:pt x="21" y="421"/>
                      </a:lnTo>
                      <a:lnTo>
                        <a:pt x="23" y="418"/>
                      </a:lnTo>
                      <a:lnTo>
                        <a:pt x="21" y="416"/>
                      </a:lnTo>
                      <a:lnTo>
                        <a:pt x="20" y="415"/>
                      </a:lnTo>
                      <a:lnTo>
                        <a:pt x="20" y="414"/>
                      </a:lnTo>
                      <a:lnTo>
                        <a:pt x="19" y="413"/>
                      </a:lnTo>
                      <a:lnTo>
                        <a:pt x="18" y="412"/>
                      </a:lnTo>
                      <a:lnTo>
                        <a:pt x="17" y="411"/>
                      </a:lnTo>
                      <a:lnTo>
                        <a:pt x="16" y="409"/>
                      </a:lnTo>
                      <a:lnTo>
                        <a:pt x="14" y="407"/>
                      </a:lnTo>
                      <a:lnTo>
                        <a:pt x="14" y="402"/>
                      </a:lnTo>
                      <a:lnTo>
                        <a:pt x="14" y="397"/>
                      </a:lnTo>
                      <a:lnTo>
                        <a:pt x="13" y="393"/>
                      </a:lnTo>
                      <a:lnTo>
                        <a:pt x="14" y="392"/>
                      </a:lnTo>
                      <a:lnTo>
                        <a:pt x="14" y="391"/>
                      </a:lnTo>
                      <a:lnTo>
                        <a:pt x="14" y="390"/>
                      </a:lnTo>
                      <a:lnTo>
                        <a:pt x="13" y="388"/>
                      </a:lnTo>
                      <a:lnTo>
                        <a:pt x="13" y="387"/>
                      </a:lnTo>
                      <a:lnTo>
                        <a:pt x="13" y="384"/>
                      </a:lnTo>
                      <a:lnTo>
                        <a:pt x="14" y="383"/>
                      </a:lnTo>
                      <a:lnTo>
                        <a:pt x="17" y="381"/>
                      </a:lnTo>
                      <a:lnTo>
                        <a:pt x="17" y="380"/>
                      </a:lnTo>
                      <a:lnTo>
                        <a:pt x="17" y="379"/>
                      </a:lnTo>
                      <a:lnTo>
                        <a:pt x="17" y="378"/>
                      </a:lnTo>
                      <a:lnTo>
                        <a:pt x="18" y="378"/>
                      </a:lnTo>
                      <a:lnTo>
                        <a:pt x="18" y="377"/>
                      </a:lnTo>
                      <a:lnTo>
                        <a:pt x="17" y="377"/>
                      </a:lnTo>
                      <a:lnTo>
                        <a:pt x="16" y="376"/>
                      </a:lnTo>
                      <a:lnTo>
                        <a:pt x="16" y="374"/>
                      </a:lnTo>
                      <a:lnTo>
                        <a:pt x="14" y="373"/>
                      </a:lnTo>
                      <a:lnTo>
                        <a:pt x="13" y="373"/>
                      </a:lnTo>
                      <a:lnTo>
                        <a:pt x="13" y="372"/>
                      </a:lnTo>
                      <a:lnTo>
                        <a:pt x="13" y="371"/>
                      </a:lnTo>
                      <a:lnTo>
                        <a:pt x="13" y="369"/>
                      </a:lnTo>
                      <a:lnTo>
                        <a:pt x="12" y="365"/>
                      </a:lnTo>
                      <a:lnTo>
                        <a:pt x="12" y="364"/>
                      </a:lnTo>
                      <a:lnTo>
                        <a:pt x="11" y="363"/>
                      </a:lnTo>
                      <a:lnTo>
                        <a:pt x="9" y="362"/>
                      </a:lnTo>
                      <a:lnTo>
                        <a:pt x="9" y="360"/>
                      </a:lnTo>
                      <a:lnTo>
                        <a:pt x="7" y="359"/>
                      </a:lnTo>
                      <a:lnTo>
                        <a:pt x="6" y="358"/>
                      </a:lnTo>
                      <a:lnTo>
                        <a:pt x="5" y="357"/>
                      </a:lnTo>
                      <a:lnTo>
                        <a:pt x="5" y="356"/>
                      </a:lnTo>
                      <a:lnTo>
                        <a:pt x="5" y="355"/>
                      </a:lnTo>
                      <a:lnTo>
                        <a:pt x="4" y="353"/>
                      </a:lnTo>
                      <a:lnTo>
                        <a:pt x="4" y="351"/>
                      </a:lnTo>
                      <a:lnTo>
                        <a:pt x="4" y="350"/>
                      </a:lnTo>
                      <a:lnTo>
                        <a:pt x="4" y="349"/>
                      </a:lnTo>
                      <a:lnTo>
                        <a:pt x="3" y="349"/>
                      </a:lnTo>
                      <a:lnTo>
                        <a:pt x="3" y="348"/>
                      </a:lnTo>
                      <a:lnTo>
                        <a:pt x="3" y="346"/>
                      </a:lnTo>
                      <a:lnTo>
                        <a:pt x="3" y="345"/>
                      </a:lnTo>
                      <a:lnTo>
                        <a:pt x="3" y="342"/>
                      </a:lnTo>
                      <a:lnTo>
                        <a:pt x="2" y="341"/>
                      </a:lnTo>
                      <a:lnTo>
                        <a:pt x="2" y="338"/>
                      </a:lnTo>
                      <a:lnTo>
                        <a:pt x="2" y="337"/>
                      </a:lnTo>
                      <a:lnTo>
                        <a:pt x="0" y="336"/>
                      </a:lnTo>
                      <a:lnTo>
                        <a:pt x="2" y="335"/>
                      </a:lnTo>
                      <a:lnTo>
                        <a:pt x="3" y="335"/>
                      </a:lnTo>
                      <a:lnTo>
                        <a:pt x="3" y="336"/>
                      </a:lnTo>
                      <a:lnTo>
                        <a:pt x="3" y="335"/>
                      </a:lnTo>
                      <a:lnTo>
                        <a:pt x="3" y="334"/>
                      </a:lnTo>
                      <a:lnTo>
                        <a:pt x="2" y="334"/>
                      </a:lnTo>
                      <a:lnTo>
                        <a:pt x="2" y="332"/>
                      </a:lnTo>
                      <a:lnTo>
                        <a:pt x="2" y="329"/>
                      </a:lnTo>
                      <a:lnTo>
                        <a:pt x="2" y="328"/>
                      </a:lnTo>
                      <a:lnTo>
                        <a:pt x="2" y="327"/>
                      </a:lnTo>
                      <a:lnTo>
                        <a:pt x="3" y="327"/>
                      </a:lnTo>
                      <a:lnTo>
                        <a:pt x="3" y="325"/>
                      </a:lnTo>
                      <a:lnTo>
                        <a:pt x="3" y="324"/>
                      </a:lnTo>
                      <a:lnTo>
                        <a:pt x="3" y="323"/>
                      </a:lnTo>
                      <a:lnTo>
                        <a:pt x="4" y="323"/>
                      </a:lnTo>
                      <a:lnTo>
                        <a:pt x="4" y="324"/>
                      </a:lnTo>
                      <a:lnTo>
                        <a:pt x="4" y="325"/>
                      </a:lnTo>
                      <a:lnTo>
                        <a:pt x="4" y="324"/>
                      </a:lnTo>
                      <a:lnTo>
                        <a:pt x="4" y="323"/>
                      </a:lnTo>
                      <a:lnTo>
                        <a:pt x="4" y="321"/>
                      </a:lnTo>
                      <a:lnTo>
                        <a:pt x="5" y="320"/>
                      </a:lnTo>
                      <a:lnTo>
                        <a:pt x="7" y="317"/>
                      </a:lnTo>
                      <a:lnTo>
                        <a:pt x="7" y="316"/>
                      </a:lnTo>
                      <a:lnTo>
                        <a:pt x="9" y="316"/>
                      </a:lnTo>
                      <a:lnTo>
                        <a:pt x="9" y="308"/>
                      </a:lnTo>
                      <a:lnTo>
                        <a:pt x="9" y="307"/>
                      </a:lnTo>
                      <a:lnTo>
                        <a:pt x="10" y="306"/>
                      </a:lnTo>
                      <a:lnTo>
                        <a:pt x="10" y="304"/>
                      </a:lnTo>
                      <a:lnTo>
                        <a:pt x="10" y="306"/>
                      </a:lnTo>
                      <a:lnTo>
                        <a:pt x="11" y="306"/>
                      </a:lnTo>
                      <a:lnTo>
                        <a:pt x="11" y="304"/>
                      </a:lnTo>
                      <a:lnTo>
                        <a:pt x="12" y="304"/>
                      </a:lnTo>
                      <a:lnTo>
                        <a:pt x="12" y="303"/>
                      </a:lnTo>
                      <a:lnTo>
                        <a:pt x="14" y="303"/>
                      </a:lnTo>
                      <a:lnTo>
                        <a:pt x="16" y="303"/>
                      </a:lnTo>
                      <a:lnTo>
                        <a:pt x="17" y="303"/>
                      </a:lnTo>
                      <a:lnTo>
                        <a:pt x="18" y="303"/>
                      </a:lnTo>
                      <a:lnTo>
                        <a:pt x="19" y="302"/>
                      </a:lnTo>
                      <a:lnTo>
                        <a:pt x="20" y="301"/>
                      </a:lnTo>
                      <a:lnTo>
                        <a:pt x="20" y="300"/>
                      </a:lnTo>
                      <a:lnTo>
                        <a:pt x="21" y="296"/>
                      </a:lnTo>
                      <a:lnTo>
                        <a:pt x="23" y="290"/>
                      </a:lnTo>
                      <a:lnTo>
                        <a:pt x="25" y="287"/>
                      </a:lnTo>
                      <a:lnTo>
                        <a:pt x="25" y="286"/>
                      </a:lnTo>
                      <a:lnTo>
                        <a:pt x="26" y="286"/>
                      </a:lnTo>
                      <a:lnTo>
                        <a:pt x="27" y="285"/>
                      </a:lnTo>
                      <a:lnTo>
                        <a:pt x="28" y="282"/>
                      </a:lnTo>
                      <a:lnTo>
                        <a:pt x="28" y="281"/>
                      </a:lnTo>
                      <a:lnTo>
                        <a:pt x="30" y="279"/>
                      </a:lnTo>
                      <a:lnTo>
                        <a:pt x="30" y="278"/>
                      </a:lnTo>
                      <a:lnTo>
                        <a:pt x="31" y="276"/>
                      </a:lnTo>
                      <a:lnTo>
                        <a:pt x="31" y="278"/>
                      </a:lnTo>
                      <a:lnTo>
                        <a:pt x="32" y="275"/>
                      </a:lnTo>
                      <a:lnTo>
                        <a:pt x="33" y="274"/>
                      </a:lnTo>
                      <a:lnTo>
                        <a:pt x="34" y="273"/>
                      </a:lnTo>
                      <a:lnTo>
                        <a:pt x="34" y="272"/>
                      </a:lnTo>
                      <a:lnTo>
                        <a:pt x="37" y="267"/>
                      </a:lnTo>
                      <a:lnTo>
                        <a:pt x="37" y="266"/>
                      </a:lnTo>
                      <a:lnTo>
                        <a:pt x="39" y="264"/>
                      </a:lnTo>
                      <a:lnTo>
                        <a:pt x="40" y="262"/>
                      </a:lnTo>
                      <a:lnTo>
                        <a:pt x="40" y="261"/>
                      </a:lnTo>
                      <a:lnTo>
                        <a:pt x="41" y="260"/>
                      </a:lnTo>
                      <a:lnTo>
                        <a:pt x="41" y="258"/>
                      </a:lnTo>
                      <a:lnTo>
                        <a:pt x="41" y="257"/>
                      </a:lnTo>
                      <a:lnTo>
                        <a:pt x="40" y="257"/>
                      </a:lnTo>
                      <a:lnTo>
                        <a:pt x="40" y="255"/>
                      </a:lnTo>
                      <a:lnTo>
                        <a:pt x="39" y="255"/>
                      </a:lnTo>
                      <a:lnTo>
                        <a:pt x="38" y="254"/>
                      </a:lnTo>
                      <a:lnTo>
                        <a:pt x="38" y="253"/>
                      </a:lnTo>
                      <a:lnTo>
                        <a:pt x="39" y="252"/>
                      </a:lnTo>
                      <a:lnTo>
                        <a:pt x="39" y="251"/>
                      </a:lnTo>
                      <a:lnTo>
                        <a:pt x="39" y="250"/>
                      </a:lnTo>
                      <a:lnTo>
                        <a:pt x="39" y="248"/>
                      </a:lnTo>
                      <a:lnTo>
                        <a:pt x="39" y="247"/>
                      </a:lnTo>
                      <a:lnTo>
                        <a:pt x="40" y="247"/>
                      </a:lnTo>
                      <a:lnTo>
                        <a:pt x="40" y="246"/>
                      </a:lnTo>
                      <a:lnTo>
                        <a:pt x="41" y="246"/>
                      </a:lnTo>
                      <a:lnTo>
                        <a:pt x="41" y="245"/>
                      </a:lnTo>
                      <a:lnTo>
                        <a:pt x="41" y="244"/>
                      </a:lnTo>
                      <a:lnTo>
                        <a:pt x="40" y="241"/>
                      </a:lnTo>
                      <a:lnTo>
                        <a:pt x="40" y="240"/>
                      </a:lnTo>
                      <a:lnTo>
                        <a:pt x="39" y="239"/>
                      </a:lnTo>
                      <a:lnTo>
                        <a:pt x="38" y="238"/>
                      </a:lnTo>
                      <a:lnTo>
                        <a:pt x="38" y="237"/>
                      </a:lnTo>
                      <a:lnTo>
                        <a:pt x="37" y="236"/>
                      </a:lnTo>
                      <a:lnTo>
                        <a:pt x="34" y="232"/>
                      </a:lnTo>
                      <a:lnTo>
                        <a:pt x="33" y="231"/>
                      </a:lnTo>
                      <a:lnTo>
                        <a:pt x="33" y="230"/>
                      </a:lnTo>
                      <a:lnTo>
                        <a:pt x="33" y="227"/>
                      </a:lnTo>
                      <a:lnTo>
                        <a:pt x="34" y="226"/>
                      </a:lnTo>
                      <a:lnTo>
                        <a:pt x="34" y="225"/>
                      </a:lnTo>
                      <a:lnTo>
                        <a:pt x="34" y="224"/>
                      </a:lnTo>
                      <a:lnTo>
                        <a:pt x="34" y="223"/>
                      </a:lnTo>
                      <a:lnTo>
                        <a:pt x="34" y="222"/>
                      </a:lnTo>
                      <a:lnTo>
                        <a:pt x="33" y="219"/>
                      </a:lnTo>
                      <a:lnTo>
                        <a:pt x="32" y="215"/>
                      </a:lnTo>
                      <a:lnTo>
                        <a:pt x="30" y="212"/>
                      </a:lnTo>
                      <a:lnTo>
                        <a:pt x="28" y="209"/>
                      </a:lnTo>
                      <a:lnTo>
                        <a:pt x="27" y="208"/>
                      </a:lnTo>
                      <a:lnTo>
                        <a:pt x="27" y="202"/>
                      </a:lnTo>
                      <a:lnTo>
                        <a:pt x="26" y="195"/>
                      </a:lnTo>
                      <a:lnTo>
                        <a:pt x="26" y="192"/>
                      </a:lnTo>
                      <a:lnTo>
                        <a:pt x="27" y="189"/>
                      </a:lnTo>
                      <a:lnTo>
                        <a:pt x="27" y="188"/>
                      </a:lnTo>
                      <a:lnTo>
                        <a:pt x="27" y="187"/>
                      </a:lnTo>
                      <a:lnTo>
                        <a:pt x="27" y="185"/>
                      </a:lnTo>
                      <a:lnTo>
                        <a:pt x="26" y="184"/>
                      </a:lnTo>
                      <a:lnTo>
                        <a:pt x="25" y="182"/>
                      </a:lnTo>
                      <a:lnTo>
                        <a:pt x="24" y="181"/>
                      </a:lnTo>
                      <a:lnTo>
                        <a:pt x="24" y="180"/>
                      </a:lnTo>
                      <a:lnTo>
                        <a:pt x="25" y="177"/>
                      </a:lnTo>
                      <a:lnTo>
                        <a:pt x="26" y="174"/>
                      </a:lnTo>
                      <a:lnTo>
                        <a:pt x="27" y="173"/>
                      </a:lnTo>
                      <a:lnTo>
                        <a:pt x="28" y="171"/>
                      </a:lnTo>
                      <a:lnTo>
                        <a:pt x="31" y="168"/>
                      </a:lnTo>
                      <a:lnTo>
                        <a:pt x="31" y="167"/>
                      </a:lnTo>
                      <a:lnTo>
                        <a:pt x="32" y="167"/>
                      </a:lnTo>
                      <a:lnTo>
                        <a:pt x="32" y="166"/>
                      </a:lnTo>
                      <a:lnTo>
                        <a:pt x="33" y="164"/>
                      </a:lnTo>
                      <a:lnTo>
                        <a:pt x="34" y="161"/>
                      </a:lnTo>
                      <a:lnTo>
                        <a:pt x="35" y="160"/>
                      </a:lnTo>
                      <a:lnTo>
                        <a:pt x="35" y="159"/>
                      </a:lnTo>
                      <a:lnTo>
                        <a:pt x="37" y="159"/>
                      </a:lnTo>
                      <a:lnTo>
                        <a:pt x="37" y="157"/>
                      </a:lnTo>
                      <a:lnTo>
                        <a:pt x="38" y="156"/>
                      </a:lnTo>
                      <a:lnTo>
                        <a:pt x="39" y="155"/>
                      </a:lnTo>
                      <a:lnTo>
                        <a:pt x="40" y="154"/>
                      </a:lnTo>
                      <a:lnTo>
                        <a:pt x="40" y="153"/>
                      </a:lnTo>
                      <a:lnTo>
                        <a:pt x="41" y="150"/>
                      </a:lnTo>
                      <a:lnTo>
                        <a:pt x="40" y="150"/>
                      </a:lnTo>
                      <a:lnTo>
                        <a:pt x="40" y="149"/>
                      </a:lnTo>
                      <a:lnTo>
                        <a:pt x="40" y="148"/>
                      </a:lnTo>
                      <a:lnTo>
                        <a:pt x="40" y="147"/>
                      </a:lnTo>
                      <a:lnTo>
                        <a:pt x="41" y="147"/>
                      </a:lnTo>
                      <a:lnTo>
                        <a:pt x="41" y="148"/>
                      </a:lnTo>
                      <a:lnTo>
                        <a:pt x="41" y="147"/>
                      </a:lnTo>
                      <a:lnTo>
                        <a:pt x="41" y="146"/>
                      </a:lnTo>
                      <a:lnTo>
                        <a:pt x="41" y="145"/>
                      </a:lnTo>
                      <a:lnTo>
                        <a:pt x="40" y="142"/>
                      </a:lnTo>
                      <a:lnTo>
                        <a:pt x="40" y="141"/>
                      </a:lnTo>
                      <a:lnTo>
                        <a:pt x="40" y="140"/>
                      </a:lnTo>
                      <a:lnTo>
                        <a:pt x="40" y="139"/>
                      </a:lnTo>
                      <a:lnTo>
                        <a:pt x="41" y="139"/>
                      </a:lnTo>
                      <a:lnTo>
                        <a:pt x="41" y="138"/>
                      </a:lnTo>
                      <a:lnTo>
                        <a:pt x="41" y="136"/>
                      </a:lnTo>
                      <a:lnTo>
                        <a:pt x="41" y="135"/>
                      </a:lnTo>
                      <a:lnTo>
                        <a:pt x="42" y="135"/>
                      </a:lnTo>
                      <a:lnTo>
                        <a:pt x="44" y="135"/>
                      </a:lnTo>
                      <a:lnTo>
                        <a:pt x="51" y="136"/>
                      </a:lnTo>
                      <a:lnTo>
                        <a:pt x="52" y="135"/>
                      </a:lnTo>
                      <a:lnTo>
                        <a:pt x="53" y="136"/>
                      </a:lnTo>
                      <a:lnTo>
                        <a:pt x="54" y="136"/>
                      </a:lnTo>
                      <a:lnTo>
                        <a:pt x="55" y="136"/>
                      </a:lnTo>
                      <a:lnTo>
                        <a:pt x="55" y="135"/>
                      </a:lnTo>
                      <a:lnTo>
                        <a:pt x="56" y="135"/>
                      </a:lnTo>
                      <a:lnTo>
                        <a:pt x="57" y="135"/>
                      </a:lnTo>
                      <a:lnTo>
                        <a:pt x="59" y="134"/>
                      </a:lnTo>
                      <a:lnTo>
                        <a:pt x="60" y="133"/>
                      </a:lnTo>
                      <a:lnTo>
                        <a:pt x="61" y="131"/>
                      </a:lnTo>
                      <a:lnTo>
                        <a:pt x="62" y="131"/>
                      </a:lnTo>
                      <a:lnTo>
                        <a:pt x="63" y="129"/>
                      </a:lnTo>
                      <a:lnTo>
                        <a:pt x="66" y="128"/>
                      </a:lnTo>
                      <a:lnTo>
                        <a:pt x="67" y="127"/>
                      </a:lnTo>
                      <a:lnTo>
                        <a:pt x="67" y="128"/>
                      </a:lnTo>
                      <a:lnTo>
                        <a:pt x="67" y="129"/>
                      </a:lnTo>
                      <a:lnTo>
                        <a:pt x="68" y="131"/>
                      </a:lnTo>
                      <a:lnTo>
                        <a:pt x="68" y="132"/>
                      </a:lnTo>
                      <a:lnTo>
                        <a:pt x="68" y="133"/>
                      </a:lnTo>
                      <a:lnTo>
                        <a:pt x="69" y="133"/>
                      </a:lnTo>
                      <a:lnTo>
                        <a:pt x="69" y="132"/>
                      </a:lnTo>
                      <a:lnTo>
                        <a:pt x="70" y="132"/>
                      </a:lnTo>
                      <a:lnTo>
                        <a:pt x="71" y="132"/>
                      </a:lnTo>
                      <a:lnTo>
                        <a:pt x="71" y="131"/>
                      </a:lnTo>
                      <a:lnTo>
                        <a:pt x="70" y="131"/>
                      </a:lnTo>
                      <a:lnTo>
                        <a:pt x="70" y="129"/>
                      </a:lnTo>
                      <a:lnTo>
                        <a:pt x="76" y="128"/>
                      </a:lnTo>
                      <a:lnTo>
                        <a:pt x="77" y="129"/>
                      </a:lnTo>
                      <a:lnTo>
                        <a:pt x="76" y="131"/>
                      </a:lnTo>
                      <a:lnTo>
                        <a:pt x="77" y="131"/>
                      </a:lnTo>
                      <a:lnTo>
                        <a:pt x="77" y="132"/>
                      </a:lnTo>
                      <a:lnTo>
                        <a:pt x="78" y="131"/>
                      </a:lnTo>
                      <a:lnTo>
                        <a:pt x="77" y="129"/>
                      </a:lnTo>
                      <a:lnTo>
                        <a:pt x="77" y="128"/>
                      </a:lnTo>
                      <a:lnTo>
                        <a:pt x="78" y="128"/>
                      </a:lnTo>
                      <a:lnTo>
                        <a:pt x="78" y="127"/>
                      </a:lnTo>
                      <a:lnTo>
                        <a:pt x="78" y="126"/>
                      </a:lnTo>
                      <a:lnTo>
                        <a:pt x="78" y="125"/>
                      </a:lnTo>
                      <a:lnTo>
                        <a:pt x="80" y="124"/>
                      </a:lnTo>
                      <a:lnTo>
                        <a:pt x="81" y="122"/>
                      </a:lnTo>
                      <a:lnTo>
                        <a:pt x="82" y="124"/>
                      </a:lnTo>
                      <a:lnTo>
                        <a:pt x="83" y="124"/>
                      </a:lnTo>
                      <a:lnTo>
                        <a:pt x="84" y="124"/>
                      </a:lnTo>
                      <a:lnTo>
                        <a:pt x="87" y="122"/>
                      </a:lnTo>
                      <a:lnTo>
                        <a:pt x="88" y="122"/>
                      </a:lnTo>
                      <a:lnTo>
                        <a:pt x="89" y="122"/>
                      </a:lnTo>
                      <a:lnTo>
                        <a:pt x="89" y="124"/>
                      </a:lnTo>
                      <a:lnTo>
                        <a:pt x="89" y="125"/>
                      </a:lnTo>
                      <a:lnTo>
                        <a:pt x="90" y="125"/>
                      </a:lnTo>
                      <a:lnTo>
                        <a:pt x="91" y="126"/>
                      </a:lnTo>
                      <a:lnTo>
                        <a:pt x="92" y="126"/>
                      </a:lnTo>
                      <a:lnTo>
                        <a:pt x="92" y="125"/>
                      </a:lnTo>
                      <a:lnTo>
                        <a:pt x="91" y="125"/>
                      </a:lnTo>
                      <a:lnTo>
                        <a:pt x="91" y="124"/>
                      </a:lnTo>
                      <a:lnTo>
                        <a:pt x="92" y="124"/>
                      </a:lnTo>
                      <a:lnTo>
                        <a:pt x="92" y="122"/>
                      </a:lnTo>
                      <a:lnTo>
                        <a:pt x="91" y="124"/>
                      </a:lnTo>
                      <a:lnTo>
                        <a:pt x="90" y="124"/>
                      </a:lnTo>
                      <a:lnTo>
                        <a:pt x="91" y="122"/>
                      </a:lnTo>
                      <a:lnTo>
                        <a:pt x="91" y="121"/>
                      </a:lnTo>
                      <a:lnTo>
                        <a:pt x="92" y="121"/>
                      </a:lnTo>
                      <a:lnTo>
                        <a:pt x="94" y="121"/>
                      </a:lnTo>
                      <a:lnTo>
                        <a:pt x="94" y="120"/>
                      </a:lnTo>
                      <a:lnTo>
                        <a:pt x="95" y="120"/>
                      </a:lnTo>
                      <a:lnTo>
                        <a:pt x="96" y="120"/>
                      </a:lnTo>
                      <a:lnTo>
                        <a:pt x="97" y="120"/>
                      </a:lnTo>
                      <a:lnTo>
                        <a:pt x="97" y="121"/>
                      </a:lnTo>
                      <a:lnTo>
                        <a:pt x="98" y="122"/>
                      </a:lnTo>
                      <a:lnTo>
                        <a:pt x="97" y="122"/>
                      </a:lnTo>
                      <a:lnTo>
                        <a:pt x="97" y="124"/>
                      </a:lnTo>
                      <a:lnTo>
                        <a:pt x="96" y="124"/>
                      </a:lnTo>
                      <a:lnTo>
                        <a:pt x="97" y="125"/>
                      </a:lnTo>
                      <a:lnTo>
                        <a:pt x="98" y="125"/>
                      </a:lnTo>
                      <a:lnTo>
                        <a:pt x="98" y="126"/>
                      </a:lnTo>
                      <a:lnTo>
                        <a:pt x="99" y="128"/>
                      </a:lnTo>
                      <a:lnTo>
                        <a:pt x="101" y="129"/>
                      </a:lnTo>
                      <a:lnTo>
                        <a:pt x="101" y="128"/>
                      </a:lnTo>
                      <a:lnTo>
                        <a:pt x="102" y="128"/>
                      </a:lnTo>
                      <a:lnTo>
                        <a:pt x="102" y="127"/>
                      </a:lnTo>
                      <a:lnTo>
                        <a:pt x="103" y="127"/>
                      </a:lnTo>
                      <a:lnTo>
                        <a:pt x="104" y="127"/>
                      </a:lnTo>
                      <a:lnTo>
                        <a:pt x="104" y="128"/>
                      </a:lnTo>
                      <a:lnTo>
                        <a:pt x="105" y="128"/>
                      </a:lnTo>
                      <a:lnTo>
                        <a:pt x="105" y="127"/>
                      </a:lnTo>
                      <a:lnTo>
                        <a:pt x="104" y="126"/>
                      </a:lnTo>
                      <a:lnTo>
                        <a:pt x="103" y="126"/>
                      </a:lnTo>
                      <a:lnTo>
                        <a:pt x="102" y="125"/>
                      </a:lnTo>
                      <a:lnTo>
                        <a:pt x="101" y="125"/>
                      </a:lnTo>
                      <a:lnTo>
                        <a:pt x="99" y="125"/>
                      </a:lnTo>
                      <a:lnTo>
                        <a:pt x="99" y="124"/>
                      </a:lnTo>
                      <a:lnTo>
                        <a:pt x="101" y="124"/>
                      </a:lnTo>
                      <a:lnTo>
                        <a:pt x="101" y="122"/>
                      </a:lnTo>
                      <a:lnTo>
                        <a:pt x="102" y="121"/>
                      </a:lnTo>
                      <a:lnTo>
                        <a:pt x="101" y="121"/>
                      </a:lnTo>
                      <a:lnTo>
                        <a:pt x="99" y="121"/>
                      </a:lnTo>
                      <a:lnTo>
                        <a:pt x="99" y="120"/>
                      </a:lnTo>
                      <a:lnTo>
                        <a:pt x="101" y="119"/>
                      </a:lnTo>
                      <a:lnTo>
                        <a:pt x="101" y="118"/>
                      </a:lnTo>
                      <a:lnTo>
                        <a:pt x="103" y="117"/>
                      </a:lnTo>
                      <a:lnTo>
                        <a:pt x="104" y="114"/>
                      </a:lnTo>
                      <a:lnTo>
                        <a:pt x="105" y="113"/>
                      </a:lnTo>
                      <a:lnTo>
                        <a:pt x="105" y="114"/>
                      </a:lnTo>
                      <a:lnTo>
                        <a:pt x="106" y="113"/>
                      </a:lnTo>
                      <a:lnTo>
                        <a:pt x="108" y="112"/>
                      </a:lnTo>
                      <a:lnTo>
                        <a:pt x="109" y="112"/>
                      </a:lnTo>
                      <a:lnTo>
                        <a:pt x="110" y="111"/>
                      </a:lnTo>
                      <a:lnTo>
                        <a:pt x="111" y="111"/>
                      </a:lnTo>
                      <a:lnTo>
                        <a:pt x="110" y="111"/>
                      </a:lnTo>
                      <a:lnTo>
                        <a:pt x="110" y="110"/>
                      </a:lnTo>
                      <a:lnTo>
                        <a:pt x="112" y="110"/>
                      </a:lnTo>
                      <a:lnTo>
                        <a:pt x="116" y="107"/>
                      </a:lnTo>
                      <a:lnTo>
                        <a:pt x="118" y="105"/>
                      </a:lnTo>
                      <a:lnTo>
                        <a:pt x="119" y="105"/>
                      </a:lnTo>
                      <a:lnTo>
                        <a:pt x="120" y="104"/>
                      </a:lnTo>
                      <a:lnTo>
                        <a:pt x="120" y="105"/>
                      </a:lnTo>
                      <a:lnTo>
                        <a:pt x="120" y="106"/>
                      </a:lnTo>
                      <a:lnTo>
                        <a:pt x="121" y="106"/>
                      </a:lnTo>
                      <a:lnTo>
                        <a:pt x="121" y="107"/>
                      </a:lnTo>
                      <a:lnTo>
                        <a:pt x="123" y="107"/>
                      </a:lnTo>
                      <a:lnTo>
                        <a:pt x="124" y="108"/>
                      </a:lnTo>
                      <a:lnTo>
                        <a:pt x="124" y="110"/>
                      </a:lnTo>
                      <a:lnTo>
                        <a:pt x="123" y="110"/>
                      </a:lnTo>
                      <a:lnTo>
                        <a:pt x="123" y="111"/>
                      </a:lnTo>
                      <a:lnTo>
                        <a:pt x="121" y="111"/>
                      </a:lnTo>
                      <a:lnTo>
                        <a:pt x="120" y="114"/>
                      </a:lnTo>
                      <a:lnTo>
                        <a:pt x="120" y="115"/>
                      </a:lnTo>
                      <a:lnTo>
                        <a:pt x="121" y="114"/>
                      </a:lnTo>
                      <a:lnTo>
                        <a:pt x="121" y="113"/>
                      </a:lnTo>
                      <a:lnTo>
                        <a:pt x="123" y="113"/>
                      </a:lnTo>
                      <a:lnTo>
                        <a:pt x="124" y="113"/>
                      </a:lnTo>
                      <a:lnTo>
                        <a:pt x="125" y="113"/>
                      </a:lnTo>
                      <a:lnTo>
                        <a:pt x="126" y="112"/>
                      </a:lnTo>
                      <a:lnTo>
                        <a:pt x="127" y="113"/>
                      </a:lnTo>
                      <a:lnTo>
                        <a:pt x="128" y="112"/>
                      </a:lnTo>
                      <a:lnTo>
                        <a:pt x="128" y="111"/>
                      </a:lnTo>
                      <a:lnTo>
                        <a:pt x="127" y="111"/>
                      </a:lnTo>
                      <a:lnTo>
                        <a:pt x="127" y="110"/>
                      </a:lnTo>
                      <a:lnTo>
                        <a:pt x="127" y="107"/>
                      </a:lnTo>
                      <a:lnTo>
                        <a:pt x="126" y="107"/>
                      </a:lnTo>
                      <a:lnTo>
                        <a:pt x="125" y="107"/>
                      </a:lnTo>
                      <a:lnTo>
                        <a:pt x="125" y="106"/>
                      </a:lnTo>
                      <a:lnTo>
                        <a:pt x="124" y="106"/>
                      </a:lnTo>
                      <a:lnTo>
                        <a:pt x="124" y="105"/>
                      </a:lnTo>
                      <a:lnTo>
                        <a:pt x="124" y="104"/>
                      </a:lnTo>
                      <a:lnTo>
                        <a:pt x="125" y="103"/>
                      </a:lnTo>
                      <a:lnTo>
                        <a:pt x="125" y="101"/>
                      </a:lnTo>
                      <a:lnTo>
                        <a:pt x="127" y="100"/>
                      </a:lnTo>
                      <a:lnTo>
                        <a:pt x="128" y="99"/>
                      </a:lnTo>
                      <a:lnTo>
                        <a:pt x="128" y="98"/>
                      </a:lnTo>
                      <a:lnTo>
                        <a:pt x="130" y="97"/>
                      </a:lnTo>
                      <a:lnTo>
                        <a:pt x="131" y="96"/>
                      </a:lnTo>
                      <a:lnTo>
                        <a:pt x="132" y="94"/>
                      </a:lnTo>
                      <a:lnTo>
                        <a:pt x="133" y="94"/>
                      </a:lnTo>
                      <a:lnTo>
                        <a:pt x="133" y="93"/>
                      </a:lnTo>
                      <a:lnTo>
                        <a:pt x="132" y="93"/>
                      </a:lnTo>
                      <a:lnTo>
                        <a:pt x="131" y="93"/>
                      </a:lnTo>
                      <a:lnTo>
                        <a:pt x="132" y="91"/>
                      </a:lnTo>
                      <a:lnTo>
                        <a:pt x="135" y="87"/>
                      </a:lnTo>
                      <a:lnTo>
                        <a:pt x="137" y="87"/>
                      </a:lnTo>
                      <a:lnTo>
                        <a:pt x="138" y="89"/>
                      </a:lnTo>
                      <a:lnTo>
                        <a:pt x="138" y="91"/>
                      </a:lnTo>
                      <a:lnTo>
                        <a:pt x="138" y="92"/>
                      </a:lnTo>
                      <a:lnTo>
                        <a:pt x="138" y="93"/>
                      </a:lnTo>
                      <a:lnTo>
                        <a:pt x="135" y="96"/>
                      </a:lnTo>
                      <a:lnTo>
                        <a:pt x="135" y="97"/>
                      </a:lnTo>
                      <a:lnTo>
                        <a:pt x="134" y="100"/>
                      </a:lnTo>
                      <a:lnTo>
                        <a:pt x="134" y="101"/>
                      </a:lnTo>
                      <a:lnTo>
                        <a:pt x="135" y="101"/>
                      </a:lnTo>
                      <a:lnTo>
                        <a:pt x="137" y="100"/>
                      </a:lnTo>
                      <a:lnTo>
                        <a:pt x="138" y="99"/>
                      </a:lnTo>
                      <a:lnTo>
                        <a:pt x="138" y="98"/>
                      </a:lnTo>
                      <a:lnTo>
                        <a:pt x="139" y="97"/>
                      </a:lnTo>
                      <a:lnTo>
                        <a:pt x="139" y="98"/>
                      </a:lnTo>
                      <a:lnTo>
                        <a:pt x="139" y="97"/>
                      </a:lnTo>
                      <a:lnTo>
                        <a:pt x="140" y="96"/>
                      </a:lnTo>
                      <a:lnTo>
                        <a:pt x="142" y="91"/>
                      </a:lnTo>
                      <a:lnTo>
                        <a:pt x="142" y="90"/>
                      </a:lnTo>
                      <a:lnTo>
                        <a:pt x="144" y="89"/>
                      </a:lnTo>
                      <a:lnTo>
                        <a:pt x="144" y="87"/>
                      </a:lnTo>
                      <a:lnTo>
                        <a:pt x="145" y="87"/>
                      </a:lnTo>
                      <a:lnTo>
                        <a:pt x="145" y="86"/>
                      </a:lnTo>
                      <a:lnTo>
                        <a:pt x="146" y="86"/>
                      </a:lnTo>
                      <a:lnTo>
                        <a:pt x="146" y="85"/>
                      </a:lnTo>
                      <a:lnTo>
                        <a:pt x="147" y="85"/>
                      </a:lnTo>
                      <a:lnTo>
                        <a:pt x="147" y="84"/>
                      </a:lnTo>
                      <a:lnTo>
                        <a:pt x="148" y="86"/>
                      </a:lnTo>
                      <a:lnTo>
                        <a:pt x="149" y="86"/>
                      </a:lnTo>
                      <a:lnTo>
                        <a:pt x="151" y="86"/>
                      </a:lnTo>
                      <a:lnTo>
                        <a:pt x="151" y="87"/>
                      </a:lnTo>
                      <a:lnTo>
                        <a:pt x="151" y="89"/>
                      </a:lnTo>
                      <a:lnTo>
                        <a:pt x="152" y="87"/>
                      </a:lnTo>
                      <a:lnTo>
                        <a:pt x="151" y="86"/>
                      </a:lnTo>
                      <a:lnTo>
                        <a:pt x="152" y="86"/>
                      </a:lnTo>
                      <a:lnTo>
                        <a:pt x="153" y="86"/>
                      </a:lnTo>
                      <a:lnTo>
                        <a:pt x="153" y="87"/>
                      </a:lnTo>
                      <a:lnTo>
                        <a:pt x="153" y="90"/>
                      </a:lnTo>
                      <a:lnTo>
                        <a:pt x="153" y="91"/>
                      </a:lnTo>
                      <a:lnTo>
                        <a:pt x="154" y="90"/>
                      </a:lnTo>
                      <a:lnTo>
                        <a:pt x="154" y="89"/>
                      </a:lnTo>
                      <a:lnTo>
                        <a:pt x="154" y="87"/>
                      </a:lnTo>
                      <a:lnTo>
                        <a:pt x="154" y="86"/>
                      </a:lnTo>
                      <a:lnTo>
                        <a:pt x="153" y="85"/>
                      </a:lnTo>
                      <a:lnTo>
                        <a:pt x="152" y="85"/>
                      </a:lnTo>
                      <a:lnTo>
                        <a:pt x="152" y="84"/>
                      </a:lnTo>
                      <a:lnTo>
                        <a:pt x="151" y="84"/>
                      </a:lnTo>
                      <a:lnTo>
                        <a:pt x="149" y="85"/>
                      </a:lnTo>
                      <a:lnTo>
                        <a:pt x="148" y="85"/>
                      </a:lnTo>
                      <a:lnTo>
                        <a:pt x="148" y="84"/>
                      </a:lnTo>
                      <a:lnTo>
                        <a:pt x="147" y="84"/>
                      </a:lnTo>
                      <a:lnTo>
                        <a:pt x="147" y="83"/>
                      </a:lnTo>
                      <a:lnTo>
                        <a:pt x="146" y="84"/>
                      </a:lnTo>
                      <a:lnTo>
                        <a:pt x="146" y="85"/>
                      </a:lnTo>
                      <a:lnTo>
                        <a:pt x="145" y="85"/>
                      </a:lnTo>
                      <a:lnTo>
                        <a:pt x="145" y="84"/>
                      </a:lnTo>
                      <a:lnTo>
                        <a:pt x="145" y="83"/>
                      </a:lnTo>
                      <a:lnTo>
                        <a:pt x="145" y="82"/>
                      </a:lnTo>
                      <a:lnTo>
                        <a:pt x="144" y="80"/>
                      </a:lnTo>
                      <a:lnTo>
                        <a:pt x="145" y="80"/>
                      </a:lnTo>
                      <a:lnTo>
                        <a:pt x="144" y="80"/>
                      </a:lnTo>
                      <a:lnTo>
                        <a:pt x="144" y="78"/>
                      </a:lnTo>
                      <a:lnTo>
                        <a:pt x="145" y="77"/>
                      </a:lnTo>
                      <a:lnTo>
                        <a:pt x="145" y="76"/>
                      </a:lnTo>
                      <a:lnTo>
                        <a:pt x="146" y="76"/>
                      </a:lnTo>
                      <a:lnTo>
                        <a:pt x="146" y="75"/>
                      </a:lnTo>
                      <a:lnTo>
                        <a:pt x="146" y="73"/>
                      </a:lnTo>
                      <a:lnTo>
                        <a:pt x="147" y="72"/>
                      </a:lnTo>
                      <a:lnTo>
                        <a:pt x="149" y="73"/>
                      </a:lnTo>
                      <a:lnTo>
                        <a:pt x="151" y="73"/>
                      </a:lnTo>
                      <a:lnTo>
                        <a:pt x="152" y="73"/>
                      </a:lnTo>
                      <a:lnTo>
                        <a:pt x="152" y="72"/>
                      </a:lnTo>
                      <a:lnTo>
                        <a:pt x="152" y="71"/>
                      </a:lnTo>
                      <a:lnTo>
                        <a:pt x="152" y="70"/>
                      </a:lnTo>
                      <a:lnTo>
                        <a:pt x="151" y="69"/>
                      </a:lnTo>
                      <a:lnTo>
                        <a:pt x="152" y="69"/>
                      </a:lnTo>
                      <a:lnTo>
                        <a:pt x="153" y="70"/>
                      </a:lnTo>
                      <a:lnTo>
                        <a:pt x="154" y="70"/>
                      </a:lnTo>
                      <a:lnTo>
                        <a:pt x="154" y="71"/>
                      </a:lnTo>
                      <a:lnTo>
                        <a:pt x="153" y="71"/>
                      </a:lnTo>
                      <a:lnTo>
                        <a:pt x="153" y="72"/>
                      </a:lnTo>
                      <a:lnTo>
                        <a:pt x="153" y="75"/>
                      </a:lnTo>
                      <a:lnTo>
                        <a:pt x="153" y="76"/>
                      </a:lnTo>
                      <a:lnTo>
                        <a:pt x="153" y="75"/>
                      </a:lnTo>
                      <a:lnTo>
                        <a:pt x="154" y="75"/>
                      </a:lnTo>
                      <a:lnTo>
                        <a:pt x="154" y="73"/>
                      </a:lnTo>
                      <a:lnTo>
                        <a:pt x="154" y="72"/>
                      </a:lnTo>
                      <a:lnTo>
                        <a:pt x="155" y="71"/>
                      </a:lnTo>
                      <a:lnTo>
                        <a:pt x="155" y="70"/>
                      </a:lnTo>
                      <a:lnTo>
                        <a:pt x="155" y="69"/>
                      </a:lnTo>
                      <a:lnTo>
                        <a:pt x="154" y="68"/>
                      </a:lnTo>
                      <a:lnTo>
                        <a:pt x="153" y="68"/>
                      </a:lnTo>
                      <a:lnTo>
                        <a:pt x="153" y="66"/>
                      </a:lnTo>
                      <a:lnTo>
                        <a:pt x="152" y="65"/>
                      </a:lnTo>
                      <a:lnTo>
                        <a:pt x="154" y="64"/>
                      </a:lnTo>
                      <a:lnTo>
                        <a:pt x="153" y="63"/>
                      </a:lnTo>
                      <a:lnTo>
                        <a:pt x="152" y="63"/>
                      </a:lnTo>
                      <a:lnTo>
                        <a:pt x="151" y="63"/>
                      </a:lnTo>
                      <a:lnTo>
                        <a:pt x="151" y="61"/>
                      </a:lnTo>
                      <a:lnTo>
                        <a:pt x="149" y="58"/>
                      </a:lnTo>
                      <a:lnTo>
                        <a:pt x="149" y="57"/>
                      </a:lnTo>
                      <a:lnTo>
                        <a:pt x="152" y="56"/>
                      </a:lnTo>
                      <a:lnTo>
                        <a:pt x="151" y="56"/>
                      </a:lnTo>
                      <a:lnTo>
                        <a:pt x="151" y="55"/>
                      </a:lnTo>
                      <a:lnTo>
                        <a:pt x="151" y="54"/>
                      </a:lnTo>
                      <a:lnTo>
                        <a:pt x="151" y="52"/>
                      </a:lnTo>
                      <a:lnTo>
                        <a:pt x="152" y="52"/>
                      </a:lnTo>
                      <a:lnTo>
                        <a:pt x="153" y="51"/>
                      </a:lnTo>
                      <a:lnTo>
                        <a:pt x="153" y="50"/>
                      </a:lnTo>
                      <a:lnTo>
                        <a:pt x="154" y="50"/>
                      </a:lnTo>
                      <a:lnTo>
                        <a:pt x="153" y="50"/>
                      </a:lnTo>
                      <a:lnTo>
                        <a:pt x="153" y="51"/>
                      </a:lnTo>
                      <a:lnTo>
                        <a:pt x="154" y="51"/>
                      </a:lnTo>
                      <a:lnTo>
                        <a:pt x="154" y="52"/>
                      </a:lnTo>
                      <a:lnTo>
                        <a:pt x="154" y="51"/>
                      </a:lnTo>
                      <a:lnTo>
                        <a:pt x="155" y="51"/>
                      </a:lnTo>
                      <a:lnTo>
                        <a:pt x="154" y="50"/>
                      </a:lnTo>
                      <a:lnTo>
                        <a:pt x="155" y="50"/>
                      </a:lnTo>
                      <a:lnTo>
                        <a:pt x="156" y="50"/>
                      </a:lnTo>
                      <a:lnTo>
                        <a:pt x="156" y="51"/>
                      </a:lnTo>
                      <a:lnTo>
                        <a:pt x="156" y="52"/>
                      </a:lnTo>
                      <a:lnTo>
                        <a:pt x="158" y="52"/>
                      </a:lnTo>
                      <a:lnTo>
                        <a:pt x="159" y="54"/>
                      </a:lnTo>
                      <a:lnTo>
                        <a:pt x="159" y="56"/>
                      </a:lnTo>
                      <a:lnTo>
                        <a:pt x="159" y="57"/>
                      </a:lnTo>
                      <a:lnTo>
                        <a:pt x="160" y="57"/>
                      </a:lnTo>
                      <a:lnTo>
                        <a:pt x="159" y="57"/>
                      </a:lnTo>
                      <a:lnTo>
                        <a:pt x="160" y="58"/>
                      </a:lnTo>
                      <a:lnTo>
                        <a:pt x="160" y="59"/>
                      </a:lnTo>
                      <a:lnTo>
                        <a:pt x="161" y="59"/>
                      </a:lnTo>
                      <a:lnTo>
                        <a:pt x="162" y="59"/>
                      </a:lnTo>
                      <a:lnTo>
                        <a:pt x="163" y="59"/>
                      </a:lnTo>
                      <a:lnTo>
                        <a:pt x="163" y="58"/>
                      </a:lnTo>
                      <a:lnTo>
                        <a:pt x="165" y="58"/>
                      </a:lnTo>
                      <a:lnTo>
                        <a:pt x="163" y="57"/>
                      </a:lnTo>
                      <a:lnTo>
                        <a:pt x="165" y="55"/>
                      </a:lnTo>
                      <a:lnTo>
                        <a:pt x="165" y="54"/>
                      </a:lnTo>
                      <a:lnTo>
                        <a:pt x="165" y="52"/>
                      </a:lnTo>
                      <a:lnTo>
                        <a:pt x="165" y="51"/>
                      </a:lnTo>
                      <a:lnTo>
                        <a:pt x="166" y="52"/>
                      </a:lnTo>
                      <a:lnTo>
                        <a:pt x="167" y="51"/>
                      </a:lnTo>
                      <a:lnTo>
                        <a:pt x="167" y="50"/>
                      </a:lnTo>
                      <a:lnTo>
                        <a:pt x="168" y="50"/>
                      </a:lnTo>
                      <a:lnTo>
                        <a:pt x="169" y="50"/>
                      </a:lnTo>
                      <a:lnTo>
                        <a:pt x="170" y="50"/>
                      </a:lnTo>
                      <a:lnTo>
                        <a:pt x="170" y="49"/>
                      </a:lnTo>
                      <a:lnTo>
                        <a:pt x="169" y="48"/>
                      </a:lnTo>
                      <a:lnTo>
                        <a:pt x="169" y="47"/>
                      </a:lnTo>
                      <a:lnTo>
                        <a:pt x="169" y="45"/>
                      </a:lnTo>
                      <a:lnTo>
                        <a:pt x="170" y="47"/>
                      </a:lnTo>
                      <a:lnTo>
                        <a:pt x="170" y="48"/>
                      </a:lnTo>
                      <a:lnTo>
                        <a:pt x="173" y="48"/>
                      </a:lnTo>
                      <a:lnTo>
                        <a:pt x="174" y="48"/>
                      </a:lnTo>
                      <a:lnTo>
                        <a:pt x="175" y="48"/>
                      </a:lnTo>
                      <a:lnTo>
                        <a:pt x="176" y="48"/>
                      </a:lnTo>
                      <a:lnTo>
                        <a:pt x="177" y="47"/>
                      </a:lnTo>
                      <a:lnTo>
                        <a:pt x="179" y="47"/>
                      </a:lnTo>
                      <a:lnTo>
                        <a:pt x="179" y="45"/>
                      </a:lnTo>
                      <a:lnTo>
                        <a:pt x="179" y="44"/>
                      </a:lnTo>
                      <a:lnTo>
                        <a:pt x="179" y="43"/>
                      </a:lnTo>
                      <a:lnTo>
                        <a:pt x="180" y="42"/>
                      </a:lnTo>
                      <a:lnTo>
                        <a:pt x="180" y="41"/>
                      </a:lnTo>
                      <a:lnTo>
                        <a:pt x="180" y="40"/>
                      </a:lnTo>
                      <a:lnTo>
                        <a:pt x="180" y="38"/>
                      </a:lnTo>
                      <a:lnTo>
                        <a:pt x="181" y="36"/>
                      </a:lnTo>
                      <a:lnTo>
                        <a:pt x="181" y="35"/>
                      </a:lnTo>
                      <a:lnTo>
                        <a:pt x="182" y="34"/>
                      </a:lnTo>
                      <a:lnTo>
                        <a:pt x="182" y="33"/>
                      </a:lnTo>
                      <a:lnTo>
                        <a:pt x="183" y="33"/>
                      </a:lnTo>
                      <a:lnTo>
                        <a:pt x="183" y="31"/>
                      </a:lnTo>
                      <a:lnTo>
                        <a:pt x="183" y="30"/>
                      </a:lnTo>
                      <a:lnTo>
                        <a:pt x="184" y="29"/>
                      </a:lnTo>
                      <a:lnTo>
                        <a:pt x="184" y="28"/>
                      </a:lnTo>
                      <a:lnTo>
                        <a:pt x="183" y="27"/>
                      </a:lnTo>
                      <a:lnTo>
                        <a:pt x="183" y="26"/>
                      </a:lnTo>
                      <a:lnTo>
                        <a:pt x="182" y="26"/>
                      </a:lnTo>
                      <a:lnTo>
                        <a:pt x="182" y="24"/>
                      </a:lnTo>
                      <a:lnTo>
                        <a:pt x="182" y="23"/>
                      </a:lnTo>
                      <a:lnTo>
                        <a:pt x="181" y="23"/>
                      </a:lnTo>
                      <a:lnTo>
                        <a:pt x="181" y="22"/>
                      </a:lnTo>
                      <a:lnTo>
                        <a:pt x="182" y="22"/>
                      </a:lnTo>
                      <a:lnTo>
                        <a:pt x="182" y="21"/>
                      </a:lnTo>
                      <a:lnTo>
                        <a:pt x="181" y="21"/>
                      </a:lnTo>
                      <a:lnTo>
                        <a:pt x="182" y="20"/>
                      </a:lnTo>
                      <a:lnTo>
                        <a:pt x="181" y="20"/>
                      </a:lnTo>
                      <a:lnTo>
                        <a:pt x="181" y="19"/>
                      </a:lnTo>
                      <a:lnTo>
                        <a:pt x="180" y="19"/>
                      </a:lnTo>
                      <a:lnTo>
                        <a:pt x="179" y="17"/>
                      </a:lnTo>
                      <a:lnTo>
                        <a:pt x="179" y="16"/>
                      </a:lnTo>
                      <a:lnTo>
                        <a:pt x="179" y="15"/>
                      </a:lnTo>
                      <a:lnTo>
                        <a:pt x="179" y="16"/>
                      </a:lnTo>
                      <a:lnTo>
                        <a:pt x="177" y="15"/>
                      </a:lnTo>
                      <a:lnTo>
                        <a:pt x="177" y="14"/>
                      </a:lnTo>
                      <a:lnTo>
                        <a:pt x="179" y="14"/>
                      </a:lnTo>
                      <a:lnTo>
                        <a:pt x="179" y="15"/>
                      </a:lnTo>
                      <a:lnTo>
                        <a:pt x="180" y="15"/>
                      </a:lnTo>
                      <a:lnTo>
                        <a:pt x="181" y="15"/>
                      </a:lnTo>
                      <a:lnTo>
                        <a:pt x="182" y="15"/>
                      </a:lnTo>
                      <a:lnTo>
                        <a:pt x="182" y="17"/>
                      </a:lnTo>
                      <a:lnTo>
                        <a:pt x="183" y="17"/>
                      </a:lnTo>
                      <a:lnTo>
                        <a:pt x="184" y="16"/>
                      </a:lnTo>
                      <a:lnTo>
                        <a:pt x="184" y="15"/>
                      </a:lnTo>
                      <a:lnTo>
                        <a:pt x="184" y="14"/>
                      </a:lnTo>
                      <a:lnTo>
                        <a:pt x="184" y="13"/>
                      </a:lnTo>
                      <a:lnTo>
                        <a:pt x="185" y="13"/>
                      </a:lnTo>
                      <a:lnTo>
                        <a:pt x="185" y="12"/>
                      </a:lnTo>
                      <a:lnTo>
                        <a:pt x="187" y="12"/>
                      </a:lnTo>
                      <a:lnTo>
                        <a:pt x="188" y="10"/>
                      </a:lnTo>
                      <a:lnTo>
                        <a:pt x="188" y="12"/>
                      </a:lnTo>
                      <a:lnTo>
                        <a:pt x="189" y="10"/>
                      </a:lnTo>
                      <a:lnTo>
                        <a:pt x="189" y="9"/>
                      </a:lnTo>
                      <a:lnTo>
                        <a:pt x="190" y="10"/>
                      </a:lnTo>
                      <a:lnTo>
                        <a:pt x="190" y="9"/>
                      </a:lnTo>
                      <a:lnTo>
                        <a:pt x="191" y="9"/>
                      </a:lnTo>
                      <a:lnTo>
                        <a:pt x="191" y="8"/>
                      </a:lnTo>
                      <a:lnTo>
                        <a:pt x="190" y="8"/>
                      </a:lnTo>
                      <a:lnTo>
                        <a:pt x="191" y="7"/>
                      </a:lnTo>
                      <a:lnTo>
                        <a:pt x="192" y="7"/>
                      </a:lnTo>
                      <a:lnTo>
                        <a:pt x="191" y="6"/>
                      </a:lnTo>
                      <a:lnTo>
                        <a:pt x="190" y="6"/>
                      </a:lnTo>
                      <a:lnTo>
                        <a:pt x="190" y="5"/>
                      </a:lnTo>
                      <a:lnTo>
                        <a:pt x="189" y="5"/>
                      </a:lnTo>
                      <a:lnTo>
                        <a:pt x="190" y="3"/>
                      </a:lnTo>
                      <a:lnTo>
                        <a:pt x="191" y="3"/>
                      </a:lnTo>
                      <a:lnTo>
                        <a:pt x="192" y="6"/>
                      </a:lnTo>
                      <a:lnTo>
                        <a:pt x="192" y="5"/>
                      </a:lnTo>
                      <a:lnTo>
                        <a:pt x="192" y="6"/>
                      </a:lnTo>
                      <a:lnTo>
                        <a:pt x="192" y="5"/>
                      </a:lnTo>
                      <a:lnTo>
                        <a:pt x="192" y="3"/>
                      </a:lnTo>
                      <a:lnTo>
                        <a:pt x="191" y="3"/>
                      </a:lnTo>
                      <a:lnTo>
                        <a:pt x="191" y="2"/>
                      </a:lnTo>
                      <a:lnTo>
                        <a:pt x="192" y="2"/>
                      </a:lnTo>
                      <a:lnTo>
                        <a:pt x="192" y="1"/>
                      </a:lnTo>
                      <a:lnTo>
                        <a:pt x="194" y="0"/>
                      </a:lnTo>
                      <a:lnTo>
                        <a:pt x="195" y="0"/>
                      </a:lnTo>
                      <a:lnTo>
                        <a:pt x="196" y="1"/>
                      </a:lnTo>
                      <a:lnTo>
                        <a:pt x="196" y="2"/>
                      </a:lnTo>
                      <a:lnTo>
                        <a:pt x="196" y="3"/>
                      </a:lnTo>
                      <a:lnTo>
                        <a:pt x="197" y="3"/>
                      </a:lnTo>
                      <a:lnTo>
                        <a:pt x="197" y="5"/>
                      </a:lnTo>
                      <a:close/>
                    </a:path>
                  </a:pathLst>
                </a:custGeom>
                <a:solidFill>
                  <a:srgbClr val="C8C8C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54" name="Freeform 102">
                  <a:extLst>
                    <a:ext uri="{FF2B5EF4-FFF2-40B4-BE49-F238E27FC236}">
                      <a16:creationId xmlns:a16="http://schemas.microsoft.com/office/drawing/2014/main" id="{096BD798-5308-A27F-A6A2-F9D4DEAFB9A8}"/>
                    </a:ext>
                  </a:extLst>
                </p:cNvPr>
                <p:cNvSpPr>
                  <a:spLocks noEditPoints="1"/>
                </p:cNvSpPr>
                <p:nvPr/>
              </p:nvSpPr>
              <p:spPr bwMode="auto">
                <a:xfrm>
                  <a:off x="7263235" y="4157750"/>
                  <a:ext cx="361299" cy="586298"/>
                </a:xfrm>
                <a:custGeom>
                  <a:avLst/>
                  <a:gdLst>
                    <a:gd name="T0" fmla="*/ 302 w 334"/>
                    <a:gd name="T1" fmla="*/ 191 h 542"/>
                    <a:gd name="T2" fmla="*/ 329 w 334"/>
                    <a:gd name="T3" fmla="*/ 8 h 542"/>
                    <a:gd name="T4" fmla="*/ 324 w 334"/>
                    <a:gd name="T5" fmla="*/ 23 h 542"/>
                    <a:gd name="T6" fmla="*/ 323 w 334"/>
                    <a:gd name="T7" fmla="*/ 42 h 542"/>
                    <a:gd name="T8" fmla="*/ 324 w 334"/>
                    <a:gd name="T9" fmla="*/ 60 h 542"/>
                    <a:gd name="T10" fmla="*/ 326 w 334"/>
                    <a:gd name="T11" fmla="*/ 74 h 542"/>
                    <a:gd name="T12" fmla="*/ 326 w 334"/>
                    <a:gd name="T13" fmla="*/ 90 h 542"/>
                    <a:gd name="T14" fmla="*/ 326 w 334"/>
                    <a:gd name="T15" fmla="*/ 116 h 542"/>
                    <a:gd name="T16" fmla="*/ 327 w 334"/>
                    <a:gd name="T17" fmla="*/ 125 h 542"/>
                    <a:gd name="T18" fmla="*/ 334 w 334"/>
                    <a:gd name="T19" fmla="*/ 139 h 542"/>
                    <a:gd name="T20" fmla="*/ 326 w 334"/>
                    <a:gd name="T21" fmla="*/ 150 h 542"/>
                    <a:gd name="T22" fmla="*/ 323 w 334"/>
                    <a:gd name="T23" fmla="*/ 163 h 542"/>
                    <a:gd name="T24" fmla="*/ 302 w 334"/>
                    <a:gd name="T25" fmla="*/ 188 h 542"/>
                    <a:gd name="T26" fmla="*/ 280 w 334"/>
                    <a:gd name="T27" fmla="*/ 206 h 542"/>
                    <a:gd name="T28" fmla="*/ 260 w 334"/>
                    <a:gd name="T29" fmla="*/ 216 h 542"/>
                    <a:gd name="T30" fmla="*/ 226 w 334"/>
                    <a:gd name="T31" fmla="*/ 231 h 542"/>
                    <a:gd name="T32" fmla="*/ 209 w 334"/>
                    <a:gd name="T33" fmla="*/ 239 h 542"/>
                    <a:gd name="T34" fmla="*/ 198 w 334"/>
                    <a:gd name="T35" fmla="*/ 261 h 542"/>
                    <a:gd name="T36" fmla="*/ 190 w 334"/>
                    <a:gd name="T37" fmla="*/ 270 h 542"/>
                    <a:gd name="T38" fmla="*/ 173 w 334"/>
                    <a:gd name="T39" fmla="*/ 279 h 542"/>
                    <a:gd name="T40" fmla="*/ 145 w 334"/>
                    <a:gd name="T41" fmla="*/ 303 h 542"/>
                    <a:gd name="T42" fmla="*/ 140 w 334"/>
                    <a:gd name="T43" fmla="*/ 305 h 542"/>
                    <a:gd name="T44" fmla="*/ 139 w 334"/>
                    <a:gd name="T45" fmla="*/ 323 h 542"/>
                    <a:gd name="T46" fmla="*/ 149 w 334"/>
                    <a:gd name="T47" fmla="*/ 336 h 542"/>
                    <a:gd name="T48" fmla="*/ 152 w 334"/>
                    <a:gd name="T49" fmla="*/ 351 h 542"/>
                    <a:gd name="T50" fmla="*/ 160 w 334"/>
                    <a:gd name="T51" fmla="*/ 391 h 542"/>
                    <a:gd name="T52" fmla="*/ 166 w 334"/>
                    <a:gd name="T53" fmla="*/ 384 h 542"/>
                    <a:gd name="T54" fmla="*/ 162 w 334"/>
                    <a:gd name="T55" fmla="*/ 434 h 542"/>
                    <a:gd name="T56" fmla="*/ 164 w 334"/>
                    <a:gd name="T57" fmla="*/ 436 h 542"/>
                    <a:gd name="T58" fmla="*/ 100 w 334"/>
                    <a:gd name="T59" fmla="*/ 485 h 542"/>
                    <a:gd name="T60" fmla="*/ 77 w 334"/>
                    <a:gd name="T61" fmla="*/ 507 h 542"/>
                    <a:gd name="T62" fmla="*/ 76 w 334"/>
                    <a:gd name="T63" fmla="*/ 519 h 542"/>
                    <a:gd name="T64" fmla="*/ 82 w 334"/>
                    <a:gd name="T65" fmla="*/ 541 h 542"/>
                    <a:gd name="T66" fmla="*/ 55 w 334"/>
                    <a:gd name="T67" fmla="*/ 512 h 542"/>
                    <a:gd name="T68" fmla="*/ 54 w 334"/>
                    <a:gd name="T69" fmla="*/ 455 h 542"/>
                    <a:gd name="T70" fmla="*/ 39 w 334"/>
                    <a:gd name="T71" fmla="*/ 384 h 542"/>
                    <a:gd name="T72" fmla="*/ 67 w 334"/>
                    <a:gd name="T73" fmla="*/ 347 h 542"/>
                    <a:gd name="T74" fmla="*/ 83 w 334"/>
                    <a:gd name="T75" fmla="*/ 312 h 542"/>
                    <a:gd name="T76" fmla="*/ 82 w 334"/>
                    <a:gd name="T77" fmla="*/ 293 h 542"/>
                    <a:gd name="T78" fmla="*/ 81 w 334"/>
                    <a:gd name="T79" fmla="*/ 268 h 542"/>
                    <a:gd name="T80" fmla="*/ 86 w 334"/>
                    <a:gd name="T81" fmla="*/ 249 h 542"/>
                    <a:gd name="T82" fmla="*/ 88 w 334"/>
                    <a:gd name="T83" fmla="*/ 221 h 542"/>
                    <a:gd name="T84" fmla="*/ 77 w 334"/>
                    <a:gd name="T85" fmla="*/ 197 h 542"/>
                    <a:gd name="T86" fmla="*/ 35 w 334"/>
                    <a:gd name="T87" fmla="*/ 181 h 542"/>
                    <a:gd name="T88" fmla="*/ 6 w 334"/>
                    <a:gd name="T89" fmla="*/ 175 h 542"/>
                    <a:gd name="T90" fmla="*/ 9 w 334"/>
                    <a:gd name="T91" fmla="*/ 141 h 542"/>
                    <a:gd name="T92" fmla="*/ 85 w 334"/>
                    <a:gd name="T93" fmla="*/ 115 h 542"/>
                    <a:gd name="T94" fmla="*/ 107 w 334"/>
                    <a:gd name="T95" fmla="*/ 130 h 542"/>
                    <a:gd name="T96" fmla="*/ 135 w 334"/>
                    <a:gd name="T97" fmla="*/ 132 h 542"/>
                    <a:gd name="T98" fmla="*/ 133 w 334"/>
                    <a:gd name="T99" fmla="*/ 160 h 542"/>
                    <a:gd name="T100" fmla="*/ 134 w 334"/>
                    <a:gd name="T101" fmla="*/ 186 h 542"/>
                    <a:gd name="T102" fmla="*/ 154 w 334"/>
                    <a:gd name="T103" fmla="*/ 206 h 542"/>
                    <a:gd name="T104" fmla="*/ 159 w 334"/>
                    <a:gd name="T105" fmla="*/ 199 h 542"/>
                    <a:gd name="T106" fmla="*/ 167 w 334"/>
                    <a:gd name="T107" fmla="*/ 183 h 542"/>
                    <a:gd name="T108" fmla="*/ 177 w 334"/>
                    <a:gd name="T109" fmla="*/ 144 h 542"/>
                    <a:gd name="T110" fmla="*/ 145 w 334"/>
                    <a:gd name="T111" fmla="*/ 91 h 542"/>
                    <a:gd name="T112" fmla="*/ 141 w 334"/>
                    <a:gd name="T113" fmla="*/ 63 h 542"/>
                    <a:gd name="T114" fmla="*/ 167 w 334"/>
                    <a:gd name="T115" fmla="*/ 36 h 542"/>
                    <a:gd name="T116" fmla="*/ 187 w 334"/>
                    <a:gd name="T117" fmla="*/ 35 h 542"/>
                    <a:gd name="T118" fmla="*/ 210 w 334"/>
                    <a:gd name="T119" fmla="*/ 35 h 542"/>
                    <a:gd name="T120" fmla="*/ 239 w 334"/>
                    <a:gd name="T121" fmla="*/ 35 h 542"/>
                    <a:gd name="T122" fmla="*/ 261 w 334"/>
                    <a:gd name="T123" fmla="*/ 30 h 542"/>
                    <a:gd name="T124" fmla="*/ 296 w 334"/>
                    <a:gd name="T125" fmla="*/ 16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4" h="542">
                      <a:moveTo>
                        <a:pt x="85" y="513"/>
                      </a:moveTo>
                      <a:lnTo>
                        <a:pt x="85" y="514"/>
                      </a:lnTo>
                      <a:lnTo>
                        <a:pt x="84" y="514"/>
                      </a:lnTo>
                      <a:lnTo>
                        <a:pt x="84" y="513"/>
                      </a:lnTo>
                      <a:lnTo>
                        <a:pt x="83" y="513"/>
                      </a:lnTo>
                      <a:lnTo>
                        <a:pt x="83" y="514"/>
                      </a:lnTo>
                      <a:lnTo>
                        <a:pt x="83" y="513"/>
                      </a:lnTo>
                      <a:lnTo>
                        <a:pt x="84" y="512"/>
                      </a:lnTo>
                      <a:lnTo>
                        <a:pt x="85" y="512"/>
                      </a:lnTo>
                      <a:lnTo>
                        <a:pt x="85" y="511"/>
                      </a:lnTo>
                      <a:lnTo>
                        <a:pt x="85" y="512"/>
                      </a:lnTo>
                      <a:lnTo>
                        <a:pt x="85" y="513"/>
                      </a:lnTo>
                      <a:close/>
                      <a:moveTo>
                        <a:pt x="163" y="368"/>
                      </a:moveTo>
                      <a:lnTo>
                        <a:pt x="163" y="367"/>
                      </a:lnTo>
                      <a:lnTo>
                        <a:pt x="163" y="365"/>
                      </a:lnTo>
                      <a:lnTo>
                        <a:pt x="164" y="360"/>
                      </a:lnTo>
                      <a:lnTo>
                        <a:pt x="164" y="361"/>
                      </a:lnTo>
                      <a:lnTo>
                        <a:pt x="164" y="364"/>
                      </a:lnTo>
                      <a:lnTo>
                        <a:pt x="163" y="368"/>
                      </a:lnTo>
                      <a:close/>
                      <a:moveTo>
                        <a:pt x="304" y="191"/>
                      </a:moveTo>
                      <a:lnTo>
                        <a:pt x="303" y="192"/>
                      </a:lnTo>
                      <a:lnTo>
                        <a:pt x="303" y="191"/>
                      </a:lnTo>
                      <a:lnTo>
                        <a:pt x="302" y="191"/>
                      </a:lnTo>
                      <a:lnTo>
                        <a:pt x="302" y="190"/>
                      </a:lnTo>
                      <a:lnTo>
                        <a:pt x="302" y="189"/>
                      </a:lnTo>
                      <a:lnTo>
                        <a:pt x="302" y="188"/>
                      </a:lnTo>
                      <a:lnTo>
                        <a:pt x="303" y="188"/>
                      </a:lnTo>
                      <a:lnTo>
                        <a:pt x="304" y="188"/>
                      </a:lnTo>
                      <a:lnTo>
                        <a:pt x="305" y="188"/>
                      </a:lnTo>
                      <a:lnTo>
                        <a:pt x="305" y="189"/>
                      </a:lnTo>
                      <a:lnTo>
                        <a:pt x="304" y="190"/>
                      </a:lnTo>
                      <a:lnTo>
                        <a:pt x="304" y="191"/>
                      </a:lnTo>
                      <a:close/>
                      <a:moveTo>
                        <a:pt x="323" y="1"/>
                      </a:moveTo>
                      <a:lnTo>
                        <a:pt x="324" y="1"/>
                      </a:lnTo>
                      <a:lnTo>
                        <a:pt x="325" y="1"/>
                      </a:lnTo>
                      <a:lnTo>
                        <a:pt x="325" y="2"/>
                      </a:lnTo>
                      <a:lnTo>
                        <a:pt x="324" y="3"/>
                      </a:lnTo>
                      <a:lnTo>
                        <a:pt x="325" y="3"/>
                      </a:lnTo>
                      <a:lnTo>
                        <a:pt x="326" y="3"/>
                      </a:lnTo>
                      <a:lnTo>
                        <a:pt x="326" y="5"/>
                      </a:lnTo>
                      <a:lnTo>
                        <a:pt x="326" y="6"/>
                      </a:lnTo>
                      <a:lnTo>
                        <a:pt x="327" y="6"/>
                      </a:lnTo>
                      <a:lnTo>
                        <a:pt x="327" y="7"/>
                      </a:lnTo>
                      <a:lnTo>
                        <a:pt x="329" y="7"/>
                      </a:lnTo>
                      <a:lnTo>
                        <a:pt x="330" y="7"/>
                      </a:lnTo>
                      <a:lnTo>
                        <a:pt x="329" y="8"/>
                      </a:lnTo>
                      <a:lnTo>
                        <a:pt x="327" y="7"/>
                      </a:lnTo>
                      <a:lnTo>
                        <a:pt x="326" y="8"/>
                      </a:lnTo>
                      <a:lnTo>
                        <a:pt x="324" y="9"/>
                      </a:lnTo>
                      <a:lnTo>
                        <a:pt x="324" y="10"/>
                      </a:lnTo>
                      <a:lnTo>
                        <a:pt x="325" y="10"/>
                      </a:lnTo>
                      <a:lnTo>
                        <a:pt x="327" y="12"/>
                      </a:lnTo>
                      <a:lnTo>
                        <a:pt x="329" y="13"/>
                      </a:lnTo>
                      <a:lnTo>
                        <a:pt x="327" y="13"/>
                      </a:lnTo>
                      <a:lnTo>
                        <a:pt x="326" y="14"/>
                      </a:lnTo>
                      <a:lnTo>
                        <a:pt x="325" y="14"/>
                      </a:lnTo>
                      <a:lnTo>
                        <a:pt x="325" y="15"/>
                      </a:lnTo>
                      <a:lnTo>
                        <a:pt x="324" y="16"/>
                      </a:lnTo>
                      <a:lnTo>
                        <a:pt x="325" y="17"/>
                      </a:lnTo>
                      <a:lnTo>
                        <a:pt x="324" y="18"/>
                      </a:lnTo>
                      <a:lnTo>
                        <a:pt x="325" y="18"/>
                      </a:lnTo>
                      <a:lnTo>
                        <a:pt x="325" y="17"/>
                      </a:lnTo>
                      <a:lnTo>
                        <a:pt x="326" y="17"/>
                      </a:lnTo>
                      <a:lnTo>
                        <a:pt x="326" y="18"/>
                      </a:lnTo>
                      <a:lnTo>
                        <a:pt x="326" y="20"/>
                      </a:lnTo>
                      <a:lnTo>
                        <a:pt x="325" y="21"/>
                      </a:lnTo>
                      <a:lnTo>
                        <a:pt x="324" y="21"/>
                      </a:lnTo>
                      <a:lnTo>
                        <a:pt x="324" y="22"/>
                      </a:lnTo>
                      <a:lnTo>
                        <a:pt x="324" y="23"/>
                      </a:lnTo>
                      <a:lnTo>
                        <a:pt x="324" y="24"/>
                      </a:lnTo>
                      <a:lnTo>
                        <a:pt x="322" y="25"/>
                      </a:lnTo>
                      <a:lnTo>
                        <a:pt x="322" y="27"/>
                      </a:lnTo>
                      <a:lnTo>
                        <a:pt x="320" y="28"/>
                      </a:lnTo>
                      <a:lnTo>
                        <a:pt x="319" y="28"/>
                      </a:lnTo>
                      <a:lnTo>
                        <a:pt x="320" y="29"/>
                      </a:lnTo>
                      <a:lnTo>
                        <a:pt x="320" y="28"/>
                      </a:lnTo>
                      <a:lnTo>
                        <a:pt x="322" y="28"/>
                      </a:lnTo>
                      <a:lnTo>
                        <a:pt x="322" y="29"/>
                      </a:lnTo>
                      <a:lnTo>
                        <a:pt x="323" y="30"/>
                      </a:lnTo>
                      <a:lnTo>
                        <a:pt x="323" y="31"/>
                      </a:lnTo>
                      <a:lnTo>
                        <a:pt x="323" y="32"/>
                      </a:lnTo>
                      <a:lnTo>
                        <a:pt x="323" y="34"/>
                      </a:lnTo>
                      <a:lnTo>
                        <a:pt x="323" y="35"/>
                      </a:lnTo>
                      <a:lnTo>
                        <a:pt x="322" y="35"/>
                      </a:lnTo>
                      <a:lnTo>
                        <a:pt x="322" y="36"/>
                      </a:lnTo>
                      <a:lnTo>
                        <a:pt x="323" y="36"/>
                      </a:lnTo>
                      <a:lnTo>
                        <a:pt x="323" y="37"/>
                      </a:lnTo>
                      <a:lnTo>
                        <a:pt x="322" y="38"/>
                      </a:lnTo>
                      <a:lnTo>
                        <a:pt x="323" y="38"/>
                      </a:lnTo>
                      <a:lnTo>
                        <a:pt x="323" y="39"/>
                      </a:lnTo>
                      <a:lnTo>
                        <a:pt x="323" y="41"/>
                      </a:lnTo>
                      <a:lnTo>
                        <a:pt x="323" y="42"/>
                      </a:lnTo>
                      <a:lnTo>
                        <a:pt x="323" y="43"/>
                      </a:lnTo>
                      <a:lnTo>
                        <a:pt x="324" y="44"/>
                      </a:lnTo>
                      <a:lnTo>
                        <a:pt x="325" y="44"/>
                      </a:lnTo>
                      <a:lnTo>
                        <a:pt x="324" y="45"/>
                      </a:lnTo>
                      <a:lnTo>
                        <a:pt x="324" y="46"/>
                      </a:lnTo>
                      <a:lnTo>
                        <a:pt x="324" y="48"/>
                      </a:lnTo>
                      <a:lnTo>
                        <a:pt x="325" y="49"/>
                      </a:lnTo>
                      <a:lnTo>
                        <a:pt x="325" y="50"/>
                      </a:lnTo>
                      <a:lnTo>
                        <a:pt x="324" y="51"/>
                      </a:lnTo>
                      <a:lnTo>
                        <a:pt x="324" y="52"/>
                      </a:lnTo>
                      <a:lnTo>
                        <a:pt x="324" y="53"/>
                      </a:lnTo>
                      <a:lnTo>
                        <a:pt x="325" y="55"/>
                      </a:lnTo>
                      <a:lnTo>
                        <a:pt x="325" y="56"/>
                      </a:lnTo>
                      <a:lnTo>
                        <a:pt x="325" y="57"/>
                      </a:lnTo>
                      <a:lnTo>
                        <a:pt x="324" y="57"/>
                      </a:lnTo>
                      <a:lnTo>
                        <a:pt x="323" y="57"/>
                      </a:lnTo>
                      <a:lnTo>
                        <a:pt x="323" y="58"/>
                      </a:lnTo>
                      <a:lnTo>
                        <a:pt x="323" y="57"/>
                      </a:lnTo>
                      <a:lnTo>
                        <a:pt x="324" y="58"/>
                      </a:lnTo>
                      <a:lnTo>
                        <a:pt x="324" y="59"/>
                      </a:lnTo>
                      <a:lnTo>
                        <a:pt x="325" y="59"/>
                      </a:lnTo>
                      <a:lnTo>
                        <a:pt x="325" y="60"/>
                      </a:lnTo>
                      <a:lnTo>
                        <a:pt x="324" y="60"/>
                      </a:lnTo>
                      <a:lnTo>
                        <a:pt x="324" y="62"/>
                      </a:lnTo>
                      <a:lnTo>
                        <a:pt x="325" y="62"/>
                      </a:lnTo>
                      <a:lnTo>
                        <a:pt x="326" y="62"/>
                      </a:lnTo>
                      <a:lnTo>
                        <a:pt x="325" y="63"/>
                      </a:lnTo>
                      <a:lnTo>
                        <a:pt x="324" y="63"/>
                      </a:lnTo>
                      <a:lnTo>
                        <a:pt x="324" y="64"/>
                      </a:lnTo>
                      <a:lnTo>
                        <a:pt x="324" y="65"/>
                      </a:lnTo>
                      <a:lnTo>
                        <a:pt x="323" y="65"/>
                      </a:lnTo>
                      <a:lnTo>
                        <a:pt x="324" y="66"/>
                      </a:lnTo>
                      <a:lnTo>
                        <a:pt x="326" y="66"/>
                      </a:lnTo>
                      <a:lnTo>
                        <a:pt x="326" y="69"/>
                      </a:lnTo>
                      <a:lnTo>
                        <a:pt x="326" y="70"/>
                      </a:lnTo>
                      <a:lnTo>
                        <a:pt x="327" y="70"/>
                      </a:lnTo>
                      <a:lnTo>
                        <a:pt x="327" y="71"/>
                      </a:lnTo>
                      <a:lnTo>
                        <a:pt x="326" y="70"/>
                      </a:lnTo>
                      <a:lnTo>
                        <a:pt x="326" y="71"/>
                      </a:lnTo>
                      <a:lnTo>
                        <a:pt x="326" y="72"/>
                      </a:lnTo>
                      <a:lnTo>
                        <a:pt x="327" y="72"/>
                      </a:lnTo>
                      <a:lnTo>
                        <a:pt x="327" y="73"/>
                      </a:lnTo>
                      <a:lnTo>
                        <a:pt x="329" y="73"/>
                      </a:lnTo>
                      <a:lnTo>
                        <a:pt x="329" y="74"/>
                      </a:lnTo>
                      <a:lnTo>
                        <a:pt x="327" y="74"/>
                      </a:lnTo>
                      <a:lnTo>
                        <a:pt x="326" y="74"/>
                      </a:lnTo>
                      <a:lnTo>
                        <a:pt x="326" y="76"/>
                      </a:lnTo>
                      <a:lnTo>
                        <a:pt x="325" y="76"/>
                      </a:lnTo>
                      <a:lnTo>
                        <a:pt x="325" y="77"/>
                      </a:lnTo>
                      <a:lnTo>
                        <a:pt x="325" y="78"/>
                      </a:lnTo>
                      <a:lnTo>
                        <a:pt x="324" y="78"/>
                      </a:lnTo>
                      <a:lnTo>
                        <a:pt x="323" y="78"/>
                      </a:lnTo>
                      <a:lnTo>
                        <a:pt x="322" y="78"/>
                      </a:lnTo>
                      <a:lnTo>
                        <a:pt x="322" y="79"/>
                      </a:lnTo>
                      <a:lnTo>
                        <a:pt x="322" y="80"/>
                      </a:lnTo>
                      <a:lnTo>
                        <a:pt x="323" y="81"/>
                      </a:lnTo>
                      <a:lnTo>
                        <a:pt x="323" y="83"/>
                      </a:lnTo>
                      <a:lnTo>
                        <a:pt x="324" y="81"/>
                      </a:lnTo>
                      <a:lnTo>
                        <a:pt x="324" y="80"/>
                      </a:lnTo>
                      <a:lnTo>
                        <a:pt x="324" y="79"/>
                      </a:lnTo>
                      <a:lnTo>
                        <a:pt x="325" y="80"/>
                      </a:lnTo>
                      <a:lnTo>
                        <a:pt x="326" y="80"/>
                      </a:lnTo>
                      <a:lnTo>
                        <a:pt x="327" y="80"/>
                      </a:lnTo>
                      <a:lnTo>
                        <a:pt x="326" y="81"/>
                      </a:lnTo>
                      <a:lnTo>
                        <a:pt x="326" y="84"/>
                      </a:lnTo>
                      <a:lnTo>
                        <a:pt x="326" y="85"/>
                      </a:lnTo>
                      <a:lnTo>
                        <a:pt x="326" y="86"/>
                      </a:lnTo>
                      <a:lnTo>
                        <a:pt x="326" y="87"/>
                      </a:lnTo>
                      <a:lnTo>
                        <a:pt x="326" y="90"/>
                      </a:lnTo>
                      <a:lnTo>
                        <a:pt x="325" y="91"/>
                      </a:lnTo>
                      <a:lnTo>
                        <a:pt x="326" y="91"/>
                      </a:lnTo>
                      <a:lnTo>
                        <a:pt x="326" y="93"/>
                      </a:lnTo>
                      <a:lnTo>
                        <a:pt x="326" y="94"/>
                      </a:lnTo>
                      <a:lnTo>
                        <a:pt x="325" y="94"/>
                      </a:lnTo>
                      <a:lnTo>
                        <a:pt x="325" y="95"/>
                      </a:lnTo>
                      <a:lnTo>
                        <a:pt x="325" y="97"/>
                      </a:lnTo>
                      <a:lnTo>
                        <a:pt x="325" y="98"/>
                      </a:lnTo>
                      <a:lnTo>
                        <a:pt x="325" y="99"/>
                      </a:lnTo>
                      <a:lnTo>
                        <a:pt x="326" y="99"/>
                      </a:lnTo>
                      <a:lnTo>
                        <a:pt x="326" y="100"/>
                      </a:lnTo>
                      <a:lnTo>
                        <a:pt x="325" y="101"/>
                      </a:lnTo>
                      <a:lnTo>
                        <a:pt x="325" y="102"/>
                      </a:lnTo>
                      <a:lnTo>
                        <a:pt x="326" y="105"/>
                      </a:lnTo>
                      <a:lnTo>
                        <a:pt x="326" y="109"/>
                      </a:lnTo>
                      <a:lnTo>
                        <a:pt x="327" y="109"/>
                      </a:lnTo>
                      <a:lnTo>
                        <a:pt x="327" y="111"/>
                      </a:lnTo>
                      <a:lnTo>
                        <a:pt x="327" y="112"/>
                      </a:lnTo>
                      <a:lnTo>
                        <a:pt x="327" y="113"/>
                      </a:lnTo>
                      <a:lnTo>
                        <a:pt x="329" y="114"/>
                      </a:lnTo>
                      <a:lnTo>
                        <a:pt x="329" y="115"/>
                      </a:lnTo>
                      <a:lnTo>
                        <a:pt x="327" y="116"/>
                      </a:lnTo>
                      <a:lnTo>
                        <a:pt x="326" y="116"/>
                      </a:lnTo>
                      <a:lnTo>
                        <a:pt x="327" y="116"/>
                      </a:lnTo>
                      <a:lnTo>
                        <a:pt x="327" y="118"/>
                      </a:lnTo>
                      <a:lnTo>
                        <a:pt x="326" y="119"/>
                      </a:lnTo>
                      <a:lnTo>
                        <a:pt x="325" y="119"/>
                      </a:lnTo>
                      <a:lnTo>
                        <a:pt x="325" y="120"/>
                      </a:lnTo>
                      <a:lnTo>
                        <a:pt x="325" y="121"/>
                      </a:lnTo>
                      <a:lnTo>
                        <a:pt x="326" y="121"/>
                      </a:lnTo>
                      <a:lnTo>
                        <a:pt x="326" y="120"/>
                      </a:lnTo>
                      <a:lnTo>
                        <a:pt x="326" y="121"/>
                      </a:lnTo>
                      <a:lnTo>
                        <a:pt x="326" y="122"/>
                      </a:lnTo>
                      <a:lnTo>
                        <a:pt x="327" y="122"/>
                      </a:lnTo>
                      <a:lnTo>
                        <a:pt x="327" y="121"/>
                      </a:lnTo>
                      <a:lnTo>
                        <a:pt x="329" y="120"/>
                      </a:lnTo>
                      <a:lnTo>
                        <a:pt x="330" y="120"/>
                      </a:lnTo>
                      <a:lnTo>
                        <a:pt x="331" y="120"/>
                      </a:lnTo>
                      <a:lnTo>
                        <a:pt x="331" y="121"/>
                      </a:lnTo>
                      <a:lnTo>
                        <a:pt x="331" y="122"/>
                      </a:lnTo>
                      <a:lnTo>
                        <a:pt x="331" y="123"/>
                      </a:lnTo>
                      <a:lnTo>
                        <a:pt x="331" y="125"/>
                      </a:lnTo>
                      <a:lnTo>
                        <a:pt x="330" y="126"/>
                      </a:lnTo>
                      <a:lnTo>
                        <a:pt x="329" y="126"/>
                      </a:lnTo>
                      <a:lnTo>
                        <a:pt x="329" y="125"/>
                      </a:lnTo>
                      <a:lnTo>
                        <a:pt x="327" y="125"/>
                      </a:lnTo>
                      <a:lnTo>
                        <a:pt x="329" y="128"/>
                      </a:lnTo>
                      <a:lnTo>
                        <a:pt x="327" y="128"/>
                      </a:lnTo>
                      <a:lnTo>
                        <a:pt x="329" y="129"/>
                      </a:lnTo>
                      <a:lnTo>
                        <a:pt x="327" y="129"/>
                      </a:lnTo>
                      <a:lnTo>
                        <a:pt x="327" y="130"/>
                      </a:lnTo>
                      <a:lnTo>
                        <a:pt x="327" y="132"/>
                      </a:lnTo>
                      <a:lnTo>
                        <a:pt x="329" y="132"/>
                      </a:lnTo>
                      <a:lnTo>
                        <a:pt x="329" y="130"/>
                      </a:lnTo>
                      <a:lnTo>
                        <a:pt x="330" y="128"/>
                      </a:lnTo>
                      <a:lnTo>
                        <a:pt x="332" y="127"/>
                      </a:lnTo>
                      <a:lnTo>
                        <a:pt x="333" y="127"/>
                      </a:lnTo>
                      <a:lnTo>
                        <a:pt x="334" y="128"/>
                      </a:lnTo>
                      <a:lnTo>
                        <a:pt x="334" y="129"/>
                      </a:lnTo>
                      <a:lnTo>
                        <a:pt x="333" y="130"/>
                      </a:lnTo>
                      <a:lnTo>
                        <a:pt x="332" y="130"/>
                      </a:lnTo>
                      <a:lnTo>
                        <a:pt x="332" y="132"/>
                      </a:lnTo>
                      <a:lnTo>
                        <a:pt x="333" y="130"/>
                      </a:lnTo>
                      <a:lnTo>
                        <a:pt x="334" y="130"/>
                      </a:lnTo>
                      <a:lnTo>
                        <a:pt x="334" y="132"/>
                      </a:lnTo>
                      <a:lnTo>
                        <a:pt x="333" y="134"/>
                      </a:lnTo>
                      <a:lnTo>
                        <a:pt x="334" y="135"/>
                      </a:lnTo>
                      <a:lnTo>
                        <a:pt x="334" y="136"/>
                      </a:lnTo>
                      <a:lnTo>
                        <a:pt x="334" y="139"/>
                      </a:lnTo>
                      <a:lnTo>
                        <a:pt x="334" y="140"/>
                      </a:lnTo>
                      <a:lnTo>
                        <a:pt x="332" y="140"/>
                      </a:lnTo>
                      <a:lnTo>
                        <a:pt x="332" y="141"/>
                      </a:lnTo>
                      <a:lnTo>
                        <a:pt x="331" y="142"/>
                      </a:lnTo>
                      <a:lnTo>
                        <a:pt x="330" y="142"/>
                      </a:lnTo>
                      <a:lnTo>
                        <a:pt x="330" y="143"/>
                      </a:lnTo>
                      <a:lnTo>
                        <a:pt x="329" y="143"/>
                      </a:lnTo>
                      <a:lnTo>
                        <a:pt x="329" y="142"/>
                      </a:lnTo>
                      <a:lnTo>
                        <a:pt x="327" y="141"/>
                      </a:lnTo>
                      <a:lnTo>
                        <a:pt x="329" y="142"/>
                      </a:lnTo>
                      <a:lnTo>
                        <a:pt x="329" y="143"/>
                      </a:lnTo>
                      <a:lnTo>
                        <a:pt x="330" y="143"/>
                      </a:lnTo>
                      <a:lnTo>
                        <a:pt x="331" y="143"/>
                      </a:lnTo>
                      <a:lnTo>
                        <a:pt x="331" y="144"/>
                      </a:lnTo>
                      <a:lnTo>
                        <a:pt x="332" y="144"/>
                      </a:lnTo>
                      <a:lnTo>
                        <a:pt x="332" y="146"/>
                      </a:lnTo>
                      <a:lnTo>
                        <a:pt x="331" y="146"/>
                      </a:lnTo>
                      <a:lnTo>
                        <a:pt x="329" y="146"/>
                      </a:lnTo>
                      <a:lnTo>
                        <a:pt x="329" y="147"/>
                      </a:lnTo>
                      <a:lnTo>
                        <a:pt x="330" y="148"/>
                      </a:lnTo>
                      <a:lnTo>
                        <a:pt x="329" y="149"/>
                      </a:lnTo>
                      <a:lnTo>
                        <a:pt x="327" y="149"/>
                      </a:lnTo>
                      <a:lnTo>
                        <a:pt x="326" y="150"/>
                      </a:lnTo>
                      <a:lnTo>
                        <a:pt x="325" y="150"/>
                      </a:lnTo>
                      <a:lnTo>
                        <a:pt x="324" y="150"/>
                      </a:lnTo>
                      <a:lnTo>
                        <a:pt x="324" y="151"/>
                      </a:lnTo>
                      <a:lnTo>
                        <a:pt x="325" y="153"/>
                      </a:lnTo>
                      <a:lnTo>
                        <a:pt x="326" y="153"/>
                      </a:lnTo>
                      <a:lnTo>
                        <a:pt x="326" y="151"/>
                      </a:lnTo>
                      <a:lnTo>
                        <a:pt x="327" y="151"/>
                      </a:lnTo>
                      <a:lnTo>
                        <a:pt x="329" y="151"/>
                      </a:lnTo>
                      <a:lnTo>
                        <a:pt x="329" y="153"/>
                      </a:lnTo>
                      <a:lnTo>
                        <a:pt x="329" y="154"/>
                      </a:lnTo>
                      <a:lnTo>
                        <a:pt x="329" y="155"/>
                      </a:lnTo>
                      <a:lnTo>
                        <a:pt x="329" y="156"/>
                      </a:lnTo>
                      <a:lnTo>
                        <a:pt x="327" y="157"/>
                      </a:lnTo>
                      <a:lnTo>
                        <a:pt x="327" y="158"/>
                      </a:lnTo>
                      <a:lnTo>
                        <a:pt x="326" y="158"/>
                      </a:lnTo>
                      <a:lnTo>
                        <a:pt x="326" y="160"/>
                      </a:lnTo>
                      <a:lnTo>
                        <a:pt x="326" y="161"/>
                      </a:lnTo>
                      <a:lnTo>
                        <a:pt x="325" y="161"/>
                      </a:lnTo>
                      <a:lnTo>
                        <a:pt x="326" y="162"/>
                      </a:lnTo>
                      <a:lnTo>
                        <a:pt x="325" y="162"/>
                      </a:lnTo>
                      <a:lnTo>
                        <a:pt x="325" y="163"/>
                      </a:lnTo>
                      <a:lnTo>
                        <a:pt x="324" y="163"/>
                      </a:lnTo>
                      <a:lnTo>
                        <a:pt x="323" y="163"/>
                      </a:lnTo>
                      <a:lnTo>
                        <a:pt x="323" y="164"/>
                      </a:lnTo>
                      <a:lnTo>
                        <a:pt x="322" y="165"/>
                      </a:lnTo>
                      <a:lnTo>
                        <a:pt x="320" y="165"/>
                      </a:lnTo>
                      <a:lnTo>
                        <a:pt x="319" y="169"/>
                      </a:lnTo>
                      <a:lnTo>
                        <a:pt x="312" y="176"/>
                      </a:lnTo>
                      <a:lnTo>
                        <a:pt x="311" y="176"/>
                      </a:lnTo>
                      <a:lnTo>
                        <a:pt x="311" y="177"/>
                      </a:lnTo>
                      <a:lnTo>
                        <a:pt x="310" y="177"/>
                      </a:lnTo>
                      <a:lnTo>
                        <a:pt x="310" y="178"/>
                      </a:lnTo>
                      <a:lnTo>
                        <a:pt x="309" y="178"/>
                      </a:lnTo>
                      <a:lnTo>
                        <a:pt x="310" y="178"/>
                      </a:lnTo>
                      <a:lnTo>
                        <a:pt x="311" y="177"/>
                      </a:lnTo>
                      <a:lnTo>
                        <a:pt x="311" y="178"/>
                      </a:lnTo>
                      <a:lnTo>
                        <a:pt x="311" y="179"/>
                      </a:lnTo>
                      <a:lnTo>
                        <a:pt x="311" y="181"/>
                      </a:lnTo>
                      <a:lnTo>
                        <a:pt x="310" y="181"/>
                      </a:lnTo>
                      <a:lnTo>
                        <a:pt x="309" y="182"/>
                      </a:lnTo>
                      <a:lnTo>
                        <a:pt x="308" y="184"/>
                      </a:lnTo>
                      <a:lnTo>
                        <a:pt x="308" y="185"/>
                      </a:lnTo>
                      <a:lnTo>
                        <a:pt x="306" y="186"/>
                      </a:lnTo>
                      <a:lnTo>
                        <a:pt x="304" y="186"/>
                      </a:lnTo>
                      <a:lnTo>
                        <a:pt x="303" y="186"/>
                      </a:lnTo>
                      <a:lnTo>
                        <a:pt x="302" y="188"/>
                      </a:lnTo>
                      <a:lnTo>
                        <a:pt x="301" y="188"/>
                      </a:lnTo>
                      <a:lnTo>
                        <a:pt x="301" y="189"/>
                      </a:lnTo>
                      <a:lnTo>
                        <a:pt x="301" y="190"/>
                      </a:lnTo>
                      <a:lnTo>
                        <a:pt x="302" y="191"/>
                      </a:lnTo>
                      <a:lnTo>
                        <a:pt x="302" y="192"/>
                      </a:lnTo>
                      <a:lnTo>
                        <a:pt x="303" y="192"/>
                      </a:lnTo>
                      <a:lnTo>
                        <a:pt x="302" y="193"/>
                      </a:lnTo>
                      <a:lnTo>
                        <a:pt x="301" y="193"/>
                      </a:lnTo>
                      <a:lnTo>
                        <a:pt x="301" y="192"/>
                      </a:lnTo>
                      <a:lnTo>
                        <a:pt x="299" y="192"/>
                      </a:lnTo>
                      <a:lnTo>
                        <a:pt x="299" y="193"/>
                      </a:lnTo>
                      <a:lnTo>
                        <a:pt x="298" y="193"/>
                      </a:lnTo>
                      <a:lnTo>
                        <a:pt x="298" y="195"/>
                      </a:lnTo>
                      <a:lnTo>
                        <a:pt x="298" y="196"/>
                      </a:lnTo>
                      <a:lnTo>
                        <a:pt x="297" y="196"/>
                      </a:lnTo>
                      <a:lnTo>
                        <a:pt x="296" y="197"/>
                      </a:lnTo>
                      <a:lnTo>
                        <a:pt x="295" y="198"/>
                      </a:lnTo>
                      <a:lnTo>
                        <a:pt x="294" y="198"/>
                      </a:lnTo>
                      <a:lnTo>
                        <a:pt x="292" y="199"/>
                      </a:lnTo>
                      <a:lnTo>
                        <a:pt x="287" y="202"/>
                      </a:lnTo>
                      <a:lnTo>
                        <a:pt x="282" y="205"/>
                      </a:lnTo>
                      <a:lnTo>
                        <a:pt x="281" y="206"/>
                      </a:lnTo>
                      <a:lnTo>
                        <a:pt x="280" y="206"/>
                      </a:lnTo>
                      <a:lnTo>
                        <a:pt x="280" y="207"/>
                      </a:lnTo>
                      <a:lnTo>
                        <a:pt x="278" y="207"/>
                      </a:lnTo>
                      <a:lnTo>
                        <a:pt x="278" y="209"/>
                      </a:lnTo>
                      <a:lnTo>
                        <a:pt x="280" y="209"/>
                      </a:lnTo>
                      <a:lnTo>
                        <a:pt x="280" y="210"/>
                      </a:lnTo>
                      <a:lnTo>
                        <a:pt x="278" y="210"/>
                      </a:lnTo>
                      <a:lnTo>
                        <a:pt x="278" y="211"/>
                      </a:lnTo>
                      <a:lnTo>
                        <a:pt x="277" y="211"/>
                      </a:lnTo>
                      <a:lnTo>
                        <a:pt x="276" y="211"/>
                      </a:lnTo>
                      <a:lnTo>
                        <a:pt x="275" y="211"/>
                      </a:lnTo>
                      <a:lnTo>
                        <a:pt x="273" y="212"/>
                      </a:lnTo>
                      <a:lnTo>
                        <a:pt x="271" y="212"/>
                      </a:lnTo>
                      <a:lnTo>
                        <a:pt x="267" y="212"/>
                      </a:lnTo>
                      <a:lnTo>
                        <a:pt x="266" y="212"/>
                      </a:lnTo>
                      <a:lnTo>
                        <a:pt x="266" y="211"/>
                      </a:lnTo>
                      <a:lnTo>
                        <a:pt x="266" y="212"/>
                      </a:lnTo>
                      <a:lnTo>
                        <a:pt x="266" y="213"/>
                      </a:lnTo>
                      <a:lnTo>
                        <a:pt x="265" y="213"/>
                      </a:lnTo>
                      <a:lnTo>
                        <a:pt x="263" y="213"/>
                      </a:lnTo>
                      <a:lnTo>
                        <a:pt x="262" y="214"/>
                      </a:lnTo>
                      <a:lnTo>
                        <a:pt x="261" y="214"/>
                      </a:lnTo>
                      <a:lnTo>
                        <a:pt x="260" y="214"/>
                      </a:lnTo>
                      <a:lnTo>
                        <a:pt x="260" y="216"/>
                      </a:lnTo>
                      <a:lnTo>
                        <a:pt x="252" y="219"/>
                      </a:lnTo>
                      <a:lnTo>
                        <a:pt x="251" y="219"/>
                      </a:lnTo>
                      <a:lnTo>
                        <a:pt x="251" y="220"/>
                      </a:lnTo>
                      <a:lnTo>
                        <a:pt x="249" y="220"/>
                      </a:lnTo>
                      <a:lnTo>
                        <a:pt x="248" y="219"/>
                      </a:lnTo>
                      <a:lnTo>
                        <a:pt x="248" y="217"/>
                      </a:lnTo>
                      <a:lnTo>
                        <a:pt x="247" y="217"/>
                      </a:lnTo>
                      <a:lnTo>
                        <a:pt x="247" y="218"/>
                      </a:lnTo>
                      <a:lnTo>
                        <a:pt x="248" y="218"/>
                      </a:lnTo>
                      <a:lnTo>
                        <a:pt x="248" y="219"/>
                      </a:lnTo>
                      <a:lnTo>
                        <a:pt x="248" y="220"/>
                      </a:lnTo>
                      <a:lnTo>
                        <a:pt x="247" y="220"/>
                      </a:lnTo>
                      <a:lnTo>
                        <a:pt x="246" y="221"/>
                      </a:lnTo>
                      <a:lnTo>
                        <a:pt x="241" y="223"/>
                      </a:lnTo>
                      <a:lnTo>
                        <a:pt x="240" y="223"/>
                      </a:lnTo>
                      <a:lnTo>
                        <a:pt x="235" y="226"/>
                      </a:lnTo>
                      <a:lnTo>
                        <a:pt x="235" y="225"/>
                      </a:lnTo>
                      <a:lnTo>
                        <a:pt x="234" y="226"/>
                      </a:lnTo>
                      <a:lnTo>
                        <a:pt x="233" y="227"/>
                      </a:lnTo>
                      <a:lnTo>
                        <a:pt x="232" y="227"/>
                      </a:lnTo>
                      <a:lnTo>
                        <a:pt x="231" y="227"/>
                      </a:lnTo>
                      <a:lnTo>
                        <a:pt x="231" y="228"/>
                      </a:lnTo>
                      <a:lnTo>
                        <a:pt x="226" y="231"/>
                      </a:lnTo>
                      <a:lnTo>
                        <a:pt x="225" y="232"/>
                      </a:lnTo>
                      <a:lnTo>
                        <a:pt x="224" y="232"/>
                      </a:lnTo>
                      <a:lnTo>
                        <a:pt x="224" y="233"/>
                      </a:lnTo>
                      <a:lnTo>
                        <a:pt x="223" y="233"/>
                      </a:lnTo>
                      <a:lnTo>
                        <a:pt x="221" y="233"/>
                      </a:lnTo>
                      <a:lnTo>
                        <a:pt x="221" y="234"/>
                      </a:lnTo>
                      <a:lnTo>
                        <a:pt x="220" y="234"/>
                      </a:lnTo>
                      <a:lnTo>
                        <a:pt x="219" y="234"/>
                      </a:lnTo>
                      <a:lnTo>
                        <a:pt x="219" y="235"/>
                      </a:lnTo>
                      <a:lnTo>
                        <a:pt x="218" y="237"/>
                      </a:lnTo>
                      <a:lnTo>
                        <a:pt x="216" y="239"/>
                      </a:lnTo>
                      <a:lnTo>
                        <a:pt x="213" y="242"/>
                      </a:lnTo>
                      <a:lnTo>
                        <a:pt x="212" y="244"/>
                      </a:lnTo>
                      <a:lnTo>
                        <a:pt x="212" y="242"/>
                      </a:lnTo>
                      <a:lnTo>
                        <a:pt x="211" y="242"/>
                      </a:lnTo>
                      <a:lnTo>
                        <a:pt x="211" y="241"/>
                      </a:lnTo>
                      <a:lnTo>
                        <a:pt x="210" y="241"/>
                      </a:lnTo>
                      <a:lnTo>
                        <a:pt x="210" y="240"/>
                      </a:lnTo>
                      <a:lnTo>
                        <a:pt x="210" y="239"/>
                      </a:lnTo>
                      <a:lnTo>
                        <a:pt x="209" y="239"/>
                      </a:lnTo>
                      <a:lnTo>
                        <a:pt x="207" y="239"/>
                      </a:lnTo>
                      <a:lnTo>
                        <a:pt x="207" y="240"/>
                      </a:lnTo>
                      <a:lnTo>
                        <a:pt x="209" y="239"/>
                      </a:lnTo>
                      <a:lnTo>
                        <a:pt x="209" y="240"/>
                      </a:lnTo>
                      <a:lnTo>
                        <a:pt x="209" y="241"/>
                      </a:lnTo>
                      <a:lnTo>
                        <a:pt x="210" y="242"/>
                      </a:lnTo>
                      <a:lnTo>
                        <a:pt x="210" y="244"/>
                      </a:lnTo>
                      <a:lnTo>
                        <a:pt x="211" y="244"/>
                      </a:lnTo>
                      <a:lnTo>
                        <a:pt x="212" y="245"/>
                      </a:lnTo>
                      <a:lnTo>
                        <a:pt x="211" y="246"/>
                      </a:lnTo>
                      <a:lnTo>
                        <a:pt x="211" y="247"/>
                      </a:lnTo>
                      <a:lnTo>
                        <a:pt x="210" y="248"/>
                      </a:lnTo>
                      <a:lnTo>
                        <a:pt x="210" y="249"/>
                      </a:lnTo>
                      <a:lnTo>
                        <a:pt x="209" y="249"/>
                      </a:lnTo>
                      <a:lnTo>
                        <a:pt x="207" y="249"/>
                      </a:lnTo>
                      <a:lnTo>
                        <a:pt x="206" y="249"/>
                      </a:lnTo>
                      <a:lnTo>
                        <a:pt x="206" y="251"/>
                      </a:lnTo>
                      <a:lnTo>
                        <a:pt x="207" y="249"/>
                      </a:lnTo>
                      <a:lnTo>
                        <a:pt x="207" y="251"/>
                      </a:lnTo>
                      <a:lnTo>
                        <a:pt x="205" y="253"/>
                      </a:lnTo>
                      <a:lnTo>
                        <a:pt x="204" y="254"/>
                      </a:lnTo>
                      <a:lnTo>
                        <a:pt x="202" y="258"/>
                      </a:lnTo>
                      <a:lnTo>
                        <a:pt x="199" y="259"/>
                      </a:lnTo>
                      <a:lnTo>
                        <a:pt x="198" y="259"/>
                      </a:lnTo>
                      <a:lnTo>
                        <a:pt x="198" y="260"/>
                      </a:lnTo>
                      <a:lnTo>
                        <a:pt x="198" y="261"/>
                      </a:lnTo>
                      <a:lnTo>
                        <a:pt x="197" y="260"/>
                      </a:lnTo>
                      <a:lnTo>
                        <a:pt x="197" y="261"/>
                      </a:lnTo>
                      <a:lnTo>
                        <a:pt x="196" y="261"/>
                      </a:lnTo>
                      <a:lnTo>
                        <a:pt x="196" y="262"/>
                      </a:lnTo>
                      <a:lnTo>
                        <a:pt x="196" y="263"/>
                      </a:lnTo>
                      <a:lnTo>
                        <a:pt x="195" y="266"/>
                      </a:lnTo>
                      <a:lnTo>
                        <a:pt x="194" y="267"/>
                      </a:lnTo>
                      <a:lnTo>
                        <a:pt x="194" y="266"/>
                      </a:lnTo>
                      <a:lnTo>
                        <a:pt x="194" y="267"/>
                      </a:lnTo>
                      <a:lnTo>
                        <a:pt x="192" y="267"/>
                      </a:lnTo>
                      <a:lnTo>
                        <a:pt x="194" y="268"/>
                      </a:lnTo>
                      <a:lnTo>
                        <a:pt x="194" y="267"/>
                      </a:lnTo>
                      <a:lnTo>
                        <a:pt x="194" y="268"/>
                      </a:lnTo>
                      <a:lnTo>
                        <a:pt x="195" y="268"/>
                      </a:lnTo>
                      <a:lnTo>
                        <a:pt x="194" y="269"/>
                      </a:lnTo>
                      <a:lnTo>
                        <a:pt x="192" y="269"/>
                      </a:lnTo>
                      <a:lnTo>
                        <a:pt x="191" y="269"/>
                      </a:lnTo>
                      <a:lnTo>
                        <a:pt x="190" y="269"/>
                      </a:lnTo>
                      <a:lnTo>
                        <a:pt x="190" y="268"/>
                      </a:lnTo>
                      <a:lnTo>
                        <a:pt x="189" y="266"/>
                      </a:lnTo>
                      <a:lnTo>
                        <a:pt x="189" y="267"/>
                      </a:lnTo>
                      <a:lnTo>
                        <a:pt x="189" y="269"/>
                      </a:lnTo>
                      <a:lnTo>
                        <a:pt x="190" y="270"/>
                      </a:lnTo>
                      <a:lnTo>
                        <a:pt x="189" y="272"/>
                      </a:lnTo>
                      <a:lnTo>
                        <a:pt x="190" y="272"/>
                      </a:lnTo>
                      <a:lnTo>
                        <a:pt x="190" y="273"/>
                      </a:lnTo>
                      <a:lnTo>
                        <a:pt x="189" y="273"/>
                      </a:lnTo>
                      <a:lnTo>
                        <a:pt x="189" y="272"/>
                      </a:lnTo>
                      <a:lnTo>
                        <a:pt x="188" y="273"/>
                      </a:lnTo>
                      <a:lnTo>
                        <a:pt x="187" y="273"/>
                      </a:lnTo>
                      <a:lnTo>
                        <a:pt x="185" y="273"/>
                      </a:lnTo>
                      <a:lnTo>
                        <a:pt x="185" y="270"/>
                      </a:lnTo>
                      <a:lnTo>
                        <a:pt x="185" y="269"/>
                      </a:lnTo>
                      <a:lnTo>
                        <a:pt x="184" y="269"/>
                      </a:lnTo>
                      <a:lnTo>
                        <a:pt x="184" y="270"/>
                      </a:lnTo>
                      <a:lnTo>
                        <a:pt x="182" y="273"/>
                      </a:lnTo>
                      <a:lnTo>
                        <a:pt x="182" y="274"/>
                      </a:lnTo>
                      <a:lnTo>
                        <a:pt x="181" y="274"/>
                      </a:lnTo>
                      <a:lnTo>
                        <a:pt x="181" y="273"/>
                      </a:lnTo>
                      <a:lnTo>
                        <a:pt x="180" y="273"/>
                      </a:lnTo>
                      <a:lnTo>
                        <a:pt x="180" y="274"/>
                      </a:lnTo>
                      <a:lnTo>
                        <a:pt x="178" y="275"/>
                      </a:lnTo>
                      <a:lnTo>
                        <a:pt x="177" y="274"/>
                      </a:lnTo>
                      <a:lnTo>
                        <a:pt x="176" y="275"/>
                      </a:lnTo>
                      <a:lnTo>
                        <a:pt x="177" y="275"/>
                      </a:lnTo>
                      <a:lnTo>
                        <a:pt x="173" y="279"/>
                      </a:lnTo>
                      <a:lnTo>
                        <a:pt x="171" y="280"/>
                      </a:lnTo>
                      <a:lnTo>
                        <a:pt x="170" y="280"/>
                      </a:lnTo>
                      <a:lnTo>
                        <a:pt x="170" y="282"/>
                      </a:lnTo>
                      <a:lnTo>
                        <a:pt x="170" y="281"/>
                      </a:lnTo>
                      <a:lnTo>
                        <a:pt x="170" y="282"/>
                      </a:lnTo>
                      <a:lnTo>
                        <a:pt x="169" y="283"/>
                      </a:lnTo>
                      <a:lnTo>
                        <a:pt x="168" y="284"/>
                      </a:lnTo>
                      <a:lnTo>
                        <a:pt x="167" y="287"/>
                      </a:lnTo>
                      <a:lnTo>
                        <a:pt x="166" y="287"/>
                      </a:lnTo>
                      <a:lnTo>
                        <a:pt x="166" y="288"/>
                      </a:lnTo>
                      <a:lnTo>
                        <a:pt x="163" y="290"/>
                      </a:lnTo>
                      <a:lnTo>
                        <a:pt x="161" y="293"/>
                      </a:lnTo>
                      <a:lnTo>
                        <a:pt x="156" y="296"/>
                      </a:lnTo>
                      <a:lnTo>
                        <a:pt x="154" y="300"/>
                      </a:lnTo>
                      <a:lnTo>
                        <a:pt x="153" y="300"/>
                      </a:lnTo>
                      <a:lnTo>
                        <a:pt x="152" y="300"/>
                      </a:lnTo>
                      <a:lnTo>
                        <a:pt x="150" y="302"/>
                      </a:lnTo>
                      <a:lnTo>
                        <a:pt x="149" y="302"/>
                      </a:lnTo>
                      <a:lnTo>
                        <a:pt x="148" y="302"/>
                      </a:lnTo>
                      <a:lnTo>
                        <a:pt x="148" y="303"/>
                      </a:lnTo>
                      <a:lnTo>
                        <a:pt x="146" y="304"/>
                      </a:lnTo>
                      <a:lnTo>
                        <a:pt x="145" y="304"/>
                      </a:lnTo>
                      <a:lnTo>
                        <a:pt x="145" y="303"/>
                      </a:lnTo>
                      <a:lnTo>
                        <a:pt x="145" y="302"/>
                      </a:lnTo>
                      <a:lnTo>
                        <a:pt x="143" y="302"/>
                      </a:lnTo>
                      <a:lnTo>
                        <a:pt x="142" y="301"/>
                      </a:lnTo>
                      <a:lnTo>
                        <a:pt x="141" y="300"/>
                      </a:lnTo>
                      <a:lnTo>
                        <a:pt x="140" y="300"/>
                      </a:lnTo>
                      <a:lnTo>
                        <a:pt x="139" y="297"/>
                      </a:lnTo>
                      <a:lnTo>
                        <a:pt x="139" y="296"/>
                      </a:lnTo>
                      <a:lnTo>
                        <a:pt x="138" y="296"/>
                      </a:lnTo>
                      <a:lnTo>
                        <a:pt x="138" y="295"/>
                      </a:lnTo>
                      <a:lnTo>
                        <a:pt x="137" y="295"/>
                      </a:lnTo>
                      <a:lnTo>
                        <a:pt x="135" y="295"/>
                      </a:lnTo>
                      <a:lnTo>
                        <a:pt x="135" y="296"/>
                      </a:lnTo>
                      <a:lnTo>
                        <a:pt x="137" y="296"/>
                      </a:lnTo>
                      <a:lnTo>
                        <a:pt x="138" y="296"/>
                      </a:lnTo>
                      <a:lnTo>
                        <a:pt x="138" y="297"/>
                      </a:lnTo>
                      <a:lnTo>
                        <a:pt x="139" y="298"/>
                      </a:lnTo>
                      <a:lnTo>
                        <a:pt x="140" y="301"/>
                      </a:lnTo>
                      <a:lnTo>
                        <a:pt x="141" y="301"/>
                      </a:lnTo>
                      <a:lnTo>
                        <a:pt x="142" y="302"/>
                      </a:lnTo>
                      <a:lnTo>
                        <a:pt x="142" y="303"/>
                      </a:lnTo>
                      <a:lnTo>
                        <a:pt x="142" y="304"/>
                      </a:lnTo>
                      <a:lnTo>
                        <a:pt x="141" y="305"/>
                      </a:lnTo>
                      <a:lnTo>
                        <a:pt x="140" y="305"/>
                      </a:lnTo>
                      <a:lnTo>
                        <a:pt x="141" y="305"/>
                      </a:lnTo>
                      <a:lnTo>
                        <a:pt x="142" y="305"/>
                      </a:lnTo>
                      <a:lnTo>
                        <a:pt x="142" y="307"/>
                      </a:lnTo>
                      <a:lnTo>
                        <a:pt x="142" y="308"/>
                      </a:lnTo>
                      <a:lnTo>
                        <a:pt x="142" y="309"/>
                      </a:lnTo>
                      <a:lnTo>
                        <a:pt x="142" y="310"/>
                      </a:lnTo>
                      <a:lnTo>
                        <a:pt x="142" y="311"/>
                      </a:lnTo>
                      <a:lnTo>
                        <a:pt x="142" y="312"/>
                      </a:lnTo>
                      <a:lnTo>
                        <a:pt x="142" y="314"/>
                      </a:lnTo>
                      <a:lnTo>
                        <a:pt x="142" y="315"/>
                      </a:lnTo>
                      <a:lnTo>
                        <a:pt x="141" y="315"/>
                      </a:lnTo>
                      <a:lnTo>
                        <a:pt x="140" y="315"/>
                      </a:lnTo>
                      <a:lnTo>
                        <a:pt x="139" y="315"/>
                      </a:lnTo>
                      <a:lnTo>
                        <a:pt x="139" y="314"/>
                      </a:lnTo>
                      <a:lnTo>
                        <a:pt x="139" y="315"/>
                      </a:lnTo>
                      <a:lnTo>
                        <a:pt x="141" y="316"/>
                      </a:lnTo>
                      <a:lnTo>
                        <a:pt x="141" y="317"/>
                      </a:lnTo>
                      <a:lnTo>
                        <a:pt x="141" y="318"/>
                      </a:lnTo>
                      <a:lnTo>
                        <a:pt x="140" y="319"/>
                      </a:lnTo>
                      <a:lnTo>
                        <a:pt x="140" y="321"/>
                      </a:lnTo>
                      <a:lnTo>
                        <a:pt x="140" y="322"/>
                      </a:lnTo>
                      <a:lnTo>
                        <a:pt x="139" y="322"/>
                      </a:lnTo>
                      <a:lnTo>
                        <a:pt x="139" y="323"/>
                      </a:lnTo>
                      <a:lnTo>
                        <a:pt x="140" y="323"/>
                      </a:lnTo>
                      <a:lnTo>
                        <a:pt x="140" y="324"/>
                      </a:lnTo>
                      <a:lnTo>
                        <a:pt x="141" y="324"/>
                      </a:lnTo>
                      <a:lnTo>
                        <a:pt x="141" y="325"/>
                      </a:lnTo>
                      <a:lnTo>
                        <a:pt x="140" y="325"/>
                      </a:lnTo>
                      <a:lnTo>
                        <a:pt x="139" y="326"/>
                      </a:lnTo>
                      <a:lnTo>
                        <a:pt x="140" y="326"/>
                      </a:lnTo>
                      <a:lnTo>
                        <a:pt x="141" y="326"/>
                      </a:lnTo>
                      <a:lnTo>
                        <a:pt x="141" y="328"/>
                      </a:lnTo>
                      <a:lnTo>
                        <a:pt x="142" y="328"/>
                      </a:lnTo>
                      <a:lnTo>
                        <a:pt x="142" y="329"/>
                      </a:lnTo>
                      <a:lnTo>
                        <a:pt x="143" y="329"/>
                      </a:lnTo>
                      <a:lnTo>
                        <a:pt x="145" y="330"/>
                      </a:lnTo>
                      <a:lnTo>
                        <a:pt x="145" y="331"/>
                      </a:lnTo>
                      <a:lnTo>
                        <a:pt x="146" y="331"/>
                      </a:lnTo>
                      <a:lnTo>
                        <a:pt x="146" y="332"/>
                      </a:lnTo>
                      <a:lnTo>
                        <a:pt x="147" y="332"/>
                      </a:lnTo>
                      <a:lnTo>
                        <a:pt x="148" y="332"/>
                      </a:lnTo>
                      <a:lnTo>
                        <a:pt x="149" y="333"/>
                      </a:lnTo>
                      <a:lnTo>
                        <a:pt x="149" y="335"/>
                      </a:lnTo>
                      <a:lnTo>
                        <a:pt x="150" y="335"/>
                      </a:lnTo>
                      <a:lnTo>
                        <a:pt x="150" y="336"/>
                      </a:lnTo>
                      <a:lnTo>
                        <a:pt x="149" y="336"/>
                      </a:lnTo>
                      <a:lnTo>
                        <a:pt x="149" y="337"/>
                      </a:lnTo>
                      <a:lnTo>
                        <a:pt x="150" y="338"/>
                      </a:lnTo>
                      <a:lnTo>
                        <a:pt x="152" y="338"/>
                      </a:lnTo>
                      <a:lnTo>
                        <a:pt x="150" y="339"/>
                      </a:lnTo>
                      <a:lnTo>
                        <a:pt x="150" y="340"/>
                      </a:lnTo>
                      <a:lnTo>
                        <a:pt x="152" y="339"/>
                      </a:lnTo>
                      <a:lnTo>
                        <a:pt x="153" y="339"/>
                      </a:lnTo>
                      <a:lnTo>
                        <a:pt x="153" y="340"/>
                      </a:lnTo>
                      <a:lnTo>
                        <a:pt x="153" y="342"/>
                      </a:lnTo>
                      <a:lnTo>
                        <a:pt x="153" y="343"/>
                      </a:lnTo>
                      <a:lnTo>
                        <a:pt x="152" y="343"/>
                      </a:lnTo>
                      <a:lnTo>
                        <a:pt x="153" y="344"/>
                      </a:lnTo>
                      <a:lnTo>
                        <a:pt x="152" y="344"/>
                      </a:lnTo>
                      <a:lnTo>
                        <a:pt x="152" y="345"/>
                      </a:lnTo>
                      <a:lnTo>
                        <a:pt x="150" y="345"/>
                      </a:lnTo>
                      <a:lnTo>
                        <a:pt x="150" y="346"/>
                      </a:lnTo>
                      <a:lnTo>
                        <a:pt x="152" y="346"/>
                      </a:lnTo>
                      <a:lnTo>
                        <a:pt x="152" y="347"/>
                      </a:lnTo>
                      <a:lnTo>
                        <a:pt x="152" y="349"/>
                      </a:lnTo>
                      <a:lnTo>
                        <a:pt x="152" y="350"/>
                      </a:lnTo>
                      <a:lnTo>
                        <a:pt x="153" y="350"/>
                      </a:lnTo>
                      <a:lnTo>
                        <a:pt x="152" y="350"/>
                      </a:lnTo>
                      <a:lnTo>
                        <a:pt x="152" y="351"/>
                      </a:lnTo>
                      <a:lnTo>
                        <a:pt x="150" y="351"/>
                      </a:lnTo>
                      <a:lnTo>
                        <a:pt x="152" y="351"/>
                      </a:lnTo>
                      <a:lnTo>
                        <a:pt x="152" y="352"/>
                      </a:lnTo>
                      <a:lnTo>
                        <a:pt x="152" y="353"/>
                      </a:lnTo>
                      <a:lnTo>
                        <a:pt x="153" y="352"/>
                      </a:lnTo>
                      <a:lnTo>
                        <a:pt x="154" y="349"/>
                      </a:lnTo>
                      <a:lnTo>
                        <a:pt x="153" y="351"/>
                      </a:lnTo>
                      <a:lnTo>
                        <a:pt x="153" y="352"/>
                      </a:lnTo>
                      <a:lnTo>
                        <a:pt x="153" y="354"/>
                      </a:lnTo>
                      <a:lnTo>
                        <a:pt x="154" y="358"/>
                      </a:lnTo>
                      <a:lnTo>
                        <a:pt x="156" y="361"/>
                      </a:lnTo>
                      <a:lnTo>
                        <a:pt x="157" y="361"/>
                      </a:lnTo>
                      <a:lnTo>
                        <a:pt x="157" y="364"/>
                      </a:lnTo>
                      <a:lnTo>
                        <a:pt x="157" y="365"/>
                      </a:lnTo>
                      <a:lnTo>
                        <a:pt x="157" y="368"/>
                      </a:lnTo>
                      <a:lnTo>
                        <a:pt x="159" y="370"/>
                      </a:lnTo>
                      <a:lnTo>
                        <a:pt x="159" y="372"/>
                      </a:lnTo>
                      <a:lnTo>
                        <a:pt x="160" y="374"/>
                      </a:lnTo>
                      <a:lnTo>
                        <a:pt x="160" y="377"/>
                      </a:lnTo>
                      <a:lnTo>
                        <a:pt x="160" y="379"/>
                      </a:lnTo>
                      <a:lnTo>
                        <a:pt x="159" y="387"/>
                      </a:lnTo>
                      <a:lnTo>
                        <a:pt x="159" y="389"/>
                      </a:lnTo>
                      <a:lnTo>
                        <a:pt x="160" y="391"/>
                      </a:lnTo>
                      <a:lnTo>
                        <a:pt x="161" y="391"/>
                      </a:lnTo>
                      <a:lnTo>
                        <a:pt x="161" y="392"/>
                      </a:lnTo>
                      <a:lnTo>
                        <a:pt x="162" y="393"/>
                      </a:lnTo>
                      <a:lnTo>
                        <a:pt x="162" y="392"/>
                      </a:lnTo>
                      <a:lnTo>
                        <a:pt x="162" y="391"/>
                      </a:lnTo>
                      <a:lnTo>
                        <a:pt x="163" y="389"/>
                      </a:lnTo>
                      <a:lnTo>
                        <a:pt x="162" y="388"/>
                      </a:lnTo>
                      <a:lnTo>
                        <a:pt x="162" y="387"/>
                      </a:lnTo>
                      <a:lnTo>
                        <a:pt x="162" y="385"/>
                      </a:lnTo>
                      <a:lnTo>
                        <a:pt x="162" y="384"/>
                      </a:lnTo>
                      <a:lnTo>
                        <a:pt x="162" y="382"/>
                      </a:lnTo>
                      <a:lnTo>
                        <a:pt x="162" y="384"/>
                      </a:lnTo>
                      <a:lnTo>
                        <a:pt x="163" y="384"/>
                      </a:lnTo>
                      <a:lnTo>
                        <a:pt x="162" y="382"/>
                      </a:lnTo>
                      <a:lnTo>
                        <a:pt x="162" y="381"/>
                      </a:lnTo>
                      <a:lnTo>
                        <a:pt x="163" y="380"/>
                      </a:lnTo>
                      <a:lnTo>
                        <a:pt x="164" y="379"/>
                      </a:lnTo>
                      <a:lnTo>
                        <a:pt x="166" y="380"/>
                      </a:lnTo>
                      <a:lnTo>
                        <a:pt x="164" y="380"/>
                      </a:lnTo>
                      <a:lnTo>
                        <a:pt x="164" y="381"/>
                      </a:lnTo>
                      <a:lnTo>
                        <a:pt x="166" y="386"/>
                      </a:lnTo>
                      <a:lnTo>
                        <a:pt x="166" y="385"/>
                      </a:lnTo>
                      <a:lnTo>
                        <a:pt x="166" y="384"/>
                      </a:lnTo>
                      <a:lnTo>
                        <a:pt x="167" y="382"/>
                      </a:lnTo>
                      <a:lnTo>
                        <a:pt x="166" y="386"/>
                      </a:lnTo>
                      <a:lnTo>
                        <a:pt x="166" y="387"/>
                      </a:lnTo>
                      <a:lnTo>
                        <a:pt x="167" y="389"/>
                      </a:lnTo>
                      <a:lnTo>
                        <a:pt x="164" y="395"/>
                      </a:lnTo>
                      <a:lnTo>
                        <a:pt x="164" y="399"/>
                      </a:lnTo>
                      <a:lnTo>
                        <a:pt x="166" y="407"/>
                      </a:lnTo>
                      <a:lnTo>
                        <a:pt x="166" y="408"/>
                      </a:lnTo>
                      <a:lnTo>
                        <a:pt x="167" y="408"/>
                      </a:lnTo>
                      <a:lnTo>
                        <a:pt x="167" y="407"/>
                      </a:lnTo>
                      <a:lnTo>
                        <a:pt x="168" y="407"/>
                      </a:lnTo>
                      <a:lnTo>
                        <a:pt x="168" y="408"/>
                      </a:lnTo>
                      <a:lnTo>
                        <a:pt x="167" y="410"/>
                      </a:lnTo>
                      <a:lnTo>
                        <a:pt x="166" y="412"/>
                      </a:lnTo>
                      <a:lnTo>
                        <a:pt x="164" y="414"/>
                      </a:lnTo>
                      <a:lnTo>
                        <a:pt x="164" y="415"/>
                      </a:lnTo>
                      <a:lnTo>
                        <a:pt x="164" y="416"/>
                      </a:lnTo>
                      <a:lnTo>
                        <a:pt x="164" y="417"/>
                      </a:lnTo>
                      <a:lnTo>
                        <a:pt x="164" y="419"/>
                      </a:lnTo>
                      <a:lnTo>
                        <a:pt x="164" y="421"/>
                      </a:lnTo>
                      <a:lnTo>
                        <a:pt x="162" y="426"/>
                      </a:lnTo>
                      <a:lnTo>
                        <a:pt x="162" y="430"/>
                      </a:lnTo>
                      <a:lnTo>
                        <a:pt x="162" y="434"/>
                      </a:lnTo>
                      <a:lnTo>
                        <a:pt x="162" y="435"/>
                      </a:lnTo>
                      <a:lnTo>
                        <a:pt x="161" y="435"/>
                      </a:lnTo>
                      <a:lnTo>
                        <a:pt x="161" y="434"/>
                      </a:lnTo>
                      <a:lnTo>
                        <a:pt x="161" y="433"/>
                      </a:lnTo>
                      <a:lnTo>
                        <a:pt x="160" y="433"/>
                      </a:lnTo>
                      <a:lnTo>
                        <a:pt x="160" y="434"/>
                      </a:lnTo>
                      <a:lnTo>
                        <a:pt x="161" y="434"/>
                      </a:lnTo>
                      <a:lnTo>
                        <a:pt x="161" y="435"/>
                      </a:lnTo>
                      <a:lnTo>
                        <a:pt x="160" y="436"/>
                      </a:lnTo>
                      <a:lnTo>
                        <a:pt x="160" y="437"/>
                      </a:lnTo>
                      <a:lnTo>
                        <a:pt x="160" y="438"/>
                      </a:lnTo>
                      <a:lnTo>
                        <a:pt x="160" y="440"/>
                      </a:lnTo>
                      <a:lnTo>
                        <a:pt x="160" y="441"/>
                      </a:lnTo>
                      <a:lnTo>
                        <a:pt x="160" y="442"/>
                      </a:lnTo>
                      <a:lnTo>
                        <a:pt x="160" y="443"/>
                      </a:lnTo>
                      <a:lnTo>
                        <a:pt x="161" y="441"/>
                      </a:lnTo>
                      <a:lnTo>
                        <a:pt x="161" y="440"/>
                      </a:lnTo>
                      <a:lnTo>
                        <a:pt x="161" y="438"/>
                      </a:lnTo>
                      <a:lnTo>
                        <a:pt x="162" y="438"/>
                      </a:lnTo>
                      <a:lnTo>
                        <a:pt x="162" y="440"/>
                      </a:lnTo>
                      <a:lnTo>
                        <a:pt x="163" y="440"/>
                      </a:lnTo>
                      <a:lnTo>
                        <a:pt x="164" y="437"/>
                      </a:lnTo>
                      <a:lnTo>
                        <a:pt x="164" y="436"/>
                      </a:lnTo>
                      <a:lnTo>
                        <a:pt x="166" y="437"/>
                      </a:lnTo>
                      <a:lnTo>
                        <a:pt x="166" y="438"/>
                      </a:lnTo>
                      <a:lnTo>
                        <a:pt x="166" y="440"/>
                      </a:lnTo>
                      <a:lnTo>
                        <a:pt x="164" y="445"/>
                      </a:lnTo>
                      <a:lnTo>
                        <a:pt x="164" y="447"/>
                      </a:lnTo>
                      <a:lnTo>
                        <a:pt x="164" y="448"/>
                      </a:lnTo>
                      <a:lnTo>
                        <a:pt x="163" y="449"/>
                      </a:lnTo>
                      <a:lnTo>
                        <a:pt x="159" y="457"/>
                      </a:lnTo>
                      <a:lnTo>
                        <a:pt x="155" y="461"/>
                      </a:lnTo>
                      <a:lnTo>
                        <a:pt x="155" y="462"/>
                      </a:lnTo>
                      <a:lnTo>
                        <a:pt x="153" y="464"/>
                      </a:lnTo>
                      <a:lnTo>
                        <a:pt x="143" y="469"/>
                      </a:lnTo>
                      <a:lnTo>
                        <a:pt x="138" y="471"/>
                      </a:lnTo>
                      <a:lnTo>
                        <a:pt x="133" y="472"/>
                      </a:lnTo>
                      <a:lnTo>
                        <a:pt x="133" y="473"/>
                      </a:lnTo>
                      <a:lnTo>
                        <a:pt x="128" y="475"/>
                      </a:lnTo>
                      <a:lnTo>
                        <a:pt x="127" y="475"/>
                      </a:lnTo>
                      <a:lnTo>
                        <a:pt x="124" y="476"/>
                      </a:lnTo>
                      <a:lnTo>
                        <a:pt x="123" y="477"/>
                      </a:lnTo>
                      <a:lnTo>
                        <a:pt x="116" y="479"/>
                      </a:lnTo>
                      <a:lnTo>
                        <a:pt x="109" y="482"/>
                      </a:lnTo>
                      <a:lnTo>
                        <a:pt x="105" y="484"/>
                      </a:lnTo>
                      <a:lnTo>
                        <a:pt x="100" y="485"/>
                      </a:lnTo>
                      <a:lnTo>
                        <a:pt x="96" y="487"/>
                      </a:lnTo>
                      <a:lnTo>
                        <a:pt x="95" y="489"/>
                      </a:lnTo>
                      <a:lnTo>
                        <a:pt x="95" y="487"/>
                      </a:lnTo>
                      <a:lnTo>
                        <a:pt x="96" y="487"/>
                      </a:lnTo>
                      <a:lnTo>
                        <a:pt x="97" y="486"/>
                      </a:lnTo>
                      <a:lnTo>
                        <a:pt x="96" y="486"/>
                      </a:lnTo>
                      <a:lnTo>
                        <a:pt x="95" y="487"/>
                      </a:lnTo>
                      <a:lnTo>
                        <a:pt x="93" y="487"/>
                      </a:lnTo>
                      <a:lnTo>
                        <a:pt x="93" y="489"/>
                      </a:lnTo>
                      <a:lnTo>
                        <a:pt x="93" y="490"/>
                      </a:lnTo>
                      <a:lnTo>
                        <a:pt x="92" y="490"/>
                      </a:lnTo>
                      <a:lnTo>
                        <a:pt x="91" y="491"/>
                      </a:lnTo>
                      <a:lnTo>
                        <a:pt x="90" y="491"/>
                      </a:lnTo>
                      <a:lnTo>
                        <a:pt x="82" y="497"/>
                      </a:lnTo>
                      <a:lnTo>
                        <a:pt x="82" y="498"/>
                      </a:lnTo>
                      <a:lnTo>
                        <a:pt x="79" y="500"/>
                      </a:lnTo>
                      <a:lnTo>
                        <a:pt x="79" y="501"/>
                      </a:lnTo>
                      <a:lnTo>
                        <a:pt x="78" y="504"/>
                      </a:lnTo>
                      <a:lnTo>
                        <a:pt x="78" y="506"/>
                      </a:lnTo>
                      <a:lnTo>
                        <a:pt x="78" y="505"/>
                      </a:lnTo>
                      <a:lnTo>
                        <a:pt x="77" y="505"/>
                      </a:lnTo>
                      <a:lnTo>
                        <a:pt x="77" y="506"/>
                      </a:lnTo>
                      <a:lnTo>
                        <a:pt x="77" y="507"/>
                      </a:lnTo>
                      <a:lnTo>
                        <a:pt x="77" y="508"/>
                      </a:lnTo>
                      <a:lnTo>
                        <a:pt x="76" y="508"/>
                      </a:lnTo>
                      <a:lnTo>
                        <a:pt x="75" y="510"/>
                      </a:lnTo>
                      <a:lnTo>
                        <a:pt x="75" y="511"/>
                      </a:lnTo>
                      <a:lnTo>
                        <a:pt x="74" y="511"/>
                      </a:lnTo>
                      <a:lnTo>
                        <a:pt x="73" y="511"/>
                      </a:lnTo>
                      <a:lnTo>
                        <a:pt x="71" y="511"/>
                      </a:lnTo>
                      <a:lnTo>
                        <a:pt x="70" y="511"/>
                      </a:lnTo>
                      <a:lnTo>
                        <a:pt x="70" y="512"/>
                      </a:lnTo>
                      <a:lnTo>
                        <a:pt x="70" y="513"/>
                      </a:lnTo>
                      <a:lnTo>
                        <a:pt x="70" y="512"/>
                      </a:lnTo>
                      <a:lnTo>
                        <a:pt x="70" y="511"/>
                      </a:lnTo>
                      <a:lnTo>
                        <a:pt x="71" y="511"/>
                      </a:lnTo>
                      <a:lnTo>
                        <a:pt x="71" y="512"/>
                      </a:lnTo>
                      <a:lnTo>
                        <a:pt x="73" y="512"/>
                      </a:lnTo>
                      <a:lnTo>
                        <a:pt x="73" y="513"/>
                      </a:lnTo>
                      <a:lnTo>
                        <a:pt x="74" y="513"/>
                      </a:lnTo>
                      <a:lnTo>
                        <a:pt x="74" y="514"/>
                      </a:lnTo>
                      <a:lnTo>
                        <a:pt x="75" y="514"/>
                      </a:lnTo>
                      <a:lnTo>
                        <a:pt x="75" y="515"/>
                      </a:lnTo>
                      <a:lnTo>
                        <a:pt x="76" y="517"/>
                      </a:lnTo>
                      <a:lnTo>
                        <a:pt x="76" y="518"/>
                      </a:lnTo>
                      <a:lnTo>
                        <a:pt x="76" y="519"/>
                      </a:lnTo>
                      <a:lnTo>
                        <a:pt x="77" y="518"/>
                      </a:lnTo>
                      <a:lnTo>
                        <a:pt x="77" y="519"/>
                      </a:lnTo>
                      <a:lnTo>
                        <a:pt x="78" y="519"/>
                      </a:lnTo>
                      <a:lnTo>
                        <a:pt x="79" y="520"/>
                      </a:lnTo>
                      <a:lnTo>
                        <a:pt x="79" y="521"/>
                      </a:lnTo>
                      <a:lnTo>
                        <a:pt x="81" y="521"/>
                      </a:lnTo>
                      <a:lnTo>
                        <a:pt x="81" y="522"/>
                      </a:lnTo>
                      <a:lnTo>
                        <a:pt x="82" y="522"/>
                      </a:lnTo>
                      <a:lnTo>
                        <a:pt x="82" y="521"/>
                      </a:lnTo>
                      <a:lnTo>
                        <a:pt x="82" y="520"/>
                      </a:lnTo>
                      <a:lnTo>
                        <a:pt x="82" y="519"/>
                      </a:lnTo>
                      <a:lnTo>
                        <a:pt x="83" y="518"/>
                      </a:lnTo>
                      <a:lnTo>
                        <a:pt x="83" y="517"/>
                      </a:lnTo>
                      <a:lnTo>
                        <a:pt x="83" y="515"/>
                      </a:lnTo>
                      <a:lnTo>
                        <a:pt x="85" y="515"/>
                      </a:lnTo>
                      <a:lnTo>
                        <a:pt x="84" y="521"/>
                      </a:lnTo>
                      <a:lnTo>
                        <a:pt x="83" y="532"/>
                      </a:lnTo>
                      <a:lnTo>
                        <a:pt x="83" y="534"/>
                      </a:lnTo>
                      <a:lnTo>
                        <a:pt x="83" y="535"/>
                      </a:lnTo>
                      <a:lnTo>
                        <a:pt x="83" y="536"/>
                      </a:lnTo>
                      <a:lnTo>
                        <a:pt x="83" y="539"/>
                      </a:lnTo>
                      <a:lnTo>
                        <a:pt x="83" y="540"/>
                      </a:lnTo>
                      <a:lnTo>
                        <a:pt x="82" y="541"/>
                      </a:lnTo>
                      <a:lnTo>
                        <a:pt x="83" y="541"/>
                      </a:lnTo>
                      <a:lnTo>
                        <a:pt x="83" y="542"/>
                      </a:lnTo>
                      <a:lnTo>
                        <a:pt x="78" y="542"/>
                      </a:lnTo>
                      <a:lnTo>
                        <a:pt x="74" y="542"/>
                      </a:lnTo>
                      <a:lnTo>
                        <a:pt x="69" y="542"/>
                      </a:lnTo>
                      <a:lnTo>
                        <a:pt x="66" y="542"/>
                      </a:lnTo>
                      <a:lnTo>
                        <a:pt x="64" y="542"/>
                      </a:lnTo>
                      <a:lnTo>
                        <a:pt x="62" y="541"/>
                      </a:lnTo>
                      <a:lnTo>
                        <a:pt x="61" y="541"/>
                      </a:lnTo>
                      <a:lnTo>
                        <a:pt x="60" y="541"/>
                      </a:lnTo>
                      <a:lnTo>
                        <a:pt x="59" y="541"/>
                      </a:lnTo>
                      <a:lnTo>
                        <a:pt x="59" y="533"/>
                      </a:lnTo>
                      <a:lnTo>
                        <a:pt x="59" y="529"/>
                      </a:lnTo>
                      <a:lnTo>
                        <a:pt x="56" y="527"/>
                      </a:lnTo>
                      <a:lnTo>
                        <a:pt x="56" y="526"/>
                      </a:lnTo>
                      <a:lnTo>
                        <a:pt x="56" y="522"/>
                      </a:lnTo>
                      <a:lnTo>
                        <a:pt x="56" y="521"/>
                      </a:lnTo>
                      <a:lnTo>
                        <a:pt x="57" y="518"/>
                      </a:lnTo>
                      <a:lnTo>
                        <a:pt x="57" y="517"/>
                      </a:lnTo>
                      <a:lnTo>
                        <a:pt x="57" y="515"/>
                      </a:lnTo>
                      <a:lnTo>
                        <a:pt x="56" y="513"/>
                      </a:lnTo>
                      <a:lnTo>
                        <a:pt x="57" y="513"/>
                      </a:lnTo>
                      <a:lnTo>
                        <a:pt x="55" y="512"/>
                      </a:lnTo>
                      <a:lnTo>
                        <a:pt x="54" y="512"/>
                      </a:lnTo>
                      <a:lnTo>
                        <a:pt x="54" y="511"/>
                      </a:lnTo>
                      <a:lnTo>
                        <a:pt x="52" y="507"/>
                      </a:lnTo>
                      <a:lnTo>
                        <a:pt x="52" y="506"/>
                      </a:lnTo>
                      <a:lnTo>
                        <a:pt x="53" y="505"/>
                      </a:lnTo>
                      <a:lnTo>
                        <a:pt x="54" y="501"/>
                      </a:lnTo>
                      <a:lnTo>
                        <a:pt x="54" y="500"/>
                      </a:lnTo>
                      <a:lnTo>
                        <a:pt x="55" y="500"/>
                      </a:lnTo>
                      <a:lnTo>
                        <a:pt x="55" y="499"/>
                      </a:lnTo>
                      <a:lnTo>
                        <a:pt x="55" y="497"/>
                      </a:lnTo>
                      <a:lnTo>
                        <a:pt x="54" y="496"/>
                      </a:lnTo>
                      <a:lnTo>
                        <a:pt x="54" y="494"/>
                      </a:lnTo>
                      <a:lnTo>
                        <a:pt x="54" y="493"/>
                      </a:lnTo>
                      <a:lnTo>
                        <a:pt x="54" y="492"/>
                      </a:lnTo>
                      <a:lnTo>
                        <a:pt x="55" y="491"/>
                      </a:lnTo>
                      <a:lnTo>
                        <a:pt x="55" y="483"/>
                      </a:lnTo>
                      <a:lnTo>
                        <a:pt x="55" y="478"/>
                      </a:lnTo>
                      <a:lnTo>
                        <a:pt x="55" y="473"/>
                      </a:lnTo>
                      <a:lnTo>
                        <a:pt x="55" y="468"/>
                      </a:lnTo>
                      <a:lnTo>
                        <a:pt x="55" y="463"/>
                      </a:lnTo>
                      <a:lnTo>
                        <a:pt x="55" y="461"/>
                      </a:lnTo>
                      <a:lnTo>
                        <a:pt x="55" y="458"/>
                      </a:lnTo>
                      <a:lnTo>
                        <a:pt x="54" y="455"/>
                      </a:lnTo>
                      <a:lnTo>
                        <a:pt x="53" y="452"/>
                      </a:lnTo>
                      <a:lnTo>
                        <a:pt x="52" y="449"/>
                      </a:lnTo>
                      <a:lnTo>
                        <a:pt x="50" y="448"/>
                      </a:lnTo>
                      <a:lnTo>
                        <a:pt x="50" y="442"/>
                      </a:lnTo>
                      <a:lnTo>
                        <a:pt x="50" y="441"/>
                      </a:lnTo>
                      <a:lnTo>
                        <a:pt x="48" y="440"/>
                      </a:lnTo>
                      <a:lnTo>
                        <a:pt x="48" y="438"/>
                      </a:lnTo>
                      <a:lnTo>
                        <a:pt x="47" y="437"/>
                      </a:lnTo>
                      <a:lnTo>
                        <a:pt x="46" y="435"/>
                      </a:lnTo>
                      <a:lnTo>
                        <a:pt x="45" y="430"/>
                      </a:lnTo>
                      <a:lnTo>
                        <a:pt x="43" y="429"/>
                      </a:lnTo>
                      <a:lnTo>
                        <a:pt x="41" y="426"/>
                      </a:lnTo>
                      <a:lnTo>
                        <a:pt x="40" y="424"/>
                      </a:lnTo>
                      <a:lnTo>
                        <a:pt x="40" y="423"/>
                      </a:lnTo>
                      <a:lnTo>
                        <a:pt x="41" y="415"/>
                      </a:lnTo>
                      <a:lnTo>
                        <a:pt x="39" y="408"/>
                      </a:lnTo>
                      <a:lnTo>
                        <a:pt x="38" y="403"/>
                      </a:lnTo>
                      <a:lnTo>
                        <a:pt x="35" y="399"/>
                      </a:lnTo>
                      <a:lnTo>
                        <a:pt x="34" y="394"/>
                      </a:lnTo>
                      <a:lnTo>
                        <a:pt x="33" y="389"/>
                      </a:lnTo>
                      <a:lnTo>
                        <a:pt x="35" y="387"/>
                      </a:lnTo>
                      <a:lnTo>
                        <a:pt x="38" y="386"/>
                      </a:lnTo>
                      <a:lnTo>
                        <a:pt x="39" y="384"/>
                      </a:lnTo>
                      <a:lnTo>
                        <a:pt x="41" y="382"/>
                      </a:lnTo>
                      <a:lnTo>
                        <a:pt x="42" y="380"/>
                      </a:lnTo>
                      <a:lnTo>
                        <a:pt x="45" y="379"/>
                      </a:lnTo>
                      <a:lnTo>
                        <a:pt x="46" y="377"/>
                      </a:lnTo>
                      <a:lnTo>
                        <a:pt x="47" y="374"/>
                      </a:lnTo>
                      <a:lnTo>
                        <a:pt x="49" y="373"/>
                      </a:lnTo>
                      <a:lnTo>
                        <a:pt x="50" y="371"/>
                      </a:lnTo>
                      <a:lnTo>
                        <a:pt x="53" y="370"/>
                      </a:lnTo>
                      <a:lnTo>
                        <a:pt x="54" y="367"/>
                      </a:lnTo>
                      <a:lnTo>
                        <a:pt x="56" y="366"/>
                      </a:lnTo>
                      <a:lnTo>
                        <a:pt x="57" y="364"/>
                      </a:lnTo>
                      <a:lnTo>
                        <a:pt x="59" y="361"/>
                      </a:lnTo>
                      <a:lnTo>
                        <a:pt x="61" y="360"/>
                      </a:lnTo>
                      <a:lnTo>
                        <a:pt x="62" y="358"/>
                      </a:lnTo>
                      <a:lnTo>
                        <a:pt x="64" y="357"/>
                      </a:lnTo>
                      <a:lnTo>
                        <a:pt x="66" y="354"/>
                      </a:lnTo>
                      <a:lnTo>
                        <a:pt x="67" y="353"/>
                      </a:lnTo>
                      <a:lnTo>
                        <a:pt x="68" y="352"/>
                      </a:lnTo>
                      <a:lnTo>
                        <a:pt x="69" y="352"/>
                      </a:lnTo>
                      <a:lnTo>
                        <a:pt x="67" y="349"/>
                      </a:lnTo>
                      <a:lnTo>
                        <a:pt x="67" y="347"/>
                      </a:lnTo>
                      <a:lnTo>
                        <a:pt x="68" y="347"/>
                      </a:lnTo>
                      <a:lnTo>
                        <a:pt x="67" y="347"/>
                      </a:lnTo>
                      <a:lnTo>
                        <a:pt x="67" y="346"/>
                      </a:lnTo>
                      <a:lnTo>
                        <a:pt x="69" y="344"/>
                      </a:lnTo>
                      <a:lnTo>
                        <a:pt x="70" y="342"/>
                      </a:lnTo>
                      <a:lnTo>
                        <a:pt x="71" y="340"/>
                      </a:lnTo>
                      <a:lnTo>
                        <a:pt x="71" y="338"/>
                      </a:lnTo>
                      <a:lnTo>
                        <a:pt x="70" y="335"/>
                      </a:lnTo>
                      <a:lnTo>
                        <a:pt x="70" y="331"/>
                      </a:lnTo>
                      <a:lnTo>
                        <a:pt x="70" y="330"/>
                      </a:lnTo>
                      <a:lnTo>
                        <a:pt x="70" y="329"/>
                      </a:lnTo>
                      <a:lnTo>
                        <a:pt x="71" y="328"/>
                      </a:lnTo>
                      <a:lnTo>
                        <a:pt x="73" y="328"/>
                      </a:lnTo>
                      <a:lnTo>
                        <a:pt x="75" y="328"/>
                      </a:lnTo>
                      <a:lnTo>
                        <a:pt x="76" y="328"/>
                      </a:lnTo>
                      <a:lnTo>
                        <a:pt x="77" y="326"/>
                      </a:lnTo>
                      <a:lnTo>
                        <a:pt x="77" y="324"/>
                      </a:lnTo>
                      <a:lnTo>
                        <a:pt x="78" y="323"/>
                      </a:lnTo>
                      <a:lnTo>
                        <a:pt x="81" y="319"/>
                      </a:lnTo>
                      <a:lnTo>
                        <a:pt x="82" y="318"/>
                      </a:lnTo>
                      <a:lnTo>
                        <a:pt x="83" y="317"/>
                      </a:lnTo>
                      <a:lnTo>
                        <a:pt x="83" y="316"/>
                      </a:lnTo>
                      <a:lnTo>
                        <a:pt x="83" y="315"/>
                      </a:lnTo>
                      <a:lnTo>
                        <a:pt x="83" y="314"/>
                      </a:lnTo>
                      <a:lnTo>
                        <a:pt x="83" y="312"/>
                      </a:lnTo>
                      <a:lnTo>
                        <a:pt x="84" y="311"/>
                      </a:lnTo>
                      <a:lnTo>
                        <a:pt x="85" y="311"/>
                      </a:lnTo>
                      <a:lnTo>
                        <a:pt x="85" y="310"/>
                      </a:lnTo>
                      <a:lnTo>
                        <a:pt x="88" y="310"/>
                      </a:lnTo>
                      <a:lnTo>
                        <a:pt x="86" y="309"/>
                      </a:lnTo>
                      <a:lnTo>
                        <a:pt x="86" y="307"/>
                      </a:lnTo>
                      <a:lnTo>
                        <a:pt x="88" y="304"/>
                      </a:lnTo>
                      <a:lnTo>
                        <a:pt x="88" y="303"/>
                      </a:lnTo>
                      <a:lnTo>
                        <a:pt x="88" y="302"/>
                      </a:lnTo>
                      <a:lnTo>
                        <a:pt x="88" y="301"/>
                      </a:lnTo>
                      <a:lnTo>
                        <a:pt x="86" y="301"/>
                      </a:lnTo>
                      <a:lnTo>
                        <a:pt x="85" y="300"/>
                      </a:lnTo>
                      <a:lnTo>
                        <a:pt x="85" y="298"/>
                      </a:lnTo>
                      <a:lnTo>
                        <a:pt x="85" y="297"/>
                      </a:lnTo>
                      <a:lnTo>
                        <a:pt x="84" y="297"/>
                      </a:lnTo>
                      <a:lnTo>
                        <a:pt x="84" y="298"/>
                      </a:lnTo>
                      <a:lnTo>
                        <a:pt x="83" y="298"/>
                      </a:lnTo>
                      <a:lnTo>
                        <a:pt x="82" y="298"/>
                      </a:lnTo>
                      <a:lnTo>
                        <a:pt x="81" y="297"/>
                      </a:lnTo>
                      <a:lnTo>
                        <a:pt x="82" y="297"/>
                      </a:lnTo>
                      <a:lnTo>
                        <a:pt x="82" y="296"/>
                      </a:lnTo>
                      <a:lnTo>
                        <a:pt x="82" y="295"/>
                      </a:lnTo>
                      <a:lnTo>
                        <a:pt x="82" y="293"/>
                      </a:lnTo>
                      <a:lnTo>
                        <a:pt x="82" y="291"/>
                      </a:lnTo>
                      <a:lnTo>
                        <a:pt x="81" y="291"/>
                      </a:lnTo>
                      <a:lnTo>
                        <a:pt x="79" y="291"/>
                      </a:lnTo>
                      <a:lnTo>
                        <a:pt x="79" y="290"/>
                      </a:lnTo>
                      <a:lnTo>
                        <a:pt x="79" y="289"/>
                      </a:lnTo>
                      <a:lnTo>
                        <a:pt x="79" y="288"/>
                      </a:lnTo>
                      <a:lnTo>
                        <a:pt x="81" y="287"/>
                      </a:lnTo>
                      <a:lnTo>
                        <a:pt x="82" y="286"/>
                      </a:lnTo>
                      <a:lnTo>
                        <a:pt x="82" y="284"/>
                      </a:lnTo>
                      <a:lnTo>
                        <a:pt x="82" y="283"/>
                      </a:lnTo>
                      <a:lnTo>
                        <a:pt x="83" y="280"/>
                      </a:lnTo>
                      <a:lnTo>
                        <a:pt x="83" y="279"/>
                      </a:lnTo>
                      <a:lnTo>
                        <a:pt x="82" y="277"/>
                      </a:lnTo>
                      <a:lnTo>
                        <a:pt x="82" y="276"/>
                      </a:lnTo>
                      <a:lnTo>
                        <a:pt x="81" y="276"/>
                      </a:lnTo>
                      <a:lnTo>
                        <a:pt x="78" y="276"/>
                      </a:lnTo>
                      <a:lnTo>
                        <a:pt x="77" y="276"/>
                      </a:lnTo>
                      <a:lnTo>
                        <a:pt x="77" y="275"/>
                      </a:lnTo>
                      <a:lnTo>
                        <a:pt x="77" y="274"/>
                      </a:lnTo>
                      <a:lnTo>
                        <a:pt x="78" y="273"/>
                      </a:lnTo>
                      <a:lnTo>
                        <a:pt x="77" y="272"/>
                      </a:lnTo>
                      <a:lnTo>
                        <a:pt x="77" y="270"/>
                      </a:lnTo>
                      <a:lnTo>
                        <a:pt x="81" y="268"/>
                      </a:lnTo>
                      <a:lnTo>
                        <a:pt x="82" y="268"/>
                      </a:lnTo>
                      <a:lnTo>
                        <a:pt x="83" y="268"/>
                      </a:lnTo>
                      <a:lnTo>
                        <a:pt x="84" y="268"/>
                      </a:lnTo>
                      <a:lnTo>
                        <a:pt x="84" y="267"/>
                      </a:lnTo>
                      <a:lnTo>
                        <a:pt x="84" y="266"/>
                      </a:lnTo>
                      <a:lnTo>
                        <a:pt x="84" y="265"/>
                      </a:lnTo>
                      <a:lnTo>
                        <a:pt x="83" y="262"/>
                      </a:lnTo>
                      <a:lnTo>
                        <a:pt x="83" y="261"/>
                      </a:lnTo>
                      <a:lnTo>
                        <a:pt x="83" y="260"/>
                      </a:lnTo>
                      <a:lnTo>
                        <a:pt x="84" y="260"/>
                      </a:lnTo>
                      <a:lnTo>
                        <a:pt x="85" y="259"/>
                      </a:lnTo>
                      <a:lnTo>
                        <a:pt x="86" y="259"/>
                      </a:lnTo>
                      <a:lnTo>
                        <a:pt x="86" y="258"/>
                      </a:lnTo>
                      <a:lnTo>
                        <a:pt x="88" y="258"/>
                      </a:lnTo>
                      <a:lnTo>
                        <a:pt x="88" y="256"/>
                      </a:lnTo>
                      <a:lnTo>
                        <a:pt x="86" y="256"/>
                      </a:lnTo>
                      <a:lnTo>
                        <a:pt x="88" y="255"/>
                      </a:lnTo>
                      <a:lnTo>
                        <a:pt x="89" y="254"/>
                      </a:lnTo>
                      <a:lnTo>
                        <a:pt x="88" y="253"/>
                      </a:lnTo>
                      <a:lnTo>
                        <a:pt x="86" y="252"/>
                      </a:lnTo>
                      <a:lnTo>
                        <a:pt x="85" y="251"/>
                      </a:lnTo>
                      <a:lnTo>
                        <a:pt x="85" y="249"/>
                      </a:lnTo>
                      <a:lnTo>
                        <a:pt x="86" y="249"/>
                      </a:lnTo>
                      <a:lnTo>
                        <a:pt x="86" y="248"/>
                      </a:lnTo>
                      <a:lnTo>
                        <a:pt x="86" y="247"/>
                      </a:lnTo>
                      <a:lnTo>
                        <a:pt x="85" y="244"/>
                      </a:lnTo>
                      <a:lnTo>
                        <a:pt x="85" y="242"/>
                      </a:lnTo>
                      <a:lnTo>
                        <a:pt x="85" y="241"/>
                      </a:lnTo>
                      <a:lnTo>
                        <a:pt x="85" y="240"/>
                      </a:lnTo>
                      <a:lnTo>
                        <a:pt x="85" y="239"/>
                      </a:lnTo>
                      <a:lnTo>
                        <a:pt x="85" y="238"/>
                      </a:lnTo>
                      <a:lnTo>
                        <a:pt x="85" y="237"/>
                      </a:lnTo>
                      <a:lnTo>
                        <a:pt x="86" y="237"/>
                      </a:lnTo>
                      <a:lnTo>
                        <a:pt x="88" y="235"/>
                      </a:lnTo>
                      <a:lnTo>
                        <a:pt x="88" y="234"/>
                      </a:lnTo>
                      <a:lnTo>
                        <a:pt x="88" y="233"/>
                      </a:lnTo>
                      <a:lnTo>
                        <a:pt x="88" y="232"/>
                      </a:lnTo>
                      <a:lnTo>
                        <a:pt x="88" y="231"/>
                      </a:lnTo>
                      <a:lnTo>
                        <a:pt x="88" y="230"/>
                      </a:lnTo>
                      <a:lnTo>
                        <a:pt x="88" y="228"/>
                      </a:lnTo>
                      <a:lnTo>
                        <a:pt x="86" y="228"/>
                      </a:lnTo>
                      <a:lnTo>
                        <a:pt x="85" y="227"/>
                      </a:lnTo>
                      <a:lnTo>
                        <a:pt x="85" y="226"/>
                      </a:lnTo>
                      <a:lnTo>
                        <a:pt x="86" y="225"/>
                      </a:lnTo>
                      <a:lnTo>
                        <a:pt x="88" y="223"/>
                      </a:lnTo>
                      <a:lnTo>
                        <a:pt x="88" y="221"/>
                      </a:lnTo>
                      <a:lnTo>
                        <a:pt x="88" y="220"/>
                      </a:lnTo>
                      <a:lnTo>
                        <a:pt x="86" y="220"/>
                      </a:lnTo>
                      <a:lnTo>
                        <a:pt x="86" y="219"/>
                      </a:lnTo>
                      <a:lnTo>
                        <a:pt x="86" y="218"/>
                      </a:lnTo>
                      <a:lnTo>
                        <a:pt x="86" y="217"/>
                      </a:lnTo>
                      <a:lnTo>
                        <a:pt x="85" y="216"/>
                      </a:lnTo>
                      <a:lnTo>
                        <a:pt x="85" y="213"/>
                      </a:lnTo>
                      <a:lnTo>
                        <a:pt x="84" y="211"/>
                      </a:lnTo>
                      <a:lnTo>
                        <a:pt x="82" y="207"/>
                      </a:lnTo>
                      <a:lnTo>
                        <a:pt x="84" y="205"/>
                      </a:lnTo>
                      <a:lnTo>
                        <a:pt x="85" y="204"/>
                      </a:lnTo>
                      <a:lnTo>
                        <a:pt x="86" y="200"/>
                      </a:lnTo>
                      <a:lnTo>
                        <a:pt x="86" y="199"/>
                      </a:lnTo>
                      <a:lnTo>
                        <a:pt x="85" y="199"/>
                      </a:lnTo>
                      <a:lnTo>
                        <a:pt x="84" y="200"/>
                      </a:lnTo>
                      <a:lnTo>
                        <a:pt x="83" y="200"/>
                      </a:lnTo>
                      <a:lnTo>
                        <a:pt x="81" y="200"/>
                      </a:lnTo>
                      <a:lnTo>
                        <a:pt x="81" y="199"/>
                      </a:lnTo>
                      <a:lnTo>
                        <a:pt x="79" y="200"/>
                      </a:lnTo>
                      <a:lnTo>
                        <a:pt x="78" y="200"/>
                      </a:lnTo>
                      <a:lnTo>
                        <a:pt x="78" y="199"/>
                      </a:lnTo>
                      <a:lnTo>
                        <a:pt x="77" y="198"/>
                      </a:lnTo>
                      <a:lnTo>
                        <a:pt x="77" y="197"/>
                      </a:lnTo>
                      <a:lnTo>
                        <a:pt x="74" y="195"/>
                      </a:lnTo>
                      <a:lnTo>
                        <a:pt x="68" y="193"/>
                      </a:lnTo>
                      <a:lnTo>
                        <a:pt x="66" y="192"/>
                      </a:lnTo>
                      <a:lnTo>
                        <a:pt x="63" y="191"/>
                      </a:lnTo>
                      <a:lnTo>
                        <a:pt x="56" y="191"/>
                      </a:lnTo>
                      <a:lnTo>
                        <a:pt x="53" y="191"/>
                      </a:lnTo>
                      <a:lnTo>
                        <a:pt x="53" y="190"/>
                      </a:lnTo>
                      <a:lnTo>
                        <a:pt x="53" y="189"/>
                      </a:lnTo>
                      <a:lnTo>
                        <a:pt x="52" y="189"/>
                      </a:lnTo>
                      <a:lnTo>
                        <a:pt x="52" y="188"/>
                      </a:lnTo>
                      <a:lnTo>
                        <a:pt x="50" y="188"/>
                      </a:lnTo>
                      <a:lnTo>
                        <a:pt x="49" y="186"/>
                      </a:lnTo>
                      <a:lnTo>
                        <a:pt x="48" y="185"/>
                      </a:lnTo>
                      <a:lnTo>
                        <a:pt x="47" y="184"/>
                      </a:lnTo>
                      <a:lnTo>
                        <a:pt x="46" y="184"/>
                      </a:lnTo>
                      <a:lnTo>
                        <a:pt x="41" y="183"/>
                      </a:lnTo>
                      <a:lnTo>
                        <a:pt x="40" y="183"/>
                      </a:lnTo>
                      <a:lnTo>
                        <a:pt x="39" y="183"/>
                      </a:lnTo>
                      <a:lnTo>
                        <a:pt x="39" y="182"/>
                      </a:lnTo>
                      <a:lnTo>
                        <a:pt x="38" y="182"/>
                      </a:lnTo>
                      <a:lnTo>
                        <a:pt x="36" y="182"/>
                      </a:lnTo>
                      <a:lnTo>
                        <a:pt x="36" y="181"/>
                      </a:lnTo>
                      <a:lnTo>
                        <a:pt x="35" y="181"/>
                      </a:lnTo>
                      <a:lnTo>
                        <a:pt x="35" y="179"/>
                      </a:lnTo>
                      <a:lnTo>
                        <a:pt x="34" y="179"/>
                      </a:lnTo>
                      <a:lnTo>
                        <a:pt x="34" y="178"/>
                      </a:lnTo>
                      <a:lnTo>
                        <a:pt x="33" y="178"/>
                      </a:lnTo>
                      <a:lnTo>
                        <a:pt x="29" y="177"/>
                      </a:lnTo>
                      <a:lnTo>
                        <a:pt x="28" y="177"/>
                      </a:lnTo>
                      <a:lnTo>
                        <a:pt x="27" y="177"/>
                      </a:lnTo>
                      <a:lnTo>
                        <a:pt x="27" y="178"/>
                      </a:lnTo>
                      <a:lnTo>
                        <a:pt x="27" y="177"/>
                      </a:lnTo>
                      <a:lnTo>
                        <a:pt x="26" y="177"/>
                      </a:lnTo>
                      <a:lnTo>
                        <a:pt x="26" y="178"/>
                      </a:lnTo>
                      <a:lnTo>
                        <a:pt x="25" y="178"/>
                      </a:lnTo>
                      <a:lnTo>
                        <a:pt x="25" y="179"/>
                      </a:lnTo>
                      <a:lnTo>
                        <a:pt x="24" y="179"/>
                      </a:lnTo>
                      <a:lnTo>
                        <a:pt x="24" y="178"/>
                      </a:lnTo>
                      <a:lnTo>
                        <a:pt x="22" y="178"/>
                      </a:lnTo>
                      <a:lnTo>
                        <a:pt x="21" y="177"/>
                      </a:lnTo>
                      <a:lnTo>
                        <a:pt x="20" y="177"/>
                      </a:lnTo>
                      <a:lnTo>
                        <a:pt x="17" y="177"/>
                      </a:lnTo>
                      <a:lnTo>
                        <a:pt x="12" y="177"/>
                      </a:lnTo>
                      <a:lnTo>
                        <a:pt x="10" y="177"/>
                      </a:lnTo>
                      <a:lnTo>
                        <a:pt x="6" y="177"/>
                      </a:lnTo>
                      <a:lnTo>
                        <a:pt x="6" y="175"/>
                      </a:lnTo>
                      <a:lnTo>
                        <a:pt x="6" y="171"/>
                      </a:lnTo>
                      <a:lnTo>
                        <a:pt x="6" y="168"/>
                      </a:lnTo>
                      <a:lnTo>
                        <a:pt x="6" y="165"/>
                      </a:lnTo>
                      <a:lnTo>
                        <a:pt x="6" y="164"/>
                      </a:lnTo>
                      <a:lnTo>
                        <a:pt x="6" y="163"/>
                      </a:lnTo>
                      <a:lnTo>
                        <a:pt x="5" y="163"/>
                      </a:lnTo>
                      <a:lnTo>
                        <a:pt x="5" y="162"/>
                      </a:lnTo>
                      <a:lnTo>
                        <a:pt x="5" y="161"/>
                      </a:lnTo>
                      <a:lnTo>
                        <a:pt x="5" y="160"/>
                      </a:lnTo>
                      <a:lnTo>
                        <a:pt x="5" y="158"/>
                      </a:lnTo>
                      <a:lnTo>
                        <a:pt x="5" y="156"/>
                      </a:lnTo>
                      <a:lnTo>
                        <a:pt x="5" y="155"/>
                      </a:lnTo>
                      <a:lnTo>
                        <a:pt x="4" y="155"/>
                      </a:lnTo>
                      <a:lnTo>
                        <a:pt x="4" y="154"/>
                      </a:lnTo>
                      <a:lnTo>
                        <a:pt x="3" y="154"/>
                      </a:lnTo>
                      <a:lnTo>
                        <a:pt x="2" y="151"/>
                      </a:lnTo>
                      <a:lnTo>
                        <a:pt x="0" y="148"/>
                      </a:lnTo>
                      <a:lnTo>
                        <a:pt x="0" y="147"/>
                      </a:lnTo>
                      <a:lnTo>
                        <a:pt x="0" y="144"/>
                      </a:lnTo>
                      <a:lnTo>
                        <a:pt x="0" y="143"/>
                      </a:lnTo>
                      <a:lnTo>
                        <a:pt x="3" y="143"/>
                      </a:lnTo>
                      <a:lnTo>
                        <a:pt x="5" y="142"/>
                      </a:lnTo>
                      <a:lnTo>
                        <a:pt x="9" y="141"/>
                      </a:lnTo>
                      <a:lnTo>
                        <a:pt x="12" y="140"/>
                      </a:lnTo>
                      <a:lnTo>
                        <a:pt x="14" y="139"/>
                      </a:lnTo>
                      <a:lnTo>
                        <a:pt x="19" y="137"/>
                      </a:lnTo>
                      <a:lnTo>
                        <a:pt x="22" y="136"/>
                      </a:lnTo>
                      <a:lnTo>
                        <a:pt x="26" y="135"/>
                      </a:lnTo>
                      <a:lnTo>
                        <a:pt x="27" y="135"/>
                      </a:lnTo>
                      <a:lnTo>
                        <a:pt x="31" y="134"/>
                      </a:lnTo>
                      <a:lnTo>
                        <a:pt x="34" y="134"/>
                      </a:lnTo>
                      <a:lnTo>
                        <a:pt x="38" y="133"/>
                      </a:lnTo>
                      <a:lnTo>
                        <a:pt x="40" y="132"/>
                      </a:lnTo>
                      <a:lnTo>
                        <a:pt x="43" y="130"/>
                      </a:lnTo>
                      <a:lnTo>
                        <a:pt x="46" y="129"/>
                      </a:lnTo>
                      <a:lnTo>
                        <a:pt x="50" y="127"/>
                      </a:lnTo>
                      <a:lnTo>
                        <a:pt x="54" y="126"/>
                      </a:lnTo>
                      <a:lnTo>
                        <a:pt x="57" y="125"/>
                      </a:lnTo>
                      <a:lnTo>
                        <a:pt x="60" y="123"/>
                      </a:lnTo>
                      <a:lnTo>
                        <a:pt x="61" y="123"/>
                      </a:lnTo>
                      <a:lnTo>
                        <a:pt x="63" y="123"/>
                      </a:lnTo>
                      <a:lnTo>
                        <a:pt x="67" y="122"/>
                      </a:lnTo>
                      <a:lnTo>
                        <a:pt x="69" y="121"/>
                      </a:lnTo>
                      <a:lnTo>
                        <a:pt x="75" y="120"/>
                      </a:lnTo>
                      <a:lnTo>
                        <a:pt x="79" y="118"/>
                      </a:lnTo>
                      <a:lnTo>
                        <a:pt x="85" y="115"/>
                      </a:lnTo>
                      <a:lnTo>
                        <a:pt x="89" y="114"/>
                      </a:lnTo>
                      <a:lnTo>
                        <a:pt x="92" y="114"/>
                      </a:lnTo>
                      <a:lnTo>
                        <a:pt x="95" y="113"/>
                      </a:lnTo>
                      <a:lnTo>
                        <a:pt x="96" y="114"/>
                      </a:lnTo>
                      <a:lnTo>
                        <a:pt x="97" y="114"/>
                      </a:lnTo>
                      <a:lnTo>
                        <a:pt x="97" y="115"/>
                      </a:lnTo>
                      <a:lnTo>
                        <a:pt x="97" y="116"/>
                      </a:lnTo>
                      <a:lnTo>
                        <a:pt x="97" y="118"/>
                      </a:lnTo>
                      <a:lnTo>
                        <a:pt x="98" y="119"/>
                      </a:lnTo>
                      <a:lnTo>
                        <a:pt x="98" y="120"/>
                      </a:lnTo>
                      <a:lnTo>
                        <a:pt x="99" y="120"/>
                      </a:lnTo>
                      <a:lnTo>
                        <a:pt x="99" y="121"/>
                      </a:lnTo>
                      <a:lnTo>
                        <a:pt x="100" y="121"/>
                      </a:lnTo>
                      <a:lnTo>
                        <a:pt x="102" y="125"/>
                      </a:lnTo>
                      <a:lnTo>
                        <a:pt x="102" y="126"/>
                      </a:lnTo>
                      <a:lnTo>
                        <a:pt x="103" y="126"/>
                      </a:lnTo>
                      <a:lnTo>
                        <a:pt x="104" y="126"/>
                      </a:lnTo>
                      <a:lnTo>
                        <a:pt x="104" y="127"/>
                      </a:lnTo>
                      <a:lnTo>
                        <a:pt x="105" y="127"/>
                      </a:lnTo>
                      <a:lnTo>
                        <a:pt x="105" y="128"/>
                      </a:lnTo>
                      <a:lnTo>
                        <a:pt x="106" y="128"/>
                      </a:lnTo>
                      <a:lnTo>
                        <a:pt x="106" y="129"/>
                      </a:lnTo>
                      <a:lnTo>
                        <a:pt x="107" y="130"/>
                      </a:lnTo>
                      <a:lnTo>
                        <a:pt x="107" y="132"/>
                      </a:lnTo>
                      <a:lnTo>
                        <a:pt x="109" y="132"/>
                      </a:lnTo>
                      <a:lnTo>
                        <a:pt x="109" y="130"/>
                      </a:lnTo>
                      <a:lnTo>
                        <a:pt x="109" y="129"/>
                      </a:lnTo>
                      <a:lnTo>
                        <a:pt x="110" y="128"/>
                      </a:lnTo>
                      <a:lnTo>
                        <a:pt x="112" y="129"/>
                      </a:lnTo>
                      <a:lnTo>
                        <a:pt x="113" y="129"/>
                      </a:lnTo>
                      <a:lnTo>
                        <a:pt x="116" y="128"/>
                      </a:lnTo>
                      <a:lnTo>
                        <a:pt x="117" y="128"/>
                      </a:lnTo>
                      <a:lnTo>
                        <a:pt x="118" y="128"/>
                      </a:lnTo>
                      <a:lnTo>
                        <a:pt x="120" y="128"/>
                      </a:lnTo>
                      <a:lnTo>
                        <a:pt x="121" y="128"/>
                      </a:lnTo>
                      <a:lnTo>
                        <a:pt x="121" y="127"/>
                      </a:lnTo>
                      <a:lnTo>
                        <a:pt x="123" y="127"/>
                      </a:lnTo>
                      <a:lnTo>
                        <a:pt x="125" y="127"/>
                      </a:lnTo>
                      <a:lnTo>
                        <a:pt x="128" y="126"/>
                      </a:lnTo>
                      <a:lnTo>
                        <a:pt x="130" y="126"/>
                      </a:lnTo>
                      <a:lnTo>
                        <a:pt x="130" y="125"/>
                      </a:lnTo>
                      <a:lnTo>
                        <a:pt x="131" y="126"/>
                      </a:lnTo>
                      <a:lnTo>
                        <a:pt x="132" y="127"/>
                      </a:lnTo>
                      <a:lnTo>
                        <a:pt x="133" y="128"/>
                      </a:lnTo>
                      <a:lnTo>
                        <a:pt x="133" y="129"/>
                      </a:lnTo>
                      <a:lnTo>
                        <a:pt x="135" y="132"/>
                      </a:lnTo>
                      <a:lnTo>
                        <a:pt x="135" y="133"/>
                      </a:lnTo>
                      <a:lnTo>
                        <a:pt x="135" y="135"/>
                      </a:lnTo>
                      <a:lnTo>
                        <a:pt x="135" y="136"/>
                      </a:lnTo>
                      <a:lnTo>
                        <a:pt x="135" y="137"/>
                      </a:lnTo>
                      <a:lnTo>
                        <a:pt x="137" y="139"/>
                      </a:lnTo>
                      <a:lnTo>
                        <a:pt x="137" y="140"/>
                      </a:lnTo>
                      <a:lnTo>
                        <a:pt x="137" y="142"/>
                      </a:lnTo>
                      <a:lnTo>
                        <a:pt x="137" y="143"/>
                      </a:lnTo>
                      <a:lnTo>
                        <a:pt x="138" y="143"/>
                      </a:lnTo>
                      <a:lnTo>
                        <a:pt x="138" y="144"/>
                      </a:lnTo>
                      <a:lnTo>
                        <a:pt x="137" y="146"/>
                      </a:lnTo>
                      <a:lnTo>
                        <a:pt x="137" y="147"/>
                      </a:lnTo>
                      <a:lnTo>
                        <a:pt x="137" y="148"/>
                      </a:lnTo>
                      <a:lnTo>
                        <a:pt x="137" y="149"/>
                      </a:lnTo>
                      <a:lnTo>
                        <a:pt x="137" y="151"/>
                      </a:lnTo>
                      <a:lnTo>
                        <a:pt x="137" y="154"/>
                      </a:lnTo>
                      <a:lnTo>
                        <a:pt x="137" y="155"/>
                      </a:lnTo>
                      <a:lnTo>
                        <a:pt x="135" y="156"/>
                      </a:lnTo>
                      <a:lnTo>
                        <a:pt x="134" y="156"/>
                      </a:lnTo>
                      <a:lnTo>
                        <a:pt x="134" y="157"/>
                      </a:lnTo>
                      <a:lnTo>
                        <a:pt x="134" y="158"/>
                      </a:lnTo>
                      <a:lnTo>
                        <a:pt x="133" y="158"/>
                      </a:lnTo>
                      <a:lnTo>
                        <a:pt x="133" y="160"/>
                      </a:lnTo>
                      <a:lnTo>
                        <a:pt x="132" y="160"/>
                      </a:lnTo>
                      <a:lnTo>
                        <a:pt x="132" y="161"/>
                      </a:lnTo>
                      <a:lnTo>
                        <a:pt x="132" y="162"/>
                      </a:lnTo>
                      <a:lnTo>
                        <a:pt x="132" y="163"/>
                      </a:lnTo>
                      <a:lnTo>
                        <a:pt x="132" y="164"/>
                      </a:lnTo>
                      <a:lnTo>
                        <a:pt x="132" y="165"/>
                      </a:lnTo>
                      <a:lnTo>
                        <a:pt x="130" y="169"/>
                      </a:lnTo>
                      <a:lnTo>
                        <a:pt x="128" y="169"/>
                      </a:lnTo>
                      <a:lnTo>
                        <a:pt x="127" y="170"/>
                      </a:lnTo>
                      <a:lnTo>
                        <a:pt x="126" y="171"/>
                      </a:lnTo>
                      <a:lnTo>
                        <a:pt x="126" y="172"/>
                      </a:lnTo>
                      <a:lnTo>
                        <a:pt x="126" y="174"/>
                      </a:lnTo>
                      <a:lnTo>
                        <a:pt x="126" y="175"/>
                      </a:lnTo>
                      <a:lnTo>
                        <a:pt x="127" y="175"/>
                      </a:lnTo>
                      <a:lnTo>
                        <a:pt x="128" y="176"/>
                      </a:lnTo>
                      <a:lnTo>
                        <a:pt x="131" y="178"/>
                      </a:lnTo>
                      <a:lnTo>
                        <a:pt x="132" y="179"/>
                      </a:lnTo>
                      <a:lnTo>
                        <a:pt x="132" y="181"/>
                      </a:lnTo>
                      <a:lnTo>
                        <a:pt x="131" y="182"/>
                      </a:lnTo>
                      <a:lnTo>
                        <a:pt x="131" y="183"/>
                      </a:lnTo>
                      <a:lnTo>
                        <a:pt x="132" y="186"/>
                      </a:lnTo>
                      <a:lnTo>
                        <a:pt x="133" y="186"/>
                      </a:lnTo>
                      <a:lnTo>
                        <a:pt x="134" y="186"/>
                      </a:lnTo>
                      <a:lnTo>
                        <a:pt x="135" y="188"/>
                      </a:lnTo>
                      <a:lnTo>
                        <a:pt x="137" y="188"/>
                      </a:lnTo>
                      <a:lnTo>
                        <a:pt x="137" y="190"/>
                      </a:lnTo>
                      <a:lnTo>
                        <a:pt x="138" y="191"/>
                      </a:lnTo>
                      <a:lnTo>
                        <a:pt x="139" y="192"/>
                      </a:lnTo>
                      <a:lnTo>
                        <a:pt x="139" y="193"/>
                      </a:lnTo>
                      <a:lnTo>
                        <a:pt x="140" y="193"/>
                      </a:lnTo>
                      <a:lnTo>
                        <a:pt x="142" y="195"/>
                      </a:lnTo>
                      <a:lnTo>
                        <a:pt x="142" y="196"/>
                      </a:lnTo>
                      <a:lnTo>
                        <a:pt x="143" y="197"/>
                      </a:lnTo>
                      <a:lnTo>
                        <a:pt x="145" y="198"/>
                      </a:lnTo>
                      <a:lnTo>
                        <a:pt x="145" y="199"/>
                      </a:lnTo>
                      <a:lnTo>
                        <a:pt x="146" y="199"/>
                      </a:lnTo>
                      <a:lnTo>
                        <a:pt x="146" y="200"/>
                      </a:lnTo>
                      <a:lnTo>
                        <a:pt x="147" y="200"/>
                      </a:lnTo>
                      <a:lnTo>
                        <a:pt x="147" y="202"/>
                      </a:lnTo>
                      <a:lnTo>
                        <a:pt x="148" y="202"/>
                      </a:lnTo>
                      <a:lnTo>
                        <a:pt x="149" y="203"/>
                      </a:lnTo>
                      <a:lnTo>
                        <a:pt x="150" y="204"/>
                      </a:lnTo>
                      <a:lnTo>
                        <a:pt x="152" y="204"/>
                      </a:lnTo>
                      <a:lnTo>
                        <a:pt x="153" y="204"/>
                      </a:lnTo>
                      <a:lnTo>
                        <a:pt x="154" y="205"/>
                      </a:lnTo>
                      <a:lnTo>
                        <a:pt x="154" y="206"/>
                      </a:lnTo>
                      <a:lnTo>
                        <a:pt x="154" y="207"/>
                      </a:lnTo>
                      <a:lnTo>
                        <a:pt x="154" y="209"/>
                      </a:lnTo>
                      <a:lnTo>
                        <a:pt x="153" y="210"/>
                      </a:lnTo>
                      <a:lnTo>
                        <a:pt x="152" y="210"/>
                      </a:lnTo>
                      <a:lnTo>
                        <a:pt x="152" y="211"/>
                      </a:lnTo>
                      <a:lnTo>
                        <a:pt x="153" y="213"/>
                      </a:lnTo>
                      <a:lnTo>
                        <a:pt x="152" y="213"/>
                      </a:lnTo>
                      <a:lnTo>
                        <a:pt x="153" y="214"/>
                      </a:lnTo>
                      <a:lnTo>
                        <a:pt x="154" y="214"/>
                      </a:lnTo>
                      <a:lnTo>
                        <a:pt x="157" y="214"/>
                      </a:lnTo>
                      <a:lnTo>
                        <a:pt x="160" y="214"/>
                      </a:lnTo>
                      <a:lnTo>
                        <a:pt x="160" y="213"/>
                      </a:lnTo>
                      <a:lnTo>
                        <a:pt x="160" y="212"/>
                      </a:lnTo>
                      <a:lnTo>
                        <a:pt x="160" y="211"/>
                      </a:lnTo>
                      <a:lnTo>
                        <a:pt x="160" y="210"/>
                      </a:lnTo>
                      <a:lnTo>
                        <a:pt x="159" y="209"/>
                      </a:lnTo>
                      <a:lnTo>
                        <a:pt x="159" y="207"/>
                      </a:lnTo>
                      <a:lnTo>
                        <a:pt x="159" y="206"/>
                      </a:lnTo>
                      <a:lnTo>
                        <a:pt x="160" y="205"/>
                      </a:lnTo>
                      <a:lnTo>
                        <a:pt x="160" y="204"/>
                      </a:lnTo>
                      <a:lnTo>
                        <a:pt x="159" y="203"/>
                      </a:lnTo>
                      <a:lnTo>
                        <a:pt x="159" y="200"/>
                      </a:lnTo>
                      <a:lnTo>
                        <a:pt x="159" y="199"/>
                      </a:lnTo>
                      <a:lnTo>
                        <a:pt x="157" y="199"/>
                      </a:lnTo>
                      <a:lnTo>
                        <a:pt x="157" y="198"/>
                      </a:lnTo>
                      <a:lnTo>
                        <a:pt x="156" y="198"/>
                      </a:lnTo>
                      <a:lnTo>
                        <a:pt x="155" y="198"/>
                      </a:lnTo>
                      <a:lnTo>
                        <a:pt x="155" y="197"/>
                      </a:lnTo>
                      <a:lnTo>
                        <a:pt x="154" y="195"/>
                      </a:lnTo>
                      <a:lnTo>
                        <a:pt x="155" y="195"/>
                      </a:lnTo>
                      <a:lnTo>
                        <a:pt x="157" y="193"/>
                      </a:lnTo>
                      <a:lnTo>
                        <a:pt x="157" y="192"/>
                      </a:lnTo>
                      <a:lnTo>
                        <a:pt x="157" y="191"/>
                      </a:lnTo>
                      <a:lnTo>
                        <a:pt x="157" y="190"/>
                      </a:lnTo>
                      <a:lnTo>
                        <a:pt x="159" y="190"/>
                      </a:lnTo>
                      <a:lnTo>
                        <a:pt x="159" y="189"/>
                      </a:lnTo>
                      <a:lnTo>
                        <a:pt x="159" y="188"/>
                      </a:lnTo>
                      <a:lnTo>
                        <a:pt x="159" y="186"/>
                      </a:lnTo>
                      <a:lnTo>
                        <a:pt x="159" y="185"/>
                      </a:lnTo>
                      <a:lnTo>
                        <a:pt x="160" y="184"/>
                      </a:lnTo>
                      <a:lnTo>
                        <a:pt x="162" y="182"/>
                      </a:lnTo>
                      <a:lnTo>
                        <a:pt x="163" y="182"/>
                      </a:lnTo>
                      <a:lnTo>
                        <a:pt x="164" y="182"/>
                      </a:lnTo>
                      <a:lnTo>
                        <a:pt x="166" y="182"/>
                      </a:lnTo>
                      <a:lnTo>
                        <a:pt x="166" y="183"/>
                      </a:lnTo>
                      <a:lnTo>
                        <a:pt x="167" y="183"/>
                      </a:lnTo>
                      <a:lnTo>
                        <a:pt x="167" y="182"/>
                      </a:lnTo>
                      <a:lnTo>
                        <a:pt x="168" y="182"/>
                      </a:lnTo>
                      <a:lnTo>
                        <a:pt x="170" y="181"/>
                      </a:lnTo>
                      <a:lnTo>
                        <a:pt x="171" y="181"/>
                      </a:lnTo>
                      <a:lnTo>
                        <a:pt x="171" y="182"/>
                      </a:lnTo>
                      <a:lnTo>
                        <a:pt x="171" y="181"/>
                      </a:lnTo>
                      <a:lnTo>
                        <a:pt x="173" y="181"/>
                      </a:lnTo>
                      <a:lnTo>
                        <a:pt x="175" y="179"/>
                      </a:lnTo>
                      <a:lnTo>
                        <a:pt x="175" y="178"/>
                      </a:lnTo>
                      <a:lnTo>
                        <a:pt x="175" y="177"/>
                      </a:lnTo>
                      <a:lnTo>
                        <a:pt x="175" y="176"/>
                      </a:lnTo>
                      <a:lnTo>
                        <a:pt x="175" y="175"/>
                      </a:lnTo>
                      <a:lnTo>
                        <a:pt x="176" y="174"/>
                      </a:lnTo>
                      <a:lnTo>
                        <a:pt x="176" y="169"/>
                      </a:lnTo>
                      <a:lnTo>
                        <a:pt x="176" y="167"/>
                      </a:lnTo>
                      <a:lnTo>
                        <a:pt x="176" y="162"/>
                      </a:lnTo>
                      <a:lnTo>
                        <a:pt x="177" y="160"/>
                      </a:lnTo>
                      <a:lnTo>
                        <a:pt x="177" y="158"/>
                      </a:lnTo>
                      <a:lnTo>
                        <a:pt x="176" y="155"/>
                      </a:lnTo>
                      <a:lnTo>
                        <a:pt x="175" y="151"/>
                      </a:lnTo>
                      <a:lnTo>
                        <a:pt x="175" y="150"/>
                      </a:lnTo>
                      <a:lnTo>
                        <a:pt x="177" y="147"/>
                      </a:lnTo>
                      <a:lnTo>
                        <a:pt x="177" y="144"/>
                      </a:lnTo>
                      <a:lnTo>
                        <a:pt x="178" y="141"/>
                      </a:lnTo>
                      <a:lnTo>
                        <a:pt x="177" y="141"/>
                      </a:lnTo>
                      <a:lnTo>
                        <a:pt x="177" y="134"/>
                      </a:lnTo>
                      <a:lnTo>
                        <a:pt x="177" y="133"/>
                      </a:lnTo>
                      <a:lnTo>
                        <a:pt x="175" y="132"/>
                      </a:lnTo>
                      <a:lnTo>
                        <a:pt x="174" y="130"/>
                      </a:lnTo>
                      <a:lnTo>
                        <a:pt x="173" y="129"/>
                      </a:lnTo>
                      <a:lnTo>
                        <a:pt x="170" y="125"/>
                      </a:lnTo>
                      <a:lnTo>
                        <a:pt x="167" y="121"/>
                      </a:lnTo>
                      <a:lnTo>
                        <a:pt x="164" y="118"/>
                      </a:lnTo>
                      <a:lnTo>
                        <a:pt x="162" y="114"/>
                      </a:lnTo>
                      <a:lnTo>
                        <a:pt x="160" y="111"/>
                      </a:lnTo>
                      <a:lnTo>
                        <a:pt x="156" y="106"/>
                      </a:lnTo>
                      <a:lnTo>
                        <a:pt x="153" y="102"/>
                      </a:lnTo>
                      <a:lnTo>
                        <a:pt x="150" y="100"/>
                      </a:lnTo>
                      <a:lnTo>
                        <a:pt x="147" y="98"/>
                      </a:lnTo>
                      <a:lnTo>
                        <a:pt x="146" y="97"/>
                      </a:lnTo>
                      <a:lnTo>
                        <a:pt x="147" y="97"/>
                      </a:lnTo>
                      <a:lnTo>
                        <a:pt x="147" y="95"/>
                      </a:lnTo>
                      <a:lnTo>
                        <a:pt x="146" y="93"/>
                      </a:lnTo>
                      <a:lnTo>
                        <a:pt x="146" y="92"/>
                      </a:lnTo>
                      <a:lnTo>
                        <a:pt x="145" y="92"/>
                      </a:lnTo>
                      <a:lnTo>
                        <a:pt x="145" y="91"/>
                      </a:lnTo>
                      <a:lnTo>
                        <a:pt x="145" y="90"/>
                      </a:lnTo>
                      <a:lnTo>
                        <a:pt x="145" y="88"/>
                      </a:lnTo>
                      <a:lnTo>
                        <a:pt x="145" y="87"/>
                      </a:lnTo>
                      <a:lnTo>
                        <a:pt x="145" y="86"/>
                      </a:lnTo>
                      <a:lnTo>
                        <a:pt x="145" y="85"/>
                      </a:lnTo>
                      <a:lnTo>
                        <a:pt x="145" y="84"/>
                      </a:lnTo>
                      <a:lnTo>
                        <a:pt x="145" y="83"/>
                      </a:lnTo>
                      <a:lnTo>
                        <a:pt x="145" y="81"/>
                      </a:lnTo>
                      <a:lnTo>
                        <a:pt x="143" y="79"/>
                      </a:lnTo>
                      <a:lnTo>
                        <a:pt x="143" y="78"/>
                      </a:lnTo>
                      <a:lnTo>
                        <a:pt x="143" y="77"/>
                      </a:lnTo>
                      <a:lnTo>
                        <a:pt x="143" y="76"/>
                      </a:lnTo>
                      <a:lnTo>
                        <a:pt x="143" y="73"/>
                      </a:lnTo>
                      <a:lnTo>
                        <a:pt x="145" y="73"/>
                      </a:lnTo>
                      <a:lnTo>
                        <a:pt x="145" y="72"/>
                      </a:lnTo>
                      <a:lnTo>
                        <a:pt x="146" y="71"/>
                      </a:lnTo>
                      <a:lnTo>
                        <a:pt x="145" y="71"/>
                      </a:lnTo>
                      <a:lnTo>
                        <a:pt x="145" y="69"/>
                      </a:lnTo>
                      <a:lnTo>
                        <a:pt x="143" y="67"/>
                      </a:lnTo>
                      <a:lnTo>
                        <a:pt x="143" y="66"/>
                      </a:lnTo>
                      <a:lnTo>
                        <a:pt x="143" y="65"/>
                      </a:lnTo>
                      <a:lnTo>
                        <a:pt x="142" y="64"/>
                      </a:lnTo>
                      <a:lnTo>
                        <a:pt x="141" y="63"/>
                      </a:lnTo>
                      <a:lnTo>
                        <a:pt x="141" y="62"/>
                      </a:lnTo>
                      <a:lnTo>
                        <a:pt x="141" y="60"/>
                      </a:lnTo>
                      <a:lnTo>
                        <a:pt x="141" y="58"/>
                      </a:lnTo>
                      <a:lnTo>
                        <a:pt x="142" y="57"/>
                      </a:lnTo>
                      <a:lnTo>
                        <a:pt x="142" y="56"/>
                      </a:lnTo>
                      <a:lnTo>
                        <a:pt x="141" y="55"/>
                      </a:lnTo>
                      <a:lnTo>
                        <a:pt x="142" y="53"/>
                      </a:lnTo>
                      <a:lnTo>
                        <a:pt x="143" y="52"/>
                      </a:lnTo>
                      <a:lnTo>
                        <a:pt x="145" y="51"/>
                      </a:lnTo>
                      <a:lnTo>
                        <a:pt x="145" y="50"/>
                      </a:lnTo>
                      <a:lnTo>
                        <a:pt x="146" y="50"/>
                      </a:lnTo>
                      <a:lnTo>
                        <a:pt x="147" y="50"/>
                      </a:lnTo>
                      <a:lnTo>
                        <a:pt x="147" y="49"/>
                      </a:lnTo>
                      <a:lnTo>
                        <a:pt x="148" y="45"/>
                      </a:lnTo>
                      <a:lnTo>
                        <a:pt x="149" y="42"/>
                      </a:lnTo>
                      <a:lnTo>
                        <a:pt x="149" y="39"/>
                      </a:lnTo>
                      <a:lnTo>
                        <a:pt x="149" y="37"/>
                      </a:lnTo>
                      <a:lnTo>
                        <a:pt x="149" y="35"/>
                      </a:lnTo>
                      <a:lnTo>
                        <a:pt x="163" y="35"/>
                      </a:lnTo>
                      <a:lnTo>
                        <a:pt x="164" y="35"/>
                      </a:lnTo>
                      <a:lnTo>
                        <a:pt x="166" y="35"/>
                      </a:lnTo>
                      <a:lnTo>
                        <a:pt x="167" y="35"/>
                      </a:lnTo>
                      <a:lnTo>
                        <a:pt x="167" y="36"/>
                      </a:lnTo>
                      <a:lnTo>
                        <a:pt x="168" y="36"/>
                      </a:lnTo>
                      <a:lnTo>
                        <a:pt x="168" y="35"/>
                      </a:lnTo>
                      <a:lnTo>
                        <a:pt x="169" y="36"/>
                      </a:lnTo>
                      <a:lnTo>
                        <a:pt x="170" y="35"/>
                      </a:lnTo>
                      <a:lnTo>
                        <a:pt x="171" y="35"/>
                      </a:lnTo>
                      <a:lnTo>
                        <a:pt x="173" y="34"/>
                      </a:lnTo>
                      <a:lnTo>
                        <a:pt x="173" y="32"/>
                      </a:lnTo>
                      <a:lnTo>
                        <a:pt x="174" y="31"/>
                      </a:lnTo>
                      <a:lnTo>
                        <a:pt x="175" y="31"/>
                      </a:lnTo>
                      <a:lnTo>
                        <a:pt x="176" y="31"/>
                      </a:lnTo>
                      <a:lnTo>
                        <a:pt x="176" y="30"/>
                      </a:lnTo>
                      <a:lnTo>
                        <a:pt x="177" y="30"/>
                      </a:lnTo>
                      <a:lnTo>
                        <a:pt x="178" y="30"/>
                      </a:lnTo>
                      <a:lnTo>
                        <a:pt x="180" y="30"/>
                      </a:lnTo>
                      <a:lnTo>
                        <a:pt x="181" y="30"/>
                      </a:lnTo>
                      <a:lnTo>
                        <a:pt x="182" y="31"/>
                      </a:lnTo>
                      <a:lnTo>
                        <a:pt x="181" y="31"/>
                      </a:lnTo>
                      <a:lnTo>
                        <a:pt x="182" y="32"/>
                      </a:lnTo>
                      <a:lnTo>
                        <a:pt x="183" y="32"/>
                      </a:lnTo>
                      <a:lnTo>
                        <a:pt x="184" y="32"/>
                      </a:lnTo>
                      <a:lnTo>
                        <a:pt x="185" y="34"/>
                      </a:lnTo>
                      <a:lnTo>
                        <a:pt x="187" y="34"/>
                      </a:lnTo>
                      <a:lnTo>
                        <a:pt x="187" y="35"/>
                      </a:lnTo>
                      <a:lnTo>
                        <a:pt x="188" y="35"/>
                      </a:lnTo>
                      <a:lnTo>
                        <a:pt x="188" y="36"/>
                      </a:lnTo>
                      <a:lnTo>
                        <a:pt x="188" y="37"/>
                      </a:lnTo>
                      <a:lnTo>
                        <a:pt x="188" y="38"/>
                      </a:lnTo>
                      <a:lnTo>
                        <a:pt x="189" y="38"/>
                      </a:lnTo>
                      <a:lnTo>
                        <a:pt x="190" y="38"/>
                      </a:lnTo>
                      <a:lnTo>
                        <a:pt x="191" y="39"/>
                      </a:lnTo>
                      <a:lnTo>
                        <a:pt x="192" y="38"/>
                      </a:lnTo>
                      <a:lnTo>
                        <a:pt x="194" y="38"/>
                      </a:lnTo>
                      <a:lnTo>
                        <a:pt x="195" y="38"/>
                      </a:lnTo>
                      <a:lnTo>
                        <a:pt x="198" y="38"/>
                      </a:lnTo>
                      <a:lnTo>
                        <a:pt x="198" y="39"/>
                      </a:lnTo>
                      <a:lnTo>
                        <a:pt x="199" y="39"/>
                      </a:lnTo>
                      <a:lnTo>
                        <a:pt x="201" y="39"/>
                      </a:lnTo>
                      <a:lnTo>
                        <a:pt x="202" y="39"/>
                      </a:lnTo>
                      <a:lnTo>
                        <a:pt x="203" y="39"/>
                      </a:lnTo>
                      <a:lnTo>
                        <a:pt x="204" y="39"/>
                      </a:lnTo>
                      <a:lnTo>
                        <a:pt x="204" y="38"/>
                      </a:lnTo>
                      <a:lnTo>
                        <a:pt x="205" y="38"/>
                      </a:lnTo>
                      <a:lnTo>
                        <a:pt x="206" y="38"/>
                      </a:lnTo>
                      <a:lnTo>
                        <a:pt x="206" y="36"/>
                      </a:lnTo>
                      <a:lnTo>
                        <a:pt x="209" y="35"/>
                      </a:lnTo>
                      <a:lnTo>
                        <a:pt x="210" y="35"/>
                      </a:lnTo>
                      <a:lnTo>
                        <a:pt x="211" y="36"/>
                      </a:lnTo>
                      <a:lnTo>
                        <a:pt x="213" y="35"/>
                      </a:lnTo>
                      <a:lnTo>
                        <a:pt x="214" y="35"/>
                      </a:lnTo>
                      <a:lnTo>
                        <a:pt x="216" y="36"/>
                      </a:lnTo>
                      <a:lnTo>
                        <a:pt x="216" y="37"/>
                      </a:lnTo>
                      <a:lnTo>
                        <a:pt x="217" y="37"/>
                      </a:lnTo>
                      <a:lnTo>
                        <a:pt x="218" y="38"/>
                      </a:lnTo>
                      <a:lnTo>
                        <a:pt x="221" y="38"/>
                      </a:lnTo>
                      <a:lnTo>
                        <a:pt x="223" y="39"/>
                      </a:lnTo>
                      <a:lnTo>
                        <a:pt x="224" y="38"/>
                      </a:lnTo>
                      <a:lnTo>
                        <a:pt x="225" y="38"/>
                      </a:lnTo>
                      <a:lnTo>
                        <a:pt x="226" y="39"/>
                      </a:lnTo>
                      <a:lnTo>
                        <a:pt x="227" y="39"/>
                      </a:lnTo>
                      <a:lnTo>
                        <a:pt x="228" y="39"/>
                      </a:lnTo>
                      <a:lnTo>
                        <a:pt x="230" y="39"/>
                      </a:lnTo>
                      <a:lnTo>
                        <a:pt x="230" y="38"/>
                      </a:lnTo>
                      <a:lnTo>
                        <a:pt x="231" y="38"/>
                      </a:lnTo>
                      <a:lnTo>
                        <a:pt x="232" y="37"/>
                      </a:lnTo>
                      <a:lnTo>
                        <a:pt x="233" y="37"/>
                      </a:lnTo>
                      <a:lnTo>
                        <a:pt x="234" y="37"/>
                      </a:lnTo>
                      <a:lnTo>
                        <a:pt x="235" y="37"/>
                      </a:lnTo>
                      <a:lnTo>
                        <a:pt x="237" y="36"/>
                      </a:lnTo>
                      <a:lnTo>
                        <a:pt x="239" y="35"/>
                      </a:lnTo>
                      <a:lnTo>
                        <a:pt x="239" y="34"/>
                      </a:lnTo>
                      <a:lnTo>
                        <a:pt x="240" y="34"/>
                      </a:lnTo>
                      <a:lnTo>
                        <a:pt x="240" y="32"/>
                      </a:lnTo>
                      <a:lnTo>
                        <a:pt x="240" y="31"/>
                      </a:lnTo>
                      <a:lnTo>
                        <a:pt x="240" y="30"/>
                      </a:lnTo>
                      <a:lnTo>
                        <a:pt x="240" y="29"/>
                      </a:lnTo>
                      <a:lnTo>
                        <a:pt x="241" y="29"/>
                      </a:lnTo>
                      <a:lnTo>
                        <a:pt x="241" y="28"/>
                      </a:lnTo>
                      <a:lnTo>
                        <a:pt x="241" y="27"/>
                      </a:lnTo>
                      <a:lnTo>
                        <a:pt x="244" y="25"/>
                      </a:lnTo>
                      <a:lnTo>
                        <a:pt x="246" y="25"/>
                      </a:lnTo>
                      <a:lnTo>
                        <a:pt x="248" y="25"/>
                      </a:lnTo>
                      <a:lnTo>
                        <a:pt x="248" y="24"/>
                      </a:lnTo>
                      <a:lnTo>
                        <a:pt x="249" y="24"/>
                      </a:lnTo>
                      <a:lnTo>
                        <a:pt x="249" y="25"/>
                      </a:lnTo>
                      <a:lnTo>
                        <a:pt x="251" y="25"/>
                      </a:lnTo>
                      <a:lnTo>
                        <a:pt x="252" y="25"/>
                      </a:lnTo>
                      <a:lnTo>
                        <a:pt x="254" y="25"/>
                      </a:lnTo>
                      <a:lnTo>
                        <a:pt x="255" y="27"/>
                      </a:lnTo>
                      <a:lnTo>
                        <a:pt x="256" y="28"/>
                      </a:lnTo>
                      <a:lnTo>
                        <a:pt x="258" y="29"/>
                      </a:lnTo>
                      <a:lnTo>
                        <a:pt x="260" y="29"/>
                      </a:lnTo>
                      <a:lnTo>
                        <a:pt x="261" y="30"/>
                      </a:lnTo>
                      <a:lnTo>
                        <a:pt x="262" y="29"/>
                      </a:lnTo>
                      <a:lnTo>
                        <a:pt x="265" y="27"/>
                      </a:lnTo>
                      <a:lnTo>
                        <a:pt x="266" y="27"/>
                      </a:lnTo>
                      <a:lnTo>
                        <a:pt x="266" y="25"/>
                      </a:lnTo>
                      <a:lnTo>
                        <a:pt x="267" y="25"/>
                      </a:lnTo>
                      <a:lnTo>
                        <a:pt x="268" y="25"/>
                      </a:lnTo>
                      <a:lnTo>
                        <a:pt x="269" y="25"/>
                      </a:lnTo>
                      <a:lnTo>
                        <a:pt x="270" y="25"/>
                      </a:lnTo>
                      <a:lnTo>
                        <a:pt x="271" y="24"/>
                      </a:lnTo>
                      <a:lnTo>
                        <a:pt x="271" y="23"/>
                      </a:lnTo>
                      <a:lnTo>
                        <a:pt x="273" y="23"/>
                      </a:lnTo>
                      <a:lnTo>
                        <a:pt x="274" y="22"/>
                      </a:lnTo>
                      <a:lnTo>
                        <a:pt x="275" y="22"/>
                      </a:lnTo>
                      <a:lnTo>
                        <a:pt x="278" y="22"/>
                      </a:lnTo>
                      <a:lnTo>
                        <a:pt x="280" y="22"/>
                      </a:lnTo>
                      <a:lnTo>
                        <a:pt x="281" y="22"/>
                      </a:lnTo>
                      <a:lnTo>
                        <a:pt x="282" y="22"/>
                      </a:lnTo>
                      <a:lnTo>
                        <a:pt x="283" y="22"/>
                      </a:lnTo>
                      <a:lnTo>
                        <a:pt x="284" y="22"/>
                      </a:lnTo>
                      <a:lnTo>
                        <a:pt x="285" y="22"/>
                      </a:lnTo>
                      <a:lnTo>
                        <a:pt x="292" y="17"/>
                      </a:lnTo>
                      <a:lnTo>
                        <a:pt x="294" y="16"/>
                      </a:lnTo>
                      <a:lnTo>
                        <a:pt x="296" y="16"/>
                      </a:lnTo>
                      <a:lnTo>
                        <a:pt x="301" y="15"/>
                      </a:lnTo>
                      <a:lnTo>
                        <a:pt x="302" y="15"/>
                      </a:lnTo>
                      <a:lnTo>
                        <a:pt x="305" y="13"/>
                      </a:lnTo>
                      <a:lnTo>
                        <a:pt x="309" y="12"/>
                      </a:lnTo>
                      <a:lnTo>
                        <a:pt x="312" y="8"/>
                      </a:lnTo>
                      <a:lnTo>
                        <a:pt x="313" y="8"/>
                      </a:lnTo>
                      <a:lnTo>
                        <a:pt x="315" y="7"/>
                      </a:lnTo>
                      <a:lnTo>
                        <a:pt x="317" y="5"/>
                      </a:lnTo>
                      <a:lnTo>
                        <a:pt x="318" y="5"/>
                      </a:lnTo>
                      <a:lnTo>
                        <a:pt x="319" y="3"/>
                      </a:lnTo>
                      <a:lnTo>
                        <a:pt x="320" y="2"/>
                      </a:lnTo>
                      <a:lnTo>
                        <a:pt x="322" y="1"/>
                      </a:lnTo>
                      <a:lnTo>
                        <a:pt x="323" y="1"/>
                      </a:lnTo>
                      <a:lnTo>
                        <a:pt x="323" y="0"/>
                      </a:lnTo>
                      <a:lnTo>
                        <a:pt x="324" y="1"/>
                      </a:lnTo>
                      <a:lnTo>
                        <a:pt x="323" y="1"/>
                      </a:lnTo>
                      <a:close/>
                    </a:path>
                  </a:pathLst>
                </a:custGeom>
                <a:solidFill>
                  <a:srgbClr val="C8C8C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55" name="Freeform 104">
                  <a:extLst>
                    <a:ext uri="{FF2B5EF4-FFF2-40B4-BE49-F238E27FC236}">
                      <a16:creationId xmlns:a16="http://schemas.microsoft.com/office/drawing/2014/main" id="{9843F2C5-CCA6-70CD-BDA9-2F9202BF2424}"/>
                    </a:ext>
                  </a:extLst>
                </p:cNvPr>
                <p:cNvSpPr>
                  <a:spLocks noEditPoints="1"/>
                </p:cNvSpPr>
                <p:nvPr/>
              </p:nvSpPr>
              <p:spPr bwMode="auto">
                <a:xfrm>
                  <a:off x="7346528" y="4119890"/>
                  <a:ext cx="109255" cy="269352"/>
                </a:xfrm>
                <a:custGeom>
                  <a:avLst/>
                  <a:gdLst>
                    <a:gd name="T0" fmla="*/ 71 w 101"/>
                    <a:gd name="T1" fmla="*/ 64 h 249"/>
                    <a:gd name="T2" fmla="*/ 13 w 101"/>
                    <a:gd name="T3" fmla="*/ 1 h 249"/>
                    <a:gd name="T4" fmla="*/ 23 w 101"/>
                    <a:gd name="T5" fmla="*/ 5 h 249"/>
                    <a:gd name="T6" fmla="*/ 34 w 101"/>
                    <a:gd name="T7" fmla="*/ 6 h 249"/>
                    <a:gd name="T8" fmla="*/ 41 w 101"/>
                    <a:gd name="T9" fmla="*/ 16 h 249"/>
                    <a:gd name="T10" fmla="*/ 51 w 101"/>
                    <a:gd name="T11" fmla="*/ 34 h 249"/>
                    <a:gd name="T12" fmla="*/ 49 w 101"/>
                    <a:gd name="T13" fmla="*/ 41 h 249"/>
                    <a:gd name="T14" fmla="*/ 51 w 101"/>
                    <a:gd name="T15" fmla="*/ 63 h 249"/>
                    <a:gd name="T16" fmla="*/ 49 w 101"/>
                    <a:gd name="T17" fmla="*/ 77 h 249"/>
                    <a:gd name="T18" fmla="*/ 43 w 101"/>
                    <a:gd name="T19" fmla="*/ 87 h 249"/>
                    <a:gd name="T20" fmla="*/ 49 w 101"/>
                    <a:gd name="T21" fmla="*/ 100 h 249"/>
                    <a:gd name="T22" fmla="*/ 51 w 101"/>
                    <a:gd name="T23" fmla="*/ 111 h 249"/>
                    <a:gd name="T24" fmla="*/ 54 w 101"/>
                    <a:gd name="T25" fmla="*/ 123 h 249"/>
                    <a:gd name="T26" fmla="*/ 58 w 101"/>
                    <a:gd name="T27" fmla="*/ 134 h 249"/>
                    <a:gd name="T28" fmla="*/ 61 w 101"/>
                    <a:gd name="T29" fmla="*/ 144 h 249"/>
                    <a:gd name="T30" fmla="*/ 64 w 101"/>
                    <a:gd name="T31" fmla="*/ 155 h 249"/>
                    <a:gd name="T32" fmla="*/ 69 w 101"/>
                    <a:gd name="T33" fmla="*/ 149 h 249"/>
                    <a:gd name="T34" fmla="*/ 75 w 101"/>
                    <a:gd name="T35" fmla="*/ 153 h 249"/>
                    <a:gd name="T36" fmla="*/ 82 w 101"/>
                    <a:gd name="T37" fmla="*/ 160 h 249"/>
                    <a:gd name="T38" fmla="*/ 79 w 101"/>
                    <a:gd name="T39" fmla="*/ 148 h 249"/>
                    <a:gd name="T40" fmla="*/ 71 w 101"/>
                    <a:gd name="T41" fmla="*/ 139 h 249"/>
                    <a:gd name="T42" fmla="*/ 79 w 101"/>
                    <a:gd name="T43" fmla="*/ 141 h 249"/>
                    <a:gd name="T44" fmla="*/ 100 w 101"/>
                    <a:gd name="T45" fmla="*/ 169 h 249"/>
                    <a:gd name="T46" fmla="*/ 99 w 101"/>
                    <a:gd name="T47" fmla="*/ 197 h 249"/>
                    <a:gd name="T48" fmla="*/ 94 w 101"/>
                    <a:gd name="T49" fmla="*/ 216 h 249"/>
                    <a:gd name="T50" fmla="*/ 86 w 101"/>
                    <a:gd name="T51" fmla="*/ 217 h 249"/>
                    <a:gd name="T52" fmla="*/ 80 w 101"/>
                    <a:gd name="T53" fmla="*/ 227 h 249"/>
                    <a:gd name="T54" fmla="*/ 82 w 101"/>
                    <a:gd name="T55" fmla="*/ 235 h 249"/>
                    <a:gd name="T56" fmla="*/ 83 w 101"/>
                    <a:gd name="T57" fmla="*/ 248 h 249"/>
                    <a:gd name="T58" fmla="*/ 77 w 101"/>
                    <a:gd name="T59" fmla="*/ 244 h 249"/>
                    <a:gd name="T60" fmla="*/ 70 w 101"/>
                    <a:gd name="T61" fmla="*/ 235 h 249"/>
                    <a:gd name="T62" fmla="*/ 62 w 101"/>
                    <a:gd name="T63" fmla="*/ 227 h 249"/>
                    <a:gd name="T64" fmla="*/ 55 w 101"/>
                    <a:gd name="T65" fmla="*/ 216 h 249"/>
                    <a:gd name="T66" fmla="*/ 51 w 101"/>
                    <a:gd name="T67" fmla="*/ 204 h 249"/>
                    <a:gd name="T68" fmla="*/ 57 w 101"/>
                    <a:gd name="T69" fmla="*/ 193 h 249"/>
                    <a:gd name="T70" fmla="*/ 60 w 101"/>
                    <a:gd name="T71" fmla="*/ 181 h 249"/>
                    <a:gd name="T72" fmla="*/ 58 w 101"/>
                    <a:gd name="T73" fmla="*/ 168 h 249"/>
                    <a:gd name="T74" fmla="*/ 46 w 101"/>
                    <a:gd name="T75" fmla="*/ 162 h 249"/>
                    <a:gd name="T76" fmla="*/ 32 w 101"/>
                    <a:gd name="T77" fmla="*/ 164 h 249"/>
                    <a:gd name="T78" fmla="*/ 27 w 101"/>
                    <a:gd name="T79" fmla="*/ 161 h 249"/>
                    <a:gd name="T80" fmla="*/ 20 w 101"/>
                    <a:gd name="T81" fmla="*/ 151 h 249"/>
                    <a:gd name="T82" fmla="*/ 13 w 101"/>
                    <a:gd name="T83" fmla="*/ 147 h 249"/>
                    <a:gd name="T84" fmla="*/ 5 w 101"/>
                    <a:gd name="T85" fmla="*/ 141 h 249"/>
                    <a:gd name="T86" fmla="*/ 0 w 101"/>
                    <a:gd name="T87" fmla="*/ 134 h 249"/>
                    <a:gd name="T88" fmla="*/ 6 w 101"/>
                    <a:gd name="T89" fmla="*/ 129 h 249"/>
                    <a:gd name="T90" fmla="*/ 9 w 101"/>
                    <a:gd name="T91" fmla="*/ 120 h 249"/>
                    <a:gd name="T92" fmla="*/ 9 w 101"/>
                    <a:gd name="T93" fmla="*/ 106 h 249"/>
                    <a:gd name="T94" fmla="*/ 18 w 101"/>
                    <a:gd name="T95" fmla="*/ 102 h 249"/>
                    <a:gd name="T96" fmla="*/ 26 w 101"/>
                    <a:gd name="T97" fmla="*/ 95 h 249"/>
                    <a:gd name="T98" fmla="*/ 20 w 101"/>
                    <a:gd name="T99" fmla="*/ 88 h 249"/>
                    <a:gd name="T100" fmla="*/ 20 w 101"/>
                    <a:gd name="T101" fmla="*/ 78 h 249"/>
                    <a:gd name="T102" fmla="*/ 19 w 101"/>
                    <a:gd name="T103" fmla="*/ 64 h 249"/>
                    <a:gd name="T104" fmla="*/ 20 w 101"/>
                    <a:gd name="T105" fmla="*/ 51 h 249"/>
                    <a:gd name="T106" fmla="*/ 23 w 101"/>
                    <a:gd name="T107" fmla="*/ 44 h 249"/>
                    <a:gd name="T108" fmla="*/ 32 w 101"/>
                    <a:gd name="T109" fmla="*/ 38 h 249"/>
                    <a:gd name="T110" fmla="*/ 27 w 101"/>
                    <a:gd name="T111" fmla="*/ 26 h 249"/>
                    <a:gd name="T112" fmla="*/ 22 w 101"/>
                    <a:gd name="T113" fmla="*/ 15 h 249"/>
                    <a:gd name="T114" fmla="*/ 16 w 101"/>
                    <a:gd name="T115" fmla="*/ 7 h 249"/>
                    <a:gd name="T116" fmla="*/ 11 w 101"/>
                    <a:gd name="T117" fmla="*/ 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1" h="249">
                      <a:moveTo>
                        <a:pt x="65" y="86"/>
                      </a:moveTo>
                      <a:lnTo>
                        <a:pt x="64" y="86"/>
                      </a:lnTo>
                      <a:lnTo>
                        <a:pt x="65" y="85"/>
                      </a:lnTo>
                      <a:lnTo>
                        <a:pt x="65" y="84"/>
                      </a:lnTo>
                      <a:lnTo>
                        <a:pt x="66" y="85"/>
                      </a:lnTo>
                      <a:lnTo>
                        <a:pt x="65" y="85"/>
                      </a:lnTo>
                      <a:lnTo>
                        <a:pt x="65" y="86"/>
                      </a:lnTo>
                      <a:close/>
                      <a:moveTo>
                        <a:pt x="71" y="64"/>
                      </a:moveTo>
                      <a:lnTo>
                        <a:pt x="71" y="65"/>
                      </a:lnTo>
                      <a:lnTo>
                        <a:pt x="71" y="64"/>
                      </a:lnTo>
                      <a:close/>
                      <a:moveTo>
                        <a:pt x="65" y="59"/>
                      </a:moveTo>
                      <a:lnTo>
                        <a:pt x="65" y="58"/>
                      </a:lnTo>
                      <a:lnTo>
                        <a:pt x="65" y="59"/>
                      </a:lnTo>
                      <a:close/>
                      <a:moveTo>
                        <a:pt x="49" y="7"/>
                      </a:moveTo>
                      <a:lnTo>
                        <a:pt x="51" y="10"/>
                      </a:lnTo>
                      <a:lnTo>
                        <a:pt x="49" y="7"/>
                      </a:lnTo>
                      <a:close/>
                      <a:moveTo>
                        <a:pt x="46" y="3"/>
                      </a:moveTo>
                      <a:lnTo>
                        <a:pt x="46" y="5"/>
                      </a:lnTo>
                      <a:lnTo>
                        <a:pt x="46" y="3"/>
                      </a:lnTo>
                      <a:close/>
                      <a:moveTo>
                        <a:pt x="13" y="1"/>
                      </a:moveTo>
                      <a:lnTo>
                        <a:pt x="14" y="3"/>
                      </a:lnTo>
                      <a:lnTo>
                        <a:pt x="15" y="3"/>
                      </a:lnTo>
                      <a:lnTo>
                        <a:pt x="16" y="3"/>
                      </a:lnTo>
                      <a:lnTo>
                        <a:pt x="18" y="3"/>
                      </a:lnTo>
                      <a:lnTo>
                        <a:pt x="19" y="3"/>
                      </a:lnTo>
                      <a:lnTo>
                        <a:pt x="20" y="3"/>
                      </a:lnTo>
                      <a:lnTo>
                        <a:pt x="20" y="2"/>
                      </a:lnTo>
                      <a:lnTo>
                        <a:pt x="21" y="3"/>
                      </a:lnTo>
                      <a:lnTo>
                        <a:pt x="22" y="5"/>
                      </a:lnTo>
                      <a:lnTo>
                        <a:pt x="23" y="5"/>
                      </a:lnTo>
                      <a:lnTo>
                        <a:pt x="23" y="6"/>
                      </a:lnTo>
                      <a:lnTo>
                        <a:pt x="23" y="7"/>
                      </a:lnTo>
                      <a:lnTo>
                        <a:pt x="25" y="7"/>
                      </a:lnTo>
                      <a:lnTo>
                        <a:pt x="27" y="7"/>
                      </a:lnTo>
                      <a:lnTo>
                        <a:pt x="28" y="7"/>
                      </a:lnTo>
                      <a:lnTo>
                        <a:pt x="29" y="6"/>
                      </a:lnTo>
                      <a:lnTo>
                        <a:pt x="30" y="7"/>
                      </a:lnTo>
                      <a:lnTo>
                        <a:pt x="32" y="7"/>
                      </a:lnTo>
                      <a:lnTo>
                        <a:pt x="33" y="7"/>
                      </a:lnTo>
                      <a:lnTo>
                        <a:pt x="34" y="6"/>
                      </a:lnTo>
                      <a:lnTo>
                        <a:pt x="35" y="7"/>
                      </a:lnTo>
                      <a:lnTo>
                        <a:pt x="36" y="7"/>
                      </a:lnTo>
                      <a:lnTo>
                        <a:pt x="37" y="8"/>
                      </a:lnTo>
                      <a:lnTo>
                        <a:pt x="39" y="9"/>
                      </a:lnTo>
                      <a:lnTo>
                        <a:pt x="40" y="9"/>
                      </a:lnTo>
                      <a:lnTo>
                        <a:pt x="40" y="10"/>
                      </a:lnTo>
                      <a:lnTo>
                        <a:pt x="40" y="12"/>
                      </a:lnTo>
                      <a:lnTo>
                        <a:pt x="40" y="14"/>
                      </a:lnTo>
                      <a:lnTo>
                        <a:pt x="41" y="15"/>
                      </a:lnTo>
                      <a:lnTo>
                        <a:pt x="41" y="16"/>
                      </a:lnTo>
                      <a:lnTo>
                        <a:pt x="41" y="17"/>
                      </a:lnTo>
                      <a:lnTo>
                        <a:pt x="42" y="20"/>
                      </a:lnTo>
                      <a:lnTo>
                        <a:pt x="42" y="21"/>
                      </a:lnTo>
                      <a:lnTo>
                        <a:pt x="46" y="26"/>
                      </a:lnTo>
                      <a:lnTo>
                        <a:pt x="47" y="27"/>
                      </a:lnTo>
                      <a:lnTo>
                        <a:pt x="48" y="28"/>
                      </a:lnTo>
                      <a:lnTo>
                        <a:pt x="49" y="29"/>
                      </a:lnTo>
                      <a:lnTo>
                        <a:pt x="50" y="31"/>
                      </a:lnTo>
                      <a:lnTo>
                        <a:pt x="50" y="33"/>
                      </a:lnTo>
                      <a:lnTo>
                        <a:pt x="51" y="34"/>
                      </a:lnTo>
                      <a:lnTo>
                        <a:pt x="50" y="34"/>
                      </a:lnTo>
                      <a:lnTo>
                        <a:pt x="49" y="35"/>
                      </a:lnTo>
                      <a:lnTo>
                        <a:pt x="49" y="36"/>
                      </a:lnTo>
                      <a:lnTo>
                        <a:pt x="50" y="36"/>
                      </a:lnTo>
                      <a:lnTo>
                        <a:pt x="49" y="36"/>
                      </a:lnTo>
                      <a:lnTo>
                        <a:pt x="49" y="37"/>
                      </a:lnTo>
                      <a:lnTo>
                        <a:pt x="48" y="37"/>
                      </a:lnTo>
                      <a:lnTo>
                        <a:pt x="49" y="38"/>
                      </a:lnTo>
                      <a:lnTo>
                        <a:pt x="49" y="40"/>
                      </a:lnTo>
                      <a:lnTo>
                        <a:pt x="49" y="41"/>
                      </a:lnTo>
                      <a:lnTo>
                        <a:pt x="49" y="43"/>
                      </a:lnTo>
                      <a:lnTo>
                        <a:pt x="50" y="49"/>
                      </a:lnTo>
                      <a:lnTo>
                        <a:pt x="50" y="53"/>
                      </a:lnTo>
                      <a:lnTo>
                        <a:pt x="50" y="55"/>
                      </a:lnTo>
                      <a:lnTo>
                        <a:pt x="49" y="56"/>
                      </a:lnTo>
                      <a:lnTo>
                        <a:pt x="49" y="57"/>
                      </a:lnTo>
                      <a:lnTo>
                        <a:pt x="50" y="58"/>
                      </a:lnTo>
                      <a:lnTo>
                        <a:pt x="50" y="59"/>
                      </a:lnTo>
                      <a:lnTo>
                        <a:pt x="50" y="60"/>
                      </a:lnTo>
                      <a:lnTo>
                        <a:pt x="51" y="63"/>
                      </a:lnTo>
                      <a:lnTo>
                        <a:pt x="51" y="66"/>
                      </a:lnTo>
                      <a:lnTo>
                        <a:pt x="53" y="69"/>
                      </a:lnTo>
                      <a:lnTo>
                        <a:pt x="53" y="70"/>
                      </a:lnTo>
                      <a:lnTo>
                        <a:pt x="53" y="71"/>
                      </a:lnTo>
                      <a:lnTo>
                        <a:pt x="53" y="72"/>
                      </a:lnTo>
                      <a:lnTo>
                        <a:pt x="53" y="73"/>
                      </a:lnTo>
                      <a:lnTo>
                        <a:pt x="51" y="74"/>
                      </a:lnTo>
                      <a:lnTo>
                        <a:pt x="50" y="74"/>
                      </a:lnTo>
                      <a:lnTo>
                        <a:pt x="50" y="76"/>
                      </a:lnTo>
                      <a:lnTo>
                        <a:pt x="49" y="77"/>
                      </a:lnTo>
                      <a:lnTo>
                        <a:pt x="48" y="77"/>
                      </a:lnTo>
                      <a:lnTo>
                        <a:pt x="48" y="78"/>
                      </a:lnTo>
                      <a:lnTo>
                        <a:pt x="48" y="79"/>
                      </a:lnTo>
                      <a:lnTo>
                        <a:pt x="49" y="80"/>
                      </a:lnTo>
                      <a:lnTo>
                        <a:pt x="46" y="83"/>
                      </a:lnTo>
                      <a:lnTo>
                        <a:pt x="44" y="83"/>
                      </a:lnTo>
                      <a:lnTo>
                        <a:pt x="44" y="84"/>
                      </a:lnTo>
                      <a:lnTo>
                        <a:pt x="44" y="85"/>
                      </a:lnTo>
                      <a:lnTo>
                        <a:pt x="44" y="86"/>
                      </a:lnTo>
                      <a:lnTo>
                        <a:pt x="43" y="87"/>
                      </a:lnTo>
                      <a:lnTo>
                        <a:pt x="43" y="90"/>
                      </a:lnTo>
                      <a:lnTo>
                        <a:pt x="43" y="92"/>
                      </a:lnTo>
                      <a:lnTo>
                        <a:pt x="44" y="93"/>
                      </a:lnTo>
                      <a:lnTo>
                        <a:pt x="44" y="94"/>
                      </a:lnTo>
                      <a:lnTo>
                        <a:pt x="46" y="94"/>
                      </a:lnTo>
                      <a:lnTo>
                        <a:pt x="46" y="95"/>
                      </a:lnTo>
                      <a:lnTo>
                        <a:pt x="47" y="95"/>
                      </a:lnTo>
                      <a:lnTo>
                        <a:pt x="48" y="95"/>
                      </a:lnTo>
                      <a:lnTo>
                        <a:pt x="49" y="99"/>
                      </a:lnTo>
                      <a:lnTo>
                        <a:pt x="49" y="100"/>
                      </a:lnTo>
                      <a:lnTo>
                        <a:pt x="48" y="100"/>
                      </a:lnTo>
                      <a:lnTo>
                        <a:pt x="48" y="101"/>
                      </a:lnTo>
                      <a:lnTo>
                        <a:pt x="48" y="102"/>
                      </a:lnTo>
                      <a:lnTo>
                        <a:pt x="48" y="104"/>
                      </a:lnTo>
                      <a:lnTo>
                        <a:pt x="49" y="105"/>
                      </a:lnTo>
                      <a:lnTo>
                        <a:pt x="49" y="106"/>
                      </a:lnTo>
                      <a:lnTo>
                        <a:pt x="50" y="106"/>
                      </a:lnTo>
                      <a:lnTo>
                        <a:pt x="51" y="107"/>
                      </a:lnTo>
                      <a:lnTo>
                        <a:pt x="50" y="109"/>
                      </a:lnTo>
                      <a:lnTo>
                        <a:pt x="51" y="111"/>
                      </a:lnTo>
                      <a:lnTo>
                        <a:pt x="53" y="111"/>
                      </a:lnTo>
                      <a:lnTo>
                        <a:pt x="53" y="112"/>
                      </a:lnTo>
                      <a:lnTo>
                        <a:pt x="51" y="112"/>
                      </a:lnTo>
                      <a:lnTo>
                        <a:pt x="53" y="113"/>
                      </a:lnTo>
                      <a:lnTo>
                        <a:pt x="53" y="112"/>
                      </a:lnTo>
                      <a:lnTo>
                        <a:pt x="53" y="113"/>
                      </a:lnTo>
                      <a:lnTo>
                        <a:pt x="53" y="114"/>
                      </a:lnTo>
                      <a:lnTo>
                        <a:pt x="53" y="115"/>
                      </a:lnTo>
                      <a:lnTo>
                        <a:pt x="53" y="121"/>
                      </a:lnTo>
                      <a:lnTo>
                        <a:pt x="54" y="123"/>
                      </a:lnTo>
                      <a:lnTo>
                        <a:pt x="53" y="123"/>
                      </a:lnTo>
                      <a:lnTo>
                        <a:pt x="53" y="125"/>
                      </a:lnTo>
                      <a:lnTo>
                        <a:pt x="51" y="126"/>
                      </a:lnTo>
                      <a:lnTo>
                        <a:pt x="53" y="127"/>
                      </a:lnTo>
                      <a:lnTo>
                        <a:pt x="53" y="128"/>
                      </a:lnTo>
                      <a:lnTo>
                        <a:pt x="54" y="130"/>
                      </a:lnTo>
                      <a:lnTo>
                        <a:pt x="55" y="133"/>
                      </a:lnTo>
                      <a:lnTo>
                        <a:pt x="56" y="134"/>
                      </a:lnTo>
                      <a:lnTo>
                        <a:pt x="57" y="134"/>
                      </a:lnTo>
                      <a:lnTo>
                        <a:pt x="58" y="134"/>
                      </a:lnTo>
                      <a:lnTo>
                        <a:pt x="60" y="134"/>
                      </a:lnTo>
                      <a:lnTo>
                        <a:pt x="60" y="135"/>
                      </a:lnTo>
                      <a:lnTo>
                        <a:pt x="61" y="136"/>
                      </a:lnTo>
                      <a:lnTo>
                        <a:pt x="62" y="137"/>
                      </a:lnTo>
                      <a:lnTo>
                        <a:pt x="62" y="139"/>
                      </a:lnTo>
                      <a:lnTo>
                        <a:pt x="62" y="140"/>
                      </a:lnTo>
                      <a:lnTo>
                        <a:pt x="62" y="141"/>
                      </a:lnTo>
                      <a:lnTo>
                        <a:pt x="61" y="141"/>
                      </a:lnTo>
                      <a:lnTo>
                        <a:pt x="61" y="142"/>
                      </a:lnTo>
                      <a:lnTo>
                        <a:pt x="61" y="144"/>
                      </a:lnTo>
                      <a:lnTo>
                        <a:pt x="60" y="146"/>
                      </a:lnTo>
                      <a:lnTo>
                        <a:pt x="58" y="147"/>
                      </a:lnTo>
                      <a:lnTo>
                        <a:pt x="60" y="149"/>
                      </a:lnTo>
                      <a:lnTo>
                        <a:pt x="60" y="150"/>
                      </a:lnTo>
                      <a:lnTo>
                        <a:pt x="61" y="151"/>
                      </a:lnTo>
                      <a:lnTo>
                        <a:pt x="61" y="153"/>
                      </a:lnTo>
                      <a:lnTo>
                        <a:pt x="62" y="153"/>
                      </a:lnTo>
                      <a:lnTo>
                        <a:pt x="62" y="154"/>
                      </a:lnTo>
                      <a:lnTo>
                        <a:pt x="63" y="154"/>
                      </a:lnTo>
                      <a:lnTo>
                        <a:pt x="64" y="155"/>
                      </a:lnTo>
                      <a:lnTo>
                        <a:pt x="64" y="156"/>
                      </a:lnTo>
                      <a:lnTo>
                        <a:pt x="65" y="156"/>
                      </a:lnTo>
                      <a:lnTo>
                        <a:pt x="66" y="156"/>
                      </a:lnTo>
                      <a:lnTo>
                        <a:pt x="66" y="155"/>
                      </a:lnTo>
                      <a:lnTo>
                        <a:pt x="68" y="155"/>
                      </a:lnTo>
                      <a:lnTo>
                        <a:pt x="68" y="154"/>
                      </a:lnTo>
                      <a:lnTo>
                        <a:pt x="68" y="153"/>
                      </a:lnTo>
                      <a:lnTo>
                        <a:pt x="69" y="151"/>
                      </a:lnTo>
                      <a:lnTo>
                        <a:pt x="69" y="150"/>
                      </a:lnTo>
                      <a:lnTo>
                        <a:pt x="69" y="149"/>
                      </a:lnTo>
                      <a:lnTo>
                        <a:pt x="69" y="148"/>
                      </a:lnTo>
                      <a:lnTo>
                        <a:pt x="70" y="148"/>
                      </a:lnTo>
                      <a:lnTo>
                        <a:pt x="71" y="148"/>
                      </a:lnTo>
                      <a:lnTo>
                        <a:pt x="71" y="149"/>
                      </a:lnTo>
                      <a:lnTo>
                        <a:pt x="72" y="149"/>
                      </a:lnTo>
                      <a:lnTo>
                        <a:pt x="71" y="150"/>
                      </a:lnTo>
                      <a:lnTo>
                        <a:pt x="72" y="151"/>
                      </a:lnTo>
                      <a:lnTo>
                        <a:pt x="72" y="153"/>
                      </a:lnTo>
                      <a:lnTo>
                        <a:pt x="73" y="153"/>
                      </a:lnTo>
                      <a:lnTo>
                        <a:pt x="75" y="153"/>
                      </a:lnTo>
                      <a:lnTo>
                        <a:pt x="76" y="154"/>
                      </a:lnTo>
                      <a:lnTo>
                        <a:pt x="76" y="155"/>
                      </a:lnTo>
                      <a:lnTo>
                        <a:pt x="77" y="156"/>
                      </a:lnTo>
                      <a:lnTo>
                        <a:pt x="77" y="157"/>
                      </a:lnTo>
                      <a:lnTo>
                        <a:pt x="78" y="157"/>
                      </a:lnTo>
                      <a:lnTo>
                        <a:pt x="79" y="158"/>
                      </a:lnTo>
                      <a:lnTo>
                        <a:pt x="80" y="160"/>
                      </a:lnTo>
                      <a:lnTo>
                        <a:pt x="80" y="161"/>
                      </a:lnTo>
                      <a:lnTo>
                        <a:pt x="82" y="161"/>
                      </a:lnTo>
                      <a:lnTo>
                        <a:pt x="82" y="160"/>
                      </a:lnTo>
                      <a:lnTo>
                        <a:pt x="83" y="160"/>
                      </a:lnTo>
                      <a:lnTo>
                        <a:pt x="83" y="158"/>
                      </a:lnTo>
                      <a:lnTo>
                        <a:pt x="82" y="157"/>
                      </a:lnTo>
                      <a:lnTo>
                        <a:pt x="80" y="155"/>
                      </a:lnTo>
                      <a:lnTo>
                        <a:pt x="80" y="154"/>
                      </a:lnTo>
                      <a:lnTo>
                        <a:pt x="80" y="153"/>
                      </a:lnTo>
                      <a:lnTo>
                        <a:pt x="79" y="151"/>
                      </a:lnTo>
                      <a:lnTo>
                        <a:pt x="79" y="150"/>
                      </a:lnTo>
                      <a:lnTo>
                        <a:pt x="79" y="149"/>
                      </a:lnTo>
                      <a:lnTo>
                        <a:pt x="79" y="148"/>
                      </a:lnTo>
                      <a:lnTo>
                        <a:pt x="78" y="147"/>
                      </a:lnTo>
                      <a:lnTo>
                        <a:pt x="78" y="146"/>
                      </a:lnTo>
                      <a:lnTo>
                        <a:pt x="77" y="144"/>
                      </a:lnTo>
                      <a:lnTo>
                        <a:pt x="77" y="143"/>
                      </a:lnTo>
                      <a:lnTo>
                        <a:pt x="77" y="142"/>
                      </a:lnTo>
                      <a:lnTo>
                        <a:pt x="76" y="141"/>
                      </a:lnTo>
                      <a:lnTo>
                        <a:pt x="76" y="140"/>
                      </a:lnTo>
                      <a:lnTo>
                        <a:pt x="76" y="139"/>
                      </a:lnTo>
                      <a:lnTo>
                        <a:pt x="75" y="139"/>
                      </a:lnTo>
                      <a:lnTo>
                        <a:pt x="71" y="139"/>
                      </a:lnTo>
                      <a:lnTo>
                        <a:pt x="70" y="139"/>
                      </a:lnTo>
                      <a:lnTo>
                        <a:pt x="69" y="137"/>
                      </a:lnTo>
                      <a:lnTo>
                        <a:pt x="69" y="136"/>
                      </a:lnTo>
                      <a:lnTo>
                        <a:pt x="69" y="135"/>
                      </a:lnTo>
                      <a:lnTo>
                        <a:pt x="69" y="133"/>
                      </a:lnTo>
                      <a:lnTo>
                        <a:pt x="69" y="132"/>
                      </a:lnTo>
                      <a:lnTo>
                        <a:pt x="70" y="133"/>
                      </a:lnTo>
                      <a:lnTo>
                        <a:pt x="73" y="135"/>
                      </a:lnTo>
                      <a:lnTo>
                        <a:pt x="76" y="137"/>
                      </a:lnTo>
                      <a:lnTo>
                        <a:pt x="79" y="141"/>
                      </a:lnTo>
                      <a:lnTo>
                        <a:pt x="83" y="146"/>
                      </a:lnTo>
                      <a:lnTo>
                        <a:pt x="85" y="149"/>
                      </a:lnTo>
                      <a:lnTo>
                        <a:pt x="87" y="153"/>
                      </a:lnTo>
                      <a:lnTo>
                        <a:pt x="90" y="156"/>
                      </a:lnTo>
                      <a:lnTo>
                        <a:pt x="93" y="160"/>
                      </a:lnTo>
                      <a:lnTo>
                        <a:pt x="96" y="164"/>
                      </a:lnTo>
                      <a:lnTo>
                        <a:pt x="97" y="165"/>
                      </a:lnTo>
                      <a:lnTo>
                        <a:pt x="98" y="167"/>
                      </a:lnTo>
                      <a:lnTo>
                        <a:pt x="100" y="168"/>
                      </a:lnTo>
                      <a:lnTo>
                        <a:pt x="100" y="169"/>
                      </a:lnTo>
                      <a:lnTo>
                        <a:pt x="100" y="176"/>
                      </a:lnTo>
                      <a:lnTo>
                        <a:pt x="101" y="176"/>
                      </a:lnTo>
                      <a:lnTo>
                        <a:pt x="100" y="179"/>
                      </a:lnTo>
                      <a:lnTo>
                        <a:pt x="100" y="182"/>
                      </a:lnTo>
                      <a:lnTo>
                        <a:pt x="98" y="185"/>
                      </a:lnTo>
                      <a:lnTo>
                        <a:pt x="98" y="186"/>
                      </a:lnTo>
                      <a:lnTo>
                        <a:pt x="99" y="190"/>
                      </a:lnTo>
                      <a:lnTo>
                        <a:pt x="100" y="193"/>
                      </a:lnTo>
                      <a:lnTo>
                        <a:pt x="100" y="195"/>
                      </a:lnTo>
                      <a:lnTo>
                        <a:pt x="99" y="197"/>
                      </a:lnTo>
                      <a:lnTo>
                        <a:pt x="99" y="202"/>
                      </a:lnTo>
                      <a:lnTo>
                        <a:pt x="99" y="204"/>
                      </a:lnTo>
                      <a:lnTo>
                        <a:pt x="99" y="209"/>
                      </a:lnTo>
                      <a:lnTo>
                        <a:pt x="98" y="210"/>
                      </a:lnTo>
                      <a:lnTo>
                        <a:pt x="98" y="211"/>
                      </a:lnTo>
                      <a:lnTo>
                        <a:pt x="98" y="212"/>
                      </a:lnTo>
                      <a:lnTo>
                        <a:pt x="98" y="213"/>
                      </a:lnTo>
                      <a:lnTo>
                        <a:pt x="98" y="214"/>
                      </a:lnTo>
                      <a:lnTo>
                        <a:pt x="96" y="216"/>
                      </a:lnTo>
                      <a:lnTo>
                        <a:pt x="94" y="216"/>
                      </a:lnTo>
                      <a:lnTo>
                        <a:pt x="94" y="217"/>
                      </a:lnTo>
                      <a:lnTo>
                        <a:pt x="94" y="216"/>
                      </a:lnTo>
                      <a:lnTo>
                        <a:pt x="93" y="216"/>
                      </a:lnTo>
                      <a:lnTo>
                        <a:pt x="91" y="217"/>
                      </a:lnTo>
                      <a:lnTo>
                        <a:pt x="90" y="217"/>
                      </a:lnTo>
                      <a:lnTo>
                        <a:pt x="90" y="218"/>
                      </a:lnTo>
                      <a:lnTo>
                        <a:pt x="89" y="218"/>
                      </a:lnTo>
                      <a:lnTo>
                        <a:pt x="89" y="217"/>
                      </a:lnTo>
                      <a:lnTo>
                        <a:pt x="87" y="217"/>
                      </a:lnTo>
                      <a:lnTo>
                        <a:pt x="86" y="217"/>
                      </a:lnTo>
                      <a:lnTo>
                        <a:pt x="85" y="217"/>
                      </a:lnTo>
                      <a:lnTo>
                        <a:pt x="83" y="219"/>
                      </a:lnTo>
                      <a:lnTo>
                        <a:pt x="82" y="220"/>
                      </a:lnTo>
                      <a:lnTo>
                        <a:pt x="82" y="221"/>
                      </a:lnTo>
                      <a:lnTo>
                        <a:pt x="82" y="223"/>
                      </a:lnTo>
                      <a:lnTo>
                        <a:pt x="82" y="224"/>
                      </a:lnTo>
                      <a:lnTo>
                        <a:pt x="82" y="225"/>
                      </a:lnTo>
                      <a:lnTo>
                        <a:pt x="80" y="225"/>
                      </a:lnTo>
                      <a:lnTo>
                        <a:pt x="80" y="226"/>
                      </a:lnTo>
                      <a:lnTo>
                        <a:pt x="80" y="227"/>
                      </a:lnTo>
                      <a:lnTo>
                        <a:pt x="80" y="228"/>
                      </a:lnTo>
                      <a:lnTo>
                        <a:pt x="78" y="230"/>
                      </a:lnTo>
                      <a:lnTo>
                        <a:pt x="77" y="230"/>
                      </a:lnTo>
                      <a:lnTo>
                        <a:pt x="78" y="232"/>
                      </a:lnTo>
                      <a:lnTo>
                        <a:pt x="78" y="233"/>
                      </a:lnTo>
                      <a:lnTo>
                        <a:pt x="79" y="233"/>
                      </a:lnTo>
                      <a:lnTo>
                        <a:pt x="80" y="233"/>
                      </a:lnTo>
                      <a:lnTo>
                        <a:pt x="80" y="234"/>
                      </a:lnTo>
                      <a:lnTo>
                        <a:pt x="82" y="234"/>
                      </a:lnTo>
                      <a:lnTo>
                        <a:pt x="82" y="235"/>
                      </a:lnTo>
                      <a:lnTo>
                        <a:pt x="82" y="238"/>
                      </a:lnTo>
                      <a:lnTo>
                        <a:pt x="83" y="239"/>
                      </a:lnTo>
                      <a:lnTo>
                        <a:pt x="83" y="240"/>
                      </a:lnTo>
                      <a:lnTo>
                        <a:pt x="82" y="241"/>
                      </a:lnTo>
                      <a:lnTo>
                        <a:pt x="82" y="242"/>
                      </a:lnTo>
                      <a:lnTo>
                        <a:pt x="82" y="244"/>
                      </a:lnTo>
                      <a:lnTo>
                        <a:pt x="83" y="245"/>
                      </a:lnTo>
                      <a:lnTo>
                        <a:pt x="83" y="246"/>
                      </a:lnTo>
                      <a:lnTo>
                        <a:pt x="83" y="247"/>
                      </a:lnTo>
                      <a:lnTo>
                        <a:pt x="83" y="248"/>
                      </a:lnTo>
                      <a:lnTo>
                        <a:pt x="83" y="249"/>
                      </a:lnTo>
                      <a:lnTo>
                        <a:pt x="80" y="249"/>
                      </a:lnTo>
                      <a:lnTo>
                        <a:pt x="77" y="249"/>
                      </a:lnTo>
                      <a:lnTo>
                        <a:pt x="76" y="249"/>
                      </a:lnTo>
                      <a:lnTo>
                        <a:pt x="75" y="248"/>
                      </a:lnTo>
                      <a:lnTo>
                        <a:pt x="76" y="248"/>
                      </a:lnTo>
                      <a:lnTo>
                        <a:pt x="75" y="246"/>
                      </a:lnTo>
                      <a:lnTo>
                        <a:pt x="75" y="245"/>
                      </a:lnTo>
                      <a:lnTo>
                        <a:pt x="76" y="245"/>
                      </a:lnTo>
                      <a:lnTo>
                        <a:pt x="77" y="244"/>
                      </a:lnTo>
                      <a:lnTo>
                        <a:pt x="77" y="242"/>
                      </a:lnTo>
                      <a:lnTo>
                        <a:pt x="77" y="241"/>
                      </a:lnTo>
                      <a:lnTo>
                        <a:pt x="77" y="240"/>
                      </a:lnTo>
                      <a:lnTo>
                        <a:pt x="76" y="239"/>
                      </a:lnTo>
                      <a:lnTo>
                        <a:pt x="75" y="239"/>
                      </a:lnTo>
                      <a:lnTo>
                        <a:pt x="73" y="239"/>
                      </a:lnTo>
                      <a:lnTo>
                        <a:pt x="72" y="238"/>
                      </a:lnTo>
                      <a:lnTo>
                        <a:pt x="71" y="237"/>
                      </a:lnTo>
                      <a:lnTo>
                        <a:pt x="70" y="237"/>
                      </a:lnTo>
                      <a:lnTo>
                        <a:pt x="70" y="235"/>
                      </a:lnTo>
                      <a:lnTo>
                        <a:pt x="69" y="235"/>
                      </a:lnTo>
                      <a:lnTo>
                        <a:pt x="69" y="234"/>
                      </a:lnTo>
                      <a:lnTo>
                        <a:pt x="68" y="234"/>
                      </a:lnTo>
                      <a:lnTo>
                        <a:pt x="68" y="233"/>
                      </a:lnTo>
                      <a:lnTo>
                        <a:pt x="66" y="232"/>
                      </a:lnTo>
                      <a:lnTo>
                        <a:pt x="65" y="231"/>
                      </a:lnTo>
                      <a:lnTo>
                        <a:pt x="65" y="230"/>
                      </a:lnTo>
                      <a:lnTo>
                        <a:pt x="63" y="228"/>
                      </a:lnTo>
                      <a:lnTo>
                        <a:pt x="62" y="228"/>
                      </a:lnTo>
                      <a:lnTo>
                        <a:pt x="62" y="227"/>
                      </a:lnTo>
                      <a:lnTo>
                        <a:pt x="61" y="226"/>
                      </a:lnTo>
                      <a:lnTo>
                        <a:pt x="60" y="225"/>
                      </a:lnTo>
                      <a:lnTo>
                        <a:pt x="60" y="223"/>
                      </a:lnTo>
                      <a:lnTo>
                        <a:pt x="58" y="223"/>
                      </a:lnTo>
                      <a:lnTo>
                        <a:pt x="57" y="221"/>
                      </a:lnTo>
                      <a:lnTo>
                        <a:pt x="56" y="221"/>
                      </a:lnTo>
                      <a:lnTo>
                        <a:pt x="55" y="221"/>
                      </a:lnTo>
                      <a:lnTo>
                        <a:pt x="54" y="218"/>
                      </a:lnTo>
                      <a:lnTo>
                        <a:pt x="54" y="217"/>
                      </a:lnTo>
                      <a:lnTo>
                        <a:pt x="55" y="216"/>
                      </a:lnTo>
                      <a:lnTo>
                        <a:pt x="55" y="214"/>
                      </a:lnTo>
                      <a:lnTo>
                        <a:pt x="54" y="213"/>
                      </a:lnTo>
                      <a:lnTo>
                        <a:pt x="51" y="211"/>
                      </a:lnTo>
                      <a:lnTo>
                        <a:pt x="50" y="210"/>
                      </a:lnTo>
                      <a:lnTo>
                        <a:pt x="49" y="210"/>
                      </a:lnTo>
                      <a:lnTo>
                        <a:pt x="49" y="209"/>
                      </a:lnTo>
                      <a:lnTo>
                        <a:pt x="49" y="207"/>
                      </a:lnTo>
                      <a:lnTo>
                        <a:pt x="49" y="206"/>
                      </a:lnTo>
                      <a:lnTo>
                        <a:pt x="50" y="205"/>
                      </a:lnTo>
                      <a:lnTo>
                        <a:pt x="51" y="204"/>
                      </a:lnTo>
                      <a:lnTo>
                        <a:pt x="53" y="204"/>
                      </a:lnTo>
                      <a:lnTo>
                        <a:pt x="55" y="200"/>
                      </a:lnTo>
                      <a:lnTo>
                        <a:pt x="55" y="199"/>
                      </a:lnTo>
                      <a:lnTo>
                        <a:pt x="55" y="198"/>
                      </a:lnTo>
                      <a:lnTo>
                        <a:pt x="55" y="197"/>
                      </a:lnTo>
                      <a:lnTo>
                        <a:pt x="55" y="196"/>
                      </a:lnTo>
                      <a:lnTo>
                        <a:pt x="55" y="195"/>
                      </a:lnTo>
                      <a:lnTo>
                        <a:pt x="56" y="195"/>
                      </a:lnTo>
                      <a:lnTo>
                        <a:pt x="56" y="193"/>
                      </a:lnTo>
                      <a:lnTo>
                        <a:pt x="57" y="193"/>
                      </a:lnTo>
                      <a:lnTo>
                        <a:pt x="57" y="192"/>
                      </a:lnTo>
                      <a:lnTo>
                        <a:pt x="57" y="191"/>
                      </a:lnTo>
                      <a:lnTo>
                        <a:pt x="58" y="191"/>
                      </a:lnTo>
                      <a:lnTo>
                        <a:pt x="60" y="190"/>
                      </a:lnTo>
                      <a:lnTo>
                        <a:pt x="60" y="189"/>
                      </a:lnTo>
                      <a:lnTo>
                        <a:pt x="60" y="186"/>
                      </a:lnTo>
                      <a:lnTo>
                        <a:pt x="60" y="184"/>
                      </a:lnTo>
                      <a:lnTo>
                        <a:pt x="60" y="183"/>
                      </a:lnTo>
                      <a:lnTo>
                        <a:pt x="60" y="182"/>
                      </a:lnTo>
                      <a:lnTo>
                        <a:pt x="60" y="181"/>
                      </a:lnTo>
                      <a:lnTo>
                        <a:pt x="61" y="179"/>
                      </a:lnTo>
                      <a:lnTo>
                        <a:pt x="61" y="178"/>
                      </a:lnTo>
                      <a:lnTo>
                        <a:pt x="60" y="178"/>
                      </a:lnTo>
                      <a:lnTo>
                        <a:pt x="60" y="177"/>
                      </a:lnTo>
                      <a:lnTo>
                        <a:pt x="60" y="175"/>
                      </a:lnTo>
                      <a:lnTo>
                        <a:pt x="60" y="174"/>
                      </a:lnTo>
                      <a:lnTo>
                        <a:pt x="58" y="172"/>
                      </a:lnTo>
                      <a:lnTo>
                        <a:pt x="58" y="171"/>
                      </a:lnTo>
                      <a:lnTo>
                        <a:pt x="58" y="170"/>
                      </a:lnTo>
                      <a:lnTo>
                        <a:pt x="58" y="168"/>
                      </a:lnTo>
                      <a:lnTo>
                        <a:pt x="58" y="167"/>
                      </a:lnTo>
                      <a:lnTo>
                        <a:pt x="56" y="164"/>
                      </a:lnTo>
                      <a:lnTo>
                        <a:pt x="56" y="163"/>
                      </a:lnTo>
                      <a:lnTo>
                        <a:pt x="55" y="162"/>
                      </a:lnTo>
                      <a:lnTo>
                        <a:pt x="54" y="161"/>
                      </a:lnTo>
                      <a:lnTo>
                        <a:pt x="53" y="160"/>
                      </a:lnTo>
                      <a:lnTo>
                        <a:pt x="53" y="161"/>
                      </a:lnTo>
                      <a:lnTo>
                        <a:pt x="51" y="161"/>
                      </a:lnTo>
                      <a:lnTo>
                        <a:pt x="48" y="162"/>
                      </a:lnTo>
                      <a:lnTo>
                        <a:pt x="46" y="162"/>
                      </a:lnTo>
                      <a:lnTo>
                        <a:pt x="44" y="162"/>
                      </a:lnTo>
                      <a:lnTo>
                        <a:pt x="44" y="163"/>
                      </a:lnTo>
                      <a:lnTo>
                        <a:pt x="43" y="163"/>
                      </a:lnTo>
                      <a:lnTo>
                        <a:pt x="41" y="163"/>
                      </a:lnTo>
                      <a:lnTo>
                        <a:pt x="40" y="163"/>
                      </a:lnTo>
                      <a:lnTo>
                        <a:pt x="39" y="163"/>
                      </a:lnTo>
                      <a:lnTo>
                        <a:pt x="36" y="164"/>
                      </a:lnTo>
                      <a:lnTo>
                        <a:pt x="35" y="164"/>
                      </a:lnTo>
                      <a:lnTo>
                        <a:pt x="33" y="163"/>
                      </a:lnTo>
                      <a:lnTo>
                        <a:pt x="32" y="164"/>
                      </a:lnTo>
                      <a:lnTo>
                        <a:pt x="32" y="165"/>
                      </a:lnTo>
                      <a:lnTo>
                        <a:pt x="32" y="167"/>
                      </a:lnTo>
                      <a:lnTo>
                        <a:pt x="30" y="167"/>
                      </a:lnTo>
                      <a:lnTo>
                        <a:pt x="30" y="165"/>
                      </a:lnTo>
                      <a:lnTo>
                        <a:pt x="29" y="164"/>
                      </a:lnTo>
                      <a:lnTo>
                        <a:pt x="29" y="163"/>
                      </a:lnTo>
                      <a:lnTo>
                        <a:pt x="28" y="163"/>
                      </a:lnTo>
                      <a:lnTo>
                        <a:pt x="28" y="162"/>
                      </a:lnTo>
                      <a:lnTo>
                        <a:pt x="27" y="162"/>
                      </a:lnTo>
                      <a:lnTo>
                        <a:pt x="27" y="161"/>
                      </a:lnTo>
                      <a:lnTo>
                        <a:pt x="26" y="161"/>
                      </a:lnTo>
                      <a:lnTo>
                        <a:pt x="25" y="161"/>
                      </a:lnTo>
                      <a:lnTo>
                        <a:pt x="25" y="160"/>
                      </a:lnTo>
                      <a:lnTo>
                        <a:pt x="23" y="156"/>
                      </a:lnTo>
                      <a:lnTo>
                        <a:pt x="22" y="156"/>
                      </a:lnTo>
                      <a:lnTo>
                        <a:pt x="22" y="155"/>
                      </a:lnTo>
                      <a:lnTo>
                        <a:pt x="21" y="155"/>
                      </a:lnTo>
                      <a:lnTo>
                        <a:pt x="21" y="154"/>
                      </a:lnTo>
                      <a:lnTo>
                        <a:pt x="20" y="153"/>
                      </a:lnTo>
                      <a:lnTo>
                        <a:pt x="20" y="151"/>
                      </a:lnTo>
                      <a:lnTo>
                        <a:pt x="20" y="150"/>
                      </a:lnTo>
                      <a:lnTo>
                        <a:pt x="20" y="149"/>
                      </a:lnTo>
                      <a:lnTo>
                        <a:pt x="19" y="149"/>
                      </a:lnTo>
                      <a:lnTo>
                        <a:pt x="18" y="148"/>
                      </a:lnTo>
                      <a:lnTo>
                        <a:pt x="16" y="147"/>
                      </a:lnTo>
                      <a:lnTo>
                        <a:pt x="15" y="146"/>
                      </a:lnTo>
                      <a:lnTo>
                        <a:pt x="15" y="144"/>
                      </a:lnTo>
                      <a:lnTo>
                        <a:pt x="15" y="146"/>
                      </a:lnTo>
                      <a:lnTo>
                        <a:pt x="14" y="146"/>
                      </a:lnTo>
                      <a:lnTo>
                        <a:pt x="13" y="147"/>
                      </a:lnTo>
                      <a:lnTo>
                        <a:pt x="12" y="147"/>
                      </a:lnTo>
                      <a:lnTo>
                        <a:pt x="12" y="149"/>
                      </a:lnTo>
                      <a:lnTo>
                        <a:pt x="11" y="149"/>
                      </a:lnTo>
                      <a:lnTo>
                        <a:pt x="9" y="148"/>
                      </a:lnTo>
                      <a:lnTo>
                        <a:pt x="9" y="146"/>
                      </a:lnTo>
                      <a:lnTo>
                        <a:pt x="8" y="144"/>
                      </a:lnTo>
                      <a:lnTo>
                        <a:pt x="8" y="143"/>
                      </a:lnTo>
                      <a:lnTo>
                        <a:pt x="7" y="141"/>
                      </a:lnTo>
                      <a:lnTo>
                        <a:pt x="6" y="141"/>
                      </a:lnTo>
                      <a:lnTo>
                        <a:pt x="5" y="141"/>
                      </a:lnTo>
                      <a:lnTo>
                        <a:pt x="4" y="141"/>
                      </a:lnTo>
                      <a:lnTo>
                        <a:pt x="4" y="140"/>
                      </a:lnTo>
                      <a:lnTo>
                        <a:pt x="4" y="139"/>
                      </a:lnTo>
                      <a:lnTo>
                        <a:pt x="5" y="139"/>
                      </a:lnTo>
                      <a:lnTo>
                        <a:pt x="5" y="137"/>
                      </a:lnTo>
                      <a:lnTo>
                        <a:pt x="4" y="136"/>
                      </a:lnTo>
                      <a:lnTo>
                        <a:pt x="2" y="135"/>
                      </a:lnTo>
                      <a:lnTo>
                        <a:pt x="1" y="135"/>
                      </a:lnTo>
                      <a:lnTo>
                        <a:pt x="0" y="135"/>
                      </a:lnTo>
                      <a:lnTo>
                        <a:pt x="0" y="134"/>
                      </a:lnTo>
                      <a:lnTo>
                        <a:pt x="0" y="133"/>
                      </a:lnTo>
                      <a:lnTo>
                        <a:pt x="1" y="133"/>
                      </a:lnTo>
                      <a:lnTo>
                        <a:pt x="1" y="134"/>
                      </a:lnTo>
                      <a:lnTo>
                        <a:pt x="2" y="134"/>
                      </a:lnTo>
                      <a:lnTo>
                        <a:pt x="2" y="133"/>
                      </a:lnTo>
                      <a:lnTo>
                        <a:pt x="4" y="133"/>
                      </a:lnTo>
                      <a:lnTo>
                        <a:pt x="5" y="133"/>
                      </a:lnTo>
                      <a:lnTo>
                        <a:pt x="5" y="132"/>
                      </a:lnTo>
                      <a:lnTo>
                        <a:pt x="5" y="130"/>
                      </a:lnTo>
                      <a:lnTo>
                        <a:pt x="6" y="129"/>
                      </a:lnTo>
                      <a:lnTo>
                        <a:pt x="7" y="129"/>
                      </a:lnTo>
                      <a:lnTo>
                        <a:pt x="7" y="128"/>
                      </a:lnTo>
                      <a:lnTo>
                        <a:pt x="8" y="126"/>
                      </a:lnTo>
                      <a:lnTo>
                        <a:pt x="8" y="125"/>
                      </a:lnTo>
                      <a:lnTo>
                        <a:pt x="8" y="123"/>
                      </a:lnTo>
                      <a:lnTo>
                        <a:pt x="9" y="122"/>
                      </a:lnTo>
                      <a:lnTo>
                        <a:pt x="11" y="122"/>
                      </a:lnTo>
                      <a:lnTo>
                        <a:pt x="11" y="121"/>
                      </a:lnTo>
                      <a:lnTo>
                        <a:pt x="11" y="120"/>
                      </a:lnTo>
                      <a:lnTo>
                        <a:pt x="9" y="120"/>
                      </a:lnTo>
                      <a:lnTo>
                        <a:pt x="9" y="119"/>
                      </a:lnTo>
                      <a:lnTo>
                        <a:pt x="11" y="115"/>
                      </a:lnTo>
                      <a:lnTo>
                        <a:pt x="11" y="113"/>
                      </a:lnTo>
                      <a:lnTo>
                        <a:pt x="12" y="113"/>
                      </a:lnTo>
                      <a:lnTo>
                        <a:pt x="11" y="112"/>
                      </a:lnTo>
                      <a:lnTo>
                        <a:pt x="11" y="111"/>
                      </a:lnTo>
                      <a:lnTo>
                        <a:pt x="9" y="111"/>
                      </a:lnTo>
                      <a:lnTo>
                        <a:pt x="9" y="109"/>
                      </a:lnTo>
                      <a:lnTo>
                        <a:pt x="9" y="107"/>
                      </a:lnTo>
                      <a:lnTo>
                        <a:pt x="9" y="106"/>
                      </a:lnTo>
                      <a:lnTo>
                        <a:pt x="11" y="105"/>
                      </a:lnTo>
                      <a:lnTo>
                        <a:pt x="12" y="102"/>
                      </a:lnTo>
                      <a:lnTo>
                        <a:pt x="13" y="101"/>
                      </a:lnTo>
                      <a:lnTo>
                        <a:pt x="13" y="102"/>
                      </a:lnTo>
                      <a:lnTo>
                        <a:pt x="14" y="102"/>
                      </a:lnTo>
                      <a:lnTo>
                        <a:pt x="14" y="101"/>
                      </a:lnTo>
                      <a:lnTo>
                        <a:pt x="15" y="101"/>
                      </a:lnTo>
                      <a:lnTo>
                        <a:pt x="15" y="102"/>
                      </a:lnTo>
                      <a:lnTo>
                        <a:pt x="16" y="102"/>
                      </a:lnTo>
                      <a:lnTo>
                        <a:pt x="18" y="102"/>
                      </a:lnTo>
                      <a:lnTo>
                        <a:pt x="18" y="101"/>
                      </a:lnTo>
                      <a:lnTo>
                        <a:pt x="19" y="100"/>
                      </a:lnTo>
                      <a:lnTo>
                        <a:pt x="20" y="100"/>
                      </a:lnTo>
                      <a:lnTo>
                        <a:pt x="21" y="100"/>
                      </a:lnTo>
                      <a:lnTo>
                        <a:pt x="22" y="100"/>
                      </a:lnTo>
                      <a:lnTo>
                        <a:pt x="23" y="99"/>
                      </a:lnTo>
                      <a:lnTo>
                        <a:pt x="23" y="98"/>
                      </a:lnTo>
                      <a:lnTo>
                        <a:pt x="25" y="98"/>
                      </a:lnTo>
                      <a:lnTo>
                        <a:pt x="26" y="97"/>
                      </a:lnTo>
                      <a:lnTo>
                        <a:pt x="26" y="95"/>
                      </a:lnTo>
                      <a:lnTo>
                        <a:pt x="27" y="95"/>
                      </a:lnTo>
                      <a:lnTo>
                        <a:pt x="27" y="94"/>
                      </a:lnTo>
                      <a:lnTo>
                        <a:pt x="27" y="93"/>
                      </a:lnTo>
                      <a:lnTo>
                        <a:pt x="26" y="93"/>
                      </a:lnTo>
                      <a:lnTo>
                        <a:pt x="23" y="94"/>
                      </a:lnTo>
                      <a:lnTo>
                        <a:pt x="22" y="93"/>
                      </a:lnTo>
                      <a:lnTo>
                        <a:pt x="21" y="93"/>
                      </a:lnTo>
                      <a:lnTo>
                        <a:pt x="21" y="91"/>
                      </a:lnTo>
                      <a:lnTo>
                        <a:pt x="20" y="90"/>
                      </a:lnTo>
                      <a:lnTo>
                        <a:pt x="20" y="88"/>
                      </a:lnTo>
                      <a:lnTo>
                        <a:pt x="19" y="88"/>
                      </a:lnTo>
                      <a:lnTo>
                        <a:pt x="19" y="87"/>
                      </a:lnTo>
                      <a:lnTo>
                        <a:pt x="19" y="86"/>
                      </a:lnTo>
                      <a:lnTo>
                        <a:pt x="19" y="85"/>
                      </a:lnTo>
                      <a:lnTo>
                        <a:pt x="20" y="83"/>
                      </a:lnTo>
                      <a:lnTo>
                        <a:pt x="20" y="80"/>
                      </a:lnTo>
                      <a:lnTo>
                        <a:pt x="21" y="80"/>
                      </a:lnTo>
                      <a:lnTo>
                        <a:pt x="21" y="79"/>
                      </a:lnTo>
                      <a:lnTo>
                        <a:pt x="20" y="79"/>
                      </a:lnTo>
                      <a:lnTo>
                        <a:pt x="20" y="78"/>
                      </a:lnTo>
                      <a:lnTo>
                        <a:pt x="21" y="77"/>
                      </a:lnTo>
                      <a:lnTo>
                        <a:pt x="21" y="76"/>
                      </a:lnTo>
                      <a:lnTo>
                        <a:pt x="20" y="71"/>
                      </a:lnTo>
                      <a:lnTo>
                        <a:pt x="20" y="70"/>
                      </a:lnTo>
                      <a:lnTo>
                        <a:pt x="19" y="70"/>
                      </a:lnTo>
                      <a:lnTo>
                        <a:pt x="18" y="70"/>
                      </a:lnTo>
                      <a:lnTo>
                        <a:pt x="18" y="69"/>
                      </a:lnTo>
                      <a:lnTo>
                        <a:pt x="18" y="67"/>
                      </a:lnTo>
                      <a:lnTo>
                        <a:pt x="19" y="67"/>
                      </a:lnTo>
                      <a:lnTo>
                        <a:pt x="19" y="64"/>
                      </a:lnTo>
                      <a:lnTo>
                        <a:pt x="20" y="64"/>
                      </a:lnTo>
                      <a:lnTo>
                        <a:pt x="20" y="63"/>
                      </a:lnTo>
                      <a:lnTo>
                        <a:pt x="20" y="62"/>
                      </a:lnTo>
                      <a:lnTo>
                        <a:pt x="22" y="58"/>
                      </a:lnTo>
                      <a:lnTo>
                        <a:pt x="23" y="57"/>
                      </a:lnTo>
                      <a:lnTo>
                        <a:pt x="23" y="56"/>
                      </a:lnTo>
                      <a:lnTo>
                        <a:pt x="22" y="55"/>
                      </a:lnTo>
                      <a:lnTo>
                        <a:pt x="21" y="53"/>
                      </a:lnTo>
                      <a:lnTo>
                        <a:pt x="21" y="52"/>
                      </a:lnTo>
                      <a:lnTo>
                        <a:pt x="20" y="51"/>
                      </a:lnTo>
                      <a:lnTo>
                        <a:pt x="20" y="50"/>
                      </a:lnTo>
                      <a:lnTo>
                        <a:pt x="20" y="49"/>
                      </a:lnTo>
                      <a:lnTo>
                        <a:pt x="20" y="48"/>
                      </a:lnTo>
                      <a:lnTo>
                        <a:pt x="19" y="48"/>
                      </a:lnTo>
                      <a:lnTo>
                        <a:pt x="19" y="47"/>
                      </a:lnTo>
                      <a:lnTo>
                        <a:pt x="20" y="47"/>
                      </a:lnTo>
                      <a:lnTo>
                        <a:pt x="21" y="45"/>
                      </a:lnTo>
                      <a:lnTo>
                        <a:pt x="22" y="45"/>
                      </a:lnTo>
                      <a:lnTo>
                        <a:pt x="22" y="44"/>
                      </a:lnTo>
                      <a:lnTo>
                        <a:pt x="23" y="44"/>
                      </a:lnTo>
                      <a:lnTo>
                        <a:pt x="25" y="45"/>
                      </a:lnTo>
                      <a:lnTo>
                        <a:pt x="25" y="44"/>
                      </a:lnTo>
                      <a:lnTo>
                        <a:pt x="26" y="44"/>
                      </a:lnTo>
                      <a:lnTo>
                        <a:pt x="27" y="44"/>
                      </a:lnTo>
                      <a:lnTo>
                        <a:pt x="27" y="43"/>
                      </a:lnTo>
                      <a:lnTo>
                        <a:pt x="28" y="42"/>
                      </a:lnTo>
                      <a:lnTo>
                        <a:pt x="29" y="41"/>
                      </a:lnTo>
                      <a:lnTo>
                        <a:pt x="29" y="40"/>
                      </a:lnTo>
                      <a:lnTo>
                        <a:pt x="30" y="40"/>
                      </a:lnTo>
                      <a:lnTo>
                        <a:pt x="32" y="38"/>
                      </a:lnTo>
                      <a:lnTo>
                        <a:pt x="33" y="37"/>
                      </a:lnTo>
                      <a:lnTo>
                        <a:pt x="32" y="36"/>
                      </a:lnTo>
                      <a:lnTo>
                        <a:pt x="30" y="35"/>
                      </a:lnTo>
                      <a:lnTo>
                        <a:pt x="30" y="34"/>
                      </a:lnTo>
                      <a:lnTo>
                        <a:pt x="29" y="33"/>
                      </a:lnTo>
                      <a:lnTo>
                        <a:pt x="28" y="30"/>
                      </a:lnTo>
                      <a:lnTo>
                        <a:pt x="28" y="29"/>
                      </a:lnTo>
                      <a:lnTo>
                        <a:pt x="28" y="28"/>
                      </a:lnTo>
                      <a:lnTo>
                        <a:pt x="28" y="27"/>
                      </a:lnTo>
                      <a:lnTo>
                        <a:pt x="27" y="26"/>
                      </a:lnTo>
                      <a:lnTo>
                        <a:pt x="26" y="24"/>
                      </a:lnTo>
                      <a:lnTo>
                        <a:pt x="25" y="24"/>
                      </a:lnTo>
                      <a:lnTo>
                        <a:pt x="25" y="23"/>
                      </a:lnTo>
                      <a:lnTo>
                        <a:pt x="23" y="23"/>
                      </a:lnTo>
                      <a:lnTo>
                        <a:pt x="21" y="22"/>
                      </a:lnTo>
                      <a:lnTo>
                        <a:pt x="21" y="21"/>
                      </a:lnTo>
                      <a:lnTo>
                        <a:pt x="21" y="20"/>
                      </a:lnTo>
                      <a:lnTo>
                        <a:pt x="21" y="19"/>
                      </a:lnTo>
                      <a:lnTo>
                        <a:pt x="22" y="16"/>
                      </a:lnTo>
                      <a:lnTo>
                        <a:pt x="22" y="15"/>
                      </a:lnTo>
                      <a:lnTo>
                        <a:pt x="22" y="14"/>
                      </a:lnTo>
                      <a:lnTo>
                        <a:pt x="21" y="13"/>
                      </a:lnTo>
                      <a:lnTo>
                        <a:pt x="20" y="13"/>
                      </a:lnTo>
                      <a:lnTo>
                        <a:pt x="19" y="12"/>
                      </a:lnTo>
                      <a:lnTo>
                        <a:pt x="19" y="10"/>
                      </a:lnTo>
                      <a:lnTo>
                        <a:pt x="18" y="10"/>
                      </a:lnTo>
                      <a:lnTo>
                        <a:pt x="18" y="9"/>
                      </a:lnTo>
                      <a:lnTo>
                        <a:pt x="18" y="8"/>
                      </a:lnTo>
                      <a:lnTo>
                        <a:pt x="18" y="7"/>
                      </a:lnTo>
                      <a:lnTo>
                        <a:pt x="16" y="7"/>
                      </a:lnTo>
                      <a:lnTo>
                        <a:pt x="15" y="7"/>
                      </a:lnTo>
                      <a:lnTo>
                        <a:pt x="14" y="6"/>
                      </a:lnTo>
                      <a:lnTo>
                        <a:pt x="14" y="7"/>
                      </a:lnTo>
                      <a:lnTo>
                        <a:pt x="14" y="8"/>
                      </a:lnTo>
                      <a:lnTo>
                        <a:pt x="13" y="8"/>
                      </a:lnTo>
                      <a:lnTo>
                        <a:pt x="13" y="7"/>
                      </a:lnTo>
                      <a:lnTo>
                        <a:pt x="12" y="7"/>
                      </a:lnTo>
                      <a:lnTo>
                        <a:pt x="11" y="7"/>
                      </a:lnTo>
                      <a:lnTo>
                        <a:pt x="11" y="5"/>
                      </a:lnTo>
                      <a:lnTo>
                        <a:pt x="11" y="3"/>
                      </a:lnTo>
                      <a:lnTo>
                        <a:pt x="11" y="2"/>
                      </a:lnTo>
                      <a:lnTo>
                        <a:pt x="9" y="2"/>
                      </a:lnTo>
                      <a:lnTo>
                        <a:pt x="8" y="2"/>
                      </a:lnTo>
                      <a:lnTo>
                        <a:pt x="8" y="0"/>
                      </a:lnTo>
                      <a:lnTo>
                        <a:pt x="9" y="0"/>
                      </a:lnTo>
                      <a:lnTo>
                        <a:pt x="11" y="0"/>
                      </a:lnTo>
                      <a:lnTo>
                        <a:pt x="13" y="1"/>
                      </a:lnTo>
                      <a:close/>
                    </a:path>
                  </a:pathLst>
                </a:custGeom>
                <a:solidFill>
                  <a:srgbClr val="C8C8C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grpSp>
          <p:grpSp>
            <p:nvGrpSpPr>
              <p:cNvPr id="89" name="Group 526">
                <a:extLst>
                  <a:ext uri="{FF2B5EF4-FFF2-40B4-BE49-F238E27FC236}">
                    <a16:creationId xmlns:a16="http://schemas.microsoft.com/office/drawing/2014/main" id="{737A4B61-E04A-FFB3-FF5E-D680FC350977}"/>
                  </a:ext>
                </a:extLst>
              </p:cNvPr>
              <p:cNvGrpSpPr/>
              <p:nvPr/>
            </p:nvGrpSpPr>
            <p:grpSpPr>
              <a:xfrm>
                <a:off x="5629819" y="2588158"/>
                <a:ext cx="2466432" cy="2554998"/>
                <a:chOff x="5629819" y="2588158"/>
                <a:chExt cx="2466432" cy="2554998"/>
              </a:xfrm>
            </p:grpSpPr>
            <p:sp>
              <p:nvSpPr>
                <p:cNvPr id="105" name="Freeform 72">
                  <a:extLst>
                    <a:ext uri="{FF2B5EF4-FFF2-40B4-BE49-F238E27FC236}">
                      <a16:creationId xmlns:a16="http://schemas.microsoft.com/office/drawing/2014/main" id="{0A281CB8-7EEA-18BE-BA40-08B218A4D6A8}"/>
                    </a:ext>
                  </a:extLst>
                </p:cNvPr>
                <p:cNvSpPr>
                  <a:spLocks noEditPoints="1"/>
                </p:cNvSpPr>
                <p:nvPr/>
              </p:nvSpPr>
              <p:spPr bwMode="auto">
                <a:xfrm>
                  <a:off x="6632586" y="3948975"/>
                  <a:ext cx="420794" cy="472716"/>
                </a:xfrm>
                <a:custGeom>
                  <a:avLst/>
                  <a:gdLst>
                    <a:gd name="T0" fmla="*/ 80 w 389"/>
                    <a:gd name="T1" fmla="*/ 47 h 437"/>
                    <a:gd name="T2" fmla="*/ 126 w 389"/>
                    <a:gd name="T3" fmla="*/ 46 h 437"/>
                    <a:gd name="T4" fmla="*/ 154 w 389"/>
                    <a:gd name="T5" fmla="*/ 49 h 437"/>
                    <a:gd name="T6" fmla="*/ 159 w 389"/>
                    <a:gd name="T7" fmla="*/ 68 h 437"/>
                    <a:gd name="T8" fmla="*/ 164 w 389"/>
                    <a:gd name="T9" fmla="*/ 83 h 437"/>
                    <a:gd name="T10" fmla="*/ 173 w 389"/>
                    <a:gd name="T11" fmla="*/ 98 h 437"/>
                    <a:gd name="T12" fmla="*/ 181 w 389"/>
                    <a:gd name="T13" fmla="*/ 111 h 437"/>
                    <a:gd name="T14" fmla="*/ 196 w 389"/>
                    <a:gd name="T15" fmla="*/ 116 h 437"/>
                    <a:gd name="T16" fmla="*/ 221 w 389"/>
                    <a:gd name="T17" fmla="*/ 111 h 437"/>
                    <a:gd name="T18" fmla="*/ 241 w 389"/>
                    <a:gd name="T19" fmla="*/ 102 h 437"/>
                    <a:gd name="T20" fmla="*/ 249 w 389"/>
                    <a:gd name="T21" fmla="*/ 82 h 437"/>
                    <a:gd name="T22" fmla="*/ 270 w 389"/>
                    <a:gd name="T23" fmla="*/ 80 h 437"/>
                    <a:gd name="T24" fmla="*/ 289 w 389"/>
                    <a:gd name="T25" fmla="*/ 90 h 437"/>
                    <a:gd name="T26" fmla="*/ 319 w 389"/>
                    <a:gd name="T27" fmla="*/ 95 h 437"/>
                    <a:gd name="T28" fmla="*/ 317 w 389"/>
                    <a:gd name="T29" fmla="*/ 110 h 437"/>
                    <a:gd name="T30" fmla="*/ 323 w 389"/>
                    <a:gd name="T31" fmla="*/ 132 h 437"/>
                    <a:gd name="T32" fmla="*/ 319 w 389"/>
                    <a:gd name="T33" fmla="*/ 160 h 437"/>
                    <a:gd name="T34" fmla="*/ 331 w 389"/>
                    <a:gd name="T35" fmla="*/ 181 h 437"/>
                    <a:gd name="T36" fmla="*/ 333 w 389"/>
                    <a:gd name="T37" fmla="*/ 201 h 437"/>
                    <a:gd name="T38" fmla="*/ 339 w 389"/>
                    <a:gd name="T39" fmla="*/ 214 h 437"/>
                    <a:gd name="T40" fmla="*/ 362 w 389"/>
                    <a:gd name="T41" fmla="*/ 210 h 437"/>
                    <a:gd name="T42" fmla="*/ 387 w 389"/>
                    <a:gd name="T43" fmla="*/ 205 h 437"/>
                    <a:gd name="T44" fmla="*/ 387 w 389"/>
                    <a:gd name="T45" fmla="*/ 230 h 437"/>
                    <a:gd name="T46" fmla="*/ 384 w 389"/>
                    <a:gd name="T47" fmla="*/ 263 h 437"/>
                    <a:gd name="T48" fmla="*/ 344 w 389"/>
                    <a:gd name="T49" fmla="*/ 272 h 437"/>
                    <a:gd name="T50" fmla="*/ 324 w 389"/>
                    <a:gd name="T51" fmla="*/ 332 h 437"/>
                    <a:gd name="T52" fmla="*/ 326 w 389"/>
                    <a:gd name="T53" fmla="*/ 378 h 437"/>
                    <a:gd name="T54" fmla="*/ 334 w 389"/>
                    <a:gd name="T55" fmla="*/ 391 h 437"/>
                    <a:gd name="T56" fmla="*/ 349 w 389"/>
                    <a:gd name="T57" fmla="*/ 409 h 437"/>
                    <a:gd name="T58" fmla="*/ 366 w 389"/>
                    <a:gd name="T59" fmla="*/ 420 h 437"/>
                    <a:gd name="T60" fmla="*/ 301 w 389"/>
                    <a:gd name="T61" fmla="*/ 433 h 437"/>
                    <a:gd name="T62" fmla="*/ 278 w 389"/>
                    <a:gd name="T63" fmla="*/ 434 h 437"/>
                    <a:gd name="T64" fmla="*/ 255 w 389"/>
                    <a:gd name="T65" fmla="*/ 431 h 437"/>
                    <a:gd name="T66" fmla="*/ 223 w 389"/>
                    <a:gd name="T67" fmla="*/ 426 h 437"/>
                    <a:gd name="T68" fmla="*/ 155 w 389"/>
                    <a:gd name="T69" fmla="*/ 416 h 437"/>
                    <a:gd name="T70" fmla="*/ 71 w 389"/>
                    <a:gd name="T71" fmla="*/ 417 h 437"/>
                    <a:gd name="T72" fmla="*/ 47 w 389"/>
                    <a:gd name="T73" fmla="*/ 402 h 437"/>
                    <a:gd name="T74" fmla="*/ 25 w 389"/>
                    <a:gd name="T75" fmla="*/ 411 h 437"/>
                    <a:gd name="T76" fmla="*/ 6 w 389"/>
                    <a:gd name="T77" fmla="*/ 412 h 437"/>
                    <a:gd name="T78" fmla="*/ 4 w 389"/>
                    <a:gd name="T79" fmla="*/ 374 h 437"/>
                    <a:gd name="T80" fmla="*/ 12 w 389"/>
                    <a:gd name="T81" fmla="*/ 354 h 437"/>
                    <a:gd name="T82" fmla="*/ 18 w 389"/>
                    <a:gd name="T83" fmla="*/ 333 h 437"/>
                    <a:gd name="T84" fmla="*/ 20 w 389"/>
                    <a:gd name="T85" fmla="*/ 309 h 437"/>
                    <a:gd name="T86" fmla="*/ 27 w 389"/>
                    <a:gd name="T87" fmla="*/ 291 h 437"/>
                    <a:gd name="T88" fmla="*/ 40 w 389"/>
                    <a:gd name="T89" fmla="*/ 273 h 437"/>
                    <a:gd name="T90" fmla="*/ 52 w 389"/>
                    <a:gd name="T91" fmla="*/ 260 h 437"/>
                    <a:gd name="T92" fmla="*/ 63 w 389"/>
                    <a:gd name="T93" fmla="*/ 244 h 437"/>
                    <a:gd name="T94" fmla="*/ 68 w 389"/>
                    <a:gd name="T95" fmla="*/ 211 h 437"/>
                    <a:gd name="T96" fmla="*/ 55 w 389"/>
                    <a:gd name="T97" fmla="*/ 181 h 437"/>
                    <a:gd name="T98" fmla="*/ 45 w 389"/>
                    <a:gd name="T99" fmla="*/ 156 h 437"/>
                    <a:gd name="T100" fmla="*/ 48 w 389"/>
                    <a:gd name="T101" fmla="*/ 139 h 437"/>
                    <a:gd name="T102" fmla="*/ 53 w 389"/>
                    <a:gd name="T103" fmla="*/ 129 h 437"/>
                    <a:gd name="T104" fmla="*/ 35 w 389"/>
                    <a:gd name="T105" fmla="*/ 89 h 437"/>
                    <a:gd name="T106" fmla="*/ 18 w 389"/>
                    <a:gd name="T107" fmla="*/ 55 h 437"/>
                    <a:gd name="T108" fmla="*/ 33 w 389"/>
                    <a:gd name="T109" fmla="*/ 52 h 437"/>
                    <a:gd name="T110" fmla="*/ 56 w 389"/>
                    <a:gd name="T111" fmla="*/ 46 h 437"/>
                    <a:gd name="T112" fmla="*/ 35 w 389"/>
                    <a:gd name="T113" fmla="*/ 11 h 437"/>
                    <a:gd name="T114" fmla="*/ 25 w 389"/>
                    <a:gd name="T115" fmla="*/ 25 h 437"/>
                    <a:gd name="T116" fmla="*/ 14 w 389"/>
                    <a:gd name="T117" fmla="*/ 32 h 437"/>
                    <a:gd name="T118" fmla="*/ 10 w 389"/>
                    <a:gd name="T119" fmla="*/ 20 h 437"/>
                    <a:gd name="T120" fmla="*/ 28 w 389"/>
                    <a:gd name="T121" fmla="*/ 5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9" h="437">
                      <a:moveTo>
                        <a:pt x="3" y="393"/>
                      </a:moveTo>
                      <a:lnTo>
                        <a:pt x="2" y="393"/>
                      </a:lnTo>
                      <a:lnTo>
                        <a:pt x="2" y="392"/>
                      </a:lnTo>
                      <a:lnTo>
                        <a:pt x="0" y="389"/>
                      </a:lnTo>
                      <a:lnTo>
                        <a:pt x="0" y="388"/>
                      </a:lnTo>
                      <a:lnTo>
                        <a:pt x="2" y="388"/>
                      </a:lnTo>
                      <a:lnTo>
                        <a:pt x="2" y="389"/>
                      </a:lnTo>
                      <a:lnTo>
                        <a:pt x="2" y="390"/>
                      </a:lnTo>
                      <a:lnTo>
                        <a:pt x="2" y="391"/>
                      </a:lnTo>
                      <a:lnTo>
                        <a:pt x="3" y="392"/>
                      </a:lnTo>
                      <a:lnTo>
                        <a:pt x="3" y="393"/>
                      </a:lnTo>
                      <a:close/>
                      <a:moveTo>
                        <a:pt x="71" y="46"/>
                      </a:moveTo>
                      <a:lnTo>
                        <a:pt x="73" y="46"/>
                      </a:lnTo>
                      <a:lnTo>
                        <a:pt x="73" y="47"/>
                      </a:lnTo>
                      <a:lnTo>
                        <a:pt x="76" y="46"/>
                      </a:lnTo>
                      <a:lnTo>
                        <a:pt x="77" y="46"/>
                      </a:lnTo>
                      <a:lnTo>
                        <a:pt x="78" y="47"/>
                      </a:lnTo>
                      <a:lnTo>
                        <a:pt x="80" y="47"/>
                      </a:lnTo>
                      <a:lnTo>
                        <a:pt x="83" y="47"/>
                      </a:lnTo>
                      <a:lnTo>
                        <a:pt x="85" y="47"/>
                      </a:lnTo>
                      <a:lnTo>
                        <a:pt x="86" y="47"/>
                      </a:lnTo>
                      <a:lnTo>
                        <a:pt x="89" y="47"/>
                      </a:lnTo>
                      <a:lnTo>
                        <a:pt x="90" y="47"/>
                      </a:lnTo>
                      <a:lnTo>
                        <a:pt x="93" y="47"/>
                      </a:lnTo>
                      <a:lnTo>
                        <a:pt x="96" y="47"/>
                      </a:lnTo>
                      <a:lnTo>
                        <a:pt x="97" y="47"/>
                      </a:lnTo>
                      <a:lnTo>
                        <a:pt x="99" y="47"/>
                      </a:lnTo>
                      <a:lnTo>
                        <a:pt x="103" y="47"/>
                      </a:lnTo>
                      <a:lnTo>
                        <a:pt x="105" y="47"/>
                      </a:lnTo>
                      <a:lnTo>
                        <a:pt x="109" y="46"/>
                      </a:lnTo>
                      <a:lnTo>
                        <a:pt x="111" y="46"/>
                      </a:lnTo>
                      <a:lnTo>
                        <a:pt x="114" y="46"/>
                      </a:lnTo>
                      <a:lnTo>
                        <a:pt x="117" y="46"/>
                      </a:lnTo>
                      <a:lnTo>
                        <a:pt x="120" y="46"/>
                      </a:lnTo>
                      <a:lnTo>
                        <a:pt x="123" y="46"/>
                      </a:lnTo>
                      <a:lnTo>
                        <a:pt x="126" y="46"/>
                      </a:lnTo>
                      <a:lnTo>
                        <a:pt x="128" y="46"/>
                      </a:lnTo>
                      <a:lnTo>
                        <a:pt x="132" y="46"/>
                      </a:lnTo>
                      <a:lnTo>
                        <a:pt x="134" y="46"/>
                      </a:lnTo>
                      <a:lnTo>
                        <a:pt x="138" y="46"/>
                      </a:lnTo>
                      <a:lnTo>
                        <a:pt x="140" y="46"/>
                      </a:lnTo>
                      <a:lnTo>
                        <a:pt x="144" y="46"/>
                      </a:lnTo>
                      <a:lnTo>
                        <a:pt x="145" y="46"/>
                      </a:lnTo>
                      <a:lnTo>
                        <a:pt x="146" y="46"/>
                      </a:lnTo>
                      <a:lnTo>
                        <a:pt x="147" y="47"/>
                      </a:lnTo>
                      <a:lnTo>
                        <a:pt x="148" y="47"/>
                      </a:lnTo>
                      <a:lnTo>
                        <a:pt x="149" y="47"/>
                      </a:lnTo>
                      <a:lnTo>
                        <a:pt x="150" y="47"/>
                      </a:lnTo>
                      <a:lnTo>
                        <a:pt x="152" y="47"/>
                      </a:lnTo>
                      <a:lnTo>
                        <a:pt x="153" y="47"/>
                      </a:lnTo>
                      <a:lnTo>
                        <a:pt x="154" y="48"/>
                      </a:lnTo>
                      <a:lnTo>
                        <a:pt x="153" y="48"/>
                      </a:lnTo>
                      <a:lnTo>
                        <a:pt x="153" y="49"/>
                      </a:lnTo>
                      <a:lnTo>
                        <a:pt x="154" y="49"/>
                      </a:lnTo>
                      <a:lnTo>
                        <a:pt x="154" y="52"/>
                      </a:lnTo>
                      <a:lnTo>
                        <a:pt x="155" y="52"/>
                      </a:lnTo>
                      <a:lnTo>
                        <a:pt x="155" y="53"/>
                      </a:lnTo>
                      <a:lnTo>
                        <a:pt x="154" y="53"/>
                      </a:lnTo>
                      <a:lnTo>
                        <a:pt x="155" y="53"/>
                      </a:lnTo>
                      <a:lnTo>
                        <a:pt x="156" y="54"/>
                      </a:lnTo>
                      <a:lnTo>
                        <a:pt x="157" y="55"/>
                      </a:lnTo>
                      <a:lnTo>
                        <a:pt x="157" y="56"/>
                      </a:lnTo>
                      <a:lnTo>
                        <a:pt x="157" y="58"/>
                      </a:lnTo>
                      <a:lnTo>
                        <a:pt x="157" y="60"/>
                      </a:lnTo>
                      <a:lnTo>
                        <a:pt x="157" y="61"/>
                      </a:lnTo>
                      <a:lnTo>
                        <a:pt x="156" y="61"/>
                      </a:lnTo>
                      <a:lnTo>
                        <a:pt x="156" y="63"/>
                      </a:lnTo>
                      <a:lnTo>
                        <a:pt x="157" y="63"/>
                      </a:lnTo>
                      <a:lnTo>
                        <a:pt x="157" y="65"/>
                      </a:lnTo>
                      <a:lnTo>
                        <a:pt x="157" y="66"/>
                      </a:lnTo>
                      <a:lnTo>
                        <a:pt x="159" y="67"/>
                      </a:lnTo>
                      <a:lnTo>
                        <a:pt x="159" y="68"/>
                      </a:lnTo>
                      <a:lnTo>
                        <a:pt x="159" y="69"/>
                      </a:lnTo>
                      <a:lnTo>
                        <a:pt x="159" y="70"/>
                      </a:lnTo>
                      <a:lnTo>
                        <a:pt x="159" y="72"/>
                      </a:lnTo>
                      <a:lnTo>
                        <a:pt x="160" y="73"/>
                      </a:lnTo>
                      <a:lnTo>
                        <a:pt x="161" y="75"/>
                      </a:lnTo>
                      <a:lnTo>
                        <a:pt x="161" y="76"/>
                      </a:lnTo>
                      <a:lnTo>
                        <a:pt x="162" y="76"/>
                      </a:lnTo>
                      <a:lnTo>
                        <a:pt x="162" y="77"/>
                      </a:lnTo>
                      <a:lnTo>
                        <a:pt x="163" y="77"/>
                      </a:lnTo>
                      <a:lnTo>
                        <a:pt x="164" y="77"/>
                      </a:lnTo>
                      <a:lnTo>
                        <a:pt x="164" y="79"/>
                      </a:lnTo>
                      <a:lnTo>
                        <a:pt x="164" y="80"/>
                      </a:lnTo>
                      <a:lnTo>
                        <a:pt x="164" y="81"/>
                      </a:lnTo>
                      <a:lnTo>
                        <a:pt x="166" y="81"/>
                      </a:lnTo>
                      <a:lnTo>
                        <a:pt x="166" y="82"/>
                      </a:lnTo>
                      <a:lnTo>
                        <a:pt x="166" y="83"/>
                      </a:lnTo>
                      <a:lnTo>
                        <a:pt x="166" y="84"/>
                      </a:lnTo>
                      <a:lnTo>
                        <a:pt x="164" y="83"/>
                      </a:lnTo>
                      <a:lnTo>
                        <a:pt x="164" y="84"/>
                      </a:lnTo>
                      <a:lnTo>
                        <a:pt x="164" y="87"/>
                      </a:lnTo>
                      <a:lnTo>
                        <a:pt x="164" y="88"/>
                      </a:lnTo>
                      <a:lnTo>
                        <a:pt x="166" y="89"/>
                      </a:lnTo>
                      <a:lnTo>
                        <a:pt x="167" y="90"/>
                      </a:lnTo>
                      <a:lnTo>
                        <a:pt x="167" y="91"/>
                      </a:lnTo>
                      <a:lnTo>
                        <a:pt x="168" y="91"/>
                      </a:lnTo>
                      <a:lnTo>
                        <a:pt x="168" y="93"/>
                      </a:lnTo>
                      <a:lnTo>
                        <a:pt x="169" y="93"/>
                      </a:lnTo>
                      <a:lnTo>
                        <a:pt x="170" y="94"/>
                      </a:lnTo>
                      <a:lnTo>
                        <a:pt x="170" y="95"/>
                      </a:lnTo>
                      <a:lnTo>
                        <a:pt x="171" y="95"/>
                      </a:lnTo>
                      <a:lnTo>
                        <a:pt x="173" y="95"/>
                      </a:lnTo>
                      <a:lnTo>
                        <a:pt x="173" y="96"/>
                      </a:lnTo>
                      <a:lnTo>
                        <a:pt x="171" y="96"/>
                      </a:lnTo>
                      <a:lnTo>
                        <a:pt x="171" y="97"/>
                      </a:lnTo>
                      <a:lnTo>
                        <a:pt x="173" y="97"/>
                      </a:lnTo>
                      <a:lnTo>
                        <a:pt x="173" y="98"/>
                      </a:lnTo>
                      <a:lnTo>
                        <a:pt x="173" y="100"/>
                      </a:lnTo>
                      <a:lnTo>
                        <a:pt x="174" y="101"/>
                      </a:lnTo>
                      <a:lnTo>
                        <a:pt x="175" y="101"/>
                      </a:lnTo>
                      <a:lnTo>
                        <a:pt x="176" y="102"/>
                      </a:lnTo>
                      <a:lnTo>
                        <a:pt x="176" y="103"/>
                      </a:lnTo>
                      <a:lnTo>
                        <a:pt x="176" y="104"/>
                      </a:lnTo>
                      <a:lnTo>
                        <a:pt x="177" y="104"/>
                      </a:lnTo>
                      <a:lnTo>
                        <a:pt x="176" y="105"/>
                      </a:lnTo>
                      <a:lnTo>
                        <a:pt x="177" y="105"/>
                      </a:lnTo>
                      <a:lnTo>
                        <a:pt x="177" y="107"/>
                      </a:lnTo>
                      <a:lnTo>
                        <a:pt x="178" y="107"/>
                      </a:lnTo>
                      <a:lnTo>
                        <a:pt x="178" y="108"/>
                      </a:lnTo>
                      <a:lnTo>
                        <a:pt x="180" y="108"/>
                      </a:lnTo>
                      <a:lnTo>
                        <a:pt x="180" y="109"/>
                      </a:lnTo>
                      <a:lnTo>
                        <a:pt x="181" y="110"/>
                      </a:lnTo>
                      <a:lnTo>
                        <a:pt x="181" y="109"/>
                      </a:lnTo>
                      <a:lnTo>
                        <a:pt x="181" y="110"/>
                      </a:lnTo>
                      <a:lnTo>
                        <a:pt x="181" y="111"/>
                      </a:lnTo>
                      <a:lnTo>
                        <a:pt x="182" y="111"/>
                      </a:lnTo>
                      <a:lnTo>
                        <a:pt x="182" y="112"/>
                      </a:lnTo>
                      <a:lnTo>
                        <a:pt x="182" y="111"/>
                      </a:lnTo>
                      <a:lnTo>
                        <a:pt x="182" y="112"/>
                      </a:lnTo>
                      <a:lnTo>
                        <a:pt x="182" y="114"/>
                      </a:lnTo>
                      <a:lnTo>
                        <a:pt x="183" y="114"/>
                      </a:lnTo>
                      <a:lnTo>
                        <a:pt x="184" y="114"/>
                      </a:lnTo>
                      <a:lnTo>
                        <a:pt x="184" y="115"/>
                      </a:lnTo>
                      <a:lnTo>
                        <a:pt x="183" y="116"/>
                      </a:lnTo>
                      <a:lnTo>
                        <a:pt x="184" y="116"/>
                      </a:lnTo>
                      <a:lnTo>
                        <a:pt x="185" y="117"/>
                      </a:lnTo>
                      <a:lnTo>
                        <a:pt x="187" y="117"/>
                      </a:lnTo>
                      <a:lnTo>
                        <a:pt x="189" y="116"/>
                      </a:lnTo>
                      <a:lnTo>
                        <a:pt x="190" y="116"/>
                      </a:lnTo>
                      <a:lnTo>
                        <a:pt x="191" y="116"/>
                      </a:lnTo>
                      <a:lnTo>
                        <a:pt x="194" y="115"/>
                      </a:lnTo>
                      <a:lnTo>
                        <a:pt x="195" y="115"/>
                      </a:lnTo>
                      <a:lnTo>
                        <a:pt x="196" y="116"/>
                      </a:lnTo>
                      <a:lnTo>
                        <a:pt x="198" y="117"/>
                      </a:lnTo>
                      <a:lnTo>
                        <a:pt x="202" y="117"/>
                      </a:lnTo>
                      <a:lnTo>
                        <a:pt x="202" y="116"/>
                      </a:lnTo>
                      <a:lnTo>
                        <a:pt x="202" y="115"/>
                      </a:lnTo>
                      <a:lnTo>
                        <a:pt x="202" y="114"/>
                      </a:lnTo>
                      <a:lnTo>
                        <a:pt x="203" y="114"/>
                      </a:lnTo>
                      <a:lnTo>
                        <a:pt x="204" y="114"/>
                      </a:lnTo>
                      <a:lnTo>
                        <a:pt x="206" y="114"/>
                      </a:lnTo>
                      <a:lnTo>
                        <a:pt x="209" y="114"/>
                      </a:lnTo>
                      <a:lnTo>
                        <a:pt x="210" y="114"/>
                      </a:lnTo>
                      <a:lnTo>
                        <a:pt x="211" y="114"/>
                      </a:lnTo>
                      <a:lnTo>
                        <a:pt x="213" y="114"/>
                      </a:lnTo>
                      <a:lnTo>
                        <a:pt x="214" y="114"/>
                      </a:lnTo>
                      <a:lnTo>
                        <a:pt x="214" y="112"/>
                      </a:lnTo>
                      <a:lnTo>
                        <a:pt x="214" y="111"/>
                      </a:lnTo>
                      <a:lnTo>
                        <a:pt x="217" y="111"/>
                      </a:lnTo>
                      <a:lnTo>
                        <a:pt x="219" y="111"/>
                      </a:lnTo>
                      <a:lnTo>
                        <a:pt x="221" y="111"/>
                      </a:lnTo>
                      <a:lnTo>
                        <a:pt x="221" y="112"/>
                      </a:lnTo>
                      <a:lnTo>
                        <a:pt x="223" y="112"/>
                      </a:lnTo>
                      <a:lnTo>
                        <a:pt x="223" y="114"/>
                      </a:lnTo>
                      <a:lnTo>
                        <a:pt x="224" y="114"/>
                      </a:lnTo>
                      <a:lnTo>
                        <a:pt x="228" y="114"/>
                      </a:lnTo>
                      <a:lnTo>
                        <a:pt x="232" y="114"/>
                      </a:lnTo>
                      <a:lnTo>
                        <a:pt x="237" y="114"/>
                      </a:lnTo>
                      <a:lnTo>
                        <a:pt x="240" y="114"/>
                      </a:lnTo>
                      <a:lnTo>
                        <a:pt x="241" y="114"/>
                      </a:lnTo>
                      <a:lnTo>
                        <a:pt x="240" y="111"/>
                      </a:lnTo>
                      <a:lnTo>
                        <a:pt x="240" y="110"/>
                      </a:lnTo>
                      <a:lnTo>
                        <a:pt x="240" y="109"/>
                      </a:lnTo>
                      <a:lnTo>
                        <a:pt x="241" y="108"/>
                      </a:lnTo>
                      <a:lnTo>
                        <a:pt x="241" y="107"/>
                      </a:lnTo>
                      <a:lnTo>
                        <a:pt x="241" y="104"/>
                      </a:lnTo>
                      <a:lnTo>
                        <a:pt x="242" y="104"/>
                      </a:lnTo>
                      <a:lnTo>
                        <a:pt x="241" y="103"/>
                      </a:lnTo>
                      <a:lnTo>
                        <a:pt x="241" y="102"/>
                      </a:lnTo>
                      <a:lnTo>
                        <a:pt x="241" y="101"/>
                      </a:lnTo>
                      <a:lnTo>
                        <a:pt x="241" y="100"/>
                      </a:lnTo>
                      <a:lnTo>
                        <a:pt x="244" y="100"/>
                      </a:lnTo>
                      <a:lnTo>
                        <a:pt x="245" y="100"/>
                      </a:lnTo>
                      <a:lnTo>
                        <a:pt x="245" y="98"/>
                      </a:lnTo>
                      <a:lnTo>
                        <a:pt x="245" y="97"/>
                      </a:lnTo>
                      <a:lnTo>
                        <a:pt x="246" y="97"/>
                      </a:lnTo>
                      <a:lnTo>
                        <a:pt x="246" y="96"/>
                      </a:lnTo>
                      <a:lnTo>
                        <a:pt x="245" y="94"/>
                      </a:lnTo>
                      <a:lnTo>
                        <a:pt x="245" y="93"/>
                      </a:lnTo>
                      <a:lnTo>
                        <a:pt x="245" y="91"/>
                      </a:lnTo>
                      <a:lnTo>
                        <a:pt x="245" y="87"/>
                      </a:lnTo>
                      <a:lnTo>
                        <a:pt x="246" y="86"/>
                      </a:lnTo>
                      <a:lnTo>
                        <a:pt x="246" y="84"/>
                      </a:lnTo>
                      <a:lnTo>
                        <a:pt x="247" y="83"/>
                      </a:lnTo>
                      <a:lnTo>
                        <a:pt x="246" y="82"/>
                      </a:lnTo>
                      <a:lnTo>
                        <a:pt x="248" y="82"/>
                      </a:lnTo>
                      <a:lnTo>
                        <a:pt x="249" y="82"/>
                      </a:lnTo>
                      <a:lnTo>
                        <a:pt x="251" y="82"/>
                      </a:lnTo>
                      <a:lnTo>
                        <a:pt x="252" y="82"/>
                      </a:lnTo>
                      <a:lnTo>
                        <a:pt x="253" y="82"/>
                      </a:lnTo>
                      <a:lnTo>
                        <a:pt x="254" y="82"/>
                      </a:lnTo>
                      <a:lnTo>
                        <a:pt x="256" y="82"/>
                      </a:lnTo>
                      <a:lnTo>
                        <a:pt x="258" y="82"/>
                      </a:lnTo>
                      <a:lnTo>
                        <a:pt x="259" y="82"/>
                      </a:lnTo>
                      <a:lnTo>
                        <a:pt x="260" y="82"/>
                      </a:lnTo>
                      <a:lnTo>
                        <a:pt x="261" y="82"/>
                      </a:lnTo>
                      <a:lnTo>
                        <a:pt x="262" y="82"/>
                      </a:lnTo>
                      <a:lnTo>
                        <a:pt x="263" y="82"/>
                      </a:lnTo>
                      <a:lnTo>
                        <a:pt x="265" y="82"/>
                      </a:lnTo>
                      <a:lnTo>
                        <a:pt x="267" y="82"/>
                      </a:lnTo>
                      <a:lnTo>
                        <a:pt x="268" y="82"/>
                      </a:lnTo>
                      <a:lnTo>
                        <a:pt x="269" y="82"/>
                      </a:lnTo>
                      <a:lnTo>
                        <a:pt x="270" y="82"/>
                      </a:lnTo>
                      <a:lnTo>
                        <a:pt x="270" y="81"/>
                      </a:lnTo>
                      <a:lnTo>
                        <a:pt x="270" y="80"/>
                      </a:lnTo>
                      <a:lnTo>
                        <a:pt x="272" y="80"/>
                      </a:lnTo>
                      <a:lnTo>
                        <a:pt x="272" y="79"/>
                      </a:lnTo>
                      <a:lnTo>
                        <a:pt x="274" y="79"/>
                      </a:lnTo>
                      <a:lnTo>
                        <a:pt x="276" y="79"/>
                      </a:lnTo>
                      <a:lnTo>
                        <a:pt x="278" y="79"/>
                      </a:lnTo>
                      <a:lnTo>
                        <a:pt x="281" y="79"/>
                      </a:lnTo>
                      <a:lnTo>
                        <a:pt x="280" y="81"/>
                      </a:lnTo>
                      <a:lnTo>
                        <a:pt x="278" y="83"/>
                      </a:lnTo>
                      <a:lnTo>
                        <a:pt x="278" y="84"/>
                      </a:lnTo>
                      <a:lnTo>
                        <a:pt x="277" y="86"/>
                      </a:lnTo>
                      <a:lnTo>
                        <a:pt x="277" y="88"/>
                      </a:lnTo>
                      <a:lnTo>
                        <a:pt x="277" y="89"/>
                      </a:lnTo>
                      <a:lnTo>
                        <a:pt x="277" y="90"/>
                      </a:lnTo>
                      <a:lnTo>
                        <a:pt x="280" y="90"/>
                      </a:lnTo>
                      <a:lnTo>
                        <a:pt x="282" y="90"/>
                      </a:lnTo>
                      <a:lnTo>
                        <a:pt x="284" y="90"/>
                      </a:lnTo>
                      <a:lnTo>
                        <a:pt x="287" y="90"/>
                      </a:lnTo>
                      <a:lnTo>
                        <a:pt x="289" y="90"/>
                      </a:lnTo>
                      <a:lnTo>
                        <a:pt x="290" y="90"/>
                      </a:lnTo>
                      <a:lnTo>
                        <a:pt x="292" y="90"/>
                      </a:lnTo>
                      <a:lnTo>
                        <a:pt x="295" y="90"/>
                      </a:lnTo>
                      <a:lnTo>
                        <a:pt x="297" y="90"/>
                      </a:lnTo>
                      <a:lnTo>
                        <a:pt x="299" y="90"/>
                      </a:lnTo>
                      <a:lnTo>
                        <a:pt x="302" y="90"/>
                      </a:lnTo>
                      <a:lnTo>
                        <a:pt x="304" y="90"/>
                      </a:lnTo>
                      <a:lnTo>
                        <a:pt x="306" y="90"/>
                      </a:lnTo>
                      <a:lnTo>
                        <a:pt x="309" y="90"/>
                      </a:lnTo>
                      <a:lnTo>
                        <a:pt x="311" y="90"/>
                      </a:lnTo>
                      <a:lnTo>
                        <a:pt x="313" y="90"/>
                      </a:lnTo>
                      <a:lnTo>
                        <a:pt x="316" y="90"/>
                      </a:lnTo>
                      <a:lnTo>
                        <a:pt x="317" y="90"/>
                      </a:lnTo>
                      <a:lnTo>
                        <a:pt x="318" y="90"/>
                      </a:lnTo>
                      <a:lnTo>
                        <a:pt x="318" y="91"/>
                      </a:lnTo>
                      <a:lnTo>
                        <a:pt x="319" y="93"/>
                      </a:lnTo>
                      <a:lnTo>
                        <a:pt x="319" y="94"/>
                      </a:lnTo>
                      <a:lnTo>
                        <a:pt x="319" y="95"/>
                      </a:lnTo>
                      <a:lnTo>
                        <a:pt x="320" y="95"/>
                      </a:lnTo>
                      <a:lnTo>
                        <a:pt x="319" y="95"/>
                      </a:lnTo>
                      <a:lnTo>
                        <a:pt x="319" y="96"/>
                      </a:lnTo>
                      <a:lnTo>
                        <a:pt x="320" y="96"/>
                      </a:lnTo>
                      <a:lnTo>
                        <a:pt x="320" y="97"/>
                      </a:lnTo>
                      <a:lnTo>
                        <a:pt x="319" y="97"/>
                      </a:lnTo>
                      <a:lnTo>
                        <a:pt x="319" y="98"/>
                      </a:lnTo>
                      <a:lnTo>
                        <a:pt x="320" y="98"/>
                      </a:lnTo>
                      <a:lnTo>
                        <a:pt x="320" y="100"/>
                      </a:lnTo>
                      <a:lnTo>
                        <a:pt x="319" y="101"/>
                      </a:lnTo>
                      <a:lnTo>
                        <a:pt x="319" y="102"/>
                      </a:lnTo>
                      <a:lnTo>
                        <a:pt x="319" y="103"/>
                      </a:lnTo>
                      <a:lnTo>
                        <a:pt x="318" y="103"/>
                      </a:lnTo>
                      <a:lnTo>
                        <a:pt x="318" y="104"/>
                      </a:lnTo>
                      <a:lnTo>
                        <a:pt x="318" y="105"/>
                      </a:lnTo>
                      <a:lnTo>
                        <a:pt x="317" y="107"/>
                      </a:lnTo>
                      <a:lnTo>
                        <a:pt x="317" y="109"/>
                      </a:lnTo>
                      <a:lnTo>
                        <a:pt x="317" y="110"/>
                      </a:lnTo>
                      <a:lnTo>
                        <a:pt x="317" y="111"/>
                      </a:lnTo>
                      <a:lnTo>
                        <a:pt x="317" y="114"/>
                      </a:lnTo>
                      <a:lnTo>
                        <a:pt x="318" y="115"/>
                      </a:lnTo>
                      <a:lnTo>
                        <a:pt x="318" y="116"/>
                      </a:lnTo>
                      <a:lnTo>
                        <a:pt x="319" y="117"/>
                      </a:lnTo>
                      <a:lnTo>
                        <a:pt x="319" y="118"/>
                      </a:lnTo>
                      <a:lnTo>
                        <a:pt x="320" y="118"/>
                      </a:lnTo>
                      <a:lnTo>
                        <a:pt x="320" y="121"/>
                      </a:lnTo>
                      <a:lnTo>
                        <a:pt x="320" y="122"/>
                      </a:lnTo>
                      <a:lnTo>
                        <a:pt x="322" y="123"/>
                      </a:lnTo>
                      <a:lnTo>
                        <a:pt x="322" y="124"/>
                      </a:lnTo>
                      <a:lnTo>
                        <a:pt x="322" y="125"/>
                      </a:lnTo>
                      <a:lnTo>
                        <a:pt x="323" y="126"/>
                      </a:lnTo>
                      <a:lnTo>
                        <a:pt x="323" y="128"/>
                      </a:lnTo>
                      <a:lnTo>
                        <a:pt x="323" y="129"/>
                      </a:lnTo>
                      <a:lnTo>
                        <a:pt x="322" y="131"/>
                      </a:lnTo>
                      <a:lnTo>
                        <a:pt x="323" y="131"/>
                      </a:lnTo>
                      <a:lnTo>
                        <a:pt x="323" y="132"/>
                      </a:lnTo>
                      <a:lnTo>
                        <a:pt x="322" y="132"/>
                      </a:lnTo>
                      <a:lnTo>
                        <a:pt x="322" y="133"/>
                      </a:lnTo>
                      <a:lnTo>
                        <a:pt x="322" y="136"/>
                      </a:lnTo>
                      <a:lnTo>
                        <a:pt x="320" y="138"/>
                      </a:lnTo>
                      <a:lnTo>
                        <a:pt x="320" y="139"/>
                      </a:lnTo>
                      <a:lnTo>
                        <a:pt x="320" y="140"/>
                      </a:lnTo>
                      <a:lnTo>
                        <a:pt x="320" y="143"/>
                      </a:lnTo>
                      <a:lnTo>
                        <a:pt x="320" y="144"/>
                      </a:lnTo>
                      <a:lnTo>
                        <a:pt x="319" y="147"/>
                      </a:lnTo>
                      <a:lnTo>
                        <a:pt x="320" y="151"/>
                      </a:lnTo>
                      <a:lnTo>
                        <a:pt x="320" y="152"/>
                      </a:lnTo>
                      <a:lnTo>
                        <a:pt x="319" y="153"/>
                      </a:lnTo>
                      <a:lnTo>
                        <a:pt x="318" y="156"/>
                      </a:lnTo>
                      <a:lnTo>
                        <a:pt x="318" y="157"/>
                      </a:lnTo>
                      <a:lnTo>
                        <a:pt x="318" y="158"/>
                      </a:lnTo>
                      <a:lnTo>
                        <a:pt x="318" y="159"/>
                      </a:lnTo>
                      <a:lnTo>
                        <a:pt x="319" y="159"/>
                      </a:lnTo>
                      <a:lnTo>
                        <a:pt x="319" y="160"/>
                      </a:lnTo>
                      <a:lnTo>
                        <a:pt x="319" y="164"/>
                      </a:lnTo>
                      <a:lnTo>
                        <a:pt x="320" y="165"/>
                      </a:lnTo>
                      <a:lnTo>
                        <a:pt x="320" y="166"/>
                      </a:lnTo>
                      <a:lnTo>
                        <a:pt x="323" y="168"/>
                      </a:lnTo>
                      <a:lnTo>
                        <a:pt x="323" y="170"/>
                      </a:lnTo>
                      <a:lnTo>
                        <a:pt x="324" y="170"/>
                      </a:lnTo>
                      <a:lnTo>
                        <a:pt x="324" y="168"/>
                      </a:lnTo>
                      <a:lnTo>
                        <a:pt x="324" y="170"/>
                      </a:lnTo>
                      <a:lnTo>
                        <a:pt x="325" y="171"/>
                      </a:lnTo>
                      <a:lnTo>
                        <a:pt x="326" y="173"/>
                      </a:lnTo>
                      <a:lnTo>
                        <a:pt x="327" y="173"/>
                      </a:lnTo>
                      <a:lnTo>
                        <a:pt x="330" y="174"/>
                      </a:lnTo>
                      <a:lnTo>
                        <a:pt x="330" y="175"/>
                      </a:lnTo>
                      <a:lnTo>
                        <a:pt x="330" y="177"/>
                      </a:lnTo>
                      <a:lnTo>
                        <a:pt x="331" y="178"/>
                      </a:lnTo>
                      <a:lnTo>
                        <a:pt x="331" y="179"/>
                      </a:lnTo>
                      <a:lnTo>
                        <a:pt x="331" y="180"/>
                      </a:lnTo>
                      <a:lnTo>
                        <a:pt x="331" y="181"/>
                      </a:lnTo>
                      <a:lnTo>
                        <a:pt x="332" y="182"/>
                      </a:lnTo>
                      <a:lnTo>
                        <a:pt x="332" y="184"/>
                      </a:lnTo>
                      <a:lnTo>
                        <a:pt x="333" y="185"/>
                      </a:lnTo>
                      <a:lnTo>
                        <a:pt x="333" y="187"/>
                      </a:lnTo>
                      <a:lnTo>
                        <a:pt x="334" y="187"/>
                      </a:lnTo>
                      <a:lnTo>
                        <a:pt x="334" y="188"/>
                      </a:lnTo>
                      <a:lnTo>
                        <a:pt x="334" y="189"/>
                      </a:lnTo>
                      <a:lnTo>
                        <a:pt x="334" y="191"/>
                      </a:lnTo>
                      <a:lnTo>
                        <a:pt x="333" y="192"/>
                      </a:lnTo>
                      <a:lnTo>
                        <a:pt x="333" y="193"/>
                      </a:lnTo>
                      <a:lnTo>
                        <a:pt x="334" y="194"/>
                      </a:lnTo>
                      <a:lnTo>
                        <a:pt x="334" y="195"/>
                      </a:lnTo>
                      <a:lnTo>
                        <a:pt x="334" y="196"/>
                      </a:lnTo>
                      <a:lnTo>
                        <a:pt x="334" y="198"/>
                      </a:lnTo>
                      <a:lnTo>
                        <a:pt x="334" y="199"/>
                      </a:lnTo>
                      <a:lnTo>
                        <a:pt x="334" y="200"/>
                      </a:lnTo>
                      <a:lnTo>
                        <a:pt x="334" y="201"/>
                      </a:lnTo>
                      <a:lnTo>
                        <a:pt x="333" y="201"/>
                      </a:lnTo>
                      <a:lnTo>
                        <a:pt x="332" y="202"/>
                      </a:lnTo>
                      <a:lnTo>
                        <a:pt x="331" y="202"/>
                      </a:lnTo>
                      <a:lnTo>
                        <a:pt x="331" y="203"/>
                      </a:lnTo>
                      <a:lnTo>
                        <a:pt x="330" y="203"/>
                      </a:lnTo>
                      <a:lnTo>
                        <a:pt x="330" y="205"/>
                      </a:lnTo>
                      <a:lnTo>
                        <a:pt x="331" y="207"/>
                      </a:lnTo>
                      <a:lnTo>
                        <a:pt x="331" y="208"/>
                      </a:lnTo>
                      <a:lnTo>
                        <a:pt x="331" y="209"/>
                      </a:lnTo>
                      <a:lnTo>
                        <a:pt x="332" y="209"/>
                      </a:lnTo>
                      <a:lnTo>
                        <a:pt x="332" y="210"/>
                      </a:lnTo>
                      <a:lnTo>
                        <a:pt x="332" y="211"/>
                      </a:lnTo>
                      <a:lnTo>
                        <a:pt x="333" y="214"/>
                      </a:lnTo>
                      <a:lnTo>
                        <a:pt x="332" y="215"/>
                      </a:lnTo>
                      <a:lnTo>
                        <a:pt x="332" y="216"/>
                      </a:lnTo>
                      <a:lnTo>
                        <a:pt x="333" y="216"/>
                      </a:lnTo>
                      <a:lnTo>
                        <a:pt x="334" y="215"/>
                      </a:lnTo>
                      <a:lnTo>
                        <a:pt x="336" y="214"/>
                      </a:lnTo>
                      <a:lnTo>
                        <a:pt x="339" y="214"/>
                      </a:lnTo>
                      <a:lnTo>
                        <a:pt x="339" y="213"/>
                      </a:lnTo>
                      <a:lnTo>
                        <a:pt x="340" y="210"/>
                      </a:lnTo>
                      <a:lnTo>
                        <a:pt x="341" y="209"/>
                      </a:lnTo>
                      <a:lnTo>
                        <a:pt x="344" y="210"/>
                      </a:lnTo>
                      <a:lnTo>
                        <a:pt x="345" y="211"/>
                      </a:lnTo>
                      <a:lnTo>
                        <a:pt x="346" y="211"/>
                      </a:lnTo>
                      <a:lnTo>
                        <a:pt x="347" y="211"/>
                      </a:lnTo>
                      <a:lnTo>
                        <a:pt x="348" y="211"/>
                      </a:lnTo>
                      <a:lnTo>
                        <a:pt x="349" y="211"/>
                      </a:lnTo>
                      <a:lnTo>
                        <a:pt x="349" y="210"/>
                      </a:lnTo>
                      <a:lnTo>
                        <a:pt x="351" y="210"/>
                      </a:lnTo>
                      <a:lnTo>
                        <a:pt x="352" y="210"/>
                      </a:lnTo>
                      <a:lnTo>
                        <a:pt x="353" y="211"/>
                      </a:lnTo>
                      <a:lnTo>
                        <a:pt x="354" y="211"/>
                      </a:lnTo>
                      <a:lnTo>
                        <a:pt x="355" y="211"/>
                      </a:lnTo>
                      <a:lnTo>
                        <a:pt x="356" y="211"/>
                      </a:lnTo>
                      <a:lnTo>
                        <a:pt x="360" y="211"/>
                      </a:lnTo>
                      <a:lnTo>
                        <a:pt x="362" y="210"/>
                      </a:lnTo>
                      <a:lnTo>
                        <a:pt x="366" y="209"/>
                      </a:lnTo>
                      <a:lnTo>
                        <a:pt x="368" y="208"/>
                      </a:lnTo>
                      <a:lnTo>
                        <a:pt x="369" y="207"/>
                      </a:lnTo>
                      <a:lnTo>
                        <a:pt x="370" y="207"/>
                      </a:lnTo>
                      <a:lnTo>
                        <a:pt x="372" y="207"/>
                      </a:lnTo>
                      <a:lnTo>
                        <a:pt x="374" y="208"/>
                      </a:lnTo>
                      <a:lnTo>
                        <a:pt x="376" y="209"/>
                      </a:lnTo>
                      <a:lnTo>
                        <a:pt x="377" y="209"/>
                      </a:lnTo>
                      <a:lnTo>
                        <a:pt x="379" y="209"/>
                      </a:lnTo>
                      <a:lnTo>
                        <a:pt x="380" y="209"/>
                      </a:lnTo>
                      <a:lnTo>
                        <a:pt x="381" y="209"/>
                      </a:lnTo>
                      <a:lnTo>
                        <a:pt x="382" y="209"/>
                      </a:lnTo>
                      <a:lnTo>
                        <a:pt x="383" y="209"/>
                      </a:lnTo>
                      <a:lnTo>
                        <a:pt x="384" y="208"/>
                      </a:lnTo>
                      <a:lnTo>
                        <a:pt x="386" y="207"/>
                      </a:lnTo>
                      <a:lnTo>
                        <a:pt x="386" y="206"/>
                      </a:lnTo>
                      <a:lnTo>
                        <a:pt x="386" y="205"/>
                      </a:lnTo>
                      <a:lnTo>
                        <a:pt x="387" y="205"/>
                      </a:lnTo>
                      <a:lnTo>
                        <a:pt x="387" y="206"/>
                      </a:lnTo>
                      <a:lnTo>
                        <a:pt x="387" y="207"/>
                      </a:lnTo>
                      <a:lnTo>
                        <a:pt x="388" y="208"/>
                      </a:lnTo>
                      <a:lnTo>
                        <a:pt x="388" y="209"/>
                      </a:lnTo>
                      <a:lnTo>
                        <a:pt x="388" y="210"/>
                      </a:lnTo>
                      <a:lnTo>
                        <a:pt x="387" y="213"/>
                      </a:lnTo>
                      <a:lnTo>
                        <a:pt x="388" y="213"/>
                      </a:lnTo>
                      <a:lnTo>
                        <a:pt x="388" y="217"/>
                      </a:lnTo>
                      <a:lnTo>
                        <a:pt x="388" y="218"/>
                      </a:lnTo>
                      <a:lnTo>
                        <a:pt x="389" y="221"/>
                      </a:lnTo>
                      <a:lnTo>
                        <a:pt x="389" y="222"/>
                      </a:lnTo>
                      <a:lnTo>
                        <a:pt x="388" y="223"/>
                      </a:lnTo>
                      <a:lnTo>
                        <a:pt x="388" y="224"/>
                      </a:lnTo>
                      <a:lnTo>
                        <a:pt x="388" y="225"/>
                      </a:lnTo>
                      <a:lnTo>
                        <a:pt x="387" y="227"/>
                      </a:lnTo>
                      <a:lnTo>
                        <a:pt x="387" y="228"/>
                      </a:lnTo>
                      <a:lnTo>
                        <a:pt x="387" y="229"/>
                      </a:lnTo>
                      <a:lnTo>
                        <a:pt x="387" y="230"/>
                      </a:lnTo>
                      <a:lnTo>
                        <a:pt x="387" y="231"/>
                      </a:lnTo>
                      <a:lnTo>
                        <a:pt x="387" y="234"/>
                      </a:lnTo>
                      <a:lnTo>
                        <a:pt x="387" y="235"/>
                      </a:lnTo>
                      <a:lnTo>
                        <a:pt x="387" y="237"/>
                      </a:lnTo>
                      <a:lnTo>
                        <a:pt x="387" y="241"/>
                      </a:lnTo>
                      <a:lnTo>
                        <a:pt x="387" y="245"/>
                      </a:lnTo>
                      <a:lnTo>
                        <a:pt x="387" y="246"/>
                      </a:lnTo>
                      <a:lnTo>
                        <a:pt x="387" y="248"/>
                      </a:lnTo>
                      <a:lnTo>
                        <a:pt x="388" y="249"/>
                      </a:lnTo>
                      <a:lnTo>
                        <a:pt x="388" y="250"/>
                      </a:lnTo>
                      <a:lnTo>
                        <a:pt x="388" y="251"/>
                      </a:lnTo>
                      <a:lnTo>
                        <a:pt x="389" y="252"/>
                      </a:lnTo>
                      <a:lnTo>
                        <a:pt x="389" y="253"/>
                      </a:lnTo>
                      <a:lnTo>
                        <a:pt x="388" y="253"/>
                      </a:lnTo>
                      <a:lnTo>
                        <a:pt x="387" y="256"/>
                      </a:lnTo>
                      <a:lnTo>
                        <a:pt x="386" y="258"/>
                      </a:lnTo>
                      <a:lnTo>
                        <a:pt x="384" y="260"/>
                      </a:lnTo>
                      <a:lnTo>
                        <a:pt x="384" y="263"/>
                      </a:lnTo>
                      <a:lnTo>
                        <a:pt x="383" y="265"/>
                      </a:lnTo>
                      <a:lnTo>
                        <a:pt x="383" y="266"/>
                      </a:lnTo>
                      <a:lnTo>
                        <a:pt x="384" y="267"/>
                      </a:lnTo>
                      <a:lnTo>
                        <a:pt x="386" y="270"/>
                      </a:lnTo>
                      <a:lnTo>
                        <a:pt x="387" y="271"/>
                      </a:lnTo>
                      <a:lnTo>
                        <a:pt x="388" y="272"/>
                      </a:lnTo>
                      <a:lnTo>
                        <a:pt x="387" y="272"/>
                      </a:lnTo>
                      <a:lnTo>
                        <a:pt x="383" y="272"/>
                      </a:lnTo>
                      <a:lnTo>
                        <a:pt x="379" y="272"/>
                      </a:lnTo>
                      <a:lnTo>
                        <a:pt x="375" y="272"/>
                      </a:lnTo>
                      <a:lnTo>
                        <a:pt x="370" y="272"/>
                      </a:lnTo>
                      <a:lnTo>
                        <a:pt x="367" y="272"/>
                      </a:lnTo>
                      <a:lnTo>
                        <a:pt x="363" y="272"/>
                      </a:lnTo>
                      <a:lnTo>
                        <a:pt x="359" y="272"/>
                      </a:lnTo>
                      <a:lnTo>
                        <a:pt x="355" y="272"/>
                      </a:lnTo>
                      <a:lnTo>
                        <a:pt x="352" y="272"/>
                      </a:lnTo>
                      <a:lnTo>
                        <a:pt x="347" y="272"/>
                      </a:lnTo>
                      <a:lnTo>
                        <a:pt x="344" y="272"/>
                      </a:lnTo>
                      <a:lnTo>
                        <a:pt x="340" y="272"/>
                      </a:lnTo>
                      <a:lnTo>
                        <a:pt x="336" y="272"/>
                      </a:lnTo>
                      <a:lnTo>
                        <a:pt x="332" y="272"/>
                      </a:lnTo>
                      <a:lnTo>
                        <a:pt x="329" y="272"/>
                      </a:lnTo>
                      <a:lnTo>
                        <a:pt x="324" y="273"/>
                      </a:lnTo>
                      <a:lnTo>
                        <a:pt x="324" y="278"/>
                      </a:lnTo>
                      <a:lnTo>
                        <a:pt x="324" y="283"/>
                      </a:lnTo>
                      <a:lnTo>
                        <a:pt x="324" y="287"/>
                      </a:lnTo>
                      <a:lnTo>
                        <a:pt x="324" y="292"/>
                      </a:lnTo>
                      <a:lnTo>
                        <a:pt x="324" y="295"/>
                      </a:lnTo>
                      <a:lnTo>
                        <a:pt x="324" y="297"/>
                      </a:lnTo>
                      <a:lnTo>
                        <a:pt x="324" y="301"/>
                      </a:lnTo>
                      <a:lnTo>
                        <a:pt x="324" y="307"/>
                      </a:lnTo>
                      <a:lnTo>
                        <a:pt x="324" y="312"/>
                      </a:lnTo>
                      <a:lnTo>
                        <a:pt x="324" y="316"/>
                      </a:lnTo>
                      <a:lnTo>
                        <a:pt x="324" y="321"/>
                      </a:lnTo>
                      <a:lnTo>
                        <a:pt x="324" y="326"/>
                      </a:lnTo>
                      <a:lnTo>
                        <a:pt x="324" y="332"/>
                      </a:lnTo>
                      <a:lnTo>
                        <a:pt x="324" y="336"/>
                      </a:lnTo>
                      <a:lnTo>
                        <a:pt x="324" y="341"/>
                      </a:lnTo>
                      <a:lnTo>
                        <a:pt x="324" y="346"/>
                      </a:lnTo>
                      <a:lnTo>
                        <a:pt x="324" y="350"/>
                      </a:lnTo>
                      <a:lnTo>
                        <a:pt x="324" y="351"/>
                      </a:lnTo>
                      <a:lnTo>
                        <a:pt x="324" y="353"/>
                      </a:lnTo>
                      <a:lnTo>
                        <a:pt x="324" y="354"/>
                      </a:lnTo>
                      <a:lnTo>
                        <a:pt x="324" y="355"/>
                      </a:lnTo>
                      <a:lnTo>
                        <a:pt x="324" y="358"/>
                      </a:lnTo>
                      <a:lnTo>
                        <a:pt x="324" y="362"/>
                      </a:lnTo>
                      <a:lnTo>
                        <a:pt x="324" y="365"/>
                      </a:lnTo>
                      <a:lnTo>
                        <a:pt x="324" y="368"/>
                      </a:lnTo>
                      <a:lnTo>
                        <a:pt x="324" y="370"/>
                      </a:lnTo>
                      <a:lnTo>
                        <a:pt x="324" y="372"/>
                      </a:lnTo>
                      <a:lnTo>
                        <a:pt x="324" y="374"/>
                      </a:lnTo>
                      <a:lnTo>
                        <a:pt x="324" y="375"/>
                      </a:lnTo>
                      <a:lnTo>
                        <a:pt x="325" y="376"/>
                      </a:lnTo>
                      <a:lnTo>
                        <a:pt x="326" y="378"/>
                      </a:lnTo>
                      <a:lnTo>
                        <a:pt x="325" y="378"/>
                      </a:lnTo>
                      <a:lnTo>
                        <a:pt x="326" y="378"/>
                      </a:lnTo>
                      <a:lnTo>
                        <a:pt x="326" y="379"/>
                      </a:lnTo>
                      <a:lnTo>
                        <a:pt x="326" y="381"/>
                      </a:lnTo>
                      <a:lnTo>
                        <a:pt x="326" y="382"/>
                      </a:lnTo>
                      <a:lnTo>
                        <a:pt x="327" y="382"/>
                      </a:lnTo>
                      <a:lnTo>
                        <a:pt x="329" y="382"/>
                      </a:lnTo>
                      <a:lnTo>
                        <a:pt x="329" y="383"/>
                      </a:lnTo>
                      <a:lnTo>
                        <a:pt x="327" y="383"/>
                      </a:lnTo>
                      <a:lnTo>
                        <a:pt x="327" y="384"/>
                      </a:lnTo>
                      <a:lnTo>
                        <a:pt x="327" y="385"/>
                      </a:lnTo>
                      <a:lnTo>
                        <a:pt x="329" y="386"/>
                      </a:lnTo>
                      <a:lnTo>
                        <a:pt x="329" y="388"/>
                      </a:lnTo>
                      <a:lnTo>
                        <a:pt x="330" y="388"/>
                      </a:lnTo>
                      <a:lnTo>
                        <a:pt x="330" y="389"/>
                      </a:lnTo>
                      <a:lnTo>
                        <a:pt x="332" y="391"/>
                      </a:lnTo>
                      <a:lnTo>
                        <a:pt x="333" y="391"/>
                      </a:lnTo>
                      <a:lnTo>
                        <a:pt x="334" y="391"/>
                      </a:lnTo>
                      <a:lnTo>
                        <a:pt x="336" y="392"/>
                      </a:lnTo>
                      <a:lnTo>
                        <a:pt x="337" y="393"/>
                      </a:lnTo>
                      <a:lnTo>
                        <a:pt x="338" y="393"/>
                      </a:lnTo>
                      <a:lnTo>
                        <a:pt x="338" y="395"/>
                      </a:lnTo>
                      <a:lnTo>
                        <a:pt x="340" y="398"/>
                      </a:lnTo>
                      <a:lnTo>
                        <a:pt x="340" y="399"/>
                      </a:lnTo>
                      <a:lnTo>
                        <a:pt x="341" y="399"/>
                      </a:lnTo>
                      <a:lnTo>
                        <a:pt x="342" y="400"/>
                      </a:lnTo>
                      <a:lnTo>
                        <a:pt x="342" y="402"/>
                      </a:lnTo>
                      <a:lnTo>
                        <a:pt x="344" y="402"/>
                      </a:lnTo>
                      <a:lnTo>
                        <a:pt x="345" y="403"/>
                      </a:lnTo>
                      <a:lnTo>
                        <a:pt x="346" y="403"/>
                      </a:lnTo>
                      <a:lnTo>
                        <a:pt x="347" y="404"/>
                      </a:lnTo>
                      <a:lnTo>
                        <a:pt x="348" y="405"/>
                      </a:lnTo>
                      <a:lnTo>
                        <a:pt x="348" y="406"/>
                      </a:lnTo>
                      <a:lnTo>
                        <a:pt x="348" y="407"/>
                      </a:lnTo>
                      <a:lnTo>
                        <a:pt x="349" y="407"/>
                      </a:lnTo>
                      <a:lnTo>
                        <a:pt x="349" y="409"/>
                      </a:lnTo>
                      <a:lnTo>
                        <a:pt x="351" y="409"/>
                      </a:lnTo>
                      <a:lnTo>
                        <a:pt x="352" y="410"/>
                      </a:lnTo>
                      <a:lnTo>
                        <a:pt x="353" y="411"/>
                      </a:lnTo>
                      <a:lnTo>
                        <a:pt x="354" y="411"/>
                      </a:lnTo>
                      <a:lnTo>
                        <a:pt x="355" y="412"/>
                      </a:lnTo>
                      <a:lnTo>
                        <a:pt x="356" y="412"/>
                      </a:lnTo>
                      <a:lnTo>
                        <a:pt x="358" y="413"/>
                      </a:lnTo>
                      <a:lnTo>
                        <a:pt x="358" y="414"/>
                      </a:lnTo>
                      <a:lnTo>
                        <a:pt x="359" y="416"/>
                      </a:lnTo>
                      <a:lnTo>
                        <a:pt x="359" y="417"/>
                      </a:lnTo>
                      <a:lnTo>
                        <a:pt x="360" y="417"/>
                      </a:lnTo>
                      <a:lnTo>
                        <a:pt x="361" y="418"/>
                      </a:lnTo>
                      <a:lnTo>
                        <a:pt x="362" y="418"/>
                      </a:lnTo>
                      <a:lnTo>
                        <a:pt x="362" y="419"/>
                      </a:lnTo>
                      <a:lnTo>
                        <a:pt x="362" y="420"/>
                      </a:lnTo>
                      <a:lnTo>
                        <a:pt x="363" y="420"/>
                      </a:lnTo>
                      <a:lnTo>
                        <a:pt x="365" y="420"/>
                      </a:lnTo>
                      <a:lnTo>
                        <a:pt x="366" y="420"/>
                      </a:lnTo>
                      <a:lnTo>
                        <a:pt x="367" y="420"/>
                      </a:lnTo>
                      <a:lnTo>
                        <a:pt x="368" y="421"/>
                      </a:lnTo>
                      <a:lnTo>
                        <a:pt x="368" y="423"/>
                      </a:lnTo>
                      <a:lnTo>
                        <a:pt x="368" y="424"/>
                      </a:lnTo>
                      <a:lnTo>
                        <a:pt x="366" y="424"/>
                      </a:lnTo>
                      <a:lnTo>
                        <a:pt x="359" y="425"/>
                      </a:lnTo>
                      <a:lnTo>
                        <a:pt x="353" y="426"/>
                      </a:lnTo>
                      <a:lnTo>
                        <a:pt x="346" y="427"/>
                      </a:lnTo>
                      <a:lnTo>
                        <a:pt x="340" y="428"/>
                      </a:lnTo>
                      <a:lnTo>
                        <a:pt x="332" y="431"/>
                      </a:lnTo>
                      <a:lnTo>
                        <a:pt x="324" y="432"/>
                      </a:lnTo>
                      <a:lnTo>
                        <a:pt x="317" y="433"/>
                      </a:lnTo>
                      <a:lnTo>
                        <a:pt x="309" y="435"/>
                      </a:lnTo>
                      <a:lnTo>
                        <a:pt x="306" y="435"/>
                      </a:lnTo>
                      <a:lnTo>
                        <a:pt x="305" y="435"/>
                      </a:lnTo>
                      <a:lnTo>
                        <a:pt x="304" y="434"/>
                      </a:lnTo>
                      <a:lnTo>
                        <a:pt x="302" y="434"/>
                      </a:lnTo>
                      <a:lnTo>
                        <a:pt x="301" y="433"/>
                      </a:lnTo>
                      <a:lnTo>
                        <a:pt x="299" y="433"/>
                      </a:lnTo>
                      <a:lnTo>
                        <a:pt x="298" y="433"/>
                      </a:lnTo>
                      <a:lnTo>
                        <a:pt x="297" y="433"/>
                      </a:lnTo>
                      <a:lnTo>
                        <a:pt x="296" y="433"/>
                      </a:lnTo>
                      <a:lnTo>
                        <a:pt x="294" y="434"/>
                      </a:lnTo>
                      <a:lnTo>
                        <a:pt x="290" y="434"/>
                      </a:lnTo>
                      <a:lnTo>
                        <a:pt x="290" y="435"/>
                      </a:lnTo>
                      <a:lnTo>
                        <a:pt x="289" y="435"/>
                      </a:lnTo>
                      <a:lnTo>
                        <a:pt x="288" y="437"/>
                      </a:lnTo>
                      <a:lnTo>
                        <a:pt x="287" y="435"/>
                      </a:lnTo>
                      <a:lnTo>
                        <a:pt x="285" y="435"/>
                      </a:lnTo>
                      <a:lnTo>
                        <a:pt x="284" y="435"/>
                      </a:lnTo>
                      <a:lnTo>
                        <a:pt x="283" y="435"/>
                      </a:lnTo>
                      <a:lnTo>
                        <a:pt x="283" y="434"/>
                      </a:lnTo>
                      <a:lnTo>
                        <a:pt x="282" y="434"/>
                      </a:lnTo>
                      <a:lnTo>
                        <a:pt x="281" y="434"/>
                      </a:lnTo>
                      <a:lnTo>
                        <a:pt x="280" y="434"/>
                      </a:lnTo>
                      <a:lnTo>
                        <a:pt x="278" y="434"/>
                      </a:lnTo>
                      <a:lnTo>
                        <a:pt x="277" y="433"/>
                      </a:lnTo>
                      <a:lnTo>
                        <a:pt x="276" y="432"/>
                      </a:lnTo>
                      <a:lnTo>
                        <a:pt x="275" y="432"/>
                      </a:lnTo>
                      <a:lnTo>
                        <a:pt x="274" y="432"/>
                      </a:lnTo>
                      <a:lnTo>
                        <a:pt x="273" y="431"/>
                      </a:lnTo>
                      <a:lnTo>
                        <a:pt x="272" y="431"/>
                      </a:lnTo>
                      <a:lnTo>
                        <a:pt x="270" y="431"/>
                      </a:lnTo>
                      <a:lnTo>
                        <a:pt x="269" y="432"/>
                      </a:lnTo>
                      <a:lnTo>
                        <a:pt x="269" y="431"/>
                      </a:lnTo>
                      <a:lnTo>
                        <a:pt x="268" y="431"/>
                      </a:lnTo>
                      <a:lnTo>
                        <a:pt x="267" y="431"/>
                      </a:lnTo>
                      <a:lnTo>
                        <a:pt x="267" y="432"/>
                      </a:lnTo>
                      <a:lnTo>
                        <a:pt x="266" y="432"/>
                      </a:lnTo>
                      <a:lnTo>
                        <a:pt x="265" y="432"/>
                      </a:lnTo>
                      <a:lnTo>
                        <a:pt x="263" y="432"/>
                      </a:lnTo>
                      <a:lnTo>
                        <a:pt x="262" y="432"/>
                      </a:lnTo>
                      <a:lnTo>
                        <a:pt x="261" y="431"/>
                      </a:lnTo>
                      <a:lnTo>
                        <a:pt x="255" y="431"/>
                      </a:lnTo>
                      <a:lnTo>
                        <a:pt x="255" y="432"/>
                      </a:lnTo>
                      <a:lnTo>
                        <a:pt x="254" y="432"/>
                      </a:lnTo>
                      <a:lnTo>
                        <a:pt x="253" y="431"/>
                      </a:lnTo>
                      <a:lnTo>
                        <a:pt x="252" y="430"/>
                      </a:lnTo>
                      <a:lnTo>
                        <a:pt x="251" y="431"/>
                      </a:lnTo>
                      <a:lnTo>
                        <a:pt x="249" y="431"/>
                      </a:lnTo>
                      <a:lnTo>
                        <a:pt x="244" y="431"/>
                      </a:lnTo>
                      <a:lnTo>
                        <a:pt x="239" y="430"/>
                      </a:lnTo>
                      <a:lnTo>
                        <a:pt x="239" y="428"/>
                      </a:lnTo>
                      <a:lnTo>
                        <a:pt x="237" y="428"/>
                      </a:lnTo>
                      <a:lnTo>
                        <a:pt x="235" y="428"/>
                      </a:lnTo>
                      <a:lnTo>
                        <a:pt x="234" y="430"/>
                      </a:lnTo>
                      <a:lnTo>
                        <a:pt x="232" y="430"/>
                      </a:lnTo>
                      <a:lnTo>
                        <a:pt x="227" y="428"/>
                      </a:lnTo>
                      <a:lnTo>
                        <a:pt x="225" y="427"/>
                      </a:lnTo>
                      <a:lnTo>
                        <a:pt x="224" y="427"/>
                      </a:lnTo>
                      <a:lnTo>
                        <a:pt x="223" y="427"/>
                      </a:lnTo>
                      <a:lnTo>
                        <a:pt x="223" y="426"/>
                      </a:lnTo>
                      <a:lnTo>
                        <a:pt x="220" y="424"/>
                      </a:lnTo>
                      <a:lnTo>
                        <a:pt x="219" y="424"/>
                      </a:lnTo>
                      <a:lnTo>
                        <a:pt x="219" y="423"/>
                      </a:lnTo>
                      <a:lnTo>
                        <a:pt x="217" y="420"/>
                      </a:lnTo>
                      <a:lnTo>
                        <a:pt x="216" y="418"/>
                      </a:lnTo>
                      <a:lnTo>
                        <a:pt x="214" y="418"/>
                      </a:lnTo>
                      <a:lnTo>
                        <a:pt x="214" y="417"/>
                      </a:lnTo>
                      <a:lnTo>
                        <a:pt x="213" y="416"/>
                      </a:lnTo>
                      <a:lnTo>
                        <a:pt x="212" y="416"/>
                      </a:lnTo>
                      <a:lnTo>
                        <a:pt x="204" y="416"/>
                      </a:lnTo>
                      <a:lnTo>
                        <a:pt x="199" y="416"/>
                      </a:lnTo>
                      <a:lnTo>
                        <a:pt x="196" y="416"/>
                      </a:lnTo>
                      <a:lnTo>
                        <a:pt x="188" y="416"/>
                      </a:lnTo>
                      <a:lnTo>
                        <a:pt x="180" y="416"/>
                      </a:lnTo>
                      <a:lnTo>
                        <a:pt x="176" y="416"/>
                      </a:lnTo>
                      <a:lnTo>
                        <a:pt x="171" y="416"/>
                      </a:lnTo>
                      <a:lnTo>
                        <a:pt x="163" y="416"/>
                      </a:lnTo>
                      <a:lnTo>
                        <a:pt x="155" y="416"/>
                      </a:lnTo>
                      <a:lnTo>
                        <a:pt x="147" y="416"/>
                      </a:lnTo>
                      <a:lnTo>
                        <a:pt x="139" y="416"/>
                      </a:lnTo>
                      <a:lnTo>
                        <a:pt x="131" y="416"/>
                      </a:lnTo>
                      <a:lnTo>
                        <a:pt x="123" y="416"/>
                      </a:lnTo>
                      <a:lnTo>
                        <a:pt x="114" y="416"/>
                      </a:lnTo>
                      <a:lnTo>
                        <a:pt x="107" y="416"/>
                      </a:lnTo>
                      <a:lnTo>
                        <a:pt x="99" y="416"/>
                      </a:lnTo>
                      <a:lnTo>
                        <a:pt x="91" y="416"/>
                      </a:lnTo>
                      <a:lnTo>
                        <a:pt x="83" y="416"/>
                      </a:lnTo>
                      <a:lnTo>
                        <a:pt x="81" y="416"/>
                      </a:lnTo>
                      <a:lnTo>
                        <a:pt x="80" y="417"/>
                      </a:lnTo>
                      <a:lnTo>
                        <a:pt x="78" y="417"/>
                      </a:lnTo>
                      <a:lnTo>
                        <a:pt x="77" y="417"/>
                      </a:lnTo>
                      <a:lnTo>
                        <a:pt x="76" y="417"/>
                      </a:lnTo>
                      <a:lnTo>
                        <a:pt x="75" y="417"/>
                      </a:lnTo>
                      <a:lnTo>
                        <a:pt x="74" y="417"/>
                      </a:lnTo>
                      <a:lnTo>
                        <a:pt x="73" y="417"/>
                      </a:lnTo>
                      <a:lnTo>
                        <a:pt x="71" y="417"/>
                      </a:lnTo>
                      <a:lnTo>
                        <a:pt x="70" y="414"/>
                      </a:lnTo>
                      <a:lnTo>
                        <a:pt x="67" y="412"/>
                      </a:lnTo>
                      <a:lnTo>
                        <a:pt x="64" y="411"/>
                      </a:lnTo>
                      <a:lnTo>
                        <a:pt x="61" y="409"/>
                      </a:lnTo>
                      <a:lnTo>
                        <a:pt x="59" y="407"/>
                      </a:lnTo>
                      <a:lnTo>
                        <a:pt x="59" y="406"/>
                      </a:lnTo>
                      <a:lnTo>
                        <a:pt x="59" y="405"/>
                      </a:lnTo>
                      <a:lnTo>
                        <a:pt x="57" y="404"/>
                      </a:lnTo>
                      <a:lnTo>
                        <a:pt x="56" y="403"/>
                      </a:lnTo>
                      <a:lnTo>
                        <a:pt x="55" y="403"/>
                      </a:lnTo>
                      <a:lnTo>
                        <a:pt x="54" y="403"/>
                      </a:lnTo>
                      <a:lnTo>
                        <a:pt x="54" y="402"/>
                      </a:lnTo>
                      <a:lnTo>
                        <a:pt x="53" y="403"/>
                      </a:lnTo>
                      <a:lnTo>
                        <a:pt x="52" y="403"/>
                      </a:lnTo>
                      <a:lnTo>
                        <a:pt x="50" y="403"/>
                      </a:lnTo>
                      <a:lnTo>
                        <a:pt x="49" y="403"/>
                      </a:lnTo>
                      <a:lnTo>
                        <a:pt x="48" y="402"/>
                      </a:lnTo>
                      <a:lnTo>
                        <a:pt x="47" y="402"/>
                      </a:lnTo>
                      <a:lnTo>
                        <a:pt x="46" y="402"/>
                      </a:lnTo>
                      <a:lnTo>
                        <a:pt x="42" y="403"/>
                      </a:lnTo>
                      <a:lnTo>
                        <a:pt x="41" y="404"/>
                      </a:lnTo>
                      <a:lnTo>
                        <a:pt x="40" y="404"/>
                      </a:lnTo>
                      <a:lnTo>
                        <a:pt x="39" y="404"/>
                      </a:lnTo>
                      <a:lnTo>
                        <a:pt x="39" y="405"/>
                      </a:lnTo>
                      <a:lnTo>
                        <a:pt x="38" y="405"/>
                      </a:lnTo>
                      <a:lnTo>
                        <a:pt x="38" y="406"/>
                      </a:lnTo>
                      <a:lnTo>
                        <a:pt x="36" y="406"/>
                      </a:lnTo>
                      <a:lnTo>
                        <a:pt x="35" y="407"/>
                      </a:lnTo>
                      <a:lnTo>
                        <a:pt x="34" y="407"/>
                      </a:lnTo>
                      <a:lnTo>
                        <a:pt x="33" y="409"/>
                      </a:lnTo>
                      <a:lnTo>
                        <a:pt x="32" y="410"/>
                      </a:lnTo>
                      <a:lnTo>
                        <a:pt x="31" y="410"/>
                      </a:lnTo>
                      <a:lnTo>
                        <a:pt x="29" y="411"/>
                      </a:lnTo>
                      <a:lnTo>
                        <a:pt x="28" y="411"/>
                      </a:lnTo>
                      <a:lnTo>
                        <a:pt x="27" y="411"/>
                      </a:lnTo>
                      <a:lnTo>
                        <a:pt x="25" y="411"/>
                      </a:lnTo>
                      <a:lnTo>
                        <a:pt x="24" y="410"/>
                      </a:lnTo>
                      <a:lnTo>
                        <a:pt x="24" y="411"/>
                      </a:lnTo>
                      <a:lnTo>
                        <a:pt x="22" y="411"/>
                      </a:lnTo>
                      <a:lnTo>
                        <a:pt x="20" y="411"/>
                      </a:lnTo>
                      <a:lnTo>
                        <a:pt x="19" y="411"/>
                      </a:lnTo>
                      <a:lnTo>
                        <a:pt x="18" y="411"/>
                      </a:lnTo>
                      <a:lnTo>
                        <a:pt x="18" y="410"/>
                      </a:lnTo>
                      <a:lnTo>
                        <a:pt x="17" y="410"/>
                      </a:lnTo>
                      <a:lnTo>
                        <a:pt x="17" y="409"/>
                      </a:lnTo>
                      <a:lnTo>
                        <a:pt x="16" y="409"/>
                      </a:lnTo>
                      <a:lnTo>
                        <a:pt x="14" y="409"/>
                      </a:lnTo>
                      <a:lnTo>
                        <a:pt x="13" y="409"/>
                      </a:lnTo>
                      <a:lnTo>
                        <a:pt x="12" y="409"/>
                      </a:lnTo>
                      <a:lnTo>
                        <a:pt x="11" y="409"/>
                      </a:lnTo>
                      <a:lnTo>
                        <a:pt x="9" y="410"/>
                      </a:lnTo>
                      <a:lnTo>
                        <a:pt x="7" y="411"/>
                      </a:lnTo>
                      <a:lnTo>
                        <a:pt x="6" y="411"/>
                      </a:lnTo>
                      <a:lnTo>
                        <a:pt x="6" y="412"/>
                      </a:lnTo>
                      <a:lnTo>
                        <a:pt x="5" y="412"/>
                      </a:lnTo>
                      <a:lnTo>
                        <a:pt x="4" y="412"/>
                      </a:lnTo>
                      <a:lnTo>
                        <a:pt x="3" y="411"/>
                      </a:lnTo>
                      <a:lnTo>
                        <a:pt x="3" y="410"/>
                      </a:lnTo>
                      <a:lnTo>
                        <a:pt x="3" y="409"/>
                      </a:lnTo>
                      <a:lnTo>
                        <a:pt x="3" y="405"/>
                      </a:lnTo>
                      <a:lnTo>
                        <a:pt x="4" y="402"/>
                      </a:lnTo>
                      <a:lnTo>
                        <a:pt x="4" y="399"/>
                      </a:lnTo>
                      <a:lnTo>
                        <a:pt x="4" y="397"/>
                      </a:lnTo>
                      <a:lnTo>
                        <a:pt x="4" y="396"/>
                      </a:lnTo>
                      <a:lnTo>
                        <a:pt x="4" y="397"/>
                      </a:lnTo>
                      <a:lnTo>
                        <a:pt x="5" y="398"/>
                      </a:lnTo>
                      <a:lnTo>
                        <a:pt x="5" y="397"/>
                      </a:lnTo>
                      <a:lnTo>
                        <a:pt x="5" y="393"/>
                      </a:lnTo>
                      <a:lnTo>
                        <a:pt x="5" y="390"/>
                      </a:lnTo>
                      <a:lnTo>
                        <a:pt x="5" y="386"/>
                      </a:lnTo>
                      <a:lnTo>
                        <a:pt x="4" y="375"/>
                      </a:lnTo>
                      <a:lnTo>
                        <a:pt x="4" y="374"/>
                      </a:lnTo>
                      <a:lnTo>
                        <a:pt x="5" y="371"/>
                      </a:lnTo>
                      <a:lnTo>
                        <a:pt x="4" y="370"/>
                      </a:lnTo>
                      <a:lnTo>
                        <a:pt x="3" y="368"/>
                      </a:lnTo>
                      <a:lnTo>
                        <a:pt x="3" y="367"/>
                      </a:lnTo>
                      <a:lnTo>
                        <a:pt x="3" y="364"/>
                      </a:lnTo>
                      <a:lnTo>
                        <a:pt x="4" y="364"/>
                      </a:lnTo>
                      <a:lnTo>
                        <a:pt x="4" y="363"/>
                      </a:lnTo>
                      <a:lnTo>
                        <a:pt x="5" y="363"/>
                      </a:lnTo>
                      <a:lnTo>
                        <a:pt x="5" y="364"/>
                      </a:lnTo>
                      <a:lnTo>
                        <a:pt x="6" y="364"/>
                      </a:lnTo>
                      <a:lnTo>
                        <a:pt x="7" y="363"/>
                      </a:lnTo>
                      <a:lnTo>
                        <a:pt x="7" y="362"/>
                      </a:lnTo>
                      <a:lnTo>
                        <a:pt x="7" y="361"/>
                      </a:lnTo>
                      <a:lnTo>
                        <a:pt x="9" y="360"/>
                      </a:lnTo>
                      <a:lnTo>
                        <a:pt x="11" y="358"/>
                      </a:lnTo>
                      <a:lnTo>
                        <a:pt x="11" y="357"/>
                      </a:lnTo>
                      <a:lnTo>
                        <a:pt x="11" y="354"/>
                      </a:lnTo>
                      <a:lnTo>
                        <a:pt x="12" y="354"/>
                      </a:lnTo>
                      <a:lnTo>
                        <a:pt x="12" y="353"/>
                      </a:lnTo>
                      <a:lnTo>
                        <a:pt x="12" y="351"/>
                      </a:lnTo>
                      <a:lnTo>
                        <a:pt x="12" y="350"/>
                      </a:lnTo>
                      <a:lnTo>
                        <a:pt x="12" y="346"/>
                      </a:lnTo>
                      <a:lnTo>
                        <a:pt x="13" y="346"/>
                      </a:lnTo>
                      <a:lnTo>
                        <a:pt x="13" y="344"/>
                      </a:lnTo>
                      <a:lnTo>
                        <a:pt x="14" y="344"/>
                      </a:lnTo>
                      <a:lnTo>
                        <a:pt x="16" y="343"/>
                      </a:lnTo>
                      <a:lnTo>
                        <a:pt x="14" y="342"/>
                      </a:lnTo>
                      <a:lnTo>
                        <a:pt x="14" y="341"/>
                      </a:lnTo>
                      <a:lnTo>
                        <a:pt x="16" y="339"/>
                      </a:lnTo>
                      <a:lnTo>
                        <a:pt x="16" y="337"/>
                      </a:lnTo>
                      <a:lnTo>
                        <a:pt x="16" y="336"/>
                      </a:lnTo>
                      <a:lnTo>
                        <a:pt x="17" y="336"/>
                      </a:lnTo>
                      <a:lnTo>
                        <a:pt x="17" y="335"/>
                      </a:lnTo>
                      <a:lnTo>
                        <a:pt x="17" y="334"/>
                      </a:lnTo>
                      <a:lnTo>
                        <a:pt x="17" y="333"/>
                      </a:lnTo>
                      <a:lnTo>
                        <a:pt x="18" y="333"/>
                      </a:lnTo>
                      <a:lnTo>
                        <a:pt x="18" y="332"/>
                      </a:lnTo>
                      <a:lnTo>
                        <a:pt x="19" y="330"/>
                      </a:lnTo>
                      <a:lnTo>
                        <a:pt x="19" y="329"/>
                      </a:lnTo>
                      <a:lnTo>
                        <a:pt x="19" y="328"/>
                      </a:lnTo>
                      <a:lnTo>
                        <a:pt x="19" y="327"/>
                      </a:lnTo>
                      <a:lnTo>
                        <a:pt x="19" y="325"/>
                      </a:lnTo>
                      <a:lnTo>
                        <a:pt x="20" y="322"/>
                      </a:lnTo>
                      <a:lnTo>
                        <a:pt x="20" y="321"/>
                      </a:lnTo>
                      <a:lnTo>
                        <a:pt x="20" y="320"/>
                      </a:lnTo>
                      <a:lnTo>
                        <a:pt x="21" y="318"/>
                      </a:lnTo>
                      <a:lnTo>
                        <a:pt x="21" y="315"/>
                      </a:lnTo>
                      <a:lnTo>
                        <a:pt x="20" y="314"/>
                      </a:lnTo>
                      <a:lnTo>
                        <a:pt x="20" y="313"/>
                      </a:lnTo>
                      <a:lnTo>
                        <a:pt x="20" y="312"/>
                      </a:lnTo>
                      <a:lnTo>
                        <a:pt x="21" y="312"/>
                      </a:lnTo>
                      <a:lnTo>
                        <a:pt x="21" y="311"/>
                      </a:lnTo>
                      <a:lnTo>
                        <a:pt x="21" y="309"/>
                      </a:lnTo>
                      <a:lnTo>
                        <a:pt x="20" y="309"/>
                      </a:lnTo>
                      <a:lnTo>
                        <a:pt x="21" y="308"/>
                      </a:lnTo>
                      <a:lnTo>
                        <a:pt x="21" y="307"/>
                      </a:lnTo>
                      <a:lnTo>
                        <a:pt x="22" y="306"/>
                      </a:lnTo>
                      <a:lnTo>
                        <a:pt x="22" y="305"/>
                      </a:lnTo>
                      <a:lnTo>
                        <a:pt x="22" y="304"/>
                      </a:lnTo>
                      <a:lnTo>
                        <a:pt x="22" y="302"/>
                      </a:lnTo>
                      <a:lnTo>
                        <a:pt x="24" y="302"/>
                      </a:lnTo>
                      <a:lnTo>
                        <a:pt x="24" y="301"/>
                      </a:lnTo>
                      <a:lnTo>
                        <a:pt x="25" y="301"/>
                      </a:lnTo>
                      <a:lnTo>
                        <a:pt x="25" y="302"/>
                      </a:lnTo>
                      <a:lnTo>
                        <a:pt x="26" y="302"/>
                      </a:lnTo>
                      <a:lnTo>
                        <a:pt x="26" y="301"/>
                      </a:lnTo>
                      <a:lnTo>
                        <a:pt x="26" y="300"/>
                      </a:lnTo>
                      <a:lnTo>
                        <a:pt x="26" y="297"/>
                      </a:lnTo>
                      <a:lnTo>
                        <a:pt x="26" y="293"/>
                      </a:lnTo>
                      <a:lnTo>
                        <a:pt x="27" y="292"/>
                      </a:lnTo>
                      <a:lnTo>
                        <a:pt x="26" y="291"/>
                      </a:lnTo>
                      <a:lnTo>
                        <a:pt x="27" y="291"/>
                      </a:lnTo>
                      <a:lnTo>
                        <a:pt x="27" y="290"/>
                      </a:lnTo>
                      <a:lnTo>
                        <a:pt x="26" y="288"/>
                      </a:lnTo>
                      <a:lnTo>
                        <a:pt x="26" y="287"/>
                      </a:lnTo>
                      <a:lnTo>
                        <a:pt x="27" y="286"/>
                      </a:lnTo>
                      <a:lnTo>
                        <a:pt x="28" y="286"/>
                      </a:lnTo>
                      <a:lnTo>
                        <a:pt x="28" y="285"/>
                      </a:lnTo>
                      <a:lnTo>
                        <a:pt x="29" y="285"/>
                      </a:lnTo>
                      <a:lnTo>
                        <a:pt x="31" y="284"/>
                      </a:lnTo>
                      <a:lnTo>
                        <a:pt x="31" y="283"/>
                      </a:lnTo>
                      <a:lnTo>
                        <a:pt x="31" y="281"/>
                      </a:lnTo>
                      <a:lnTo>
                        <a:pt x="32" y="281"/>
                      </a:lnTo>
                      <a:lnTo>
                        <a:pt x="32" y="280"/>
                      </a:lnTo>
                      <a:lnTo>
                        <a:pt x="33" y="280"/>
                      </a:lnTo>
                      <a:lnTo>
                        <a:pt x="34" y="280"/>
                      </a:lnTo>
                      <a:lnTo>
                        <a:pt x="36" y="277"/>
                      </a:lnTo>
                      <a:lnTo>
                        <a:pt x="38" y="277"/>
                      </a:lnTo>
                      <a:lnTo>
                        <a:pt x="38" y="276"/>
                      </a:lnTo>
                      <a:lnTo>
                        <a:pt x="40" y="273"/>
                      </a:lnTo>
                      <a:lnTo>
                        <a:pt x="40" y="272"/>
                      </a:lnTo>
                      <a:lnTo>
                        <a:pt x="40" y="271"/>
                      </a:lnTo>
                      <a:lnTo>
                        <a:pt x="40" y="270"/>
                      </a:lnTo>
                      <a:lnTo>
                        <a:pt x="39" y="269"/>
                      </a:lnTo>
                      <a:lnTo>
                        <a:pt x="40" y="267"/>
                      </a:lnTo>
                      <a:lnTo>
                        <a:pt x="41" y="266"/>
                      </a:lnTo>
                      <a:lnTo>
                        <a:pt x="42" y="266"/>
                      </a:lnTo>
                      <a:lnTo>
                        <a:pt x="43" y="264"/>
                      </a:lnTo>
                      <a:lnTo>
                        <a:pt x="45" y="264"/>
                      </a:lnTo>
                      <a:lnTo>
                        <a:pt x="45" y="263"/>
                      </a:lnTo>
                      <a:lnTo>
                        <a:pt x="46" y="262"/>
                      </a:lnTo>
                      <a:lnTo>
                        <a:pt x="47" y="262"/>
                      </a:lnTo>
                      <a:lnTo>
                        <a:pt x="47" y="260"/>
                      </a:lnTo>
                      <a:lnTo>
                        <a:pt x="48" y="260"/>
                      </a:lnTo>
                      <a:lnTo>
                        <a:pt x="49" y="262"/>
                      </a:lnTo>
                      <a:lnTo>
                        <a:pt x="49" y="260"/>
                      </a:lnTo>
                      <a:lnTo>
                        <a:pt x="50" y="260"/>
                      </a:lnTo>
                      <a:lnTo>
                        <a:pt x="52" y="260"/>
                      </a:lnTo>
                      <a:lnTo>
                        <a:pt x="53" y="260"/>
                      </a:lnTo>
                      <a:lnTo>
                        <a:pt x="54" y="259"/>
                      </a:lnTo>
                      <a:lnTo>
                        <a:pt x="55" y="258"/>
                      </a:lnTo>
                      <a:lnTo>
                        <a:pt x="56" y="258"/>
                      </a:lnTo>
                      <a:lnTo>
                        <a:pt x="56" y="257"/>
                      </a:lnTo>
                      <a:lnTo>
                        <a:pt x="56" y="256"/>
                      </a:lnTo>
                      <a:lnTo>
                        <a:pt x="56" y="255"/>
                      </a:lnTo>
                      <a:lnTo>
                        <a:pt x="57" y="253"/>
                      </a:lnTo>
                      <a:lnTo>
                        <a:pt x="60" y="251"/>
                      </a:lnTo>
                      <a:lnTo>
                        <a:pt x="60" y="252"/>
                      </a:lnTo>
                      <a:lnTo>
                        <a:pt x="59" y="252"/>
                      </a:lnTo>
                      <a:lnTo>
                        <a:pt x="60" y="252"/>
                      </a:lnTo>
                      <a:lnTo>
                        <a:pt x="60" y="251"/>
                      </a:lnTo>
                      <a:lnTo>
                        <a:pt x="61" y="250"/>
                      </a:lnTo>
                      <a:lnTo>
                        <a:pt x="62" y="250"/>
                      </a:lnTo>
                      <a:lnTo>
                        <a:pt x="62" y="246"/>
                      </a:lnTo>
                      <a:lnTo>
                        <a:pt x="63" y="245"/>
                      </a:lnTo>
                      <a:lnTo>
                        <a:pt x="63" y="244"/>
                      </a:lnTo>
                      <a:lnTo>
                        <a:pt x="64" y="242"/>
                      </a:lnTo>
                      <a:lnTo>
                        <a:pt x="64" y="241"/>
                      </a:lnTo>
                      <a:lnTo>
                        <a:pt x="66" y="239"/>
                      </a:lnTo>
                      <a:lnTo>
                        <a:pt x="66" y="238"/>
                      </a:lnTo>
                      <a:lnTo>
                        <a:pt x="66" y="236"/>
                      </a:lnTo>
                      <a:lnTo>
                        <a:pt x="67" y="235"/>
                      </a:lnTo>
                      <a:lnTo>
                        <a:pt x="67" y="234"/>
                      </a:lnTo>
                      <a:lnTo>
                        <a:pt x="66" y="228"/>
                      </a:lnTo>
                      <a:lnTo>
                        <a:pt x="66" y="224"/>
                      </a:lnTo>
                      <a:lnTo>
                        <a:pt x="67" y="223"/>
                      </a:lnTo>
                      <a:lnTo>
                        <a:pt x="66" y="223"/>
                      </a:lnTo>
                      <a:lnTo>
                        <a:pt x="67" y="222"/>
                      </a:lnTo>
                      <a:lnTo>
                        <a:pt x="67" y="221"/>
                      </a:lnTo>
                      <a:lnTo>
                        <a:pt x="67" y="220"/>
                      </a:lnTo>
                      <a:lnTo>
                        <a:pt x="67" y="218"/>
                      </a:lnTo>
                      <a:lnTo>
                        <a:pt x="67" y="217"/>
                      </a:lnTo>
                      <a:lnTo>
                        <a:pt x="68" y="213"/>
                      </a:lnTo>
                      <a:lnTo>
                        <a:pt x="68" y="211"/>
                      </a:lnTo>
                      <a:lnTo>
                        <a:pt x="68" y="209"/>
                      </a:lnTo>
                      <a:lnTo>
                        <a:pt x="68" y="208"/>
                      </a:lnTo>
                      <a:lnTo>
                        <a:pt x="67" y="207"/>
                      </a:lnTo>
                      <a:lnTo>
                        <a:pt x="64" y="202"/>
                      </a:lnTo>
                      <a:lnTo>
                        <a:pt x="64" y="201"/>
                      </a:lnTo>
                      <a:lnTo>
                        <a:pt x="66" y="200"/>
                      </a:lnTo>
                      <a:lnTo>
                        <a:pt x="66" y="199"/>
                      </a:lnTo>
                      <a:lnTo>
                        <a:pt x="64" y="199"/>
                      </a:lnTo>
                      <a:lnTo>
                        <a:pt x="63" y="198"/>
                      </a:lnTo>
                      <a:lnTo>
                        <a:pt x="63" y="196"/>
                      </a:lnTo>
                      <a:lnTo>
                        <a:pt x="60" y="193"/>
                      </a:lnTo>
                      <a:lnTo>
                        <a:pt x="59" y="192"/>
                      </a:lnTo>
                      <a:lnTo>
                        <a:pt x="57" y="191"/>
                      </a:lnTo>
                      <a:lnTo>
                        <a:pt x="57" y="188"/>
                      </a:lnTo>
                      <a:lnTo>
                        <a:pt x="57" y="187"/>
                      </a:lnTo>
                      <a:lnTo>
                        <a:pt x="57" y="186"/>
                      </a:lnTo>
                      <a:lnTo>
                        <a:pt x="55" y="184"/>
                      </a:lnTo>
                      <a:lnTo>
                        <a:pt x="55" y="181"/>
                      </a:lnTo>
                      <a:lnTo>
                        <a:pt x="54" y="181"/>
                      </a:lnTo>
                      <a:lnTo>
                        <a:pt x="53" y="180"/>
                      </a:lnTo>
                      <a:lnTo>
                        <a:pt x="50" y="177"/>
                      </a:lnTo>
                      <a:lnTo>
                        <a:pt x="52" y="177"/>
                      </a:lnTo>
                      <a:lnTo>
                        <a:pt x="52" y="175"/>
                      </a:lnTo>
                      <a:lnTo>
                        <a:pt x="52" y="174"/>
                      </a:lnTo>
                      <a:lnTo>
                        <a:pt x="50" y="173"/>
                      </a:lnTo>
                      <a:lnTo>
                        <a:pt x="49" y="172"/>
                      </a:lnTo>
                      <a:lnTo>
                        <a:pt x="47" y="168"/>
                      </a:lnTo>
                      <a:lnTo>
                        <a:pt x="47" y="167"/>
                      </a:lnTo>
                      <a:lnTo>
                        <a:pt x="48" y="166"/>
                      </a:lnTo>
                      <a:lnTo>
                        <a:pt x="48" y="165"/>
                      </a:lnTo>
                      <a:lnTo>
                        <a:pt x="47" y="164"/>
                      </a:lnTo>
                      <a:lnTo>
                        <a:pt x="46" y="160"/>
                      </a:lnTo>
                      <a:lnTo>
                        <a:pt x="46" y="159"/>
                      </a:lnTo>
                      <a:lnTo>
                        <a:pt x="46" y="158"/>
                      </a:lnTo>
                      <a:lnTo>
                        <a:pt x="46" y="157"/>
                      </a:lnTo>
                      <a:lnTo>
                        <a:pt x="45" y="156"/>
                      </a:lnTo>
                      <a:lnTo>
                        <a:pt x="42" y="152"/>
                      </a:lnTo>
                      <a:lnTo>
                        <a:pt x="41" y="150"/>
                      </a:lnTo>
                      <a:lnTo>
                        <a:pt x="41" y="149"/>
                      </a:lnTo>
                      <a:lnTo>
                        <a:pt x="41" y="147"/>
                      </a:lnTo>
                      <a:lnTo>
                        <a:pt x="42" y="145"/>
                      </a:lnTo>
                      <a:lnTo>
                        <a:pt x="43" y="143"/>
                      </a:lnTo>
                      <a:lnTo>
                        <a:pt x="45" y="142"/>
                      </a:lnTo>
                      <a:lnTo>
                        <a:pt x="45" y="143"/>
                      </a:lnTo>
                      <a:lnTo>
                        <a:pt x="42" y="145"/>
                      </a:lnTo>
                      <a:lnTo>
                        <a:pt x="41" y="147"/>
                      </a:lnTo>
                      <a:lnTo>
                        <a:pt x="41" y="149"/>
                      </a:lnTo>
                      <a:lnTo>
                        <a:pt x="43" y="145"/>
                      </a:lnTo>
                      <a:lnTo>
                        <a:pt x="45" y="144"/>
                      </a:lnTo>
                      <a:lnTo>
                        <a:pt x="46" y="143"/>
                      </a:lnTo>
                      <a:lnTo>
                        <a:pt x="47" y="142"/>
                      </a:lnTo>
                      <a:lnTo>
                        <a:pt x="47" y="140"/>
                      </a:lnTo>
                      <a:lnTo>
                        <a:pt x="47" y="139"/>
                      </a:lnTo>
                      <a:lnTo>
                        <a:pt x="48" y="139"/>
                      </a:lnTo>
                      <a:lnTo>
                        <a:pt x="48" y="138"/>
                      </a:lnTo>
                      <a:lnTo>
                        <a:pt x="49" y="138"/>
                      </a:lnTo>
                      <a:lnTo>
                        <a:pt x="47" y="139"/>
                      </a:lnTo>
                      <a:lnTo>
                        <a:pt x="47" y="140"/>
                      </a:lnTo>
                      <a:lnTo>
                        <a:pt x="48" y="139"/>
                      </a:lnTo>
                      <a:lnTo>
                        <a:pt x="49" y="139"/>
                      </a:lnTo>
                      <a:lnTo>
                        <a:pt x="49" y="138"/>
                      </a:lnTo>
                      <a:lnTo>
                        <a:pt x="50" y="138"/>
                      </a:lnTo>
                      <a:lnTo>
                        <a:pt x="52" y="138"/>
                      </a:lnTo>
                      <a:lnTo>
                        <a:pt x="53" y="138"/>
                      </a:lnTo>
                      <a:lnTo>
                        <a:pt x="53" y="137"/>
                      </a:lnTo>
                      <a:lnTo>
                        <a:pt x="54" y="136"/>
                      </a:lnTo>
                      <a:lnTo>
                        <a:pt x="54" y="135"/>
                      </a:lnTo>
                      <a:lnTo>
                        <a:pt x="53" y="133"/>
                      </a:lnTo>
                      <a:lnTo>
                        <a:pt x="53" y="132"/>
                      </a:lnTo>
                      <a:lnTo>
                        <a:pt x="52" y="130"/>
                      </a:lnTo>
                      <a:lnTo>
                        <a:pt x="52" y="129"/>
                      </a:lnTo>
                      <a:lnTo>
                        <a:pt x="53" y="129"/>
                      </a:lnTo>
                      <a:lnTo>
                        <a:pt x="53" y="125"/>
                      </a:lnTo>
                      <a:lnTo>
                        <a:pt x="53" y="124"/>
                      </a:lnTo>
                      <a:lnTo>
                        <a:pt x="49" y="119"/>
                      </a:lnTo>
                      <a:lnTo>
                        <a:pt x="48" y="118"/>
                      </a:lnTo>
                      <a:lnTo>
                        <a:pt x="48" y="117"/>
                      </a:lnTo>
                      <a:lnTo>
                        <a:pt x="48" y="116"/>
                      </a:lnTo>
                      <a:lnTo>
                        <a:pt x="47" y="116"/>
                      </a:lnTo>
                      <a:lnTo>
                        <a:pt x="47" y="115"/>
                      </a:lnTo>
                      <a:lnTo>
                        <a:pt x="47" y="114"/>
                      </a:lnTo>
                      <a:lnTo>
                        <a:pt x="45" y="110"/>
                      </a:lnTo>
                      <a:lnTo>
                        <a:pt x="40" y="100"/>
                      </a:lnTo>
                      <a:lnTo>
                        <a:pt x="39" y="96"/>
                      </a:lnTo>
                      <a:lnTo>
                        <a:pt x="38" y="93"/>
                      </a:lnTo>
                      <a:lnTo>
                        <a:pt x="36" y="93"/>
                      </a:lnTo>
                      <a:lnTo>
                        <a:pt x="36" y="91"/>
                      </a:lnTo>
                      <a:lnTo>
                        <a:pt x="35" y="91"/>
                      </a:lnTo>
                      <a:lnTo>
                        <a:pt x="36" y="90"/>
                      </a:lnTo>
                      <a:lnTo>
                        <a:pt x="35" y="89"/>
                      </a:lnTo>
                      <a:lnTo>
                        <a:pt x="35" y="83"/>
                      </a:lnTo>
                      <a:lnTo>
                        <a:pt x="35" y="82"/>
                      </a:lnTo>
                      <a:lnTo>
                        <a:pt x="35" y="81"/>
                      </a:lnTo>
                      <a:lnTo>
                        <a:pt x="34" y="81"/>
                      </a:lnTo>
                      <a:lnTo>
                        <a:pt x="35" y="81"/>
                      </a:lnTo>
                      <a:lnTo>
                        <a:pt x="35" y="80"/>
                      </a:lnTo>
                      <a:lnTo>
                        <a:pt x="34" y="80"/>
                      </a:lnTo>
                      <a:lnTo>
                        <a:pt x="33" y="80"/>
                      </a:lnTo>
                      <a:lnTo>
                        <a:pt x="31" y="76"/>
                      </a:lnTo>
                      <a:lnTo>
                        <a:pt x="28" y="74"/>
                      </a:lnTo>
                      <a:lnTo>
                        <a:pt x="26" y="70"/>
                      </a:lnTo>
                      <a:lnTo>
                        <a:pt x="24" y="66"/>
                      </a:lnTo>
                      <a:lnTo>
                        <a:pt x="22" y="63"/>
                      </a:lnTo>
                      <a:lnTo>
                        <a:pt x="21" y="61"/>
                      </a:lnTo>
                      <a:lnTo>
                        <a:pt x="20" y="60"/>
                      </a:lnTo>
                      <a:lnTo>
                        <a:pt x="20" y="59"/>
                      </a:lnTo>
                      <a:lnTo>
                        <a:pt x="19" y="58"/>
                      </a:lnTo>
                      <a:lnTo>
                        <a:pt x="18" y="55"/>
                      </a:lnTo>
                      <a:lnTo>
                        <a:pt x="18" y="54"/>
                      </a:lnTo>
                      <a:lnTo>
                        <a:pt x="19" y="54"/>
                      </a:lnTo>
                      <a:lnTo>
                        <a:pt x="19" y="53"/>
                      </a:lnTo>
                      <a:lnTo>
                        <a:pt x="19" y="54"/>
                      </a:lnTo>
                      <a:lnTo>
                        <a:pt x="19" y="55"/>
                      </a:lnTo>
                      <a:lnTo>
                        <a:pt x="20" y="55"/>
                      </a:lnTo>
                      <a:lnTo>
                        <a:pt x="21" y="54"/>
                      </a:lnTo>
                      <a:lnTo>
                        <a:pt x="22" y="54"/>
                      </a:lnTo>
                      <a:lnTo>
                        <a:pt x="25" y="54"/>
                      </a:lnTo>
                      <a:lnTo>
                        <a:pt x="25" y="53"/>
                      </a:lnTo>
                      <a:lnTo>
                        <a:pt x="26" y="53"/>
                      </a:lnTo>
                      <a:lnTo>
                        <a:pt x="27" y="53"/>
                      </a:lnTo>
                      <a:lnTo>
                        <a:pt x="28" y="52"/>
                      </a:lnTo>
                      <a:lnTo>
                        <a:pt x="29" y="52"/>
                      </a:lnTo>
                      <a:lnTo>
                        <a:pt x="31" y="52"/>
                      </a:lnTo>
                      <a:lnTo>
                        <a:pt x="32" y="52"/>
                      </a:lnTo>
                      <a:lnTo>
                        <a:pt x="32" y="53"/>
                      </a:lnTo>
                      <a:lnTo>
                        <a:pt x="33" y="52"/>
                      </a:lnTo>
                      <a:lnTo>
                        <a:pt x="34" y="52"/>
                      </a:lnTo>
                      <a:lnTo>
                        <a:pt x="35" y="52"/>
                      </a:lnTo>
                      <a:lnTo>
                        <a:pt x="36" y="51"/>
                      </a:lnTo>
                      <a:lnTo>
                        <a:pt x="38" y="51"/>
                      </a:lnTo>
                      <a:lnTo>
                        <a:pt x="39" y="49"/>
                      </a:lnTo>
                      <a:lnTo>
                        <a:pt x="39" y="48"/>
                      </a:lnTo>
                      <a:lnTo>
                        <a:pt x="40" y="48"/>
                      </a:lnTo>
                      <a:lnTo>
                        <a:pt x="41" y="47"/>
                      </a:lnTo>
                      <a:lnTo>
                        <a:pt x="42" y="47"/>
                      </a:lnTo>
                      <a:lnTo>
                        <a:pt x="43" y="47"/>
                      </a:lnTo>
                      <a:lnTo>
                        <a:pt x="45" y="47"/>
                      </a:lnTo>
                      <a:lnTo>
                        <a:pt x="46" y="46"/>
                      </a:lnTo>
                      <a:lnTo>
                        <a:pt x="49" y="46"/>
                      </a:lnTo>
                      <a:lnTo>
                        <a:pt x="50" y="47"/>
                      </a:lnTo>
                      <a:lnTo>
                        <a:pt x="52" y="47"/>
                      </a:lnTo>
                      <a:lnTo>
                        <a:pt x="52" y="46"/>
                      </a:lnTo>
                      <a:lnTo>
                        <a:pt x="53" y="46"/>
                      </a:lnTo>
                      <a:lnTo>
                        <a:pt x="56" y="46"/>
                      </a:lnTo>
                      <a:lnTo>
                        <a:pt x="56" y="47"/>
                      </a:lnTo>
                      <a:lnTo>
                        <a:pt x="57" y="47"/>
                      </a:lnTo>
                      <a:lnTo>
                        <a:pt x="57" y="46"/>
                      </a:lnTo>
                      <a:lnTo>
                        <a:pt x="61" y="46"/>
                      </a:lnTo>
                      <a:lnTo>
                        <a:pt x="66" y="46"/>
                      </a:lnTo>
                      <a:lnTo>
                        <a:pt x="70" y="46"/>
                      </a:lnTo>
                      <a:lnTo>
                        <a:pt x="71" y="46"/>
                      </a:lnTo>
                      <a:close/>
                      <a:moveTo>
                        <a:pt x="34" y="0"/>
                      </a:moveTo>
                      <a:lnTo>
                        <a:pt x="35" y="0"/>
                      </a:lnTo>
                      <a:lnTo>
                        <a:pt x="36" y="2"/>
                      </a:lnTo>
                      <a:lnTo>
                        <a:pt x="36" y="3"/>
                      </a:lnTo>
                      <a:lnTo>
                        <a:pt x="38" y="4"/>
                      </a:lnTo>
                      <a:lnTo>
                        <a:pt x="39" y="5"/>
                      </a:lnTo>
                      <a:lnTo>
                        <a:pt x="41" y="7"/>
                      </a:lnTo>
                      <a:lnTo>
                        <a:pt x="42" y="7"/>
                      </a:lnTo>
                      <a:lnTo>
                        <a:pt x="42" y="9"/>
                      </a:lnTo>
                      <a:lnTo>
                        <a:pt x="41" y="9"/>
                      </a:lnTo>
                      <a:lnTo>
                        <a:pt x="35" y="11"/>
                      </a:lnTo>
                      <a:lnTo>
                        <a:pt x="34" y="11"/>
                      </a:lnTo>
                      <a:lnTo>
                        <a:pt x="33" y="12"/>
                      </a:lnTo>
                      <a:lnTo>
                        <a:pt x="33" y="13"/>
                      </a:lnTo>
                      <a:lnTo>
                        <a:pt x="32" y="14"/>
                      </a:lnTo>
                      <a:lnTo>
                        <a:pt x="31" y="14"/>
                      </a:lnTo>
                      <a:lnTo>
                        <a:pt x="31" y="16"/>
                      </a:lnTo>
                      <a:lnTo>
                        <a:pt x="31" y="17"/>
                      </a:lnTo>
                      <a:lnTo>
                        <a:pt x="29" y="17"/>
                      </a:lnTo>
                      <a:lnTo>
                        <a:pt x="28" y="17"/>
                      </a:lnTo>
                      <a:lnTo>
                        <a:pt x="27" y="18"/>
                      </a:lnTo>
                      <a:lnTo>
                        <a:pt x="27" y="19"/>
                      </a:lnTo>
                      <a:lnTo>
                        <a:pt x="26" y="20"/>
                      </a:lnTo>
                      <a:lnTo>
                        <a:pt x="24" y="21"/>
                      </a:lnTo>
                      <a:lnTo>
                        <a:pt x="22" y="21"/>
                      </a:lnTo>
                      <a:lnTo>
                        <a:pt x="22" y="23"/>
                      </a:lnTo>
                      <a:lnTo>
                        <a:pt x="25" y="23"/>
                      </a:lnTo>
                      <a:lnTo>
                        <a:pt x="25" y="24"/>
                      </a:lnTo>
                      <a:lnTo>
                        <a:pt x="25" y="25"/>
                      </a:lnTo>
                      <a:lnTo>
                        <a:pt x="25" y="27"/>
                      </a:lnTo>
                      <a:lnTo>
                        <a:pt x="25" y="30"/>
                      </a:lnTo>
                      <a:lnTo>
                        <a:pt x="25" y="33"/>
                      </a:lnTo>
                      <a:lnTo>
                        <a:pt x="25" y="38"/>
                      </a:lnTo>
                      <a:lnTo>
                        <a:pt x="25" y="39"/>
                      </a:lnTo>
                      <a:lnTo>
                        <a:pt x="25" y="42"/>
                      </a:lnTo>
                      <a:lnTo>
                        <a:pt x="22" y="42"/>
                      </a:lnTo>
                      <a:lnTo>
                        <a:pt x="19" y="42"/>
                      </a:lnTo>
                      <a:lnTo>
                        <a:pt x="17" y="42"/>
                      </a:lnTo>
                      <a:lnTo>
                        <a:pt x="16" y="44"/>
                      </a:lnTo>
                      <a:lnTo>
                        <a:pt x="13" y="41"/>
                      </a:lnTo>
                      <a:lnTo>
                        <a:pt x="13" y="39"/>
                      </a:lnTo>
                      <a:lnTo>
                        <a:pt x="14" y="37"/>
                      </a:lnTo>
                      <a:lnTo>
                        <a:pt x="16" y="37"/>
                      </a:lnTo>
                      <a:lnTo>
                        <a:pt x="16" y="35"/>
                      </a:lnTo>
                      <a:lnTo>
                        <a:pt x="16" y="34"/>
                      </a:lnTo>
                      <a:lnTo>
                        <a:pt x="16" y="33"/>
                      </a:lnTo>
                      <a:lnTo>
                        <a:pt x="14" y="32"/>
                      </a:lnTo>
                      <a:lnTo>
                        <a:pt x="14" y="30"/>
                      </a:lnTo>
                      <a:lnTo>
                        <a:pt x="14" y="28"/>
                      </a:lnTo>
                      <a:lnTo>
                        <a:pt x="13" y="27"/>
                      </a:lnTo>
                      <a:lnTo>
                        <a:pt x="12" y="25"/>
                      </a:lnTo>
                      <a:lnTo>
                        <a:pt x="11" y="24"/>
                      </a:lnTo>
                      <a:lnTo>
                        <a:pt x="10" y="21"/>
                      </a:lnTo>
                      <a:lnTo>
                        <a:pt x="10" y="20"/>
                      </a:lnTo>
                      <a:lnTo>
                        <a:pt x="11" y="21"/>
                      </a:lnTo>
                      <a:lnTo>
                        <a:pt x="12" y="21"/>
                      </a:lnTo>
                      <a:lnTo>
                        <a:pt x="12" y="20"/>
                      </a:lnTo>
                      <a:lnTo>
                        <a:pt x="13" y="20"/>
                      </a:lnTo>
                      <a:lnTo>
                        <a:pt x="13" y="19"/>
                      </a:lnTo>
                      <a:lnTo>
                        <a:pt x="12" y="19"/>
                      </a:lnTo>
                      <a:lnTo>
                        <a:pt x="12" y="20"/>
                      </a:lnTo>
                      <a:lnTo>
                        <a:pt x="12" y="21"/>
                      </a:lnTo>
                      <a:lnTo>
                        <a:pt x="11" y="21"/>
                      </a:lnTo>
                      <a:lnTo>
                        <a:pt x="11" y="20"/>
                      </a:lnTo>
                      <a:lnTo>
                        <a:pt x="10" y="20"/>
                      </a:lnTo>
                      <a:lnTo>
                        <a:pt x="9" y="20"/>
                      </a:lnTo>
                      <a:lnTo>
                        <a:pt x="12" y="17"/>
                      </a:lnTo>
                      <a:lnTo>
                        <a:pt x="13" y="16"/>
                      </a:lnTo>
                      <a:lnTo>
                        <a:pt x="14" y="12"/>
                      </a:lnTo>
                      <a:lnTo>
                        <a:pt x="16" y="12"/>
                      </a:lnTo>
                      <a:lnTo>
                        <a:pt x="16" y="13"/>
                      </a:lnTo>
                      <a:lnTo>
                        <a:pt x="17" y="13"/>
                      </a:lnTo>
                      <a:lnTo>
                        <a:pt x="17" y="12"/>
                      </a:lnTo>
                      <a:lnTo>
                        <a:pt x="18" y="12"/>
                      </a:lnTo>
                      <a:lnTo>
                        <a:pt x="19" y="12"/>
                      </a:lnTo>
                      <a:lnTo>
                        <a:pt x="20" y="10"/>
                      </a:lnTo>
                      <a:lnTo>
                        <a:pt x="20" y="9"/>
                      </a:lnTo>
                      <a:lnTo>
                        <a:pt x="20" y="7"/>
                      </a:lnTo>
                      <a:lnTo>
                        <a:pt x="21" y="7"/>
                      </a:lnTo>
                      <a:lnTo>
                        <a:pt x="22" y="7"/>
                      </a:lnTo>
                      <a:lnTo>
                        <a:pt x="24" y="6"/>
                      </a:lnTo>
                      <a:lnTo>
                        <a:pt x="27" y="5"/>
                      </a:lnTo>
                      <a:lnTo>
                        <a:pt x="28" y="5"/>
                      </a:lnTo>
                      <a:lnTo>
                        <a:pt x="29" y="4"/>
                      </a:lnTo>
                      <a:lnTo>
                        <a:pt x="29" y="3"/>
                      </a:lnTo>
                      <a:lnTo>
                        <a:pt x="31" y="3"/>
                      </a:lnTo>
                      <a:lnTo>
                        <a:pt x="31" y="2"/>
                      </a:lnTo>
                      <a:lnTo>
                        <a:pt x="32" y="2"/>
                      </a:lnTo>
                      <a:lnTo>
                        <a:pt x="32" y="0"/>
                      </a:lnTo>
                      <a:lnTo>
                        <a:pt x="33" y="0"/>
                      </a:lnTo>
                      <a:lnTo>
                        <a:pt x="3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6" name="Freeform 73">
                  <a:extLst>
                    <a:ext uri="{FF2B5EF4-FFF2-40B4-BE49-F238E27FC236}">
                      <a16:creationId xmlns:a16="http://schemas.microsoft.com/office/drawing/2014/main" id="{7C4174C9-1C54-24A3-DB86-142A0ABBA73E}"/>
                    </a:ext>
                  </a:extLst>
                </p:cNvPr>
                <p:cNvSpPr>
                  <a:spLocks/>
                </p:cNvSpPr>
                <p:nvPr/>
              </p:nvSpPr>
              <p:spPr bwMode="auto">
                <a:xfrm>
                  <a:off x="7222130" y="3876500"/>
                  <a:ext cx="62740" cy="74640"/>
                </a:xfrm>
                <a:custGeom>
                  <a:avLst/>
                  <a:gdLst>
                    <a:gd name="T0" fmla="*/ 47 w 58"/>
                    <a:gd name="T1" fmla="*/ 9 h 69"/>
                    <a:gd name="T2" fmla="*/ 47 w 58"/>
                    <a:gd name="T3" fmla="*/ 13 h 69"/>
                    <a:gd name="T4" fmla="*/ 47 w 58"/>
                    <a:gd name="T5" fmla="*/ 14 h 69"/>
                    <a:gd name="T6" fmla="*/ 47 w 58"/>
                    <a:gd name="T7" fmla="*/ 18 h 69"/>
                    <a:gd name="T8" fmla="*/ 48 w 58"/>
                    <a:gd name="T9" fmla="*/ 21 h 69"/>
                    <a:gd name="T10" fmla="*/ 50 w 58"/>
                    <a:gd name="T11" fmla="*/ 20 h 69"/>
                    <a:gd name="T12" fmla="*/ 52 w 58"/>
                    <a:gd name="T13" fmla="*/ 22 h 69"/>
                    <a:gd name="T14" fmla="*/ 55 w 58"/>
                    <a:gd name="T15" fmla="*/ 22 h 69"/>
                    <a:gd name="T16" fmla="*/ 58 w 58"/>
                    <a:gd name="T17" fmla="*/ 22 h 69"/>
                    <a:gd name="T18" fmla="*/ 58 w 58"/>
                    <a:gd name="T19" fmla="*/ 25 h 69"/>
                    <a:gd name="T20" fmla="*/ 58 w 58"/>
                    <a:gd name="T21" fmla="*/ 28 h 69"/>
                    <a:gd name="T22" fmla="*/ 58 w 58"/>
                    <a:gd name="T23" fmla="*/ 30 h 69"/>
                    <a:gd name="T24" fmla="*/ 55 w 58"/>
                    <a:gd name="T25" fmla="*/ 31 h 69"/>
                    <a:gd name="T26" fmla="*/ 51 w 58"/>
                    <a:gd name="T27" fmla="*/ 34 h 69"/>
                    <a:gd name="T28" fmla="*/ 50 w 58"/>
                    <a:gd name="T29" fmla="*/ 37 h 69"/>
                    <a:gd name="T30" fmla="*/ 48 w 58"/>
                    <a:gd name="T31" fmla="*/ 38 h 69"/>
                    <a:gd name="T32" fmla="*/ 47 w 58"/>
                    <a:gd name="T33" fmla="*/ 39 h 69"/>
                    <a:gd name="T34" fmla="*/ 45 w 58"/>
                    <a:gd name="T35" fmla="*/ 42 h 69"/>
                    <a:gd name="T36" fmla="*/ 44 w 58"/>
                    <a:gd name="T37" fmla="*/ 46 h 69"/>
                    <a:gd name="T38" fmla="*/ 40 w 58"/>
                    <a:gd name="T39" fmla="*/ 51 h 69"/>
                    <a:gd name="T40" fmla="*/ 36 w 58"/>
                    <a:gd name="T41" fmla="*/ 58 h 69"/>
                    <a:gd name="T42" fmla="*/ 31 w 58"/>
                    <a:gd name="T43" fmla="*/ 63 h 69"/>
                    <a:gd name="T44" fmla="*/ 26 w 58"/>
                    <a:gd name="T45" fmla="*/ 65 h 69"/>
                    <a:gd name="T46" fmla="*/ 24 w 58"/>
                    <a:gd name="T47" fmla="*/ 66 h 69"/>
                    <a:gd name="T48" fmla="*/ 23 w 58"/>
                    <a:gd name="T49" fmla="*/ 69 h 69"/>
                    <a:gd name="T50" fmla="*/ 20 w 58"/>
                    <a:gd name="T51" fmla="*/ 65 h 69"/>
                    <a:gd name="T52" fmla="*/ 17 w 58"/>
                    <a:gd name="T53" fmla="*/ 59 h 69"/>
                    <a:gd name="T54" fmla="*/ 16 w 58"/>
                    <a:gd name="T55" fmla="*/ 57 h 69"/>
                    <a:gd name="T56" fmla="*/ 14 w 58"/>
                    <a:gd name="T57" fmla="*/ 53 h 69"/>
                    <a:gd name="T58" fmla="*/ 14 w 58"/>
                    <a:gd name="T59" fmla="*/ 51 h 69"/>
                    <a:gd name="T60" fmla="*/ 12 w 58"/>
                    <a:gd name="T61" fmla="*/ 46 h 69"/>
                    <a:gd name="T62" fmla="*/ 7 w 58"/>
                    <a:gd name="T63" fmla="*/ 31 h 69"/>
                    <a:gd name="T64" fmla="*/ 7 w 58"/>
                    <a:gd name="T65" fmla="*/ 28 h 69"/>
                    <a:gd name="T66" fmla="*/ 8 w 58"/>
                    <a:gd name="T67" fmla="*/ 23 h 69"/>
                    <a:gd name="T68" fmla="*/ 6 w 58"/>
                    <a:gd name="T69" fmla="*/ 22 h 69"/>
                    <a:gd name="T70" fmla="*/ 3 w 58"/>
                    <a:gd name="T71" fmla="*/ 20 h 69"/>
                    <a:gd name="T72" fmla="*/ 1 w 58"/>
                    <a:gd name="T73" fmla="*/ 16 h 69"/>
                    <a:gd name="T74" fmla="*/ 1 w 58"/>
                    <a:gd name="T75" fmla="*/ 14 h 69"/>
                    <a:gd name="T76" fmla="*/ 5 w 58"/>
                    <a:gd name="T77" fmla="*/ 9 h 69"/>
                    <a:gd name="T78" fmla="*/ 10 w 58"/>
                    <a:gd name="T79" fmla="*/ 11 h 69"/>
                    <a:gd name="T80" fmla="*/ 12 w 58"/>
                    <a:gd name="T81" fmla="*/ 14 h 69"/>
                    <a:gd name="T82" fmla="*/ 10 w 58"/>
                    <a:gd name="T83" fmla="*/ 16 h 69"/>
                    <a:gd name="T84" fmla="*/ 16 w 58"/>
                    <a:gd name="T85" fmla="*/ 16 h 69"/>
                    <a:gd name="T86" fmla="*/ 19 w 58"/>
                    <a:gd name="T87" fmla="*/ 16 h 69"/>
                    <a:gd name="T88" fmla="*/ 22 w 58"/>
                    <a:gd name="T89" fmla="*/ 16 h 69"/>
                    <a:gd name="T90" fmla="*/ 24 w 58"/>
                    <a:gd name="T91" fmla="*/ 15 h 69"/>
                    <a:gd name="T92" fmla="*/ 28 w 58"/>
                    <a:gd name="T93" fmla="*/ 14 h 69"/>
                    <a:gd name="T94" fmla="*/ 30 w 58"/>
                    <a:gd name="T95" fmla="*/ 6 h 69"/>
                    <a:gd name="T96" fmla="*/ 30 w 58"/>
                    <a:gd name="T97" fmla="*/ 1 h 69"/>
                    <a:gd name="T98" fmla="*/ 33 w 58"/>
                    <a:gd name="T99" fmla="*/ 2 h 69"/>
                    <a:gd name="T100" fmla="*/ 36 w 58"/>
                    <a:gd name="T101" fmla="*/ 4 h 69"/>
                    <a:gd name="T102" fmla="*/ 38 w 58"/>
                    <a:gd name="T103" fmla="*/ 1 h 69"/>
                    <a:gd name="T104" fmla="*/ 42 w 58"/>
                    <a:gd name="T105" fmla="*/ 2 h 69"/>
                    <a:gd name="T106" fmla="*/ 44 w 58"/>
                    <a:gd name="T107" fmla="*/ 0 h 69"/>
                    <a:gd name="T108" fmla="*/ 45 w 58"/>
                    <a:gd name="T109"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69">
                      <a:moveTo>
                        <a:pt x="50" y="3"/>
                      </a:moveTo>
                      <a:lnTo>
                        <a:pt x="49" y="4"/>
                      </a:lnTo>
                      <a:lnTo>
                        <a:pt x="48" y="6"/>
                      </a:lnTo>
                      <a:lnTo>
                        <a:pt x="47" y="8"/>
                      </a:lnTo>
                      <a:lnTo>
                        <a:pt x="47" y="9"/>
                      </a:lnTo>
                      <a:lnTo>
                        <a:pt x="47" y="9"/>
                      </a:lnTo>
                      <a:lnTo>
                        <a:pt x="47" y="10"/>
                      </a:lnTo>
                      <a:lnTo>
                        <a:pt x="45" y="10"/>
                      </a:lnTo>
                      <a:lnTo>
                        <a:pt x="45" y="11"/>
                      </a:lnTo>
                      <a:lnTo>
                        <a:pt x="45" y="11"/>
                      </a:lnTo>
                      <a:lnTo>
                        <a:pt x="45" y="13"/>
                      </a:lnTo>
                      <a:lnTo>
                        <a:pt x="47" y="13"/>
                      </a:lnTo>
                      <a:lnTo>
                        <a:pt x="47" y="13"/>
                      </a:lnTo>
                      <a:lnTo>
                        <a:pt x="48" y="11"/>
                      </a:lnTo>
                      <a:lnTo>
                        <a:pt x="49" y="11"/>
                      </a:lnTo>
                      <a:lnTo>
                        <a:pt x="49" y="11"/>
                      </a:lnTo>
                      <a:lnTo>
                        <a:pt x="47" y="14"/>
                      </a:lnTo>
                      <a:lnTo>
                        <a:pt x="47" y="14"/>
                      </a:lnTo>
                      <a:lnTo>
                        <a:pt x="47" y="15"/>
                      </a:lnTo>
                      <a:lnTo>
                        <a:pt x="47" y="15"/>
                      </a:lnTo>
                      <a:lnTo>
                        <a:pt x="45" y="16"/>
                      </a:lnTo>
                      <a:lnTo>
                        <a:pt x="45" y="17"/>
                      </a:lnTo>
                      <a:lnTo>
                        <a:pt x="45" y="17"/>
                      </a:lnTo>
                      <a:lnTo>
                        <a:pt x="47" y="18"/>
                      </a:lnTo>
                      <a:lnTo>
                        <a:pt x="47" y="20"/>
                      </a:lnTo>
                      <a:lnTo>
                        <a:pt x="48" y="20"/>
                      </a:lnTo>
                      <a:lnTo>
                        <a:pt x="47" y="20"/>
                      </a:lnTo>
                      <a:lnTo>
                        <a:pt x="48" y="20"/>
                      </a:lnTo>
                      <a:lnTo>
                        <a:pt x="48" y="20"/>
                      </a:lnTo>
                      <a:lnTo>
                        <a:pt x="48" y="21"/>
                      </a:lnTo>
                      <a:lnTo>
                        <a:pt x="48" y="21"/>
                      </a:lnTo>
                      <a:lnTo>
                        <a:pt x="48" y="21"/>
                      </a:lnTo>
                      <a:lnTo>
                        <a:pt x="49" y="20"/>
                      </a:lnTo>
                      <a:lnTo>
                        <a:pt x="49" y="20"/>
                      </a:lnTo>
                      <a:lnTo>
                        <a:pt x="49" y="20"/>
                      </a:lnTo>
                      <a:lnTo>
                        <a:pt x="50" y="20"/>
                      </a:lnTo>
                      <a:lnTo>
                        <a:pt x="51" y="21"/>
                      </a:lnTo>
                      <a:lnTo>
                        <a:pt x="52" y="21"/>
                      </a:lnTo>
                      <a:lnTo>
                        <a:pt x="52" y="21"/>
                      </a:lnTo>
                      <a:lnTo>
                        <a:pt x="52" y="21"/>
                      </a:lnTo>
                      <a:lnTo>
                        <a:pt x="52" y="22"/>
                      </a:lnTo>
                      <a:lnTo>
                        <a:pt x="52" y="22"/>
                      </a:lnTo>
                      <a:lnTo>
                        <a:pt x="52" y="22"/>
                      </a:lnTo>
                      <a:lnTo>
                        <a:pt x="53" y="22"/>
                      </a:lnTo>
                      <a:lnTo>
                        <a:pt x="53" y="22"/>
                      </a:lnTo>
                      <a:lnTo>
                        <a:pt x="53" y="22"/>
                      </a:lnTo>
                      <a:lnTo>
                        <a:pt x="55" y="22"/>
                      </a:lnTo>
                      <a:lnTo>
                        <a:pt x="55" y="22"/>
                      </a:lnTo>
                      <a:lnTo>
                        <a:pt x="56" y="22"/>
                      </a:lnTo>
                      <a:lnTo>
                        <a:pt x="56" y="22"/>
                      </a:lnTo>
                      <a:lnTo>
                        <a:pt x="57" y="22"/>
                      </a:lnTo>
                      <a:lnTo>
                        <a:pt x="58" y="22"/>
                      </a:lnTo>
                      <a:lnTo>
                        <a:pt x="58" y="22"/>
                      </a:lnTo>
                      <a:lnTo>
                        <a:pt x="58" y="22"/>
                      </a:lnTo>
                      <a:lnTo>
                        <a:pt x="57" y="23"/>
                      </a:lnTo>
                      <a:lnTo>
                        <a:pt x="57" y="24"/>
                      </a:lnTo>
                      <a:lnTo>
                        <a:pt x="57" y="24"/>
                      </a:lnTo>
                      <a:lnTo>
                        <a:pt x="58" y="25"/>
                      </a:lnTo>
                      <a:lnTo>
                        <a:pt x="58" y="25"/>
                      </a:lnTo>
                      <a:lnTo>
                        <a:pt x="58" y="25"/>
                      </a:lnTo>
                      <a:lnTo>
                        <a:pt x="58" y="27"/>
                      </a:lnTo>
                      <a:lnTo>
                        <a:pt x="58" y="27"/>
                      </a:lnTo>
                      <a:lnTo>
                        <a:pt x="58" y="27"/>
                      </a:lnTo>
                      <a:lnTo>
                        <a:pt x="58" y="27"/>
                      </a:lnTo>
                      <a:lnTo>
                        <a:pt x="58" y="27"/>
                      </a:lnTo>
                      <a:lnTo>
                        <a:pt x="58" y="28"/>
                      </a:lnTo>
                      <a:lnTo>
                        <a:pt x="58" y="28"/>
                      </a:lnTo>
                      <a:lnTo>
                        <a:pt x="58" y="29"/>
                      </a:lnTo>
                      <a:lnTo>
                        <a:pt x="58" y="29"/>
                      </a:lnTo>
                      <a:lnTo>
                        <a:pt x="58" y="29"/>
                      </a:lnTo>
                      <a:lnTo>
                        <a:pt x="58" y="30"/>
                      </a:lnTo>
                      <a:lnTo>
                        <a:pt x="58" y="30"/>
                      </a:lnTo>
                      <a:lnTo>
                        <a:pt x="57" y="31"/>
                      </a:lnTo>
                      <a:lnTo>
                        <a:pt x="57" y="31"/>
                      </a:lnTo>
                      <a:lnTo>
                        <a:pt x="56" y="31"/>
                      </a:lnTo>
                      <a:lnTo>
                        <a:pt x="55" y="31"/>
                      </a:lnTo>
                      <a:lnTo>
                        <a:pt x="55" y="31"/>
                      </a:lnTo>
                      <a:lnTo>
                        <a:pt x="55" y="31"/>
                      </a:lnTo>
                      <a:lnTo>
                        <a:pt x="55" y="32"/>
                      </a:lnTo>
                      <a:lnTo>
                        <a:pt x="53" y="32"/>
                      </a:lnTo>
                      <a:lnTo>
                        <a:pt x="53" y="32"/>
                      </a:lnTo>
                      <a:lnTo>
                        <a:pt x="52" y="32"/>
                      </a:lnTo>
                      <a:lnTo>
                        <a:pt x="52" y="34"/>
                      </a:lnTo>
                      <a:lnTo>
                        <a:pt x="51" y="34"/>
                      </a:lnTo>
                      <a:lnTo>
                        <a:pt x="51" y="34"/>
                      </a:lnTo>
                      <a:lnTo>
                        <a:pt x="52" y="35"/>
                      </a:lnTo>
                      <a:lnTo>
                        <a:pt x="52" y="36"/>
                      </a:lnTo>
                      <a:lnTo>
                        <a:pt x="51" y="36"/>
                      </a:lnTo>
                      <a:lnTo>
                        <a:pt x="50" y="37"/>
                      </a:lnTo>
                      <a:lnTo>
                        <a:pt x="50" y="37"/>
                      </a:lnTo>
                      <a:lnTo>
                        <a:pt x="49" y="38"/>
                      </a:lnTo>
                      <a:lnTo>
                        <a:pt x="49" y="38"/>
                      </a:lnTo>
                      <a:lnTo>
                        <a:pt x="49" y="38"/>
                      </a:lnTo>
                      <a:lnTo>
                        <a:pt x="48" y="38"/>
                      </a:lnTo>
                      <a:lnTo>
                        <a:pt x="48" y="38"/>
                      </a:lnTo>
                      <a:lnTo>
                        <a:pt x="48" y="38"/>
                      </a:lnTo>
                      <a:lnTo>
                        <a:pt x="48" y="38"/>
                      </a:lnTo>
                      <a:lnTo>
                        <a:pt x="48" y="38"/>
                      </a:lnTo>
                      <a:lnTo>
                        <a:pt x="48" y="38"/>
                      </a:lnTo>
                      <a:lnTo>
                        <a:pt x="47" y="38"/>
                      </a:lnTo>
                      <a:lnTo>
                        <a:pt x="47" y="38"/>
                      </a:lnTo>
                      <a:lnTo>
                        <a:pt x="47" y="39"/>
                      </a:lnTo>
                      <a:lnTo>
                        <a:pt x="47" y="39"/>
                      </a:lnTo>
                      <a:lnTo>
                        <a:pt x="45" y="39"/>
                      </a:lnTo>
                      <a:lnTo>
                        <a:pt x="45" y="41"/>
                      </a:lnTo>
                      <a:lnTo>
                        <a:pt x="45" y="41"/>
                      </a:lnTo>
                      <a:lnTo>
                        <a:pt x="45" y="42"/>
                      </a:lnTo>
                      <a:lnTo>
                        <a:pt x="45" y="42"/>
                      </a:lnTo>
                      <a:lnTo>
                        <a:pt x="44" y="44"/>
                      </a:lnTo>
                      <a:lnTo>
                        <a:pt x="44" y="44"/>
                      </a:lnTo>
                      <a:lnTo>
                        <a:pt x="44" y="44"/>
                      </a:lnTo>
                      <a:lnTo>
                        <a:pt x="44" y="45"/>
                      </a:lnTo>
                      <a:lnTo>
                        <a:pt x="44" y="45"/>
                      </a:lnTo>
                      <a:lnTo>
                        <a:pt x="44" y="46"/>
                      </a:lnTo>
                      <a:lnTo>
                        <a:pt x="44" y="46"/>
                      </a:lnTo>
                      <a:lnTo>
                        <a:pt x="44" y="48"/>
                      </a:lnTo>
                      <a:lnTo>
                        <a:pt x="43" y="46"/>
                      </a:lnTo>
                      <a:lnTo>
                        <a:pt x="42" y="48"/>
                      </a:lnTo>
                      <a:lnTo>
                        <a:pt x="41" y="49"/>
                      </a:lnTo>
                      <a:lnTo>
                        <a:pt x="40" y="51"/>
                      </a:lnTo>
                      <a:lnTo>
                        <a:pt x="38" y="51"/>
                      </a:lnTo>
                      <a:lnTo>
                        <a:pt x="38" y="53"/>
                      </a:lnTo>
                      <a:lnTo>
                        <a:pt x="37" y="55"/>
                      </a:lnTo>
                      <a:lnTo>
                        <a:pt x="37" y="56"/>
                      </a:lnTo>
                      <a:lnTo>
                        <a:pt x="37" y="57"/>
                      </a:lnTo>
                      <a:lnTo>
                        <a:pt x="36" y="58"/>
                      </a:lnTo>
                      <a:lnTo>
                        <a:pt x="34" y="59"/>
                      </a:lnTo>
                      <a:lnTo>
                        <a:pt x="34" y="60"/>
                      </a:lnTo>
                      <a:lnTo>
                        <a:pt x="33" y="62"/>
                      </a:lnTo>
                      <a:lnTo>
                        <a:pt x="33" y="63"/>
                      </a:lnTo>
                      <a:lnTo>
                        <a:pt x="31" y="63"/>
                      </a:lnTo>
                      <a:lnTo>
                        <a:pt x="31" y="63"/>
                      </a:lnTo>
                      <a:lnTo>
                        <a:pt x="30" y="64"/>
                      </a:lnTo>
                      <a:lnTo>
                        <a:pt x="29" y="65"/>
                      </a:lnTo>
                      <a:lnTo>
                        <a:pt x="27" y="65"/>
                      </a:lnTo>
                      <a:lnTo>
                        <a:pt x="27" y="65"/>
                      </a:lnTo>
                      <a:lnTo>
                        <a:pt x="27" y="65"/>
                      </a:lnTo>
                      <a:lnTo>
                        <a:pt x="26" y="65"/>
                      </a:lnTo>
                      <a:lnTo>
                        <a:pt x="26" y="65"/>
                      </a:lnTo>
                      <a:lnTo>
                        <a:pt x="26" y="65"/>
                      </a:lnTo>
                      <a:lnTo>
                        <a:pt x="26" y="66"/>
                      </a:lnTo>
                      <a:lnTo>
                        <a:pt x="26" y="66"/>
                      </a:lnTo>
                      <a:lnTo>
                        <a:pt x="24" y="66"/>
                      </a:lnTo>
                      <a:lnTo>
                        <a:pt x="24" y="66"/>
                      </a:lnTo>
                      <a:lnTo>
                        <a:pt x="24" y="67"/>
                      </a:lnTo>
                      <a:lnTo>
                        <a:pt x="24" y="67"/>
                      </a:lnTo>
                      <a:lnTo>
                        <a:pt x="24" y="67"/>
                      </a:lnTo>
                      <a:lnTo>
                        <a:pt x="24" y="69"/>
                      </a:lnTo>
                      <a:lnTo>
                        <a:pt x="23" y="69"/>
                      </a:lnTo>
                      <a:lnTo>
                        <a:pt x="23" y="69"/>
                      </a:lnTo>
                      <a:lnTo>
                        <a:pt x="22" y="69"/>
                      </a:lnTo>
                      <a:lnTo>
                        <a:pt x="21" y="67"/>
                      </a:lnTo>
                      <a:lnTo>
                        <a:pt x="21" y="67"/>
                      </a:lnTo>
                      <a:lnTo>
                        <a:pt x="21" y="66"/>
                      </a:lnTo>
                      <a:lnTo>
                        <a:pt x="21" y="66"/>
                      </a:lnTo>
                      <a:lnTo>
                        <a:pt x="20" y="65"/>
                      </a:lnTo>
                      <a:lnTo>
                        <a:pt x="19" y="64"/>
                      </a:lnTo>
                      <a:lnTo>
                        <a:pt x="17" y="62"/>
                      </a:lnTo>
                      <a:lnTo>
                        <a:pt x="17" y="62"/>
                      </a:lnTo>
                      <a:lnTo>
                        <a:pt x="17" y="60"/>
                      </a:lnTo>
                      <a:lnTo>
                        <a:pt x="17" y="60"/>
                      </a:lnTo>
                      <a:lnTo>
                        <a:pt x="17" y="59"/>
                      </a:lnTo>
                      <a:lnTo>
                        <a:pt x="16" y="59"/>
                      </a:lnTo>
                      <a:lnTo>
                        <a:pt x="16" y="59"/>
                      </a:lnTo>
                      <a:lnTo>
                        <a:pt x="16" y="58"/>
                      </a:lnTo>
                      <a:lnTo>
                        <a:pt x="16" y="58"/>
                      </a:lnTo>
                      <a:lnTo>
                        <a:pt x="16" y="57"/>
                      </a:lnTo>
                      <a:lnTo>
                        <a:pt x="16" y="57"/>
                      </a:lnTo>
                      <a:lnTo>
                        <a:pt x="15" y="56"/>
                      </a:lnTo>
                      <a:lnTo>
                        <a:pt x="15" y="56"/>
                      </a:lnTo>
                      <a:lnTo>
                        <a:pt x="15" y="56"/>
                      </a:lnTo>
                      <a:lnTo>
                        <a:pt x="14" y="55"/>
                      </a:lnTo>
                      <a:lnTo>
                        <a:pt x="14" y="55"/>
                      </a:lnTo>
                      <a:lnTo>
                        <a:pt x="14" y="53"/>
                      </a:lnTo>
                      <a:lnTo>
                        <a:pt x="14" y="53"/>
                      </a:lnTo>
                      <a:lnTo>
                        <a:pt x="14" y="53"/>
                      </a:lnTo>
                      <a:lnTo>
                        <a:pt x="14" y="53"/>
                      </a:lnTo>
                      <a:lnTo>
                        <a:pt x="14" y="52"/>
                      </a:lnTo>
                      <a:lnTo>
                        <a:pt x="14" y="52"/>
                      </a:lnTo>
                      <a:lnTo>
                        <a:pt x="14" y="51"/>
                      </a:lnTo>
                      <a:lnTo>
                        <a:pt x="13" y="51"/>
                      </a:lnTo>
                      <a:lnTo>
                        <a:pt x="13" y="51"/>
                      </a:lnTo>
                      <a:lnTo>
                        <a:pt x="13" y="51"/>
                      </a:lnTo>
                      <a:lnTo>
                        <a:pt x="13" y="50"/>
                      </a:lnTo>
                      <a:lnTo>
                        <a:pt x="12" y="49"/>
                      </a:lnTo>
                      <a:lnTo>
                        <a:pt x="12" y="46"/>
                      </a:lnTo>
                      <a:lnTo>
                        <a:pt x="12" y="35"/>
                      </a:lnTo>
                      <a:lnTo>
                        <a:pt x="10" y="34"/>
                      </a:lnTo>
                      <a:lnTo>
                        <a:pt x="10" y="32"/>
                      </a:lnTo>
                      <a:lnTo>
                        <a:pt x="8" y="32"/>
                      </a:lnTo>
                      <a:lnTo>
                        <a:pt x="7" y="32"/>
                      </a:lnTo>
                      <a:lnTo>
                        <a:pt x="7" y="31"/>
                      </a:lnTo>
                      <a:lnTo>
                        <a:pt x="7" y="31"/>
                      </a:lnTo>
                      <a:lnTo>
                        <a:pt x="8" y="31"/>
                      </a:lnTo>
                      <a:lnTo>
                        <a:pt x="8" y="30"/>
                      </a:lnTo>
                      <a:lnTo>
                        <a:pt x="8" y="30"/>
                      </a:lnTo>
                      <a:lnTo>
                        <a:pt x="7" y="30"/>
                      </a:lnTo>
                      <a:lnTo>
                        <a:pt x="7" y="28"/>
                      </a:lnTo>
                      <a:lnTo>
                        <a:pt x="7" y="27"/>
                      </a:lnTo>
                      <a:lnTo>
                        <a:pt x="8" y="27"/>
                      </a:lnTo>
                      <a:lnTo>
                        <a:pt x="8" y="27"/>
                      </a:lnTo>
                      <a:lnTo>
                        <a:pt x="8" y="25"/>
                      </a:lnTo>
                      <a:lnTo>
                        <a:pt x="8" y="25"/>
                      </a:lnTo>
                      <a:lnTo>
                        <a:pt x="8" y="23"/>
                      </a:lnTo>
                      <a:lnTo>
                        <a:pt x="8" y="23"/>
                      </a:lnTo>
                      <a:lnTo>
                        <a:pt x="7" y="23"/>
                      </a:lnTo>
                      <a:lnTo>
                        <a:pt x="7" y="23"/>
                      </a:lnTo>
                      <a:lnTo>
                        <a:pt x="6" y="23"/>
                      </a:lnTo>
                      <a:lnTo>
                        <a:pt x="6" y="22"/>
                      </a:lnTo>
                      <a:lnTo>
                        <a:pt x="6" y="22"/>
                      </a:lnTo>
                      <a:lnTo>
                        <a:pt x="5" y="21"/>
                      </a:lnTo>
                      <a:lnTo>
                        <a:pt x="5" y="21"/>
                      </a:lnTo>
                      <a:lnTo>
                        <a:pt x="5" y="21"/>
                      </a:lnTo>
                      <a:lnTo>
                        <a:pt x="3" y="20"/>
                      </a:lnTo>
                      <a:lnTo>
                        <a:pt x="3" y="20"/>
                      </a:lnTo>
                      <a:lnTo>
                        <a:pt x="3" y="20"/>
                      </a:lnTo>
                      <a:lnTo>
                        <a:pt x="3" y="18"/>
                      </a:lnTo>
                      <a:lnTo>
                        <a:pt x="3" y="18"/>
                      </a:lnTo>
                      <a:lnTo>
                        <a:pt x="2" y="18"/>
                      </a:lnTo>
                      <a:lnTo>
                        <a:pt x="2" y="17"/>
                      </a:lnTo>
                      <a:lnTo>
                        <a:pt x="2" y="17"/>
                      </a:lnTo>
                      <a:lnTo>
                        <a:pt x="1" y="16"/>
                      </a:lnTo>
                      <a:lnTo>
                        <a:pt x="1" y="16"/>
                      </a:lnTo>
                      <a:lnTo>
                        <a:pt x="0" y="16"/>
                      </a:lnTo>
                      <a:lnTo>
                        <a:pt x="0" y="16"/>
                      </a:lnTo>
                      <a:lnTo>
                        <a:pt x="0" y="15"/>
                      </a:lnTo>
                      <a:lnTo>
                        <a:pt x="0" y="15"/>
                      </a:lnTo>
                      <a:lnTo>
                        <a:pt x="1" y="14"/>
                      </a:lnTo>
                      <a:lnTo>
                        <a:pt x="1" y="14"/>
                      </a:lnTo>
                      <a:lnTo>
                        <a:pt x="1" y="14"/>
                      </a:lnTo>
                      <a:lnTo>
                        <a:pt x="1" y="10"/>
                      </a:lnTo>
                      <a:lnTo>
                        <a:pt x="2" y="9"/>
                      </a:lnTo>
                      <a:lnTo>
                        <a:pt x="5" y="9"/>
                      </a:lnTo>
                      <a:lnTo>
                        <a:pt x="5" y="9"/>
                      </a:lnTo>
                      <a:lnTo>
                        <a:pt x="7" y="10"/>
                      </a:lnTo>
                      <a:lnTo>
                        <a:pt x="7" y="10"/>
                      </a:lnTo>
                      <a:lnTo>
                        <a:pt x="8" y="10"/>
                      </a:lnTo>
                      <a:lnTo>
                        <a:pt x="9" y="11"/>
                      </a:lnTo>
                      <a:lnTo>
                        <a:pt x="10" y="11"/>
                      </a:lnTo>
                      <a:lnTo>
                        <a:pt x="10" y="11"/>
                      </a:lnTo>
                      <a:lnTo>
                        <a:pt x="10" y="11"/>
                      </a:lnTo>
                      <a:lnTo>
                        <a:pt x="10" y="13"/>
                      </a:lnTo>
                      <a:lnTo>
                        <a:pt x="10" y="13"/>
                      </a:lnTo>
                      <a:lnTo>
                        <a:pt x="10" y="13"/>
                      </a:lnTo>
                      <a:lnTo>
                        <a:pt x="12" y="13"/>
                      </a:lnTo>
                      <a:lnTo>
                        <a:pt x="12" y="14"/>
                      </a:lnTo>
                      <a:lnTo>
                        <a:pt x="12" y="14"/>
                      </a:lnTo>
                      <a:lnTo>
                        <a:pt x="10" y="15"/>
                      </a:lnTo>
                      <a:lnTo>
                        <a:pt x="10" y="15"/>
                      </a:lnTo>
                      <a:lnTo>
                        <a:pt x="10" y="15"/>
                      </a:lnTo>
                      <a:lnTo>
                        <a:pt x="10" y="16"/>
                      </a:lnTo>
                      <a:lnTo>
                        <a:pt x="10" y="16"/>
                      </a:lnTo>
                      <a:lnTo>
                        <a:pt x="12" y="17"/>
                      </a:lnTo>
                      <a:lnTo>
                        <a:pt x="12" y="16"/>
                      </a:lnTo>
                      <a:lnTo>
                        <a:pt x="14" y="16"/>
                      </a:lnTo>
                      <a:lnTo>
                        <a:pt x="14" y="16"/>
                      </a:lnTo>
                      <a:lnTo>
                        <a:pt x="15" y="16"/>
                      </a:lnTo>
                      <a:lnTo>
                        <a:pt x="16" y="16"/>
                      </a:lnTo>
                      <a:lnTo>
                        <a:pt x="16" y="17"/>
                      </a:lnTo>
                      <a:lnTo>
                        <a:pt x="17" y="16"/>
                      </a:lnTo>
                      <a:lnTo>
                        <a:pt x="17" y="16"/>
                      </a:lnTo>
                      <a:lnTo>
                        <a:pt x="19" y="16"/>
                      </a:lnTo>
                      <a:lnTo>
                        <a:pt x="19" y="16"/>
                      </a:lnTo>
                      <a:lnTo>
                        <a:pt x="19" y="16"/>
                      </a:lnTo>
                      <a:lnTo>
                        <a:pt x="20" y="16"/>
                      </a:lnTo>
                      <a:lnTo>
                        <a:pt x="20" y="16"/>
                      </a:lnTo>
                      <a:lnTo>
                        <a:pt x="21" y="16"/>
                      </a:lnTo>
                      <a:lnTo>
                        <a:pt x="21" y="16"/>
                      </a:lnTo>
                      <a:lnTo>
                        <a:pt x="22" y="16"/>
                      </a:lnTo>
                      <a:lnTo>
                        <a:pt x="22" y="16"/>
                      </a:lnTo>
                      <a:lnTo>
                        <a:pt x="23" y="16"/>
                      </a:lnTo>
                      <a:lnTo>
                        <a:pt x="23" y="16"/>
                      </a:lnTo>
                      <a:lnTo>
                        <a:pt x="23" y="16"/>
                      </a:lnTo>
                      <a:lnTo>
                        <a:pt x="24" y="15"/>
                      </a:lnTo>
                      <a:lnTo>
                        <a:pt x="24" y="15"/>
                      </a:lnTo>
                      <a:lnTo>
                        <a:pt x="24" y="15"/>
                      </a:lnTo>
                      <a:lnTo>
                        <a:pt x="26" y="15"/>
                      </a:lnTo>
                      <a:lnTo>
                        <a:pt x="26" y="15"/>
                      </a:lnTo>
                      <a:lnTo>
                        <a:pt x="27" y="15"/>
                      </a:lnTo>
                      <a:lnTo>
                        <a:pt x="27" y="15"/>
                      </a:lnTo>
                      <a:lnTo>
                        <a:pt x="28" y="14"/>
                      </a:lnTo>
                      <a:lnTo>
                        <a:pt x="28" y="14"/>
                      </a:lnTo>
                      <a:lnTo>
                        <a:pt x="29" y="13"/>
                      </a:lnTo>
                      <a:lnTo>
                        <a:pt x="29" y="11"/>
                      </a:lnTo>
                      <a:lnTo>
                        <a:pt x="29" y="11"/>
                      </a:lnTo>
                      <a:lnTo>
                        <a:pt x="29" y="10"/>
                      </a:lnTo>
                      <a:lnTo>
                        <a:pt x="29" y="8"/>
                      </a:lnTo>
                      <a:lnTo>
                        <a:pt x="30" y="6"/>
                      </a:lnTo>
                      <a:lnTo>
                        <a:pt x="30" y="3"/>
                      </a:lnTo>
                      <a:lnTo>
                        <a:pt x="30" y="1"/>
                      </a:lnTo>
                      <a:lnTo>
                        <a:pt x="30" y="1"/>
                      </a:lnTo>
                      <a:lnTo>
                        <a:pt x="30" y="1"/>
                      </a:lnTo>
                      <a:lnTo>
                        <a:pt x="30" y="1"/>
                      </a:lnTo>
                      <a:lnTo>
                        <a:pt x="30" y="1"/>
                      </a:lnTo>
                      <a:lnTo>
                        <a:pt x="31" y="1"/>
                      </a:lnTo>
                      <a:lnTo>
                        <a:pt x="31" y="1"/>
                      </a:lnTo>
                      <a:lnTo>
                        <a:pt x="31" y="2"/>
                      </a:lnTo>
                      <a:lnTo>
                        <a:pt x="31" y="2"/>
                      </a:lnTo>
                      <a:lnTo>
                        <a:pt x="31" y="2"/>
                      </a:lnTo>
                      <a:lnTo>
                        <a:pt x="33" y="2"/>
                      </a:lnTo>
                      <a:lnTo>
                        <a:pt x="33" y="2"/>
                      </a:lnTo>
                      <a:lnTo>
                        <a:pt x="33" y="2"/>
                      </a:lnTo>
                      <a:lnTo>
                        <a:pt x="34" y="3"/>
                      </a:lnTo>
                      <a:lnTo>
                        <a:pt x="35" y="3"/>
                      </a:lnTo>
                      <a:lnTo>
                        <a:pt x="35" y="4"/>
                      </a:lnTo>
                      <a:lnTo>
                        <a:pt x="36" y="4"/>
                      </a:lnTo>
                      <a:lnTo>
                        <a:pt x="36" y="4"/>
                      </a:lnTo>
                      <a:lnTo>
                        <a:pt x="37" y="4"/>
                      </a:lnTo>
                      <a:lnTo>
                        <a:pt x="38" y="2"/>
                      </a:lnTo>
                      <a:lnTo>
                        <a:pt x="38" y="2"/>
                      </a:lnTo>
                      <a:lnTo>
                        <a:pt x="38" y="2"/>
                      </a:lnTo>
                      <a:lnTo>
                        <a:pt x="38" y="1"/>
                      </a:lnTo>
                      <a:lnTo>
                        <a:pt x="40" y="1"/>
                      </a:lnTo>
                      <a:lnTo>
                        <a:pt x="41" y="2"/>
                      </a:lnTo>
                      <a:lnTo>
                        <a:pt x="41" y="2"/>
                      </a:lnTo>
                      <a:lnTo>
                        <a:pt x="41" y="2"/>
                      </a:lnTo>
                      <a:lnTo>
                        <a:pt x="42" y="2"/>
                      </a:lnTo>
                      <a:lnTo>
                        <a:pt x="42" y="2"/>
                      </a:lnTo>
                      <a:lnTo>
                        <a:pt x="43" y="1"/>
                      </a:lnTo>
                      <a:lnTo>
                        <a:pt x="43" y="1"/>
                      </a:lnTo>
                      <a:lnTo>
                        <a:pt x="43" y="1"/>
                      </a:lnTo>
                      <a:lnTo>
                        <a:pt x="43" y="1"/>
                      </a:lnTo>
                      <a:lnTo>
                        <a:pt x="44" y="1"/>
                      </a:lnTo>
                      <a:lnTo>
                        <a:pt x="44" y="0"/>
                      </a:lnTo>
                      <a:lnTo>
                        <a:pt x="44" y="1"/>
                      </a:lnTo>
                      <a:lnTo>
                        <a:pt x="45" y="1"/>
                      </a:lnTo>
                      <a:lnTo>
                        <a:pt x="45" y="1"/>
                      </a:lnTo>
                      <a:lnTo>
                        <a:pt x="45" y="1"/>
                      </a:lnTo>
                      <a:lnTo>
                        <a:pt x="45" y="1"/>
                      </a:lnTo>
                      <a:lnTo>
                        <a:pt x="45" y="1"/>
                      </a:lnTo>
                      <a:lnTo>
                        <a:pt x="48" y="3"/>
                      </a:lnTo>
                      <a:lnTo>
                        <a:pt x="49" y="3"/>
                      </a:lnTo>
                      <a:lnTo>
                        <a:pt x="50"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7" name="Freeform 74">
                  <a:extLst>
                    <a:ext uri="{FF2B5EF4-FFF2-40B4-BE49-F238E27FC236}">
                      <a16:creationId xmlns:a16="http://schemas.microsoft.com/office/drawing/2014/main" id="{37C42EBB-BE58-9B0F-7C48-F9FAA8C927CF}"/>
                    </a:ext>
                  </a:extLst>
                </p:cNvPr>
                <p:cNvSpPr>
                  <a:spLocks/>
                </p:cNvSpPr>
                <p:nvPr/>
              </p:nvSpPr>
              <p:spPr bwMode="auto">
                <a:xfrm>
                  <a:off x="6251816" y="3373495"/>
                  <a:ext cx="106009" cy="216346"/>
                </a:xfrm>
                <a:custGeom>
                  <a:avLst/>
                  <a:gdLst>
                    <a:gd name="T0" fmla="*/ 86 w 98"/>
                    <a:gd name="T1" fmla="*/ 33 h 200"/>
                    <a:gd name="T2" fmla="*/ 94 w 98"/>
                    <a:gd name="T3" fmla="*/ 46 h 200"/>
                    <a:gd name="T4" fmla="*/ 95 w 98"/>
                    <a:gd name="T5" fmla="*/ 55 h 200"/>
                    <a:gd name="T6" fmla="*/ 98 w 98"/>
                    <a:gd name="T7" fmla="*/ 60 h 200"/>
                    <a:gd name="T8" fmla="*/ 93 w 98"/>
                    <a:gd name="T9" fmla="*/ 65 h 200"/>
                    <a:gd name="T10" fmla="*/ 89 w 98"/>
                    <a:gd name="T11" fmla="*/ 69 h 200"/>
                    <a:gd name="T12" fmla="*/ 91 w 98"/>
                    <a:gd name="T13" fmla="*/ 76 h 200"/>
                    <a:gd name="T14" fmla="*/ 82 w 98"/>
                    <a:gd name="T15" fmla="*/ 84 h 200"/>
                    <a:gd name="T16" fmla="*/ 81 w 98"/>
                    <a:gd name="T17" fmla="*/ 90 h 200"/>
                    <a:gd name="T18" fmla="*/ 75 w 98"/>
                    <a:gd name="T19" fmla="*/ 96 h 200"/>
                    <a:gd name="T20" fmla="*/ 75 w 98"/>
                    <a:gd name="T21" fmla="*/ 103 h 200"/>
                    <a:gd name="T22" fmla="*/ 68 w 98"/>
                    <a:gd name="T23" fmla="*/ 108 h 200"/>
                    <a:gd name="T24" fmla="*/ 64 w 98"/>
                    <a:gd name="T25" fmla="*/ 114 h 200"/>
                    <a:gd name="T26" fmla="*/ 64 w 98"/>
                    <a:gd name="T27" fmla="*/ 125 h 200"/>
                    <a:gd name="T28" fmla="*/ 63 w 98"/>
                    <a:gd name="T29" fmla="*/ 132 h 200"/>
                    <a:gd name="T30" fmla="*/ 63 w 98"/>
                    <a:gd name="T31" fmla="*/ 140 h 200"/>
                    <a:gd name="T32" fmla="*/ 63 w 98"/>
                    <a:gd name="T33" fmla="*/ 149 h 200"/>
                    <a:gd name="T34" fmla="*/ 64 w 98"/>
                    <a:gd name="T35" fmla="*/ 157 h 200"/>
                    <a:gd name="T36" fmla="*/ 65 w 98"/>
                    <a:gd name="T37" fmla="*/ 170 h 200"/>
                    <a:gd name="T38" fmla="*/ 64 w 98"/>
                    <a:gd name="T39" fmla="*/ 175 h 200"/>
                    <a:gd name="T40" fmla="*/ 64 w 98"/>
                    <a:gd name="T41" fmla="*/ 182 h 200"/>
                    <a:gd name="T42" fmla="*/ 64 w 98"/>
                    <a:gd name="T43" fmla="*/ 187 h 200"/>
                    <a:gd name="T44" fmla="*/ 51 w 98"/>
                    <a:gd name="T45" fmla="*/ 196 h 200"/>
                    <a:gd name="T46" fmla="*/ 34 w 98"/>
                    <a:gd name="T47" fmla="*/ 195 h 200"/>
                    <a:gd name="T48" fmla="*/ 30 w 98"/>
                    <a:gd name="T49" fmla="*/ 189 h 200"/>
                    <a:gd name="T50" fmla="*/ 27 w 98"/>
                    <a:gd name="T51" fmla="*/ 186 h 200"/>
                    <a:gd name="T52" fmla="*/ 28 w 98"/>
                    <a:gd name="T53" fmla="*/ 180 h 200"/>
                    <a:gd name="T54" fmla="*/ 29 w 98"/>
                    <a:gd name="T55" fmla="*/ 171 h 200"/>
                    <a:gd name="T56" fmla="*/ 28 w 98"/>
                    <a:gd name="T57" fmla="*/ 149 h 200"/>
                    <a:gd name="T58" fmla="*/ 29 w 98"/>
                    <a:gd name="T59" fmla="*/ 128 h 200"/>
                    <a:gd name="T60" fmla="*/ 28 w 98"/>
                    <a:gd name="T61" fmla="*/ 117 h 200"/>
                    <a:gd name="T62" fmla="*/ 24 w 98"/>
                    <a:gd name="T63" fmla="*/ 104 h 200"/>
                    <a:gd name="T64" fmla="*/ 20 w 98"/>
                    <a:gd name="T65" fmla="*/ 96 h 200"/>
                    <a:gd name="T66" fmla="*/ 20 w 98"/>
                    <a:gd name="T67" fmla="*/ 90 h 200"/>
                    <a:gd name="T68" fmla="*/ 18 w 98"/>
                    <a:gd name="T69" fmla="*/ 79 h 200"/>
                    <a:gd name="T70" fmla="*/ 0 w 98"/>
                    <a:gd name="T71" fmla="*/ 67 h 200"/>
                    <a:gd name="T72" fmla="*/ 1 w 98"/>
                    <a:gd name="T73" fmla="*/ 55 h 200"/>
                    <a:gd name="T74" fmla="*/ 3 w 98"/>
                    <a:gd name="T75" fmla="*/ 49 h 200"/>
                    <a:gd name="T76" fmla="*/ 6 w 98"/>
                    <a:gd name="T77" fmla="*/ 46 h 200"/>
                    <a:gd name="T78" fmla="*/ 11 w 98"/>
                    <a:gd name="T79" fmla="*/ 46 h 200"/>
                    <a:gd name="T80" fmla="*/ 10 w 98"/>
                    <a:gd name="T81" fmla="*/ 42 h 200"/>
                    <a:gd name="T82" fmla="*/ 13 w 98"/>
                    <a:gd name="T83" fmla="*/ 38 h 200"/>
                    <a:gd name="T84" fmla="*/ 16 w 98"/>
                    <a:gd name="T85" fmla="*/ 37 h 200"/>
                    <a:gd name="T86" fmla="*/ 17 w 98"/>
                    <a:gd name="T87" fmla="*/ 35 h 200"/>
                    <a:gd name="T88" fmla="*/ 22 w 98"/>
                    <a:gd name="T89" fmla="*/ 32 h 200"/>
                    <a:gd name="T90" fmla="*/ 30 w 98"/>
                    <a:gd name="T91" fmla="*/ 33 h 200"/>
                    <a:gd name="T92" fmla="*/ 37 w 98"/>
                    <a:gd name="T93" fmla="*/ 33 h 200"/>
                    <a:gd name="T94" fmla="*/ 49 w 98"/>
                    <a:gd name="T95" fmla="*/ 25 h 200"/>
                    <a:gd name="T96" fmla="*/ 51 w 98"/>
                    <a:gd name="T97" fmla="*/ 17 h 200"/>
                    <a:gd name="T98" fmla="*/ 52 w 98"/>
                    <a:gd name="T99" fmla="*/ 13 h 200"/>
                    <a:gd name="T100" fmla="*/ 53 w 98"/>
                    <a:gd name="T101" fmla="*/ 6 h 200"/>
                    <a:gd name="T102" fmla="*/ 57 w 98"/>
                    <a:gd name="T103" fmla="*/ 4 h 200"/>
                    <a:gd name="T104" fmla="*/ 60 w 98"/>
                    <a:gd name="T105" fmla="*/ 4 h 200"/>
                    <a:gd name="T106" fmla="*/ 65 w 98"/>
                    <a:gd name="T107" fmla="*/ 2 h 200"/>
                    <a:gd name="T108" fmla="*/ 71 w 98"/>
                    <a:gd name="T109" fmla="*/ 5 h 200"/>
                    <a:gd name="T110" fmla="*/ 79 w 98"/>
                    <a:gd name="T111" fmla="*/ 14 h 200"/>
                    <a:gd name="T112" fmla="*/ 82 w 98"/>
                    <a:gd name="T113" fmla="*/ 17 h 200"/>
                    <a:gd name="T114" fmla="*/ 88 w 98"/>
                    <a:gd name="T115" fmla="*/ 2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 h="200">
                      <a:moveTo>
                        <a:pt x="89" y="24"/>
                      </a:moveTo>
                      <a:lnTo>
                        <a:pt x="87" y="28"/>
                      </a:lnTo>
                      <a:lnTo>
                        <a:pt x="87" y="30"/>
                      </a:lnTo>
                      <a:lnTo>
                        <a:pt x="86" y="30"/>
                      </a:lnTo>
                      <a:lnTo>
                        <a:pt x="86" y="32"/>
                      </a:lnTo>
                      <a:lnTo>
                        <a:pt x="86" y="33"/>
                      </a:lnTo>
                      <a:lnTo>
                        <a:pt x="92" y="41"/>
                      </a:lnTo>
                      <a:lnTo>
                        <a:pt x="93" y="42"/>
                      </a:lnTo>
                      <a:lnTo>
                        <a:pt x="94" y="42"/>
                      </a:lnTo>
                      <a:lnTo>
                        <a:pt x="94" y="44"/>
                      </a:lnTo>
                      <a:lnTo>
                        <a:pt x="94" y="45"/>
                      </a:lnTo>
                      <a:lnTo>
                        <a:pt x="94" y="46"/>
                      </a:lnTo>
                      <a:lnTo>
                        <a:pt x="95" y="49"/>
                      </a:lnTo>
                      <a:lnTo>
                        <a:pt x="94" y="52"/>
                      </a:lnTo>
                      <a:lnTo>
                        <a:pt x="94" y="53"/>
                      </a:lnTo>
                      <a:lnTo>
                        <a:pt x="95" y="53"/>
                      </a:lnTo>
                      <a:lnTo>
                        <a:pt x="95" y="54"/>
                      </a:lnTo>
                      <a:lnTo>
                        <a:pt x="95" y="55"/>
                      </a:lnTo>
                      <a:lnTo>
                        <a:pt x="96" y="55"/>
                      </a:lnTo>
                      <a:lnTo>
                        <a:pt x="98" y="55"/>
                      </a:lnTo>
                      <a:lnTo>
                        <a:pt x="98" y="56"/>
                      </a:lnTo>
                      <a:lnTo>
                        <a:pt x="98" y="58"/>
                      </a:lnTo>
                      <a:lnTo>
                        <a:pt x="98" y="59"/>
                      </a:lnTo>
                      <a:lnTo>
                        <a:pt x="98" y="60"/>
                      </a:lnTo>
                      <a:lnTo>
                        <a:pt x="96" y="61"/>
                      </a:lnTo>
                      <a:lnTo>
                        <a:pt x="96" y="62"/>
                      </a:lnTo>
                      <a:lnTo>
                        <a:pt x="96" y="63"/>
                      </a:lnTo>
                      <a:lnTo>
                        <a:pt x="96" y="65"/>
                      </a:lnTo>
                      <a:lnTo>
                        <a:pt x="95" y="65"/>
                      </a:lnTo>
                      <a:lnTo>
                        <a:pt x="93" y="65"/>
                      </a:lnTo>
                      <a:lnTo>
                        <a:pt x="92" y="65"/>
                      </a:lnTo>
                      <a:lnTo>
                        <a:pt x="91" y="65"/>
                      </a:lnTo>
                      <a:lnTo>
                        <a:pt x="91" y="66"/>
                      </a:lnTo>
                      <a:lnTo>
                        <a:pt x="91" y="67"/>
                      </a:lnTo>
                      <a:lnTo>
                        <a:pt x="91" y="68"/>
                      </a:lnTo>
                      <a:lnTo>
                        <a:pt x="89" y="69"/>
                      </a:lnTo>
                      <a:lnTo>
                        <a:pt x="89" y="70"/>
                      </a:lnTo>
                      <a:lnTo>
                        <a:pt x="92" y="73"/>
                      </a:lnTo>
                      <a:lnTo>
                        <a:pt x="93" y="73"/>
                      </a:lnTo>
                      <a:lnTo>
                        <a:pt x="93" y="74"/>
                      </a:lnTo>
                      <a:lnTo>
                        <a:pt x="92" y="75"/>
                      </a:lnTo>
                      <a:lnTo>
                        <a:pt x="91" y="76"/>
                      </a:lnTo>
                      <a:lnTo>
                        <a:pt x="91" y="80"/>
                      </a:lnTo>
                      <a:lnTo>
                        <a:pt x="89" y="81"/>
                      </a:lnTo>
                      <a:lnTo>
                        <a:pt x="88" y="83"/>
                      </a:lnTo>
                      <a:lnTo>
                        <a:pt x="86" y="83"/>
                      </a:lnTo>
                      <a:lnTo>
                        <a:pt x="85" y="83"/>
                      </a:lnTo>
                      <a:lnTo>
                        <a:pt x="82" y="84"/>
                      </a:lnTo>
                      <a:lnTo>
                        <a:pt x="81" y="84"/>
                      </a:lnTo>
                      <a:lnTo>
                        <a:pt x="81" y="86"/>
                      </a:lnTo>
                      <a:lnTo>
                        <a:pt x="81" y="87"/>
                      </a:lnTo>
                      <a:lnTo>
                        <a:pt x="82" y="88"/>
                      </a:lnTo>
                      <a:lnTo>
                        <a:pt x="82" y="89"/>
                      </a:lnTo>
                      <a:lnTo>
                        <a:pt x="81" y="90"/>
                      </a:lnTo>
                      <a:lnTo>
                        <a:pt x="80" y="90"/>
                      </a:lnTo>
                      <a:lnTo>
                        <a:pt x="79" y="90"/>
                      </a:lnTo>
                      <a:lnTo>
                        <a:pt x="79" y="91"/>
                      </a:lnTo>
                      <a:lnTo>
                        <a:pt x="78" y="94"/>
                      </a:lnTo>
                      <a:lnTo>
                        <a:pt x="77" y="95"/>
                      </a:lnTo>
                      <a:lnTo>
                        <a:pt x="75" y="96"/>
                      </a:lnTo>
                      <a:lnTo>
                        <a:pt x="75" y="97"/>
                      </a:lnTo>
                      <a:lnTo>
                        <a:pt x="77" y="98"/>
                      </a:lnTo>
                      <a:lnTo>
                        <a:pt x="77" y="100"/>
                      </a:lnTo>
                      <a:lnTo>
                        <a:pt x="77" y="101"/>
                      </a:lnTo>
                      <a:lnTo>
                        <a:pt x="77" y="102"/>
                      </a:lnTo>
                      <a:lnTo>
                        <a:pt x="75" y="103"/>
                      </a:lnTo>
                      <a:lnTo>
                        <a:pt x="74" y="107"/>
                      </a:lnTo>
                      <a:lnTo>
                        <a:pt x="74" y="108"/>
                      </a:lnTo>
                      <a:lnTo>
                        <a:pt x="73" y="108"/>
                      </a:lnTo>
                      <a:lnTo>
                        <a:pt x="71" y="109"/>
                      </a:lnTo>
                      <a:lnTo>
                        <a:pt x="70" y="108"/>
                      </a:lnTo>
                      <a:lnTo>
                        <a:pt x="68" y="108"/>
                      </a:lnTo>
                      <a:lnTo>
                        <a:pt x="67" y="109"/>
                      </a:lnTo>
                      <a:lnTo>
                        <a:pt x="64" y="109"/>
                      </a:lnTo>
                      <a:lnTo>
                        <a:pt x="65" y="110"/>
                      </a:lnTo>
                      <a:lnTo>
                        <a:pt x="64" y="111"/>
                      </a:lnTo>
                      <a:lnTo>
                        <a:pt x="64" y="112"/>
                      </a:lnTo>
                      <a:lnTo>
                        <a:pt x="64" y="114"/>
                      </a:lnTo>
                      <a:lnTo>
                        <a:pt x="64" y="115"/>
                      </a:lnTo>
                      <a:lnTo>
                        <a:pt x="64" y="116"/>
                      </a:lnTo>
                      <a:lnTo>
                        <a:pt x="64" y="117"/>
                      </a:lnTo>
                      <a:lnTo>
                        <a:pt x="63" y="117"/>
                      </a:lnTo>
                      <a:lnTo>
                        <a:pt x="63" y="118"/>
                      </a:lnTo>
                      <a:lnTo>
                        <a:pt x="64" y="125"/>
                      </a:lnTo>
                      <a:lnTo>
                        <a:pt x="64" y="126"/>
                      </a:lnTo>
                      <a:lnTo>
                        <a:pt x="64" y="128"/>
                      </a:lnTo>
                      <a:lnTo>
                        <a:pt x="64" y="129"/>
                      </a:lnTo>
                      <a:lnTo>
                        <a:pt x="63" y="129"/>
                      </a:lnTo>
                      <a:lnTo>
                        <a:pt x="63" y="130"/>
                      </a:lnTo>
                      <a:lnTo>
                        <a:pt x="63" y="132"/>
                      </a:lnTo>
                      <a:lnTo>
                        <a:pt x="63" y="133"/>
                      </a:lnTo>
                      <a:lnTo>
                        <a:pt x="64" y="136"/>
                      </a:lnTo>
                      <a:lnTo>
                        <a:pt x="64" y="137"/>
                      </a:lnTo>
                      <a:lnTo>
                        <a:pt x="63" y="138"/>
                      </a:lnTo>
                      <a:lnTo>
                        <a:pt x="63" y="139"/>
                      </a:lnTo>
                      <a:lnTo>
                        <a:pt x="63" y="140"/>
                      </a:lnTo>
                      <a:lnTo>
                        <a:pt x="63" y="143"/>
                      </a:lnTo>
                      <a:lnTo>
                        <a:pt x="63" y="145"/>
                      </a:lnTo>
                      <a:lnTo>
                        <a:pt x="61" y="145"/>
                      </a:lnTo>
                      <a:lnTo>
                        <a:pt x="61" y="146"/>
                      </a:lnTo>
                      <a:lnTo>
                        <a:pt x="63" y="147"/>
                      </a:lnTo>
                      <a:lnTo>
                        <a:pt x="63" y="149"/>
                      </a:lnTo>
                      <a:lnTo>
                        <a:pt x="64" y="149"/>
                      </a:lnTo>
                      <a:lnTo>
                        <a:pt x="64" y="150"/>
                      </a:lnTo>
                      <a:lnTo>
                        <a:pt x="63" y="153"/>
                      </a:lnTo>
                      <a:lnTo>
                        <a:pt x="63" y="154"/>
                      </a:lnTo>
                      <a:lnTo>
                        <a:pt x="64" y="156"/>
                      </a:lnTo>
                      <a:lnTo>
                        <a:pt x="64" y="157"/>
                      </a:lnTo>
                      <a:lnTo>
                        <a:pt x="65" y="158"/>
                      </a:lnTo>
                      <a:lnTo>
                        <a:pt x="66" y="159"/>
                      </a:lnTo>
                      <a:lnTo>
                        <a:pt x="65" y="160"/>
                      </a:lnTo>
                      <a:lnTo>
                        <a:pt x="65" y="161"/>
                      </a:lnTo>
                      <a:lnTo>
                        <a:pt x="64" y="161"/>
                      </a:lnTo>
                      <a:lnTo>
                        <a:pt x="65" y="170"/>
                      </a:lnTo>
                      <a:lnTo>
                        <a:pt x="64" y="171"/>
                      </a:lnTo>
                      <a:lnTo>
                        <a:pt x="64" y="172"/>
                      </a:lnTo>
                      <a:lnTo>
                        <a:pt x="65" y="173"/>
                      </a:lnTo>
                      <a:lnTo>
                        <a:pt x="65" y="174"/>
                      </a:lnTo>
                      <a:lnTo>
                        <a:pt x="64" y="174"/>
                      </a:lnTo>
                      <a:lnTo>
                        <a:pt x="64" y="175"/>
                      </a:lnTo>
                      <a:lnTo>
                        <a:pt x="64" y="177"/>
                      </a:lnTo>
                      <a:lnTo>
                        <a:pt x="64" y="178"/>
                      </a:lnTo>
                      <a:lnTo>
                        <a:pt x="64" y="179"/>
                      </a:lnTo>
                      <a:lnTo>
                        <a:pt x="64" y="180"/>
                      </a:lnTo>
                      <a:lnTo>
                        <a:pt x="64" y="181"/>
                      </a:lnTo>
                      <a:lnTo>
                        <a:pt x="64" y="182"/>
                      </a:lnTo>
                      <a:lnTo>
                        <a:pt x="65" y="182"/>
                      </a:lnTo>
                      <a:lnTo>
                        <a:pt x="65" y="184"/>
                      </a:lnTo>
                      <a:lnTo>
                        <a:pt x="65" y="185"/>
                      </a:lnTo>
                      <a:lnTo>
                        <a:pt x="64" y="185"/>
                      </a:lnTo>
                      <a:lnTo>
                        <a:pt x="64" y="186"/>
                      </a:lnTo>
                      <a:lnTo>
                        <a:pt x="64" y="187"/>
                      </a:lnTo>
                      <a:lnTo>
                        <a:pt x="64" y="188"/>
                      </a:lnTo>
                      <a:lnTo>
                        <a:pt x="64" y="191"/>
                      </a:lnTo>
                      <a:lnTo>
                        <a:pt x="64" y="192"/>
                      </a:lnTo>
                      <a:lnTo>
                        <a:pt x="63" y="193"/>
                      </a:lnTo>
                      <a:lnTo>
                        <a:pt x="63" y="195"/>
                      </a:lnTo>
                      <a:lnTo>
                        <a:pt x="51" y="196"/>
                      </a:lnTo>
                      <a:lnTo>
                        <a:pt x="47" y="196"/>
                      </a:lnTo>
                      <a:lnTo>
                        <a:pt x="37" y="198"/>
                      </a:lnTo>
                      <a:lnTo>
                        <a:pt x="29" y="200"/>
                      </a:lnTo>
                      <a:lnTo>
                        <a:pt x="29" y="199"/>
                      </a:lnTo>
                      <a:lnTo>
                        <a:pt x="34" y="198"/>
                      </a:lnTo>
                      <a:lnTo>
                        <a:pt x="34" y="195"/>
                      </a:lnTo>
                      <a:lnTo>
                        <a:pt x="32" y="193"/>
                      </a:lnTo>
                      <a:lnTo>
                        <a:pt x="32" y="192"/>
                      </a:lnTo>
                      <a:lnTo>
                        <a:pt x="31" y="192"/>
                      </a:lnTo>
                      <a:lnTo>
                        <a:pt x="30" y="192"/>
                      </a:lnTo>
                      <a:lnTo>
                        <a:pt x="30" y="191"/>
                      </a:lnTo>
                      <a:lnTo>
                        <a:pt x="30" y="189"/>
                      </a:lnTo>
                      <a:lnTo>
                        <a:pt x="30" y="188"/>
                      </a:lnTo>
                      <a:lnTo>
                        <a:pt x="29" y="188"/>
                      </a:lnTo>
                      <a:lnTo>
                        <a:pt x="28" y="188"/>
                      </a:lnTo>
                      <a:lnTo>
                        <a:pt x="28" y="187"/>
                      </a:lnTo>
                      <a:lnTo>
                        <a:pt x="28" y="186"/>
                      </a:lnTo>
                      <a:lnTo>
                        <a:pt x="27" y="186"/>
                      </a:lnTo>
                      <a:lnTo>
                        <a:pt x="27" y="185"/>
                      </a:lnTo>
                      <a:lnTo>
                        <a:pt x="28" y="185"/>
                      </a:lnTo>
                      <a:lnTo>
                        <a:pt x="28" y="184"/>
                      </a:lnTo>
                      <a:lnTo>
                        <a:pt x="28" y="182"/>
                      </a:lnTo>
                      <a:lnTo>
                        <a:pt x="28" y="181"/>
                      </a:lnTo>
                      <a:lnTo>
                        <a:pt x="28" y="180"/>
                      </a:lnTo>
                      <a:lnTo>
                        <a:pt x="28" y="179"/>
                      </a:lnTo>
                      <a:lnTo>
                        <a:pt x="27" y="178"/>
                      </a:lnTo>
                      <a:lnTo>
                        <a:pt x="25" y="175"/>
                      </a:lnTo>
                      <a:lnTo>
                        <a:pt x="28" y="175"/>
                      </a:lnTo>
                      <a:lnTo>
                        <a:pt x="29" y="175"/>
                      </a:lnTo>
                      <a:lnTo>
                        <a:pt x="29" y="171"/>
                      </a:lnTo>
                      <a:lnTo>
                        <a:pt x="29" y="166"/>
                      </a:lnTo>
                      <a:lnTo>
                        <a:pt x="29" y="161"/>
                      </a:lnTo>
                      <a:lnTo>
                        <a:pt x="29" y="158"/>
                      </a:lnTo>
                      <a:lnTo>
                        <a:pt x="29" y="156"/>
                      </a:lnTo>
                      <a:lnTo>
                        <a:pt x="29" y="154"/>
                      </a:lnTo>
                      <a:lnTo>
                        <a:pt x="28" y="149"/>
                      </a:lnTo>
                      <a:lnTo>
                        <a:pt x="28" y="143"/>
                      </a:lnTo>
                      <a:lnTo>
                        <a:pt x="28" y="138"/>
                      </a:lnTo>
                      <a:lnTo>
                        <a:pt x="28" y="135"/>
                      </a:lnTo>
                      <a:lnTo>
                        <a:pt x="28" y="131"/>
                      </a:lnTo>
                      <a:lnTo>
                        <a:pt x="28" y="130"/>
                      </a:lnTo>
                      <a:lnTo>
                        <a:pt x="29" y="128"/>
                      </a:lnTo>
                      <a:lnTo>
                        <a:pt x="29" y="126"/>
                      </a:lnTo>
                      <a:lnTo>
                        <a:pt x="28" y="126"/>
                      </a:lnTo>
                      <a:lnTo>
                        <a:pt x="28" y="125"/>
                      </a:lnTo>
                      <a:lnTo>
                        <a:pt x="28" y="124"/>
                      </a:lnTo>
                      <a:lnTo>
                        <a:pt x="28" y="119"/>
                      </a:lnTo>
                      <a:lnTo>
                        <a:pt x="28" y="117"/>
                      </a:lnTo>
                      <a:lnTo>
                        <a:pt x="28" y="114"/>
                      </a:lnTo>
                      <a:lnTo>
                        <a:pt x="28" y="109"/>
                      </a:lnTo>
                      <a:lnTo>
                        <a:pt x="27" y="109"/>
                      </a:lnTo>
                      <a:lnTo>
                        <a:pt x="27" y="108"/>
                      </a:lnTo>
                      <a:lnTo>
                        <a:pt x="27" y="107"/>
                      </a:lnTo>
                      <a:lnTo>
                        <a:pt x="24" y="104"/>
                      </a:lnTo>
                      <a:lnTo>
                        <a:pt x="22" y="102"/>
                      </a:lnTo>
                      <a:lnTo>
                        <a:pt x="21" y="101"/>
                      </a:lnTo>
                      <a:lnTo>
                        <a:pt x="21" y="100"/>
                      </a:lnTo>
                      <a:lnTo>
                        <a:pt x="20" y="96"/>
                      </a:lnTo>
                      <a:lnTo>
                        <a:pt x="20" y="95"/>
                      </a:lnTo>
                      <a:lnTo>
                        <a:pt x="20" y="96"/>
                      </a:lnTo>
                      <a:lnTo>
                        <a:pt x="18" y="95"/>
                      </a:lnTo>
                      <a:lnTo>
                        <a:pt x="18" y="94"/>
                      </a:lnTo>
                      <a:lnTo>
                        <a:pt x="18" y="93"/>
                      </a:lnTo>
                      <a:lnTo>
                        <a:pt x="20" y="93"/>
                      </a:lnTo>
                      <a:lnTo>
                        <a:pt x="20" y="91"/>
                      </a:lnTo>
                      <a:lnTo>
                        <a:pt x="20" y="90"/>
                      </a:lnTo>
                      <a:lnTo>
                        <a:pt x="18" y="89"/>
                      </a:lnTo>
                      <a:lnTo>
                        <a:pt x="18" y="87"/>
                      </a:lnTo>
                      <a:lnTo>
                        <a:pt x="18" y="83"/>
                      </a:lnTo>
                      <a:lnTo>
                        <a:pt x="18" y="81"/>
                      </a:lnTo>
                      <a:lnTo>
                        <a:pt x="18" y="80"/>
                      </a:lnTo>
                      <a:lnTo>
                        <a:pt x="18" y="79"/>
                      </a:lnTo>
                      <a:lnTo>
                        <a:pt x="15" y="77"/>
                      </a:lnTo>
                      <a:lnTo>
                        <a:pt x="10" y="74"/>
                      </a:lnTo>
                      <a:lnTo>
                        <a:pt x="8" y="73"/>
                      </a:lnTo>
                      <a:lnTo>
                        <a:pt x="6" y="70"/>
                      </a:lnTo>
                      <a:lnTo>
                        <a:pt x="2" y="69"/>
                      </a:lnTo>
                      <a:lnTo>
                        <a:pt x="0" y="67"/>
                      </a:lnTo>
                      <a:lnTo>
                        <a:pt x="0" y="66"/>
                      </a:lnTo>
                      <a:lnTo>
                        <a:pt x="0" y="63"/>
                      </a:lnTo>
                      <a:lnTo>
                        <a:pt x="1" y="61"/>
                      </a:lnTo>
                      <a:lnTo>
                        <a:pt x="1" y="60"/>
                      </a:lnTo>
                      <a:lnTo>
                        <a:pt x="1" y="56"/>
                      </a:lnTo>
                      <a:lnTo>
                        <a:pt x="1" y="55"/>
                      </a:lnTo>
                      <a:lnTo>
                        <a:pt x="2" y="54"/>
                      </a:lnTo>
                      <a:lnTo>
                        <a:pt x="3" y="54"/>
                      </a:lnTo>
                      <a:lnTo>
                        <a:pt x="3" y="53"/>
                      </a:lnTo>
                      <a:lnTo>
                        <a:pt x="3" y="52"/>
                      </a:lnTo>
                      <a:lnTo>
                        <a:pt x="3" y="51"/>
                      </a:lnTo>
                      <a:lnTo>
                        <a:pt x="3" y="49"/>
                      </a:lnTo>
                      <a:lnTo>
                        <a:pt x="4" y="47"/>
                      </a:lnTo>
                      <a:lnTo>
                        <a:pt x="6" y="48"/>
                      </a:lnTo>
                      <a:lnTo>
                        <a:pt x="7" y="48"/>
                      </a:lnTo>
                      <a:lnTo>
                        <a:pt x="7" y="47"/>
                      </a:lnTo>
                      <a:lnTo>
                        <a:pt x="6" y="47"/>
                      </a:lnTo>
                      <a:lnTo>
                        <a:pt x="6" y="46"/>
                      </a:lnTo>
                      <a:lnTo>
                        <a:pt x="7" y="45"/>
                      </a:lnTo>
                      <a:lnTo>
                        <a:pt x="8" y="45"/>
                      </a:lnTo>
                      <a:lnTo>
                        <a:pt x="9" y="45"/>
                      </a:lnTo>
                      <a:lnTo>
                        <a:pt x="10" y="45"/>
                      </a:lnTo>
                      <a:lnTo>
                        <a:pt x="10" y="46"/>
                      </a:lnTo>
                      <a:lnTo>
                        <a:pt x="11" y="46"/>
                      </a:lnTo>
                      <a:lnTo>
                        <a:pt x="11" y="45"/>
                      </a:lnTo>
                      <a:lnTo>
                        <a:pt x="10" y="45"/>
                      </a:lnTo>
                      <a:lnTo>
                        <a:pt x="10" y="44"/>
                      </a:lnTo>
                      <a:lnTo>
                        <a:pt x="10" y="42"/>
                      </a:lnTo>
                      <a:lnTo>
                        <a:pt x="9" y="42"/>
                      </a:lnTo>
                      <a:lnTo>
                        <a:pt x="10" y="42"/>
                      </a:lnTo>
                      <a:lnTo>
                        <a:pt x="11" y="41"/>
                      </a:lnTo>
                      <a:lnTo>
                        <a:pt x="13" y="41"/>
                      </a:lnTo>
                      <a:lnTo>
                        <a:pt x="13" y="40"/>
                      </a:lnTo>
                      <a:lnTo>
                        <a:pt x="11" y="39"/>
                      </a:lnTo>
                      <a:lnTo>
                        <a:pt x="11" y="38"/>
                      </a:lnTo>
                      <a:lnTo>
                        <a:pt x="13" y="38"/>
                      </a:lnTo>
                      <a:lnTo>
                        <a:pt x="13" y="39"/>
                      </a:lnTo>
                      <a:lnTo>
                        <a:pt x="14" y="38"/>
                      </a:lnTo>
                      <a:lnTo>
                        <a:pt x="15" y="38"/>
                      </a:lnTo>
                      <a:lnTo>
                        <a:pt x="16" y="39"/>
                      </a:lnTo>
                      <a:lnTo>
                        <a:pt x="16" y="38"/>
                      </a:lnTo>
                      <a:lnTo>
                        <a:pt x="16" y="37"/>
                      </a:lnTo>
                      <a:lnTo>
                        <a:pt x="17" y="37"/>
                      </a:lnTo>
                      <a:lnTo>
                        <a:pt x="17" y="38"/>
                      </a:lnTo>
                      <a:lnTo>
                        <a:pt x="17" y="37"/>
                      </a:lnTo>
                      <a:lnTo>
                        <a:pt x="17" y="38"/>
                      </a:lnTo>
                      <a:lnTo>
                        <a:pt x="18" y="37"/>
                      </a:lnTo>
                      <a:lnTo>
                        <a:pt x="17" y="35"/>
                      </a:lnTo>
                      <a:lnTo>
                        <a:pt x="18" y="35"/>
                      </a:lnTo>
                      <a:lnTo>
                        <a:pt x="18" y="34"/>
                      </a:lnTo>
                      <a:lnTo>
                        <a:pt x="20" y="34"/>
                      </a:lnTo>
                      <a:lnTo>
                        <a:pt x="20" y="33"/>
                      </a:lnTo>
                      <a:lnTo>
                        <a:pt x="21" y="32"/>
                      </a:lnTo>
                      <a:lnTo>
                        <a:pt x="22" y="32"/>
                      </a:lnTo>
                      <a:lnTo>
                        <a:pt x="25" y="32"/>
                      </a:lnTo>
                      <a:lnTo>
                        <a:pt x="25" y="33"/>
                      </a:lnTo>
                      <a:lnTo>
                        <a:pt x="27" y="34"/>
                      </a:lnTo>
                      <a:lnTo>
                        <a:pt x="28" y="33"/>
                      </a:lnTo>
                      <a:lnTo>
                        <a:pt x="29" y="33"/>
                      </a:lnTo>
                      <a:lnTo>
                        <a:pt x="30" y="33"/>
                      </a:lnTo>
                      <a:lnTo>
                        <a:pt x="31" y="33"/>
                      </a:lnTo>
                      <a:lnTo>
                        <a:pt x="32" y="33"/>
                      </a:lnTo>
                      <a:lnTo>
                        <a:pt x="34" y="32"/>
                      </a:lnTo>
                      <a:lnTo>
                        <a:pt x="35" y="32"/>
                      </a:lnTo>
                      <a:lnTo>
                        <a:pt x="36" y="33"/>
                      </a:lnTo>
                      <a:lnTo>
                        <a:pt x="37" y="33"/>
                      </a:lnTo>
                      <a:lnTo>
                        <a:pt x="38" y="33"/>
                      </a:lnTo>
                      <a:lnTo>
                        <a:pt x="39" y="33"/>
                      </a:lnTo>
                      <a:lnTo>
                        <a:pt x="44" y="28"/>
                      </a:lnTo>
                      <a:lnTo>
                        <a:pt x="46" y="26"/>
                      </a:lnTo>
                      <a:lnTo>
                        <a:pt x="47" y="25"/>
                      </a:lnTo>
                      <a:lnTo>
                        <a:pt x="49" y="25"/>
                      </a:lnTo>
                      <a:lnTo>
                        <a:pt x="49" y="24"/>
                      </a:lnTo>
                      <a:lnTo>
                        <a:pt x="49" y="23"/>
                      </a:lnTo>
                      <a:lnTo>
                        <a:pt x="50" y="21"/>
                      </a:lnTo>
                      <a:lnTo>
                        <a:pt x="50" y="20"/>
                      </a:lnTo>
                      <a:lnTo>
                        <a:pt x="51" y="18"/>
                      </a:lnTo>
                      <a:lnTo>
                        <a:pt x="51" y="17"/>
                      </a:lnTo>
                      <a:lnTo>
                        <a:pt x="51" y="16"/>
                      </a:lnTo>
                      <a:lnTo>
                        <a:pt x="52" y="16"/>
                      </a:lnTo>
                      <a:lnTo>
                        <a:pt x="52" y="14"/>
                      </a:lnTo>
                      <a:lnTo>
                        <a:pt x="53" y="14"/>
                      </a:lnTo>
                      <a:lnTo>
                        <a:pt x="53" y="13"/>
                      </a:lnTo>
                      <a:lnTo>
                        <a:pt x="52" y="13"/>
                      </a:lnTo>
                      <a:lnTo>
                        <a:pt x="52" y="12"/>
                      </a:lnTo>
                      <a:lnTo>
                        <a:pt x="51" y="10"/>
                      </a:lnTo>
                      <a:lnTo>
                        <a:pt x="50" y="7"/>
                      </a:lnTo>
                      <a:lnTo>
                        <a:pt x="51" y="6"/>
                      </a:lnTo>
                      <a:lnTo>
                        <a:pt x="52" y="6"/>
                      </a:lnTo>
                      <a:lnTo>
                        <a:pt x="53" y="6"/>
                      </a:lnTo>
                      <a:lnTo>
                        <a:pt x="53" y="5"/>
                      </a:lnTo>
                      <a:lnTo>
                        <a:pt x="54" y="6"/>
                      </a:lnTo>
                      <a:lnTo>
                        <a:pt x="54" y="5"/>
                      </a:lnTo>
                      <a:lnTo>
                        <a:pt x="56" y="5"/>
                      </a:lnTo>
                      <a:lnTo>
                        <a:pt x="57" y="5"/>
                      </a:lnTo>
                      <a:lnTo>
                        <a:pt x="57" y="4"/>
                      </a:lnTo>
                      <a:lnTo>
                        <a:pt x="58" y="4"/>
                      </a:lnTo>
                      <a:lnTo>
                        <a:pt x="58" y="5"/>
                      </a:lnTo>
                      <a:lnTo>
                        <a:pt x="58" y="4"/>
                      </a:lnTo>
                      <a:lnTo>
                        <a:pt x="59" y="4"/>
                      </a:lnTo>
                      <a:lnTo>
                        <a:pt x="60" y="5"/>
                      </a:lnTo>
                      <a:lnTo>
                        <a:pt x="60" y="4"/>
                      </a:lnTo>
                      <a:lnTo>
                        <a:pt x="60" y="3"/>
                      </a:lnTo>
                      <a:lnTo>
                        <a:pt x="61" y="3"/>
                      </a:lnTo>
                      <a:lnTo>
                        <a:pt x="63" y="3"/>
                      </a:lnTo>
                      <a:lnTo>
                        <a:pt x="63" y="2"/>
                      </a:lnTo>
                      <a:lnTo>
                        <a:pt x="64" y="2"/>
                      </a:lnTo>
                      <a:lnTo>
                        <a:pt x="65" y="2"/>
                      </a:lnTo>
                      <a:lnTo>
                        <a:pt x="66" y="0"/>
                      </a:lnTo>
                      <a:lnTo>
                        <a:pt x="67" y="3"/>
                      </a:lnTo>
                      <a:lnTo>
                        <a:pt x="68" y="3"/>
                      </a:lnTo>
                      <a:lnTo>
                        <a:pt x="68" y="4"/>
                      </a:lnTo>
                      <a:lnTo>
                        <a:pt x="70" y="5"/>
                      </a:lnTo>
                      <a:lnTo>
                        <a:pt x="71" y="5"/>
                      </a:lnTo>
                      <a:lnTo>
                        <a:pt x="71" y="6"/>
                      </a:lnTo>
                      <a:lnTo>
                        <a:pt x="73" y="7"/>
                      </a:lnTo>
                      <a:lnTo>
                        <a:pt x="78" y="12"/>
                      </a:lnTo>
                      <a:lnTo>
                        <a:pt x="78" y="13"/>
                      </a:lnTo>
                      <a:lnTo>
                        <a:pt x="79" y="13"/>
                      </a:lnTo>
                      <a:lnTo>
                        <a:pt x="79" y="14"/>
                      </a:lnTo>
                      <a:lnTo>
                        <a:pt x="79" y="16"/>
                      </a:lnTo>
                      <a:lnTo>
                        <a:pt x="80" y="17"/>
                      </a:lnTo>
                      <a:lnTo>
                        <a:pt x="81" y="17"/>
                      </a:lnTo>
                      <a:lnTo>
                        <a:pt x="81" y="18"/>
                      </a:lnTo>
                      <a:lnTo>
                        <a:pt x="82" y="18"/>
                      </a:lnTo>
                      <a:lnTo>
                        <a:pt x="82" y="17"/>
                      </a:lnTo>
                      <a:lnTo>
                        <a:pt x="84" y="18"/>
                      </a:lnTo>
                      <a:lnTo>
                        <a:pt x="85" y="18"/>
                      </a:lnTo>
                      <a:lnTo>
                        <a:pt x="86" y="19"/>
                      </a:lnTo>
                      <a:lnTo>
                        <a:pt x="87" y="19"/>
                      </a:lnTo>
                      <a:lnTo>
                        <a:pt x="88" y="20"/>
                      </a:lnTo>
                      <a:lnTo>
                        <a:pt x="88" y="21"/>
                      </a:lnTo>
                      <a:lnTo>
                        <a:pt x="88" y="23"/>
                      </a:lnTo>
                      <a:lnTo>
                        <a:pt x="89" y="23"/>
                      </a:lnTo>
                      <a:lnTo>
                        <a:pt x="89" y="2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8" name="Freeform 75">
                  <a:extLst>
                    <a:ext uri="{FF2B5EF4-FFF2-40B4-BE49-F238E27FC236}">
                      <a16:creationId xmlns:a16="http://schemas.microsoft.com/office/drawing/2014/main" id="{EF97D8C5-3A19-0152-4AEC-48148C5D384D}"/>
                    </a:ext>
                  </a:extLst>
                </p:cNvPr>
                <p:cNvSpPr>
                  <a:spLocks/>
                </p:cNvSpPr>
                <p:nvPr/>
              </p:nvSpPr>
              <p:spPr bwMode="auto">
                <a:xfrm>
                  <a:off x="6035469" y="3280466"/>
                  <a:ext cx="271515" cy="201202"/>
                </a:xfrm>
                <a:custGeom>
                  <a:avLst/>
                  <a:gdLst>
                    <a:gd name="T0" fmla="*/ 180 w 251"/>
                    <a:gd name="T1" fmla="*/ 21 h 186"/>
                    <a:gd name="T2" fmla="*/ 186 w 251"/>
                    <a:gd name="T3" fmla="*/ 32 h 186"/>
                    <a:gd name="T4" fmla="*/ 189 w 251"/>
                    <a:gd name="T5" fmla="*/ 39 h 186"/>
                    <a:gd name="T6" fmla="*/ 199 w 251"/>
                    <a:gd name="T7" fmla="*/ 47 h 186"/>
                    <a:gd name="T8" fmla="*/ 211 w 251"/>
                    <a:gd name="T9" fmla="*/ 55 h 186"/>
                    <a:gd name="T10" fmla="*/ 211 w 251"/>
                    <a:gd name="T11" fmla="*/ 57 h 186"/>
                    <a:gd name="T12" fmla="*/ 209 w 251"/>
                    <a:gd name="T13" fmla="*/ 68 h 186"/>
                    <a:gd name="T14" fmla="*/ 229 w 251"/>
                    <a:gd name="T15" fmla="*/ 81 h 186"/>
                    <a:gd name="T16" fmla="*/ 242 w 251"/>
                    <a:gd name="T17" fmla="*/ 77 h 186"/>
                    <a:gd name="T18" fmla="*/ 246 w 251"/>
                    <a:gd name="T19" fmla="*/ 86 h 186"/>
                    <a:gd name="T20" fmla="*/ 247 w 251"/>
                    <a:gd name="T21" fmla="*/ 98 h 186"/>
                    <a:gd name="T22" fmla="*/ 244 w 251"/>
                    <a:gd name="T23" fmla="*/ 114 h 186"/>
                    <a:gd name="T24" fmla="*/ 229 w 251"/>
                    <a:gd name="T25" fmla="*/ 119 h 186"/>
                    <a:gd name="T26" fmla="*/ 218 w 251"/>
                    <a:gd name="T27" fmla="*/ 121 h 186"/>
                    <a:gd name="T28" fmla="*/ 215 w 251"/>
                    <a:gd name="T29" fmla="*/ 124 h 186"/>
                    <a:gd name="T30" fmla="*/ 209 w 251"/>
                    <a:gd name="T31" fmla="*/ 128 h 186"/>
                    <a:gd name="T32" fmla="*/ 207 w 251"/>
                    <a:gd name="T33" fmla="*/ 131 h 186"/>
                    <a:gd name="T34" fmla="*/ 192 w 251"/>
                    <a:gd name="T35" fmla="*/ 135 h 186"/>
                    <a:gd name="T36" fmla="*/ 172 w 251"/>
                    <a:gd name="T37" fmla="*/ 130 h 186"/>
                    <a:gd name="T38" fmla="*/ 160 w 251"/>
                    <a:gd name="T39" fmla="*/ 133 h 186"/>
                    <a:gd name="T40" fmla="*/ 150 w 251"/>
                    <a:gd name="T41" fmla="*/ 134 h 186"/>
                    <a:gd name="T42" fmla="*/ 137 w 251"/>
                    <a:gd name="T43" fmla="*/ 134 h 186"/>
                    <a:gd name="T44" fmla="*/ 97 w 251"/>
                    <a:gd name="T45" fmla="*/ 134 h 186"/>
                    <a:gd name="T46" fmla="*/ 83 w 251"/>
                    <a:gd name="T47" fmla="*/ 141 h 186"/>
                    <a:gd name="T48" fmla="*/ 85 w 251"/>
                    <a:gd name="T49" fmla="*/ 151 h 186"/>
                    <a:gd name="T50" fmla="*/ 87 w 251"/>
                    <a:gd name="T51" fmla="*/ 158 h 186"/>
                    <a:gd name="T52" fmla="*/ 89 w 251"/>
                    <a:gd name="T53" fmla="*/ 172 h 186"/>
                    <a:gd name="T54" fmla="*/ 88 w 251"/>
                    <a:gd name="T55" fmla="*/ 181 h 186"/>
                    <a:gd name="T56" fmla="*/ 80 w 251"/>
                    <a:gd name="T57" fmla="*/ 175 h 186"/>
                    <a:gd name="T58" fmla="*/ 72 w 251"/>
                    <a:gd name="T59" fmla="*/ 172 h 186"/>
                    <a:gd name="T60" fmla="*/ 58 w 251"/>
                    <a:gd name="T61" fmla="*/ 169 h 186"/>
                    <a:gd name="T62" fmla="*/ 47 w 251"/>
                    <a:gd name="T63" fmla="*/ 173 h 186"/>
                    <a:gd name="T64" fmla="*/ 40 w 251"/>
                    <a:gd name="T65" fmla="*/ 176 h 186"/>
                    <a:gd name="T66" fmla="*/ 33 w 251"/>
                    <a:gd name="T67" fmla="*/ 179 h 186"/>
                    <a:gd name="T68" fmla="*/ 29 w 251"/>
                    <a:gd name="T69" fmla="*/ 177 h 186"/>
                    <a:gd name="T70" fmla="*/ 23 w 251"/>
                    <a:gd name="T71" fmla="*/ 175 h 186"/>
                    <a:gd name="T72" fmla="*/ 18 w 251"/>
                    <a:gd name="T73" fmla="*/ 170 h 186"/>
                    <a:gd name="T74" fmla="*/ 15 w 251"/>
                    <a:gd name="T75" fmla="*/ 165 h 186"/>
                    <a:gd name="T76" fmla="*/ 14 w 251"/>
                    <a:gd name="T77" fmla="*/ 161 h 186"/>
                    <a:gd name="T78" fmla="*/ 5 w 251"/>
                    <a:gd name="T79" fmla="*/ 159 h 186"/>
                    <a:gd name="T80" fmla="*/ 1 w 251"/>
                    <a:gd name="T81" fmla="*/ 152 h 186"/>
                    <a:gd name="T82" fmla="*/ 2 w 251"/>
                    <a:gd name="T83" fmla="*/ 138 h 186"/>
                    <a:gd name="T84" fmla="*/ 8 w 251"/>
                    <a:gd name="T85" fmla="*/ 127 h 186"/>
                    <a:gd name="T86" fmla="*/ 7 w 251"/>
                    <a:gd name="T87" fmla="*/ 114 h 186"/>
                    <a:gd name="T88" fmla="*/ 4 w 251"/>
                    <a:gd name="T89" fmla="*/ 109 h 186"/>
                    <a:gd name="T90" fmla="*/ 15 w 251"/>
                    <a:gd name="T91" fmla="*/ 104 h 186"/>
                    <a:gd name="T92" fmla="*/ 25 w 251"/>
                    <a:gd name="T93" fmla="*/ 102 h 186"/>
                    <a:gd name="T94" fmla="*/ 32 w 251"/>
                    <a:gd name="T95" fmla="*/ 92 h 186"/>
                    <a:gd name="T96" fmla="*/ 35 w 251"/>
                    <a:gd name="T97" fmla="*/ 85 h 186"/>
                    <a:gd name="T98" fmla="*/ 39 w 251"/>
                    <a:gd name="T99" fmla="*/ 79 h 186"/>
                    <a:gd name="T100" fmla="*/ 36 w 251"/>
                    <a:gd name="T101" fmla="*/ 67 h 186"/>
                    <a:gd name="T102" fmla="*/ 42 w 251"/>
                    <a:gd name="T103" fmla="*/ 61 h 186"/>
                    <a:gd name="T104" fmla="*/ 47 w 251"/>
                    <a:gd name="T105" fmla="*/ 55 h 186"/>
                    <a:gd name="T106" fmla="*/ 50 w 251"/>
                    <a:gd name="T107" fmla="*/ 57 h 186"/>
                    <a:gd name="T108" fmla="*/ 64 w 251"/>
                    <a:gd name="T109" fmla="*/ 64 h 186"/>
                    <a:gd name="T110" fmla="*/ 71 w 251"/>
                    <a:gd name="T111" fmla="*/ 48 h 186"/>
                    <a:gd name="T112" fmla="*/ 78 w 251"/>
                    <a:gd name="T113" fmla="*/ 49 h 186"/>
                    <a:gd name="T114" fmla="*/ 83 w 251"/>
                    <a:gd name="T115" fmla="*/ 35 h 186"/>
                    <a:gd name="T116" fmla="*/ 108 w 251"/>
                    <a:gd name="T117" fmla="*/ 32 h 186"/>
                    <a:gd name="T118" fmla="*/ 131 w 251"/>
                    <a:gd name="T119" fmla="*/ 13 h 186"/>
                    <a:gd name="T120" fmla="*/ 159 w 251"/>
                    <a:gd name="T121" fmla="*/ 0 h 186"/>
                    <a:gd name="T122" fmla="*/ 181 w 251"/>
                    <a:gd name="T123" fmla="*/ 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1" h="186">
                      <a:moveTo>
                        <a:pt x="181" y="6"/>
                      </a:moveTo>
                      <a:lnTo>
                        <a:pt x="181" y="7"/>
                      </a:lnTo>
                      <a:lnTo>
                        <a:pt x="180" y="7"/>
                      </a:lnTo>
                      <a:lnTo>
                        <a:pt x="180" y="8"/>
                      </a:lnTo>
                      <a:lnTo>
                        <a:pt x="180" y="9"/>
                      </a:lnTo>
                      <a:lnTo>
                        <a:pt x="181" y="11"/>
                      </a:lnTo>
                      <a:lnTo>
                        <a:pt x="181" y="12"/>
                      </a:lnTo>
                      <a:lnTo>
                        <a:pt x="179" y="18"/>
                      </a:lnTo>
                      <a:lnTo>
                        <a:pt x="179" y="20"/>
                      </a:lnTo>
                      <a:lnTo>
                        <a:pt x="180" y="21"/>
                      </a:lnTo>
                      <a:lnTo>
                        <a:pt x="181" y="21"/>
                      </a:lnTo>
                      <a:lnTo>
                        <a:pt x="186" y="26"/>
                      </a:lnTo>
                      <a:lnTo>
                        <a:pt x="187" y="27"/>
                      </a:lnTo>
                      <a:lnTo>
                        <a:pt x="187" y="28"/>
                      </a:lnTo>
                      <a:lnTo>
                        <a:pt x="186" y="28"/>
                      </a:lnTo>
                      <a:lnTo>
                        <a:pt x="186" y="29"/>
                      </a:lnTo>
                      <a:lnTo>
                        <a:pt x="186" y="30"/>
                      </a:lnTo>
                      <a:lnTo>
                        <a:pt x="186" y="32"/>
                      </a:lnTo>
                      <a:lnTo>
                        <a:pt x="185" y="32"/>
                      </a:lnTo>
                      <a:lnTo>
                        <a:pt x="186" y="32"/>
                      </a:lnTo>
                      <a:lnTo>
                        <a:pt x="186" y="33"/>
                      </a:lnTo>
                      <a:lnTo>
                        <a:pt x="187" y="34"/>
                      </a:lnTo>
                      <a:lnTo>
                        <a:pt x="186" y="34"/>
                      </a:lnTo>
                      <a:lnTo>
                        <a:pt x="187" y="35"/>
                      </a:lnTo>
                      <a:lnTo>
                        <a:pt x="187" y="36"/>
                      </a:lnTo>
                      <a:lnTo>
                        <a:pt x="188" y="36"/>
                      </a:lnTo>
                      <a:lnTo>
                        <a:pt x="188" y="37"/>
                      </a:lnTo>
                      <a:lnTo>
                        <a:pt x="189" y="37"/>
                      </a:lnTo>
                      <a:lnTo>
                        <a:pt x="188" y="39"/>
                      </a:lnTo>
                      <a:lnTo>
                        <a:pt x="189" y="39"/>
                      </a:lnTo>
                      <a:lnTo>
                        <a:pt x="189" y="40"/>
                      </a:lnTo>
                      <a:lnTo>
                        <a:pt x="190" y="40"/>
                      </a:lnTo>
                      <a:lnTo>
                        <a:pt x="190" y="41"/>
                      </a:lnTo>
                      <a:lnTo>
                        <a:pt x="192" y="42"/>
                      </a:lnTo>
                      <a:lnTo>
                        <a:pt x="193" y="42"/>
                      </a:lnTo>
                      <a:lnTo>
                        <a:pt x="194" y="43"/>
                      </a:lnTo>
                      <a:lnTo>
                        <a:pt x="193" y="44"/>
                      </a:lnTo>
                      <a:lnTo>
                        <a:pt x="194" y="46"/>
                      </a:lnTo>
                      <a:lnTo>
                        <a:pt x="199" y="46"/>
                      </a:lnTo>
                      <a:lnTo>
                        <a:pt x="199" y="47"/>
                      </a:lnTo>
                      <a:lnTo>
                        <a:pt x="200" y="48"/>
                      </a:lnTo>
                      <a:lnTo>
                        <a:pt x="201" y="48"/>
                      </a:lnTo>
                      <a:lnTo>
                        <a:pt x="202" y="48"/>
                      </a:lnTo>
                      <a:lnTo>
                        <a:pt x="203" y="48"/>
                      </a:lnTo>
                      <a:lnTo>
                        <a:pt x="204" y="49"/>
                      </a:lnTo>
                      <a:lnTo>
                        <a:pt x="206" y="50"/>
                      </a:lnTo>
                      <a:lnTo>
                        <a:pt x="207" y="51"/>
                      </a:lnTo>
                      <a:lnTo>
                        <a:pt x="207" y="53"/>
                      </a:lnTo>
                      <a:lnTo>
                        <a:pt x="208" y="54"/>
                      </a:lnTo>
                      <a:lnTo>
                        <a:pt x="211" y="55"/>
                      </a:lnTo>
                      <a:lnTo>
                        <a:pt x="213" y="55"/>
                      </a:lnTo>
                      <a:lnTo>
                        <a:pt x="214" y="56"/>
                      </a:lnTo>
                      <a:lnTo>
                        <a:pt x="215" y="56"/>
                      </a:lnTo>
                      <a:lnTo>
                        <a:pt x="215" y="57"/>
                      </a:lnTo>
                      <a:lnTo>
                        <a:pt x="214" y="57"/>
                      </a:lnTo>
                      <a:lnTo>
                        <a:pt x="213" y="56"/>
                      </a:lnTo>
                      <a:lnTo>
                        <a:pt x="213" y="57"/>
                      </a:lnTo>
                      <a:lnTo>
                        <a:pt x="211" y="57"/>
                      </a:lnTo>
                      <a:lnTo>
                        <a:pt x="211" y="58"/>
                      </a:lnTo>
                      <a:lnTo>
                        <a:pt x="211" y="57"/>
                      </a:lnTo>
                      <a:lnTo>
                        <a:pt x="209" y="57"/>
                      </a:lnTo>
                      <a:lnTo>
                        <a:pt x="207" y="56"/>
                      </a:lnTo>
                      <a:lnTo>
                        <a:pt x="206" y="56"/>
                      </a:lnTo>
                      <a:lnTo>
                        <a:pt x="206" y="57"/>
                      </a:lnTo>
                      <a:lnTo>
                        <a:pt x="206" y="60"/>
                      </a:lnTo>
                      <a:lnTo>
                        <a:pt x="206" y="63"/>
                      </a:lnTo>
                      <a:lnTo>
                        <a:pt x="206" y="65"/>
                      </a:lnTo>
                      <a:lnTo>
                        <a:pt x="206" y="67"/>
                      </a:lnTo>
                      <a:lnTo>
                        <a:pt x="207" y="68"/>
                      </a:lnTo>
                      <a:lnTo>
                        <a:pt x="209" y="68"/>
                      </a:lnTo>
                      <a:lnTo>
                        <a:pt x="210" y="68"/>
                      </a:lnTo>
                      <a:lnTo>
                        <a:pt x="213" y="70"/>
                      </a:lnTo>
                      <a:lnTo>
                        <a:pt x="214" y="71"/>
                      </a:lnTo>
                      <a:lnTo>
                        <a:pt x="216" y="74"/>
                      </a:lnTo>
                      <a:lnTo>
                        <a:pt x="217" y="74"/>
                      </a:lnTo>
                      <a:lnTo>
                        <a:pt x="220" y="76"/>
                      </a:lnTo>
                      <a:lnTo>
                        <a:pt x="222" y="77"/>
                      </a:lnTo>
                      <a:lnTo>
                        <a:pt x="224" y="79"/>
                      </a:lnTo>
                      <a:lnTo>
                        <a:pt x="225" y="81"/>
                      </a:lnTo>
                      <a:lnTo>
                        <a:pt x="229" y="81"/>
                      </a:lnTo>
                      <a:lnTo>
                        <a:pt x="234" y="81"/>
                      </a:lnTo>
                      <a:lnTo>
                        <a:pt x="235" y="81"/>
                      </a:lnTo>
                      <a:lnTo>
                        <a:pt x="235" y="79"/>
                      </a:lnTo>
                      <a:lnTo>
                        <a:pt x="236" y="78"/>
                      </a:lnTo>
                      <a:lnTo>
                        <a:pt x="236" y="77"/>
                      </a:lnTo>
                      <a:lnTo>
                        <a:pt x="237" y="78"/>
                      </a:lnTo>
                      <a:lnTo>
                        <a:pt x="237" y="77"/>
                      </a:lnTo>
                      <a:lnTo>
                        <a:pt x="238" y="77"/>
                      </a:lnTo>
                      <a:lnTo>
                        <a:pt x="241" y="77"/>
                      </a:lnTo>
                      <a:lnTo>
                        <a:pt x="242" y="77"/>
                      </a:lnTo>
                      <a:lnTo>
                        <a:pt x="243" y="78"/>
                      </a:lnTo>
                      <a:lnTo>
                        <a:pt x="243" y="79"/>
                      </a:lnTo>
                      <a:lnTo>
                        <a:pt x="244" y="79"/>
                      </a:lnTo>
                      <a:lnTo>
                        <a:pt x="245" y="81"/>
                      </a:lnTo>
                      <a:lnTo>
                        <a:pt x="245" y="82"/>
                      </a:lnTo>
                      <a:lnTo>
                        <a:pt x="245" y="83"/>
                      </a:lnTo>
                      <a:lnTo>
                        <a:pt x="245" y="84"/>
                      </a:lnTo>
                      <a:lnTo>
                        <a:pt x="246" y="84"/>
                      </a:lnTo>
                      <a:lnTo>
                        <a:pt x="246" y="85"/>
                      </a:lnTo>
                      <a:lnTo>
                        <a:pt x="246" y="86"/>
                      </a:lnTo>
                      <a:lnTo>
                        <a:pt x="244" y="88"/>
                      </a:lnTo>
                      <a:lnTo>
                        <a:pt x="244" y="86"/>
                      </a:lnTo>
                      <a:lnTo>
                        <a:pt x="243" y="86"/>
                      </a:lnTo>
                      <a:lnTo>
                        <a:pt x="243" y="88"/>
                      </a:lnTo>
                      <a:lnTo>
                        <a:pt x="241" y="88"/>
                      </a:lnTo>
                      <a:lnTo>
                        <a:pt x="241" y="89"/>
                      </a:lnTo>
                      <a:lnTo>
                        <a:pt x="241" y="90"/>
                      </a:lnTo>
                      <a:lnTo>
                        <a:pt x="243" y="92"/>
                      </a:lnTo>
                      <a:lnTo>
                        <a:pt x="245" y="96"/>
                      </a:lnTo>
                      <a:lnTo>
                        <a:pt x="247" y="98"/>
                      </a:lnTo>
                      <a:lnTo>
                        <a:pt x="250" y="102"/>
                      </a:lnTo>
                      <a:lnTo>
                        <a:pt x="251" y="104"/>
                      </a:lnTo>
                      <a:lnTo>
                        <a:pt x="250" y="106"/>
                      </a:lnTo>
                      <a:lnTo>
                        <a:pt x="250" y="107"/>
                      </a:lnTo>
                      <a:lnTo>
                        <a:pt x="249" y="109"/>
                      </a:lnTo>
                      <a:lnTo>
                        <a:pt x="249" y="110"/>
                      </a:lnTo>
                      <a:lnTo>
                        <a:pt x="249" y="111"/>
                      </a:lnTo>
                      <a:lnTo>
                        <a:pt x="247" y="111"/>
                      </a:lnTo>
                      <a:lnTo>
                        <a:pt x="246" y="112"/>
                      </a:lnTo>
                      <a:lnTo>
                        <a:pt x="244" y="114"/>
                      </a:lnTo>
                      <a:lnTo>
                        <a:pt x="239" y="119"/>
                      </a:lnTo>
                      <a:lnTo>
                        <a:pt x="238" y="119"/>
                      </a:lnTo>
                      <a:lnTo>
                        <a:pt x="237" y="119"/>
                      </a:lnTo>
                      <a:lnTo>
                        <a:pt x="236" y="119"/>
                      </a:lnTo>
                      <a:lnTo>
                        <a:pt x="235" y="118"/>
                      </a:lnTo>
                      <a:lnTo>
                        <a:pt x="234" y="118"/>
                      </a:lnTo>
                      <a:lnTo>
                        <a:pt x="232" y="119"/>
                      </a:lnTo>
                      <a:lnTo>
                        <a:pt x="231" y="119"/>
                      </a:lnTo>
                      <a:lnTo>
                        <a:pt x="230" y="119"/>
                      </a:lnTo>
                      <a:lnTo>
                        <a:pt x="229" y="119"/>
                      </a:lnTo>
                      <a:lnTo>
                        <a:pt x="228" y="119"/>
                      </a:lnTo>
                      <a:lnTo>
                        <a:pt x="227" y="120"/>
                      </a:lnTo>
                      <a:lnTo>
                        <a:pt x="225" y="119"/>
                      </a:lnTo>
                      <a:lnTo>
                        <a:pt x="225" y="118"/>
                      </a:lnTo>
                      <a:lnTo>
                        <a:pt x="222" y="118"/>
                      </a:lnTo>
                      <a:lnTo>
                        <a:pt x="221" y="118"/>
                      </a:lnTo>
                      <a:lnTo>
                        <a:pt x="220" y="119"/>
                      </a:lnTo>
                      <a:lnTo>
                        <a:pt x="220" y="120"/>
                      </a:lnTo>
                      <a:lnTo>
                        <a:pt x="218" y="120"/>
                      </a:lnTo>
                      <a:lnTo>
                        <a:pt x="218" y="121"/>
                      </a:lnTo>
                      <a:lnTo>
                        <a:pt x="217" y="121"/>
                      </a:lnTo>
                      <a:lnTo>
                        <a:pt x="218" y="123"/>
                      </a:lnTo>
                      <a:lnTo>
                        <a:pt x="217" y="124"/>
                      </a:lnTo>
                      <a:lnTo>
                        <a:pt x="217" y="123"/>
                      </a:lnTo>
                      <a:lnTo>
                        <a:pt x="217" y="124"/>
                      </a:lnTo>
                      <a:lnTo>
                        <a:pt x="217" y="123"/>
                      </a:lnTo>
                      <a:lnTo>
                        <a:pt x="216" y="123"/>
                      </a:lnTo>
                      <a:lnTo>
                        <a:pt x="216" y="124"/>
                      </a:lnTo>
                      <a:lnTo>
                        <a:pt x="216" y="125"/>
                      </a:lnTo>
                      <a:lnTo>
                        <a:pt x="215" y="124"/>
                      </a:lnTo>
                      <a:lnTo>
                        <a:pt x="214" y="124"/>
                      </a:lnTo>
                      <a:lnTo>
                        <a:pt x="213" y="125"/>
                      </a:lnTo>
                      <a:lnTo>
                        <a:pt x="213" y="124"/>
                      </a:lnTo>
                      <a:lnTo>
                        <a:pt x="211" y="124"/>
                      </a:lnTo>
                      <a:lnTo>
                        <a:pt x="211" y="125"/>
                      </a:lnTo>
                      <a:lnTo>
                        <a:pt x="213" y="126"/>
                      </a:lnTo>
                      <a:lnTo>
                        <a:pt x="213" y="127"/>
                      </a:lnTo>
                      <a:lnTo>
                        <a:pt x="211" y="127"/>
                      </a:lnTo>
                      <a:lnTo>
                        <a:pt x="210" y="128"/>
                      </a:lnTo>
                      <a:lnTo>
                        <a:pt x="209" y="128"/>
                      </a:lnTo>
                      <a:lnTo>
                        <a:pt x="210" y="128"/>
                      </a:lnTo>
                      <a:lnTo>
                        <a:pt x="210" y="130"/>
                      </a:lnTo>
                      <a:lnTo>
                        <a:pt x="210" y="131"/>
                      </a:lnTo>
                      <a:lnTo>
                        <a:pt x="211" y="131"/>
                      </a:lnTo>
                      <a:lnTo>
                        <a:pt x="211" y="132"/>
                      </a:lnTo>
                      <a:lnTo>
                        <a:pt x="210" y="132"/>
                      </a:lnTo>
                      <a:lnTo>
                        <a:pt x="210" y="131"/>
                      </a:lnTo>
                      <a:lnTo>
                        <a:pt x="209" y="131"/>
                      </a:lnTo>
                      <a:lnTo>
                        <a:pt x="208" y="131"/>
                      </a:lnTo>
                      <a:lnTo>
                        <a:pt x="207" y="131"/>
                      </a:lnTo>
                      <a:lnTo>
                        <a:pt x="206" y="132"/>
                      </a:lnTo>
                      <a:lnTo>
                        <a:pt x="206" y="133"/>
                      </a:lnTo>
                      <a:lnTo>
                        <a:pt x="207" y="133"/>
                      </a:lnTo>
                      <a:lnTo>
                        <a:pt x="207" y="134"/>
                      </a:lnTo>
                      <a:lnTo>
                        <a:pt x="206" y="134"/>
                      </a:lnTo>
                      <a:lnTo>
                        <a:pt x="204" y="133"/>
                      </a:lnTo>
                      <a:lnTo>
                        <a:pt x="200" y="133"/>
                      </a:lnTo>
                      <a:lnTo>
                        <a:pt x="197" y="133"/>
                      </a:lnTo>
                      <a:lnTo>
                        <a:pt x="195" y="134"/>
                      </a:lnTo>
                      <a:lnTo>
                        <a:pt x="192" y="135"/>
                      </a:lnTo>
                      <a:lnTo>
                        <a:pt x="192" y="134"/>
                      </a:lnTo>
                      <a:lnTo>
                        <a:pt x="190" y="134"/>
                      </a:lnTo>
                      <a:lnTo>
                        <a:pt x="190" y="133"/>
                      </a:lnTo>
                      <a:lnTo>
                        <a:pt x="192" y="133"/>
                      </a:lnTo>
                      <a:lnTo>
                        <a:pt x="190" y="133"/>
                      </a:lnTo>
                      <a:lnTo>
                        <a:pt x="187" y="132"/>
                      </a:lnTo>
                      <a:lnTo>
                        <a:pt x="185" y="132"/>
                      </a:lnTo>
                      <a:lnTo>
                        <a:pt x="178" y="131"/>
                      </a:lnTo>
                      <a:lnTo>
                        <a:pt x="173" y="130"/>
                      </a:lnTo>
                      <a:lnTo>
                        <a:pt x="172" y="130"/>
                      </a:lnTo>
                      <a:lnTo>
                        <a:pt x="171" y="128"/>
                      </a:lnTo>
                      <a:lnTo>
                        <a:pt x="166" y="128"/>
                      </a:lnTo>
                      <a:lnTo>
                        <a:pt x="166" y="130"/>
                      </a:lnTo>
                      <a:lnTo>
                        <a:pt x="165" y="130"/>
                      </a:lnTo>
                      <a:lnTo>
                        <a:pt x="164" y="131"/>
                      </a:lnTo>
                      <a:lnTo>
                        <a:pt x="163" y="130"/>
                      </a:lnTo>
                      <a:lnTo>
                        <a:pt x="161" y="130"/>
                      </a:lnTo>
                      <a:lnTo>
                        <a:pt x="161" y="131"/>
                      </a:lnTo>
                      <a:lnTo>
                        <a:pt x="161" y="132"/>
                      </a:lnTo>
                      <a:lnTo>
                        <a:pt x="160" y="133"/>
                      </a:lnTo>
                      <a:lnTo>
                        <a:pt x="159" y="133"/>
                      </a:lnTo>
                      <a:lnTo>
                        <a:pt x="159" y="134"/>
                      </a:lnTo>
                      <a:lnTo>
                        <a:pt x="158" y="134"/>
                      </a:lnTo>
                      <a:lnTo>
                        <a:pt x="157" y="134"/>
                      </a:lnTo>
                      <a:lnTo>
                        <a:pt x="157" y="135"/>
                      </a:lnTo>
                      <a:lnTo>
                        <a:pt x="156" y="137"/>
                      </a:lnTo>
                      <a:lnTo>
                        <a:pt x="153" y="135"/>
                      </a:lnTo>
                      <a:lnTo>
                        <a:pt x="154" y="134"/>
                      </a:lnTo>
                      <a:lnTo>
                        <a:pt x="153" y="134"/>
                      </a:lnTo>
                      <a:lnTo>
                        <a:pt x="150" y="134"/>
                      </a:lnTo>
                      <a:lnTo>
                        <a:pt x="150" y="133"/>
                      </a:lnTo>
                      <a:lnTo>
                        <a:pt x="149" y="133"/>
                      </a:lnTo>
                      <a:lnTo>
                        <a:pt x="149" y="134"/>
                      </a:lnTo>
                      <a:lnTo>
                        <a:pt x="147" y="134"/>
                      </a:lnTo>
                      <a:lnTo>
                        <a:pt x="146" y="134"/>
                      </a:lnTo>
                      <a:lnTo>
                        <a:pt x="146" y="133"/>
                      </a:lnTo>
                      <a:lnTo>
                        <a:pt x="142" y="133"/>
                      </a:lnTo>
                      <a:lnTo>
                        <a:pt x="140" y="133"/>
                      </a:lnTo>
                      <a:lnTo>
                        <a:pt x="140" y="134"/>
                      </a:lnTo>
                      <a:lnTo>
                        <a:pt x="137" y="134"/>
                      </a:lnTo>
                      <a:lnTo>
                        <a:pt x="132" y="134"/>
                      </a:lnTo>
                      <a:lnTo>
                        <a:pt x="131" y="134"/>
                      </a:lnTo>
                      <a:lnTo>
                        <a:pt x="130" y="133"/>
                      </a:lnTo>
                      <a:lnTo>
                        <a:pt x="125" y="133"/>
                      </a:lnTo>
                      <a:lnTo>
                        <a:pt x="125" y="134"/>
                      </a:lnTo>
                      <a:lnTo>
                        <a:pt x="124" y="134"/>
                      </a:lnTo>
                      <a:lnTo>
                        <a:pt x="119" y="134"/>
                      </a:lnTo>
                      <a:lnTo>
                        <a:pt x="113" y="134"/>
                      </a:lnTo>
                      <a:lnTo>
                        <a:pt x="106" y="134"/>
                      </a:lnTo>
                      <a:lnTo>
                        <a:pt x="97" y="134"/>
                      </a:lnTo>
                      <a:lnTo>
                        <a:pt x="92" y="134"/>
                      </a:lnTo>
                      <a:lnTo>
                        <a:pt x="89" y="134"/>
                      </a:lnTo>
                      <a:lnTo>
                        <a:pt x="88" y="134"/>
                      </a:lnTo>
                      <a:lnTo>
                        <a:pt x="86" y="134"/>
                      </a:lnTo>
                      <a:lnTo>
                        <a:pt x="86" y="135"/>
                      </a:lnTo>
                      <a:lnTo>
                        <a:pt x="86" y="137"/>
                      </a:lnTo>
                      <a:lnTo>
                        <a:pt x="86" y="138"/>
                      </a:lnTo>
                      <a:lnTo>
                        <a:pt x="85" y="138"/>
                      </a:lnTo>
                      <a:lnTo>
                        <a:pt x="85" y="139"/>
                      </a:lnTo>
                      <a:lnTo>
                        <a:pt x="83" y="141"/>
                      </a:lnTo>
                      <a:lnTo>
                        <a:pt x="83" y="142"/>
                      </a:lnTo>
                      <a:lnTo>
                        <a:pt x="82" y="144"/>
                      </a:lnTo>
                      <a:lnTo>
                        <a:pt x="83" y="144"/>
                      </a:lnTo>
                      <a:lnTo>
                        <a:pt x="83" y="145"/>
                      </a:lnTo>
                      <a:lnTo>
                        <a:pt x="82" y="146"/>
                      </a:lnTo>
                      <a:lnTo>
                        <a:pt x="82" y="147"/>
                      </a:lnTo>
                      <a:lnTo>
                        <a:pt x="83" y="148"/>
                      </a:lnTo>
                      <a:lnTo>
                        <a:pt x="83" y="149"/>
                      </a:lnTo>
                      <a:lnTo>
                        <a:pt x="83" y="151"/>
                      </a:lnTo>
                      <a:lnTo>
                        <a:pt x="85" y="151"/>
                      </a:lnTo>
                      <a:lnTo>
                        <a:pt x="85" y="152"/>
                      </a:lnTo>
                      <a:lnTo>
                        <a:pt x="86" y="153"/>
                      </a:lnTo>
                      <a:lnTo>
                        <a:pt x="87" y="153"/>
                      </a:lnTo>
                      <a:lnTo>
                        <a:pt x="88" y="153"/>
                      </a:lnTo>
                      <a:lnTo>
                        <a:pt x="87" y="154"/>
                      </a:lnTo>
                      <a:lnTo>
                        <a:pt x="86" y="154"/>
                      </a:lnTo>
                      <a:lnTo>
                        <a:pt x="86" y="155"/>
                      </a:lnTo>
                      <a:lnTo>
                        <a:pt x="86" y="156"/>
                      </a:lnTo>
                      <a:lnTo>
                        <a:pt x="87" y="156"/>
                      </a:lnTo>
                      <a:lnTo>
                        <a:pt x="87" y="158"/>
                      </a:lnTo>
                      <a:lnTo>
                        <a:pt x="88" y="158"/>
                      </a:lnTo>
                      <a:lnTo>
                        <a:pt x="88" y="159"/>
                      </a:lnTo>
                      <a:lnTo>
                        <a:pt x="87" y="160"/>
                      </a:lnTo>
                      <a:lnTo>
                        <a:pt x="87" y="161"/>
                      </a:lnTo>
                      <a:lnTo>
                        <a:pt x="87" y="162"/>
                      </a:lnTo>
                      <a:lnTo>
                        <a:pt x="87" y="166"/>
                      </a:lnTo>
                      <a:lnTo>
                        <a:pt x="88" y="167"/>
                      </a:lnTo>
                      <a:lnTo>
                        <a:pt x="88" y="168"/>
                      </a:lnTo>
                      <a:lnTo>
                        <a:pt x="88" y="170"/>
                      </a:lnTo>
                      <a:lnTo>
                        <a:pt x="89" y="172"/>
                      </a:lnTo>
                      <a:lnTo>
                        <a:pt x="89" y="173"/>
                      </a:lnTo>
                      <a:lnTo>
                        <a:pt x="88" y="174"/>
                      </a:lnTo>
                      <a:lnTo>
                        <a:pt x="87" y="175"/>
                      </a:lnTo>
                      <a:lnTo>
                        <a:pt x="87" y="176"/>
                      </a:lnTo>
                      <a:lnTo>
                        <a:pt x="88" y="176"/>
                      </a:lnTo>
                      <a:lnTo>
                        <a:pt x="88" y="177"/>
                      </a:lnTo>
                      <a:lnTo>
                        <a:pt x="89" y="177"/>
                      </a:lnTo>
                      <a:lnTo>
                        <a:pt x="88" y="179"/>
                      </a:lnTo>
                      <a:lnTo>
                        <a:pt x="88" y="180"/>
                      </a:lnTo>
                      <a:lnTo>
                        <a:pt x="88" y="181"/>
                      </a:lnTo>
                      <a:lnTo>
                        <a:pt x="89" y="182"/>
                      </a:lnTo>
                      <a:lnTo>
                        <a:pt x="90" y="183"/>
                      </a:lnTo>
                      <a:lnTo>
                        <a:pt x="89" y="184"/>
                      </a:lnTo>
                      <a:lnTo>
                        <a:pt x="89" y="186"/>
                      </a:lnTo>
                      <a:lnTo>
                        <a:pt x="88" y="186"/>
                      </a:lnTo>
                      <a:lnTo>
                        <a:pt x="87" y="186"/>
                      </a:lnTo>
                      <a:lnTo>
                        <a:pt x="83" y="181"/>
                      </a:lnTo>
                      <a:lnTo>
                        <a:pt x="82" y="179"/>
                      </a:lnTo>
                      <a:lnTo>
                        <a:pt x="81" y="176"/>
                      </a:lnTo>
                      <a:lnTo>
                        <a:pt x="80" y="175"/>
                      </a:lnTo>
                      <a:lnTo>
                        <a:pt x="79" y="176"/>
                      </a:lnTo>
                      <a:lnTo>
                        <a:pt x="78" y="176"/>
                      </a:lnTo>
                      <a:lnTo>
                        <a:pt x="78" y="175"/>
                      </a:lnTo>
                      <a:lnTo>
                        <a:pt x="76" y="173"/>
                      </a:lnTo>
                      <a:lnTo>
                        <a:pt x="75" y="172"/>
                      </a:lnTo>
                      <a:lnTo>
                        <a:pt x="74" y="172"/>
                      </a:lnTo>
                      <a:lnTo>
                        <a:pt x="74" y="170"/>
                      </a:lnTo>
                      <a:lnTo>
                        <a:pt x="74" y="169"/>
                      </a:lnTo>
                      <a:lnTo>
                        <a:pt x="73" y="170"/>
                      </a:lnTo>
                      <a:lnTo>
                        <a:pt x="72" y="172"/>
                      </a:lnTo>
                      <a:lnTo>
                        <a:pt x="71" y="172"/>
                      </a:lnTo>
                      <a:lnTo>
                        <a:pt x="71" y="170"/>
                      </a:lnTo>
                      <a:lnTo>
                        <a:pt x="69" y="170"/>
                      </a:lnTo>
                      <a:lnTo>
                        <a:pt x="68" y="169"/>
                      </a:lnTo>
                      <a:lnTo>
                        <a:pt x="64" y="169"/>
                      </a:lnTo>
                      <a:lnTo>
                        <a:pt x="61" y="169"/>
                      </a:lnTo>
                      <a:lnTo>
                        <a:pt x="60" y="169"/>
                      </a:lnTo>
                      <a:lnTo>
                        <a:pt x="59" y="168"/>
                      </a:lnTo>
                      <a:lnTo>
                        <a:pt x="59" y="169"/>
                      </a:lnTo>
                      <a:lnTo>
                        <a:pt x="58" y="169"/>
                      </a:lnTo>
                      <a:lnTo>
                        <a:pt x="57" y="169"/>
                      </a:lnTo>
                      <a:lnTo>
                        <a:pt x="55" y="169"/>
                      </a:lnTo>
                      <a:lnTo>
                        <a:pt x="55" y="170"/>
                      </a:lnTo>
                      <a:lnTo>
                        <a:pt x="54" y="170"/>
                      </a:lnTo>
                      <a:lnTo>
                        <a:pt x="52" y="170"/>
                      </a:lnTo>
                      <a:lnTo>
                        <a:pt x="51" y="172"/>
                      </a:lnTo>
                      <a:lnTo>
                        <a:pt x="50" y="172"/>
                      </a:lnTo>
                      <a:lnTo>
                        <a:pt x="50" y="173"/>
                      </a:lnTo>
                      <a:lnTo>
                        <a:pt x="49" y="173"/>
                      </a:lnTo>
                      <a:lnTo>
                        <a:pt x="47" y="173"/>
                      </a:lnTo>
                      <a:lnTo>
                        <a:pt x="47" y="174"/>
                      </a:lnTo>
                      <a:lnTo>
                        <a:pt x="46" y="174"/>
                      </a:lnTo>
                      <a:lnTo>
                        <a:pt x="45" y="173"/>
                      </a:lnTo>
                      <a:lnTo>
                        <a:pt x="44" y="173"/>
                      </a:lnTo>
                      <a:lnTo>
                        <a:pt x="44" y="174"/>
                      </a:lnTo>
                      <a:lnTo>
                        <a:pt x="43" y="175"/>
                      </a:lnTo>
                      <a:lnTo>
                        <a:pt x="42" y="175"/>
                      </a:lnTo>
                      <a:lnTo>
                        <a:pt x="40" y="175"/>
                      </a:lnTo>
                      <a:lnTo>
                        <a:pt x="39" y="176"/>
                      </a:lnTo>
                      <a:lnTo>
                        <a:pt x="40" y="176"/>
                      </a:lnTo>
                      <a:lnTo>
                        <a:pt x="39" y="177"/>
                      </a:lnTo>
                      <a:lnTo>
                        <a:pt x="39" y="179"/>
                      </a:lnTo>
                      <a:lnTo>
                        <a:pt x="39" y="180"/>
                      </a:lnTo>
                      <a:lnTo>
                        <a:pt x="38" y="180"/>
                      </a:lnTo>
                      <a:lnTo>
                        <a:pt x="37" y="180"/>
                      </a:lnTo>
                      <a:lnTo>
                        <a:pt x="37" y="181"/>
                      </a:lnTo>
                      <a:lnTo>
                        <a:pt x="37" y="180"/>
                      </a:lnTo>
                      <a:lnTo>
                        <a:pt x="36" y="179"/>
                      </a:lnTo>
                      <a:lnTo>
                        <a:pt x="35" y="179"/>
                      </a:lnTo>
                      <a:lnTo>
                        <a:pt x="33" y="179"/>
                      </a:lnTo>
                      <a:lnTo>
                        <a:pt x="32" y="177"/>
                      </a:lnTo>
                      <a:lnTo>
                        <a:pt x="32" y="176"/>
                      </a:lnTo>
                      <a:lnTo>
                        <a:pt x="33" y="176"/>
                      </a:lnTo>
                      <a:lnTo>
                        <a:pt x="32" y="175"/>
                      </a:lnTo>
                      <a:lnTo>
                        <a:pt x="31" y="176"/>
                      </a:lnTo>
                      <a:lnTo>
                        <a:pt x="31" y="177"/>
                      </a:lnTo>
                      <a:lnTo>
                        <a:pt x="30" y="177"/>
                      </a:lnTo>
                      <a:lnTo>
                        <a:pt x="30" y="176"/>
                      </a:lnTo>
                      <a:lnTo>
                        <a:pt x="29" y="176"/>
                      </a:lnTo>
                      <a:lnTo>
                        <a:pt x="29" y="177"/>
                      </a:lnTo>
                      <a:lnTo>
                        <a:pt x="28" y="177"/>
                      </a:lnTo>
                      <a:lnTo>
                        <a:pt x="26" y="177"/>
                      </a:lnTo>
                      <a:lnTo>
                        <a:pt x="26" y="176"/>
                      </a:lnTo>
                      <a:lnTo>
                        <a:pt x="25" y="176"/>
                      </a:lnTo>
                      <a:lnTo>
                        <a:pt x="25" y="175"/>
                      </a:lnTo>
                      <a:lnTo>
                        <a:pt x="24" y="175"/>
                      </a:lnTo>
                      <a:lnTo>
                        <a:pt x="25" y="176"/>
                      </a:lnTo>
                      <a:lnTo>
                        <a:pt x="24" y="176"/>
                      </a:lnTo>
                      <a:lnTo>
                        <a:pt x="24" y="175"/>
                      </a:lnTo>
                      <a:lnTo>
                        <a:pt x="23" y="175"/>
                      </a:lnTo>
                      <a:lnTo>
                        <a:pt x="23" y="174"/>
                      </a:lnTo>
                      <a:lnTo>
                        <a:pt x="23" y="175"/>
                      </a:lnTo>
                      <a:lnTo>
                        <a:pt x="24" y="174"/>
                      </a:lnTo>
                      <a:lnTo>
                        <a:pt x="24" y="173"/>
                      </a:lnTo>
                      <a:lnTo>
                        <a:pt x="23" y="173"/>
                      </a:lnTo>
                      <a:lnTo>
                        <a:pt x="23" y="172"/>
                      </a:lnTo>
                      <a:lnTo>
                        <a:pt x="22" y="172"/>
                      </a:lnTo>
                      <a:lnTo>
                        <a:pt x="21" y="172"/>
                      </a:lnTo>
                      <a:lnTo>
                        <a:pt x="19" y="172"/>
                      </a:lnTo>
                      <a:lnTo>
                        <a:pt x="18" y="170"/>
                      </a:lnTo>
                      <a:lnTo>
                        <a:pt x="18" y="169"/>
                      </a:lnTo>
                      <a:lnTo>
                        <a:pt x="18" y="168"/>
                      </a:lnTo>
                      <a:lnTo>
                        <a:pt x="17" y="168"/>
                      </a:lnTo>
                      <a:lnTo>
                        <a:pt x="17" y="167"/>
                      </a:lnTo>
                      <a:lnTo>
                        <a:pt x="18" y="167"/>
                      </a:lnTo>
                      <a:lnTo>
                        <a:pt x="18" y="166"/>
                      </a:lnTo>
                      <a:lnTo>
                        <a:pt x="17" y="166"/>
                      </a:lnTo>
                      <a:lnTo>
                        <a:pt x="17" y="165"/>
                      </a:lnTo>
                      <a:lnTo>
                        <a:pt x="16" y="165"/>
                      </a:lnTo>
                      <a:lnTo>
                        <a:pt x="15" y="165"/>
                      </a:lnTo>
                      <a:lnTo>
                        <a:pt x="16" y="165"/>
                      </a:lnTo>
                      <a:lnTo>
                        <a:pt x="15" y="165"/>
                      </a:lnTo>
                      <a:lnTo>
                        <a:pt x="15" y="163"/>
                      </a:lnTo>
                      <a:lnTo>
                        <a:pt x="16" y="163"/>
                      </a:lnTo>
                      <a:lnTo>
                        <a:pt x="15" y="162"/>
                      </a:lnTo>
                      <a:lnTo>
                        <a:pt x="14" y="162"/>
                      </a:lnTo>
                      <a:lnTo>
                        <a:pt x="14" y="161"/>
                      </a:lnTo>
                      <a:lnTo>
                        <a:pt x="15" y="161"/>
                      </a:lnTo>
                      <a:lnTo>
                        <a:pt x="14" y="160"/>
                      </a:lnTo>
                      <a:lnTo>
                        <a:pt x="14" y="161"/>
                      </a:lnTo>
                      <a:lnTo>
                        <a:pt x="14" y="160"/>
                      </a:lnTo>
                      <a:lnTo>
                        <a:pt x="14" y="159"/>
                      </a:lnTo>
                      <a:lnTo>
                        <a:pt x="12" y="158"/>
                      </a:lnTo>
                      <a:lnTo>
                        <a:pt x="11" y="159"/>
                      </a:lnTo>
                      <a:lnTo>
                        <a:pt x="10" y="158"/>
                      </a:lnTo>
                      <a:lnTo>
                        <a:pt x="9" y="158"/>
                      </a:lnTo>
                      <a:lnTo>
                        <a:pt x="8" y="158"/>
                      </a:lnTo>
                      <a:lnTo>
                        <a:pt x="7" y="158"/>
                      </a:lnTo>
                      <a:lnTo>
                        <a:pt x="5" y="158"/>
                      </a:lnTo>
                      <a:lnTo>
                        <a:pt x="5" y="159"/>
                      </a:lnTo>
                      <a:lnTo>
                        <a:pt x="4" y="159"/>
                      </a:lnTo>
                      <a:lnTo>
                        <a:pt x="4" y="158"/>
                      </a:lnTo>
                      <a:lnTo>
                        <a:pt x="3" y="158"/>
                      </a:lnTo>
                      <a:lnTo>
                        <a:pt x="3" y="156"/>
                      </a:lnTo>
                      <a:lnTo>
                        <a:pt x="2" y="156"/>
                      </a:lnTo>
                      <a:lnTo>
                        <a:pt x="1" y="155"/>
                      </a:lnTo>
                      <a:lnTo>
                        <a:pt x="1" y="154"/>
                      </a:lnTo>
                      <a:lnTo>
                        <a:pt x="0" y="154"/>
                      </a:lnTo>
                      <a:lnTo>
                        <a:pt x="1" y="154"/>
                      </a:lnTo>
                      <a:lnTo>
                        <a:pt x="1" y="152"/>
                      </a:lnTo>
                      <a:lnTo>
                        <a:pt x="1" y="151"/>
                      </a:lnTo>
                      <a:lnTo>
                        <a:pt x="2" y="149"/>
                      </a:lnTo>
                      <a:lnTo>
                        <a:pt x="2" y="148"/>
                      </a:lnTo>
                      <a:lnTo>
                        <a:pt x="2" y="147"/>
                      </a:lnTo>
                      <a:lnTo>
                        <a:pt x="1" y="146"/>
                      </a:lnTo>
                      <a:lnTo>
                        <a:pt x="2" y="144"/>
                      </a:lnTo>
                      <a:lnTo>
                        <a:pt x="2" y="142"/>
                      </a:lnTo>
                      <a:lnTo>
                        <a:pt x="3" y="140"/>
                      </a:lnTo>
                      <a:lnTo>
                        <a:pt x="2" y="139"/>
                      </a:lnTo>
                      <a:lnTo>
                        <a:pt x="2" y="138"/>
                      </a:lnTo>
                      <a:lnTo>
                        <a:pt x="1" y="137"/>
                      </a:lnTo>
                      <a:lnTo>
                        <a:pt x="1" y="135"/>
                      </a:lnTo>
                      <a:lnTo>
                        <a:pt x="1" y="134"/>
                      </a:lnTo>
                      <a:lnTo>
                        <a:pt x="1" y="133"/>
                      </a:lnTo>
                      <a:lnTo>
                        <a:pt x="4" y="132"/>
                      </a:lnTo>
                      <a:lnTo>
                        <a:pt x="5" y="132"/>
                      </a:lnTo>
                      <a:lnTo>
                        <a:pt x="7" y="131"/>
                      </a:lnTo>
                      <a:lnTo>
                        <a:pt x="7" y="130"/>
                      </a:lnTo>
                      <a:lnTo>
                        <a:pt x="8" y="128"/>
                      </a:lnTo>
                      <a:lnTo>
                        <a:pt x="8" y="127"/>
                      </a:lnTo>
                      <a:lnTo>
                        <a:pt x="8" y="124"/>
                      </a:lnTo>
                      <a:lnTo>
                        <a:pt x="8" y="123"/>
                      </a:lnTo>
                      <a:lnTo>
                        <a:pt x="9" y="123"/>
                      </a:lnTo>
                      <a:lnTo>
                        <a:pt x="9" y="121"/>
                      </a:lnTo>
                      <a:lnTo>
                        <a:pt x="9" y="120"/>
                      </a:lnTo>
                      <a:lnTo>
                        <a:pt x="9" y="118"/>
                      </a:lnTo>
                      <a:lnTo>
                        <a:pt x="9" y="117"/>
                      </a:lnTo>
                      <a:lnTo>
                        <a:pt x="8" y="116"/>
                      </a:lnTo>
                      <a:lnTo>
                        <a:pt x="7" y="116"/>
                      </a:lnTo>
                      <a:lnTo>
                        <a:pt x="7" y="114"/>
                      </a:lnTo>
                      <a:lnTo>
                        <a:pt x="7" y="113"/>
                      </a:lnTo>
                      <a:lnTo>
                        <a:pt x="8" y="112"/>
                      </a:lnTo>
                      <a:lnTo>
                        <a:pt x="7" y="112"/>
                      </a:lnTo>
                      <a:lnTo>
                        <a:pt x="7" y="111"/>
                      </a:lnTo>
                      <a:lnTo>
                        <a:pt x="7" y="110"/>
                      </a:lnTo>
                      <a:lnTo>
                        <a:pt x="5" y="110"/>
                      </a:lnTo>
                      <a:lnTo>
                        <a:pt x="4" y="110"/>
                      </a:lnTo>
                      <a:lnTo>
                        <a:pt x="3" y="110"/>
                      </a:lnTo>
                      <a:lnTo>
                        <a:pt x="3" y="109"/>
                      </a:lnTo>
                      <a:lnTo>
                        <a:pt x="4" y="109"/>
                      </a:lnTo>
                      <a:lnTo>
                        <a:pt x="5" y="109"/>
                      </a:lnTo>
                      <a:lnTo>
                        <a:pt x="7" y="109"/>
                      </a:lnTo>
                      <a:lnTo>
                        <a:pt x="8" y="109"/>
                      </a:lnTo>
                      <a:lnTo>
                        <a:pt x="8" y="107"/>
                      </a:lnTo>
                      <a:lnTo>
                        <a:pt x="9" y="106"/>
                      </a:lnTo>
                      <a:lnTo>
                        <a:pt x="10" y="105"/>
                      </a:lnTo>
                      <a:lnTo>
                        <a:pt x="11" y="105"/>
                      </a:lnTo>
                      <a:lnTo>
                        <a:pt x="12" y="104"/>
                      </a:lnTo>
                      <a:lnTo>
                        <a:pt x="14" y="104"/>
                      </a:lnTo>
                      <a:lnTo>
                        <a:pt x="15" y="104"/>
                      </a:lnTo>
                      <a:lnTo>
                        <a:pt x="16" y="104"/>
                      </a:lnTo>
                      <a:lnTo>
                        <a:pt x="17" y="103"/>
                      </a:lnTo>
                      <a:lnTo>
                        <a:pt x="18" y="103"/>
                      </a:lnTo>
                      <a:lnTo>
                        <a:pt x="19" y="103"/>
                      </a:lnTo>
                      <a:lnTo>
                        <a:pt x="21" y="103"/>
                      </a:lnTo>
                      <a:lnTo>
                        <a:pt x="22" y="103"/>
                      </a:lnTo>
                      <a:lnTo>
                        <a:pt x="23" y="103"/>
                      </a:lnTo>
                      <a:lnTo>
                        <a:pt x="24" y="103"/>
                      </a:lnTo>
                      <a:lnTo>
                        <a:pt x="24" y="102"/>
                      </a:lnTo>
                      <a:lnTo>
                        <a:pt x="25" y="102"/>
                      </a:lnTo>
                      <a:lnTo>
                        <a:pt x="25" y="100"/>
                      </a:lnTo>
                      <a:lnTo>
                        <a:pt x="26" y="100"/>
                      </a:lnTo>
                      <a:lnTo>
                        <a:pt x="28" y="100"/>
                      </a:lnTo>
                      <a:lnTo>
                        <a:pt x="28" y="99"/>
                      </a:lnTo>
                      <a:lnTo>
                        <a:pt x="29" y="98"/>
                      </a:lnTo>
                      <a:lnTo>
                        <a:pt x="30" y="98"/>
                      </a:lnTo>
                      <a:lnTo>
                        <a:pt x="29" y="97"/>
                      </a:lnTo>
                      <a:lnTo>
                        <a:pt x="32" y="95"/>
                      </a:lnTo>
                      <a:lnTo>
                        <a:pt x="32" y="93"/>
                      </a:lnTo>
                      <a:lnTo>
                        <a:pt x="32" y="92"/>
                      </a:lnTo>
                      <a:lnTo>
                        <a:pt x="33" y="92"/>
                      </a:lnTo>
                      <a:lnTo>
                        <a:pt x="33" y="93"/>
                      </a:lnTo>
                      <a:lnTo>
                        <a:pt x="35" y="92"/>
                      </a:lnTo>
                      <a:lnTo>
                        <a:pt x="35" y="91"/>
                      </a:lnTo>
                      <a:lnTo>
                        <a:pt x="33" y="89"/>
                      </a:lnTo>
                      <a:lnTo>
                        <a:pt x="33" y="88"/>
                      </a:lnTo>
                      <a:lnTo>
                        <a:pt x="35" y="88"/>
                      </a:lnTo>
                      <a:lnTo>
                        <a:pt x="35" y="86"/>
                      </a:lnTo>
                      <a:lnTo>
                        <a:pt x="36" y="85"/>
                      </a:lnTo>
                      <a:lnTo>
                        <a:pt x="35" y="85"/>
                      </a:lnTo>
                      <a:lnTo>
                        <a:pt x="35" y="83"/>
                      </a:lnTo>
                      <a:lnTo>
                        <a:pt x="33" y="83"/>
                      </a:lnTo>
                      <a:lnTo>
                        <a:pt x="32" y="82"/>
                      </a:lnTo>
                      <a:lnTo>
                        <a:pt x="32" y="79"/>
                      </a:lnTo>
                      <a:lnTo>
                        <a:pt x="33" y="79"/>
                      </a:lnTo>
                      <a:lnTo>
                        <a:pt x="35" y="78"/>
                      </a:lnTo>
                      <a:lnTo>
                        <a:pt x="36" y="78"/>
                      </a:lnTo>
                      <a:lnTo>
                        <a:pt x="37" y="79"/>
                      </a:lnTo>
                      <a:lnTo>
                        <a:pt x="38" y="79"/>
                      </a:lnTo>
                      <a:lnTo>
                        <a:pt x="39" y="79"/>
                      </a:lnTo>
                      <a:lnTo>
                        <a:pt x="40" y="78"/>
                      </a:lnTo>
                      <a:lnTo>
                        <a:pt x="40" y="76"/>
                      </a:lnTo>
                      <a:lnTo>
                        <a:pt x="40" y="75"/>
                      </a:lnTo>
                      <a:lnTo>
                        <a:pt x="40" y="72"/>
                      </a:lnTo>
                      <a:lnTo>
                        <a:pt x="40" y="71"/>
                      </a:lnTo>
                      <a:lnTo>
                        <a:pt x="39" y="71"/>
                      </a:lnTo>
                      <a:lnTo>
                        <a:pt x="38" y="70"/>
                      </a:lnTo>
                      <a:lnTo>
                        <a:pt x="37" y="68"/>
                      </a:lnTo>
                      <a:lnTo>
                        <a:pt x="37" y="67"/>
                      </a:lnTo>
                      <a:lnTo>
                        <a:pt x="36" y="67"/>
                      </a:lnTo>
                      <a:lnTo>
                        <a:pt x="37" y="67"/>
                      </a:lnTo>
                      <a:lnTo>
                        <a:pt x="37" y="65"/>
                      </a:lnTo>
                      <a:lnTo>
                        <a:pt x="37" y="64"/>
                      </a:lnTo>
                      <a:lnTo>
                        <a:pt x="39" y="64"/>
                      </a:lnTo>
                      <a:lnTo>
                        <a:pt x="40" y="64"/>
                      </a:lnTo>
                      <a:lnTo>
                        <a:pt x="39" y="63"/>
                      </a:lnTo>
                      <a:lnTo>
                        <a:pt x="39" y="62"/>
                      </a:lnTo>
                      <a:lnTo>
                        <a:pt x="40" y="62"/>
                      </a:lnTo>
                      <a:lnTo>
                        <a:pt x="40" y="61"/>
                      </a:lnTo>
                      <a:lnTo>
                        <a:pt x="42" y="61"/>
                      </a:lnTo>
                      <a:lnTo>
                        <a:pt x="43" y="61"/>
                      </a:lnTo>
                      <a:lnTo>
                        <a:pt x="43" y="60"/>
                      </a:lnTo>
                      <a:lnTo>
                        <a:pt x="44" y="58"/>
                      </a:lnTo>
                      <a:lnTo>
                        <a:pt x="44" y="57"/>
                      </a:lnTo>
                      <a:lnTo>
                        <a:pt x="45" y="57"/>
                      </a:lnTo>
                      <a:lnTo>
                        <a:pt x="46" y="56"/>
                      </a:lnTo>
                      <a:lnTo>
                        <a:pt x="47" y="56"/>
                      </a:lnTo>
                      <a:lnTo>
                        <a:pt x="47" y="55"/>
                      </a:lnTo>
                      <a:lnTo>
                        <a:pt x="49" y="55"/>
                      </a:lnTo>
                      <a:lnTo>
                        <a:pt x="47" y="55"/>
                      </a:lnTo>
                      <a:lnTo>
                        <a:pt x="47" y="54"/>
                      </a:lnTo>
                      <a:lnTo>
                        <a:pt x="49" y="54"/>
                      </a:lnTo>
                      <a:lnTo>
                        <a:pt x="49" y="55"/>
                      </a:lnTo>
                      <a:lnTo>
                        <a:pt x="50" y="55"/>
                      </a:lnTo>
                      <a:lnTo>
                        <a:pt x="50" y="56"/>
                      </a:lnTo>
                      <a:lnTo>
                        <a:pt x="49" y="56"/>
                      </a:lnTo>
                      <a:lnTo>
                        <a:pt x="49" y="57"/>
                      </a:lnTo>
                      <a:lnTo>
                        <a:pt x="47" y="57"/>
                      </a:lnTo>
                      <a:lnTo>
                        <a:pt x="49" y="57"/>
                      </a:lnTo>
                      <a:lnTo>
                        <a:pt x="50" y="57"/>
                      </a:lnTo>
                      <a:lnTo>
                        <a:pt x="51" y="57"/>
                      </a:lnTo>
                      <a:lnTo>
                        <a:pt x="52" y="58"/>
                      </a:lnTo>
                      <a:lnTo>
                        <a:pt x="53" y="58"/>
                      </a:lnTo>
                      <a:lnTo>
                        <a:pt x="55" y="61"/>
                      </a:lnTo>
                      <a:lnTo>
                        <a:pt x="58" y="62"/>
                      </a:lnTo>
                      <a:lnTo>
                        <a:pt x="60" y="63"/>
                      </a:lnTo>
                      <a:lnTo>
                        <a:pt x="61" y="63"/>
                      </a:lnTo>
                      <a:lnTo>
                        <a:pt x="61" y="64"/>
                      </a:lnTo>
                      <a:lnTo>
                        <a:pt x="62" y="64"/>
                      </a:lnTo>
                      <a:lnTo>
                        <a:pt x="64" y="64"/>
                      </a:lnTo>
                      <a:lnTo>
                        <a:pt x="65" y="64"/>
                      </a:lnTo>
                      <a:lnTo>
                        <a:pt x="65" y="63"/>
                      </a:lnTo>
                      <a:lnTo>
                        <a:pt x="65" y="62"/>
                      </a:lnTo>
                      <a:lnTo>
                        <a:pt x="65" y="61"/>
                      </a:lnTo>
                      <a:lnTo>
                        <a:pt x="66" y="61"/>
                      </a:lnTo>
                      <a:lnTo>
                        <a:pt x="71" y="61"/>
                      </a:lnTo>
                      <a:lnTo>
                        <a:pt x="69" y="53"/>
                      </a:lnTo>
                      <a:lnTo>
                        <a:pt x="71" y="51"/>
                      </a:lnTo>
                      <a:lnTo>
                        <a:pt x="71" y="50"/>
                      </a:lnTo>
                      <a:lnTo>
                        <a:pt x="71" y="48"/>
                      </a:lnTo>
                      <a:lnTo>
                        <a:pt x="69" y="47"/>
                      </a:lnTo>
                      <a:lnTo>
                        <a:pt x="71" y="47"/>
                      </a:lnTo>
                      <a:lnTo>
                        <a:pt x="72" y="47"/>
                      </a:lnTo>
                      <a:lnTo>
                        <a:pt x="73" y="48"/>
                      </a:lnTo>
                      <a:lnTo>
                        <a:pt x="74" y="48"/>
                      </a:lnTo>
                      <a:lnTo>
                        <a:pt x="75" y="48"/>
                      </a:lnTo>
                      <a:lnTo>
                        <a:pt x="76" y="49"/>
                      </a:lnTo>
                      <a:lnTo>
                        <a:pt x="76" y="50"/>
                      </a:lnTo>
                      <a:lnTo>
                        <a:pt x="78" y="50"/>
                      </a:lnTo>
                      <a:lnTo>
                        <a:pt x="78" y="49"/>
                      </a:lnTo>
                      <a:lnTo>
                        <a:pt x="79" y="49"/>
                      </a:lnTo>
                      <a:lnTo>
                        <a:pt x="80" y="49"/>
                      </a:lnTo>
                      <a:lnTo>
                        <a:pt x="81" y="49"/>
                      </a:lnTo>
                      <a:lnTo>
                        <a:pt x="82" y="48"/>
                      </a:lnTo>
                      <a:lnTo>
                        <a:pt x="81" y="46"/>
                      </a:lnTo>
                      <a:lnTo>
                        <a:pt x="81" y="43"/>
                      </a:lnTo>
                      <a:lnTo>
                        <a:pt x="81" y="42"/>
                      </a:lnTo>
                      <a:lnTo>
                        <a:pt x="82" y="41"/>
                      </a:lnTo>
                      <a:lnTo>
                        <a:pt x="83" y="37"/>
                      </a:lnTo>
                      <a:lnTo>
                        <a:pt x="83" y="35"/>
                      </a:lnTo>
                      <a:lnTo>
                        <a:pt x="88" y="33"/>
                      </a:lnTo>
                      <a:lnTo>
                        <a:pt x="89" y="33"/>
                      </a:lnTo>
                      <a:lnTo>
                        <a:pt x="90" y="30"/>
                      </a:lnTo>
                      <a:lnTo>
                        <a:pt x="92" y="29"/>
                      </a:lnTo>
                      <a:lnTo>
                        <a:pt x="94" y="28"/>
                      </a:lnTo>
                      <a:lnTo>
                        <a:pt x="96" y="28"/>
                      </a:lnTo>
                      <a:lnTo>
                        <a:pt x="99" y="28"/>
                      </a:lnTo>
                      <a:lnTo>
                        <a:pt x="106" y="32"/>
                      </a:lnTo>
                      <a:lnTo>
                        <a:pt x="107" y="32"/>
                      </a:lnTo>
                      <a:lnTo>
                        <a:pt x="108" y="32"/>
                      </a:lnTo>
                      <a:lnTo>
                        <a:pt x="109" y="30"/>
                      </a:lnTo>
                      <a:lnTo>
                        <a:pt x="110" y="30"/>
                      </a:lnTo>
                      <a:lnTo>
                        <a:pt x="110" y="22"/>
                      </a:lnTo>
                      <a:lnTo>
                        <a:pt x="110" y="21"/>
                      </a:lnTo>
                      <a:lnTo>
                        <a:pt x="111" y="21"/>
                      </a:lnTo>
                      <a:lnTo>
                        <a:pt x="113" y="21"/>
                      </a:lnTo>
                      <a:lnTo>
                        <a:pt x="116" y="21"/>
                      </a:lnTo>
                      <a:lnTo>
                        <a:pt x="118" y="21"/>
                      </a:lnTo>
                      <a:lnTo>
                        <a:pt x="121" y="20"/>
                      </a:lnTo>
                      <a:lnTo>
                        <a:pt x="131" y="13"/>
                      </a:lnTo>
                      <a:lnTo>
                        <a:pt x="132" y="12"/>
                      </a:lnTo>
                      <a:lnTo>
                        <a:pt x="138" y="11"/>
                      </a:lnTo>
                      <a:lnTo>
                        <a:pt x="139" y="11"/>
                      </a:lnTo>
                      <a:lnTo>
                        <a:pt x="140" y="9"/>
                      </a:lnTo>
                      <a:lnTo>
                        <a:pt x="147" y="4"/>
                      </a:lnTo>
                      <a:lnTo>
                        <a:pt x="149" y="1"/>
                      </a:lnTo>
                      <a:lnTo>
                        <a:pt x="150" y="1"/>
                      </a:lnTo>
                      <a:lnTo>
                        <a:pt x="151" y="1"/>
                      </a:lnTo>
                      <a:lnTo>
                        <a:pt x="158" y="0"/>
                      </a:lnTo>
                      <a:lnTo>
                        <a:pt x="159" y="0"/>
                      </a:lnTo>
                      <a:lnTo>
                        <a:pt x="159" y="1"/>
                      </a:lnTo>
                      <a:lnTo>
                        <a:pt x="160" y="2"/>
                      </a:lnTo>
                      <a:lnTo>
                        <a:pt x="160" y="4"/>
                      </a:lnTo>
                      <a:lnTo>
                        <a:pt x="161" y="4"/>
                      </a:lnTo>
                      <a:lnTo>
                        <a:pt x="163" y="2"/>
                      </a:lnTo>
                      <a:lnTo>
                        <a:pt x="165" y="1"/>
                      </a:lnTo>
                      <a:lnTo>
                        <a:pt x="166" y="1"/>
                      </a:lnTo>
                      <a:lnTo>
                        <a:pt x="168" y="1"/>
                      </a:lnTo>
                      <a:lnTo>
                        <a:pt x="173" y="4"/>
                      </a:lnTo>
                      <a:lnTo>
                        <a:pt x="181" y="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9" name="Freeform 76">
                  <a:extLst>
                    <a:ext uri="{FF2B5EF4-FFF2-40B4-BE49-F238E27FC236}">
                      <a16:creationId xmlns:a16="http://schemas.microsoft.com/office/drawing/2014/main" id="{348C6192-268D-8562-1A02-AF6C00B55D26}"/>
                    </a:ext>
                  </a:extLst>
                </p:cNvPr>
                <p:cNvSpPr>
                  <a:spLocks/>
                </p:cNvSpPr>
                <p:nvPr/>
              </p:nvSpPr>
              <p:spPr bwMode="auto">
                <a:xfrm>
                  <a:off x="6916000" y="4411957"/>
                  <a:ext cx="316948" cy="333173"/>
                </a:xfrm>
                <a:custGeom>
                  <a:avLst/>
                  <a:gdLst>
                    <a:gd name="T0" fmla="*/ 171 w 293"/>
                    <a:gd name="T1" fmla="*/ 16 h 308"/>
                    <a:gd name="T2" fmla="*/ 181 w 293"/>
                    <a:gd name="T3" fmla="*/ 28 h 308"/>
                    <a:gd name="T4" fmla="*/ 189 w 293"/>
                    <a:gd name="T5" fmla="*/ 47 h 308"/>
                    <a:gd name="T6" fmla="*/ 199 w 293"/>
                    <a:gd name="T7" fmla="*/ 62 h 308"/>
                    <a:gd name="T8" fmla="*/ 207 w 293"/>
                    <a:gd name="T9" fmla="*/ 69 h 308"/>
                    <a:gd name="T10" fmla="*/ 222 w 293"/>
                    <a:gd name="T11" fmla="*/ 75 h 308"/>
                    <a:gd name="T12" fmla="*/ 236 w 293"/>
                    <a:gd name="T13" fmla="*/ 89 h 308"/>
                    <a:gd name="T14" fmla="*/ 241 w 293"/>
                    <a:gd name="T15" fmla="*/ 101 h 308"/>
                    <a:gd name="T16" fmla="*/ 247 w 293"/>
                    <a:gd name="T17" fmla="*/ 116 h 308"/>
                    <a:gd name="T18" fmla="*/ 254 w 293"/>
                    <a:gd name="T19" fmla="*/ 126 h 308"/>
                    <a:gd name="T20" fmla="*/ 270 w 293"/>
                    <a:gd name="T21" fmla="*/ 129 h 308"/>
                    <a:gd name="T22" fmla="*/ 284 w 293"/>
                    <a:gd name="T23" fmla="*/ 136 h 308"/>
                    <a:gd name="T24" fmla="*/ 291 w 293"/>
                    <a:gd name="T25" fmla="*/ 144 h 308"/>
                    <a:gd name="T26" fmla="*/ 281 w 293"/>
                    <a:gd name="T27" fmla="*/ 151 h 308"/>
                    <a:gd name="T28" fmla="*/ 271 w 293"/>
                    <a:gd name="T29" fmla="*/ 159 h 308"/>
                    <a:gd name="T30" fmla="*/ 256 w 293"/>
                    <a:gd name="T31" fmla="*/ 164 h 308"/>
                    <a:gd name="T32" fmla="*/ 250 w 293"/>
                    <a:gd name="T33" fmla="*/ 172 h 308"/>
                    <a:gd name="T34" fmla="*/ 245 w 293"/>
                    <a:gd name="T35" fmla="*/ 179 h 308"/>
                    <a:gd name="T36" fmla="*/ 238 w 293"/>
                    <a:gd name="T37" fmla="*/ 185 h 308"/>
                    <a:gd name="T38" fmla="*/ 231 w 293"/>
                    <a:gd name="T39" fmla="*/ 187 h 308"/>
                    <a:gd name="T40" fmla="*/ 222 w 293"/>
                    <a:gd name="T41" fmla="*/ 194 h 308"/>
                    <a:gd name="T42" fmla="*/ 218 w 293"/>
                    <a:gd name="T43" fmla="*/ 201 h 308"/>
                    <a:gd name="T44" fmla="*/ 206 w 293"/>
                    <a:gd name="T45" fmla="*/ 223 h 308"/>
                    <a:gd name="T46" fmla="*/ 189 w 293"/>
                    <a:gd name="T47" fmla="*/ 233 h 308"/>
                    <a:gd name="T48" fmla="*/ 182 w 293"/>
                    <a:gd name="T49" fmla="*/ 244 h 308"/>
                    <a:gd name="T50" fmla="*/ 160 w 293"/>
                    <a:gd name="T51" fmla="*/ 268 h 308"/>
                    <a:gd name="T52" fmla="*/ 141 w 293"/>
                    <a:gd name="T53" fmla="*/ 269 h 308"/>
                    <a:gd name="T54" fmla="*/ 126 w 293"/>
                    <a:gd name="T55" fmla="*/ 264 h 308"/>
                    <a:gd name="T56" fmla="*/ 112 w 293"/>
                    <a:gd name="T57" fmla="*/ 255 h 308"/>
                    <a:gd name="T58" fmla="*/ 98 w 293"/>
                    <a:gd name="T59" fmla="*/ 254 h 308"/>
                    <a:gd name="T60" fmla="*/ 90 w 293"/>
                    <a:gd name="T61" fmla="*/ 259 h 308"/>
                    <a:gd name="T62" fmla="*/ 87 w 293"/>
                    <a:gd name="T63" fmla="*/ 270 h 308"/>
                    <a:gd name="T64" fmla="*/ 83 w 293"/>
                    <a:gd name="T65" fmla="*/ 280 h 308"/>
                    <a:gd name="T66" fmla="*/ 74 w 293"/>
                    <a:gd name="T67" fmla="*/ 289 h 308"/>
                    <a:gd name="T68" fmla="*/ 58 w 293"/>
                    <a:gd name="T69" fmla="*/ 300 h 308"/>
                    <a:gd name="T70" fmla="*/ 48 w 293"/>
                    <a:gd name="T71" fmla="*/ 306 h 308"/>
                    <a:gd name="T72" fmla="*/ 25 w 293"/>
                    <a:gd name="T73" fmla="*/ 306 h 308"/>
                    <a:gd name="T74" fmla="*/ 20 w 293"/>
                    <a:gd name="T75" fmla="*/ 298 h 308"/>
                    <a:gd name="T76" fmla="*/ 27 w 293"/>
                    <a:gd name="T77" fmla="*/ 282 h 308"/>
                    <a:gd name="T78" fmla="*/ 21 w 293"/>
                    <a:gd name="T79" fmla="*/ 265 h 308"/>
                    <a:gd name="T80" fmla="*/ 18 w 293"/>
                    <a:gd name="T81" fmla="*/ 256 h 308"/>
                    <a:gd name="T82" fmla="*/ 13 w 293"/>
                    <a:gd name="T83" fmla="*/ 247 h 308"/>
                    <a:gd name="T84" fmla="*/ 0 w 293"/>
                    <a:gd name="T85" fmla="*/ 234 h 308"/>
                    <a:gd name="T86" fmla="*/ 0 w 293"/>
                    <a:gd name="T87" fmla="*/ 181 h 308"/>
                    <a:gd name="T88" fmla="*/ 22 w 293"/>
                    <a:gd name="T89" fmla="*/ 140 h 308"/>
                    <a:gd name="T90" fmla="*/ 32 w 293"/>
                    <a:gd name="T91" fmla="*/ 124 h 308"/>
                    <a:gd name="T92" fmla="*/ 32 w 293"/>
                    <a:gd name="T93" fmla="*/ 98 h 308"/>
                    <a:gd name="T94" fmla="*/ 30 w 293"/>
                    <a:gd name="T95" fmla="*/ 53 h 308"/>
                    <a:gd name="T96" fmla="*/ 30 w 293"/>
                    <a:gd name="T97" fmla="*/ 31 h 308"/>
                    <a:gd name="T98" fmla="*/ 32 w 293"/>
                    <a:gd name="T99" fmla="*/ 18 h 308"/>
                    <a:gd name="T100" fmla="*/ 48 w 293"/>
                    <a:gd name="T101" fmla="*/ 17 h 308"/>
                    <a:gd name="T102" fmla="*/ 75 w 293"/>
                    <a:gd name="T103" fmla="*/ 11 h 308"/>
                    <a:gd name="T104" fmla="*/ 104 w 293"/>
                    <a:gd name="T105" fmla="*/ 7 h 308"/>
                    <a:gd name="T106" fmla="*/ 111 w 293"/>
                    <a:gd name="T107" fmla="*/ 16 h 308"/>
                    <a:gd name="T108" fmla="*/ 117 w 293"/>
                    <a:gd name="T109" fmla="*/ 21 h 308"/>
                    <a:gd name="T110" fmla="*/ 127 w 293"/>
                    <a:gd name="T111" fmla="*/ 11 h 308"/>
                    <a:gd name="T112" fmla="*/ 139 w 293"/>
                    <a:gd name="T113" fmla="*/ 5 h 308"/>
                    <a:gd name="T114" fmla="*/ 148 w 293"/>
                    <a:gd name="T115" fmla="*/ 5 h 308"/>
                    <a:gd name="T116" fmla="*/ 157 w 293"/>
                    <a:gd name="T117" fmla="*/ 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308">
                      <a:moveTo>
                        <a:pt x="165" y="0"/>
                      </a:moveTo>
                      <a:lnTo>
                        <a:pt x="164" y="3"/>
                      </a:lnTo>
                      <a:lnTo>
                        <a:pt x="164" y="4"/>
                      </a:lnTo>
                      <a:lnTo>
                        <a:pt x="164" y="5"/>
                      </a:lnTo>
                      <a:lnTo>
                        <a:pt x="165" y="7"/>
                      </a:lnTo>
                      <a:lnTo>
                        <a:pt x="167" y="10"/>
                      </a:lnTo>
                      <a:lnTo>
                        <a:pt x="168" y="10"/>
                      </a:lnTo>
                      <a:lnTo>
                        <a:pt x="168" y="11"/>
                      </a:lnTo>
                      <a:lnTo>
                        <a:pt x="169" y="12"/>
                      </a:lnTo>
                      <a:lnTo>
                        <a:pt x="170" y="13"/>
                      </a:lnTo>
                      <a:lnTo>
                        <a:pt x="171" y="16"/>
                      </a:lnTo>
                      <a:lnTo>
                        <a:pt x="172" y="17"/>
                      </a:lnTo>
                      <a:lnTo>
                        <a:pt x="172" y="18"/>
                      </a:lnTo>
                      <a:lnTo>
                        <a:pt x="172" y="19"/>
                      </a:lnTo>
                      <a:lnTo>
                        <a:pt x="174" y="20"/>
                      </a:lnTo>
                      <a:lnTo>
                        <a:pt x="175" y="23"/>
                      </a:lnTo>
                      <a:lnTo>
                        <a:pt x="176" y="23"/>
                      </a:lnTo>
                      <a:lnTo>
                        <a:pt x="177" y="24"/>
                      </a:lnTo>
                      <a:lnTo>
                        <a:pt x="178" y="26"/>
                      </a:lnTo>
                      <a:lnTo>
                        <a:pt x="179" y="26"/>
                      </a:lnTo>
                      <a:lnTo>
                        <a:pt x="181" y="27"/>
                      </a:lnTo>
                      <a:lnTo>
                        <a:pt x="181" y="28"/>
                      </a:lnTo>
                      <a:lnTo>
                        <a:pt x="182" y="30"/>
                      </a:lnTo>
                      <a:lnTo>
                        <a:pt x="182" y="32"/>
                      </a:lnTo>
                      <a:lnTo>
                        <a:pt x="183" y="34"/>
                      </a:lnTo>
                      <a:lnTo>
                        <a:pt x="186" y="38"/>
                      </a:lnTo>
                      <a:lnTo>
                        <a:pt x="188" y="40"/>
                      </a:lnTo>
                      <a:lnTo>
                        <a:pt x="188" y="41"/>
                      </a:lnTo>
                      <a:lnTo>
                        <a:pt x="186" y="42"/>
                      </a:lnTo>
                      <a:lnTo>
                        <a:pt x="186" y="44"/>
                      </a:lnTo>
                      <a:lnTo>
                        <a:pt x="188" y="44"/>
                      </a:lnTo>
                      <a:lnTo>
                        <a:pt x="188" y="46"/>
                      </a:lnTo>
                      <a:lnTo>
                        <a:pt x="189" y="47"/>
                      </a:lnTo>
                      <a:lnTo>
                        <a:pt x="190" y="48"/>
                      </a:lnTo>
                      <a:lnTo>
                        <a:pt x="192" y="56"/>
                      </a:lnTo>
                      <a:lnTo>
                        <a:pt x="193" y="58"/>
                      </a:lnTo>
                      <a:lnTo>
                        <a:pt x="195" y="59"/>
                      </a:lnTo>
                      <a:lnTo>
                        <a:pt x="196" y="59"/>
                      </a:lnTo>
                      <a:lnTo>
                        <a:pt x="198" y="59"/>
                      </a:lnTo>
                      <a:lnTo>
                        <a:pt x="198" y="60"/>
                      </a:lnTo>
                      <a:lnTo>
                        <a:pt x="199" y="60"/>
                      </a:lnTo>
                      <a:lnTo>
                        <a:pt x="199" y="61"/>
                      </a:lnTo>
                      <a:lnTo>
                        <a:pt x="198" y="61"/>
                      </a:lnTo>
                      <a:lnTo>
                        <a:pt x="199" y="62"/>
                      </a:lnTo>
                      <a:lnTo>
                        <a:pt x="200" y="62"/>
                      </a:lnTo>
                      <a:lnTo>
                        <a:pt x="202" y="63"/>
                      </a:lnTo>
                      <a:lnTo>
                        <a:pt x="202" y="65"/>
                      </a:lnTo>
                      <a:lnTo>
                        <a:pt x="203" y="65"/>
                      </a:lnTo>
                      <a:lnTo>
                        <a:pt x="204" y="65"/>
                      </a:lnTo>
                      <a:lnTo>
                        <a:pt x="204" y="66"/>
                      </a:lnTo>
                      <a:lnTo>
                        <a:pt x="206" y="66"/>
                      </a:lnTo>
                      <a:lnTo>
                        <a:pt x="206" y="67"/>
                      </a:lnTo>
                      <a:lnTo>
                        <a:pt x="206" y="68"/>
                      </a:lnTo>
                      <a:lnTo>
                        <a:pt x="207" y="68"/>
                      </a:lnTo>
                      <a:lnTo>
                        <a:pt x="207" y="69"/>
                      </a:lnTo>
                      <a:lnTo>
                        <a:pt x="210" y="69"/>
                      </a:lnTo>
                      <a:lnTo>
                        <a:pt x="211" y="70"/>
                      </a:lnTo>
                      <a:lnTo>
                        <a:pt x="211" y="72"/>
                      </a:lnTo>
                      <a:lnTo>
                        <a:pt x="212" y="72"/>
                      </a:lnTo>
                      <a:lnTo>
                        <a:pt x="213" y="72"/>
                      </a:lnTo>
                      <a:lnTo>
                        <a:pt x="214" y="72"/>
                      </a:lnTo>
                      <a:lnTo>
                        <a:pt x="218" y="73"/>
                      </a:lnTo>
                      <a:lnTo>
                        <a:pt x="219" y="74"/>
                      </a:lnTo>
                      <a:lnTo>
                        <a:pt x="220" y="74"/>
                      </a:lnTo>
                      <a:lnTo>
                        <a:pt x="221" y="74"/>
                      </a:lnTo>
                      <a:lnTo>
                        <a:pt x="222" y="75"/>
                      </a:lnTo>
                      <a:lnTo>
                        <a:pt x="224" y="76"/>
                      </a:lnTo>
                      <a:lnTo>
                        <a:pt x="225" y="76"/>
                      </a:lnTo>
                      <a:lnTo>
                        <a:pt x="226" y="76"/>
                      </a:lnTo>
                      <a:lnTo>
                        <a:pt x="227" y="77"/>
                      </a:lnTo>
                      <a:lnTo>
                        <a:pt x="228" y="81"/>
                      </a:lnTo>
                      <a:lnTo>
                        <a:pt x="228" y="84"/>
                      </a:lnTo>
                      <a:lnTo>
                        <a:pt x="228" y="90"/>
                      </a:lnTo>
                      <a:lnTo>
                        <a:pt x="229" y="89"/>
                      </a:lnTo>
                      <a:lnTo>
                        <a:pt x="231" y="89"/>
                      </a:lnTo>
                      <a:lnTo>
                        <a:pt x="234" y="89"/>
                      </a:lnTo>
                      <a:lnTo>
                        <a:pt x="236" y="89"/>
                      </a:lnTo>
                      <a:lnTo>
                        <a:pt x="239" y="89"/>
                      </a:lnTo>
                      <a:lnTo>
                        <a:pt x="240" y="89"/>
                      </a:lnTo>
                      <a:lnTo>
                        <a:pt x="241" y="89"/>
                      </a:lnTo>
                      <a:lnTo>
                        <a:pt x="241" y="90"/>
                      </a:lnTo>
                      <a:lnTo>
                        <a:pt x="242" y="90"/>
                      </a:lnTo>
                      <a:lnTo>
                        <a:pt x="242" y="93"/>
                      </a:lnTo>
                      <a:lnTo>
                        <a:pt x="241" y="94"/>
                      </a:lnTo>
                      <a:lnTo>
                        <a:pt x="241" y="95"/>
                      </a:lnTo>
                      <a:lnTo>
                        <a:pt x="242" y="97"/>
                      </a:lnTo>
                      <a:lnTo>
                        <a:pt x="242" y="98"/>
                      </a:lnTo>
                      <a:lnTo>
                        <a:pt x="241" y="101"/>
                      </a:lnTo>
                      <a:lnTo>
                        <a:pt x="241" y="102"/>
                      </a:lnTo>
                      <a:lnTo>
                        <a:pt x="241" y="103"/>
                      </a:lnTo>
                      <a:lnTo>
                        <a:pt x="241" y="104"/>
                      </a:lnTo>
                      <a:lnTo>
                        <a:pt x="241" y="105"/>
                      </a:lnTo>
                      <a:lnTo>
                        <a:pt x="241" y="107"/>
                      </a:lnTo>
                      <a:lnTo>
                        <a:pt x="241" y="109"/>
                      </a:lnTo>
                      <a:lnTo>
                        <a:pt x="241" y="110"/>
                      </a:lnTo>
                      <a:lnTo>
                        <a:pt x="242" y="111"/>
                      </a:lnTo>
                      <a:lnTo>
                        <a:pt x="245" y="114"/>
                      </a:lnTo>
                      <a:lnTo>
                        <a:pt x="246" y="115"/>
                      </a:lnTo>
                      <a:lnTo>
                        <a:pt x="247" y="116"/>
                      </a:lnTo>
                      <a:lnTo>
                        <a:pt x="248" y="117"/>
                      </a:lnTo>
                      <a:lnTo>
                        <a:pt x="248" y="118"/>
                      </a:lnTo>
                      <a:lnTo>
                        <a:pt x="248" y="119"/>
                      </a:lnTo>
                      <a:lnTo>
                        <a:pt x="249" y="122"/>
                      </a:lnTo>
                      <a:lnTo>
                        <a:pt x="249" y="123"/>
                      </a:lnTo>
                      <a:lnTo>
                        <a:pt x="249" y="124"/>
                      </a:lnTo>
                      <a:lnTo>
                        <a:pt x="250" y="124"/>
                      </a:lnTo>
                      <a:lnTo>
                        <a:pt x="250" y="125"/>
                      </a:lnTo>
                      <a:lnTo>
                        <a:pt x="252" y="125"/>
                      </a:lnTo>
                      <a:lnTo>
                        <a:pt x="252" y="126"/>
                      </a:lnTo>
                      <a:lnTo>
                        <a:pt x="254" y="126"/>
                      </a:lnTo>
                      <a:lnTo>
                        <a:pt x="256" y="126"/>
                      </a:lnTo>
                      <a:lnTo>
                        <a:pt x="260" y="126"/>
                      </a:lnTo>
                      <a:lnTo>
                        <a:pt x="261" y="126"/>
                      </a:lnTo>
                      <a:lnTo>
                        <a:pt x="262" y="128"/>
                      </a:lnTo>
                      <a:lnTo>
                        <a:pt x="266" y="129"/>
                      </a:lnTo>
                      <a:lnTo>
                        <a:pt x="267" y="129"/>
                      </a:lnTo>
                      <a:lnTo>
                        <a:pt x="268" y="129"/>
                      </a:lnTo>
                      <a:lnTo>
                        <a:pt x="268" y="128"/>
                      </a:lnTo>
                      <a:lnTo>
                        <a:pt x="269" y="128"/>
                      </a:lnTo>
                      <a:lnTo>
                        <a:pt x="269" y="129"/>
                      </a:lnTo>
                      <a:lnTo>
                        <a:pt x="270" y="129"/>
                      </a:lnTo>
                      <a:lnTo>
                        <a:pt x="271" y="129"/>
                      </a:lnTo>
                      <a:lnTo>
                        <a:pt x="272" y="130"/>
                      </a:lnTo>
                      <a:lnTo>
                        <a:pt x="274" y="130"/>
                      </a:lnTo>
                      <a:lnTo>
                        <a:pt x="278" y="132"/>
                      </a:lnTo>
                      <a:lnTo>
                        <a:pt x="279" y="132"/>
                      </a:lnTo>
                      <a:lnTo>
                        <a:pt x="281" y="132"/>
                      </a:lnTo>
                      <a:lnTo>
                        <a:pt x="282" y="132"/>
                      </a:lnTo>
                      <a:lnTo>
                        <a:pt x="282" y="133"/>
                      </a:lnTo>
                      <a:lnTo>
                        <a:pt x="284" y="133"/>
                      </a:lnTo>
                      <a:lnTo>
                        <a:pt x="284" y="135"/>
                      </a:lnTo>
                      <a:lnTo>
                        <a:pt x="284" y="136"/>
                      </a:lnTo>
                      <a:lnTo>
                        <a:pt x="283" y="136"/>
                      </a:lnTo>
                      <a:lnTo>
                        <a:pt x="283" y="137"/>
                      </a:lnTo>
                      <a:lnTo>
                        <a:pt x="283" y="138"/>
                      </a:lnTo>
                      <a:lnTo>
                        <a:pt x="283" y="139"/>
                      </a:lnTo>
                      <a:lnTo>
                        <a:pt x="284" y="140"/>
                      </a:lnTo>
                      <a:lnTo>
                        <a:pt x="284" y="142"/>
                      </a:lnTo>
                      <a:lnTo>
                        <a:pt x="285" y="143"/>
                      </a:lnTo>
                      <a:lnTo>
                        <a:pt x="286" y="143"/>
                      </a:lnTo>
                      <a:lnTo>
                        <a:pt x="290" y="143"/>
                      </a:lnTo>
                      <a:lnTo>
                        <a:pt x="290" y="144"/>
                      </a:lnTo>
                      <a:lnTo>
                        <a:pt x="291" y="144"/>
                      </a:lnTo>
                      <a:lnTo>
                        <a:pt x="291" y="145"/>
                      </a:lnTo>
                      <a:lnTo>
                        <a:pt x="293" y="146"/>
                      </a:lnTo>
                      <a:lnTo>
                        <a:pt x="292" y="146"/>
                      </a:lnTo>
                      <a:lnTo>
                        <a:pt x="290" y="146"/>
                      </a:lnTo>
                      <a:lnTo>
                        <a:pt x="289" y="146"/>
                      </a:lnTo>
                      <a:lnTo>
                        <a:pt x="289" y="147"/>
                      </a:lnTo>
                      <a:lnTo>
                        <a:pt x="288" y="147"/>
                      </a:lnTo>
                      <a:lnTo>
                        <a:pt x="284" y="147"/>
                      </a:lnTo>
                      <a:lnTo>
                        <a:pt x="283" y="149"/>
                      </a:lnTo>
                      <a:lnTo>
                        <a:pt x="282" y="150"/>
                      </a:lnTo>
                      <a:lnTo>
                        <a:pt x="281" y="151"/>
                      </a:lnTo>
                      <a:lnTo>
                        <a:pt x="282" y="153"/>
                      </a:lnTo>
                      <a:lnTo>
                        <a:pt x="281" y="153"/>
                      </a:lnTo>
                      <a:lnTo>
                        <a:pt x="281" y="156"/>
                      </a:lnTo>
                      <a:lnTo>
                        <a:pt x="279" y="156"/>
                      </a:lnTo>
                      <a:lnTo>
                        <a:pt x="278" y="156"/>
                      </a:lnTo>
                      <a:lnTo>
                        <a:pt x="277" y="156"/>
                      </a:lnTo>
                      <a:lnTo>
                        <a:pt x="277" y="157"/>
                      </a:lnTo>
                      <a:lnTo>
                        <a:pt x="276" y="157"/>
                      </a:lnTo>
                      <a:lnTo>
                        <a:pt x="275" y="157"/>
                      </a:lnTo>
                      <a:lnTo>
                        <a:pt x="274" y="158"/>
                      </a:lnTo>
                      <a:lnTo>
                        <a:pt x="271" y="159"/>
                      </a:lnTo>
                      <a:lnTo>
                        <a:pt x="270" y="159"/>
                      </a:lnTo>
                      <a:lnTo>
                        <a:pt x="269" y="159"/>
                      </a:lnTo>
                      <a:lnTo>
                        <a:pt x="268" y="160"/>
                      </a:lnTo>
                      <a:lnTo>
                        <a:pt x="266" y="159"/>
                      </a:lnTo>
                      <a:lnTo>
                        <a:pt x="263" y="159"/>
                      </a:lnTo>
                      <a:lnTo>
                        <a:pt x="262" y="160"/>
                      </a:lnTo>
                      <a:lnTo>
                        <a:pt x="261" y="160"/>
                      </a:lnTo>
                      <a:lnTo>
                        <a:pt x="260" y="161"/>
                      </a:lnTo>
                      <a:lnTo>
                        <a:pt x="259" y="163"/>
                      </a:lnTo>
                      <a:lnTo>
                        <a:pt x="257" y="163"/>
                      </a:lnTo>
                      <a:lnTo>
                        <a:pt x="256" y="164"/>
                      </a:lnTo>
                      <a:lnTo>
                        <a:pt x="256" y="165"/>
                      </a:lnTo>
                      <a:lnTo>
                        <a:pt x="256" y="166"/>
                      </a:lnTo>
                      <a:lnTo>
                        <a:pt x="255" y="166"/>
                      </a:lnTo>
                      <a:lnTo>
                        <a:pt x="255" y="167"/>
                      </a:lnTo>
                      <a:lnTo>
                        <a:pt x="254" y="167"/>
                      </a:lnTo>
                      <a:lnTo>
                        <a:pt x="254" y="168"/>
                      </a:lnTo>
                      <a:lnTo>
                        <a:pt x="253" y="168"/>
                      </a:lnTo>
                      <a:lnTo>
                        <a:pt x="253" y="170"/>
                      </a:lnTo>
                      <a:lnTo>
                        <a:pt x="253" y="171"/>
                      </a:lnTo>
                      <a:lnTo>
                        <a:pt x="252" y="172"/>
                      </a:lnTo>
                      <a:lnTo>
                        <a:pt x="250" y="172"/>
                      </a:lnTo>
                      <a:lnTo>
                        <a:pt x="249" y="172"/>
                      </a:lnTo>
                      <a:lnTo>
                        <a:pt x="249" y="173"/>
                      </a:lnTo>
                      <a:lnTo>
                        <a:pt x="249" y="175"/>
                      </a:lnTo>
                      <a:lnTo>
                        <a:pt x="248" y="177"/>
                      </a:lnTo>
                      <a:lnTo>
                        <a:pt x="247" y="178"/>
                      </a:lnTo>
                      <a:lnTo>
                        <a:pt x="246" y="178"/>
                      </a:lnTo>
                      <a:lnTo>
                        <a:pt x="245" y="179"/>
                      </a:lnTo>
                      <a:lnTo>
                        <a:pt x="245" y="178"/>
                      </a:lnTo>
                      <a:lnTo>
                        <a:pt x="243" y="178"/>
                      </a:lnTo>
                      <a:lnTo>
                        <a:pt x="243" y="179"/>
                      </a:lnTo>
                      <a:lnTo>
                        <a:pt x="245" y="179"/>
                      </a:lnTo>
                      <a:lnTo>
                        <a:pt x="245" y="180"/>
                      </a:lnTo>
                      <a:lnTo>
                        <a:pt x="243" y="180"/>
                      </a:lnTo>
                      <a:lnTo>
                        <a:pt x="243" y="181"/>
                      </a:lnTo>
                      <a:lnTo>
                        <a:pt x="242" y="181"/>
                      </a:lnTo>
                      <a:lnTo>
                        <a:pt x="241" y="180"/>
                      </a:lnTo>
                      <a:lnTo>
                        <a:pt x="240" y="181"/>
                      </a:lnTo>
                      <a:lnTo>
                        <a:pt x="239" y="181"/>
                      </a:lnTo>
                      <a:lnTo>
                        <a:pt x="239" y="182"/>
                      </a:lnTo>
                      <a:lnTo>
                        <a:pt x="238" y="182"/>
                      </a:lnTo>
                      <a:lnTo>
                        <a:pt x="238" y="184"/>
                      </a:lnTo>
                      <a:lnTo>
                        <a:pt x="238" y="185"/>
                      </a:lnTo>
                      <a:lnTo>
                        <a:pt x="238" y="186"/>
                      </a:lnTo>
                      <a:lnTo>
                        <a:pt x="236" y="186"/>
                      </a:lnTo>
                      <a:lnTo>
                        <a:pt x="236" y="187"/>
                      </a:lnTo>
                      <a:lnTo>
                        <a:pt x="235" y="187"/>
                      </a:lnTo>
                      <a:lnTo>
                        <a:pt x="234" y="187"/>
                      </a:lnTo>
                      <a:lnTo>
                        <a:pt x="233" y="188"/>
                      </a:lnTo>
                      <a:lnTo>
                        <a:pt x="233" y="187"/>
                      </a:lnTo>
                      <a:lnTo>
                        <a:pt x="232" y="187"/>
                      </a:lnTo>
                      <a:lnTo>
                        <a:pt x="232" y="188"/>
                      </a:lnTo>
                      <a:lnTo>
                        <a:pt x="231" y="188"/>
                      </a:lnTo>
                      <a:lnTo>
                        <a:pt x="231" y="187"/>
                      </a:lnTo>
                      <a:lnTo>
                        <a:pt x="231" y="188"/>
                      </a:lnTo>
                      <a:lnTo>
                        <a:pt x="229" y="189"/>
                      </a:lnTo>
                      <a:lnTo>
                        <a:pt x="228" y="189"/>
                      </a:lnTo>
                      <a:lnTo>
                        <a:pt x="227" y="191"/>
                      </a:lnTo>
                      <a:lnTo>
                        <a:pt x="226" y="191"/>
                      </a:lnTo>
                      <a:lnTo>
                        <a:pt x="226" y="192"/>
                      </a:lnTo>
                      <a:lnTo>
                        <a:pt x="225" y="192"/>
                      </a:lnTo>
                      <a:lnTo>
                        <a:pt x="224" y="192"/>
                      </a:lnTo>
                      <a:lnTo>
                        <a:pt x="224" y="193"/>
                      </a:lnTo>
                      <a:lnTo>
                        <a:pt x="222" y="193"/>
                      </a:lnTo>
                      <a:lnTo>
                        <a:pt x="222" y="194"/>
                      </a:lnTo>
                      <a:lnTo>
                        <a:pt x="222" y="195"/>
                      </a:lnTo>
                      <a:lnTo>
                        <a:pt x="221" y="194"/>
                      </a:lnTo>
                      <a:lnTo>
                        <a:pt x="221" y="195"/>
                      </a:lnTo>
                      <a:lnTo>
                        <a:pt x="221" y="196"/>
                      </a:lnTo>
                      <a:lnTo>
                        <a:pt x="220" y="196"/>
                      </a:lnTo>
                      <a:lnTo>
                        <a:pt x="220" y="195"/>
                      </a:lnTo>
                      <a:lnTo>
                        <a:pt x="220" y="196"/>
                      </a:lnTo>
                      <a:lnTo>
                        <a:pt x="219" y="198"/>
                      </a:lnTo>
                      <a:lnTo>
                        <a:pt x="219" y="199"/>
                      </a:lnTo>
                      <a:lnTo>
                        <a:pt x="219" y="200"/>
                      </a:lnTo>
                      <a:lnTo>
                        <a:pt x="218" y="201"/>
                      </a:lnTo>
                      <a:lnTo>
                        <a:pt x="218" y="202"/>
                      </a:lnTo>
                      <a:lnTo>
                        <a:pt x="218" y="203"/>
                      </a:lnTo>
                      <a:lnTo>
                        <a:pt x="215" y="212"/>
                      </a:lnTo>
                      <a:lnTo>
                        <a:pt x="215" y="214"/>
                      </a:lnTo>
                      <a:lnTo>
                        <a:pt x="215" y="216"/>
                      </a:lnTo>
                      <a:lnTo>
                        <a:pt x="214" y="217"/>
                      </a:lnTo>
                      <a:lnTo>
                        <a:pt x="213" y="217"/>
                      </a:lnTo>
                      <a:lnTo>
                        <a:pt x="211" y="219"/>
                      </a:lnTo>
                      <a:lnTo>
                        <a:pt x="210" y="220"/>
                      </a:lnTo>
                      <a:lnTo>
                        <a:pt x="207" y="222"/>
                      </a:lnTo>
                      <a:lnTo>
                        <a:pt x="206" y="223"/>
                      </a:lnTo>
                      <a:lnTo>
                        <a:pt x="205" y="223"/>
                      </a:lnTo>
                      <a:lnTo>
                        <a:pt x="204" y="224"/>
                      </a:lnTo>
                      <a:lnTo>
                        <a:pt x="204" y="227"/>
                      </a:lnTo>
                      <a:lnTo>
                        <a:pt x="203" y="228"/>
                      </a:lnTo>
                      <a:lnTo>
                        <a:pt x="202" y="230"/>
                      </a:lnTo>
                      <a:lnTo>
                        <a:pt x="200" y="229"/>
                      </a:lnTo>
                      <a:lnTo>
                        <a:pt x="199" y="229"/>
                      </a:lnTo>
                      <a:lnTo>
                        <a:pt x="198" y="229"/>
                      </a:lnTo>
                      <a:lnTo>
                        <a:pt x="197" y="229"/>
                      </a:lnTo>
                      <a:lnTo>
                        <a:pt x="193" y="230"/>
                      </a:lnTo>
                      <a:lnTo>
                        <a:pt x="189" y="233"/>
                      </a:lnTo>
                      <a:lnTo>
                        <a:pt x="188" y="233"/>
                      </a:lnTo>
                      <a:lnTo>
                        <a:pt x="185" y="233"/>
                      </a:lnTo>
                      <a:lnTo>
                        <a:pt x="185" y="234"/>
                      </a:lnTo>
                      <a:lnTo>
                        <a:pt x="184" y="234"/>
                      </a:lnTo>
                      <a:lnTo>
                        <a:pt x="184" y="235"/>
                      </a:lnTo>
                      <a:lnTo>
                        <a:pt x="184" y="237"/>
                      </a:lnTo>
                      <a:lnTo>
                        <a:pt x="184" y="238"/>
                      </a:lnTo>
                      <a:lnTo>
                        <a:pt x="184" y="240"/>
                      </a:lnTo>
                      <a:lnTo>
                        <a:pt x="183" y="242"/>
                      </a:lnTo>
                      <a:lnTo>
                        <a:pt x="183" y="243"/>
                      </a:lnTo>
                      <a:lnTo>
                        <a:pt x="182" y="244"/>
                      </a:lnTo>
                      <a:lnTo>
                        <a:pt x="182" y="247"/>
                      </a:lnTo>
                      <a:lnTo>
                        <a:pt x="179" y="252"/>
                      </a:lnTo>
                      <a:lnTo>
                        <a:pt x="178" y="257"/>
                      </a:lnTo>
                      <a:lnTo>
                        <a:pt x="177" y="258"/>
                      </a:lnTo>
                      <a:lnTo>
                        <a:pt x="176" y="262"/>
                      </a:lnTo>
                      <a:lnTo>
                        <a:pt x="176" y="264"/>
                      </a:lnTo>
                      <a:lnTo>
                        <a:pt x="171" y="266"/>
                      </a:lnTo>
                      <a:lnTo>
                        <a:pt x="169" y="268"/>
                      </a:lnTo>
                      <a:lnTo>
                        <a:pt x="163" y="269"/>
                      </a:lnTo>
                      <a:lnTo>
                        <a:pt x="161" y="269"/>
                      </a:lnTo>
                      <a:lnTo>
                        <a:pt x="160" y="268"/>
                      </a:lnTo>
                      <a:lnTo>
                        <a:pt x="158" y="268"/>
                      </a:lnTo>
                      <a:lnTo>
                        <a:pt x="157" y="268"/>
                      </a:lnTo>
                      <a:lnTo>
                        <a:pt x="156" y="269"/>
                      </a:lnTo>
                      <a:lnTo>
                        <a:pt x="154" y="270"/>
                      </a:lnTo>
                      <a:lnTo>
                        <a:pt x="151" y="271"/>
                      </a:lnTo>
                      <a:lnTo>
                        <a:pt x="150" y="271"/>
                      </a:lnTo>
                      <a:lnTo>
                        <a:pt x="149" y="270"/>
                      </a:lnTo>
                      <a:lnTo>
                        <a:pt x="147" y="271"/>
                      </a:lnTo>
                      <a:lnTo>
                        <a:pt x="146" y="270"/>
                      </a:lnTo>
                      <a:lnTo>
                        <a:pt x="143" y="269"/>
                      </a:lnTo>
                      <a:lnTo>
                        <a:pt x="141" y="269"/>
                      </a:lnTo>
                      <a:lnTo>
                        <a:pt x="140" y="268"/>
                      </a:lnTo>
                      <a:lnTo>
                        <a:pt x="139" y="269"/>
                      </a:lnTo>
                      <a:lnTo>
                        <a:pt x="138" y="269"/>
                      </a:lnTo>
                      <a:lnTo>
                        <a:pt x="136" y="269"/>
                      </a:lnTo>
                      <a:lnTo>
                        <a:pt x="135" y="268"/>
                      </a:lnTo>
                      <a:lnTo>
                        <a:pt x="133" y="265"/>
                      </a:lnTo>
                      <a:lnTo>
                        <a:pt x="132" y="264"/>
                      </a:lnTo>
                      <a:lnTo>
                        <a:pt x="129" y="264"/>
                      </a:lnTo>
                      <a:lnTo>
                        <a:pt x="127" y="265"/>
                      </a:lnTo>
                      <a:lnTo>
                        <a:pt x="126" y="265"/>
                      </a:lnTo>
                      <a:lnTo>
                        <a:pt x="126" y="264"/>
                      </a:lnTo>
                      <a:lnTo>
                        <a:pt x="125" y="264"/>
                      </a:lnTo>
                      <a:lnTo>
                        <a:pt x="124" y="264"/>
                      </a:lnTo>
                      <a:lnTo>
                        <a:pt x="122" y="264"/>
                      </a:lnTo>
                      <a:lnTo>
                        <a:pt x="122" y="263"/>
                      </a:lnTo>
                      <a:lnTo>
                        <a:pt x="121" y="262"/>
                      </a:lnTo>
                      <a:lnTo>
                        <a:pt x="120" y="261"/>
                      </a:lnTo>
                      <a:lnTo>
                        <a:pt x="119" y="259"/>
                      </a:lnTo>
                      <a:lnTo>
                        <a:pt x="118" y="258"/>
                      </a:lnTo>
                      <a:lnTo>
                        <a:pt x="117" y="258"/>
                      </a:lnTo>
                      <a:lnTo>
                        <a:pt x="115" y="257"/>
                      </a:lnTo>
                      <a:lnTo>
                        <a:pt x="112" y="255"/>
                      </a:lnTo>
                      <a:lnTo>
                        <a:pt x="111" y="254"/>
                      </a:lnTo>
                      <a:lnTo>
                        <a:pt x="110" y="254"/>
                      </a:lnTo>
                      <a:lnTo>
                        <a:pt x="110" y="252"/>
                      </a:lnTo>
                      <a:lnTo>
                        <a:pt x="108" y="252"/>
                      </a:lnTo>
                      <a:lnTo>
                        <a:pt x="107" y="252"/>
                      </a:lnTo>
                      <a:lnTo>
                        <a:pt x="106" y="252"/>
                      </a:lnTo>
                      <a:lnTo>
                        <a:pt x="105" y="251"/>
                      </a:lnTo>
                      <a:lnTo>
                        <a:pt x="103" y="251"/>
                      </a:lnTo>
                      <a:lnTo>
                        <a:pt x="101" y="251"/>
                      </a:lnTo>
                      <a:lnTo>
                        <a:pt x="100" y="252"/>
                      </a:lnTo>
                      <a:lnTo>
                        <a:pt x="98" y="254"/>
                      </a:lnTo>
                      <a:lnTo>
                        <a:pt x="97" y="254"/>
                      </a:lnTo>
                      <a:lnTo>
                        <a:pt x="97" y="252"/>
                      </a:lnTo>
                      <a:lnTo>
                        <a:pt x="96" y="252"/>
                      </a:lnTo>
                      <a:lnTo>
                        <a:pt x="94" y="254"/>
                      </a:lnTo>
                      <a:lnTo>
                        <a:pt x="93" y="255"/>
                      </a:lnTo>
                      <a:lnTo>
                        <a:pt x="93" y="256"/>
                      </a:lnTo>
                      <a:lnTo>
                        <a:pt x="92" y="256"/>
                      </a:lnTo>
                      <a:lnTo>
                        <a:pt x="91" y="256"/>
                      </a:lnTo>
                      <a:lnTo>
                        <a:pt x="91" y="258"/>
                      </a:lnTo>
                      <a:lnTo>
                        <a:pt x="90" y="258"/>
                      </a:lnTo>
                      <a:lnTo>
                        <a:pt x="90" y="259"/>
                      </a:lnTo>
                      <a:lnTo>
                        <a:pt x="89" y="261"/>
                      </a:lnTo>
                      <a:lnTo>
                        <a:pt x="89" y="262"/>
                      </a:lnTo>
                      <a:lnTo>
                        <a:pt x="89" y="263"/>
                      </a:lnTo>
                      <a:lnTo>
                        <a:pt x="90" y="263"/>
                      </a:lnTo>
                      <a:lnTo>
                        <a:pt x="89" y="264"/>
                      </a:lnTo>
                      <a:lnTo>
                        <a:pt x="89" y="265"/>
                      </a:lnTo>
                      <a:lnTo>
                        <a:pt x="89" y="266"/>
                      </a:lnTo>
                      <a:lnTo>
                        <a:pt x="87" y="268"/>
                      </a:lnTo>
                      <a:lnTo>
                        <a:pt x="86" y="269"/>
                      </a:lnTo>
                      <a:lnTo>
                        <a:pt x="86" y="270"/>
                      </a:lnTo>
                      <a:lnTo>
                        <a:pt x="87" y="270"/>
                      </a:lnTo>
                      <a:lnTo>
                        <a:pt x="87" y="271"/>
                      </a:lnTo>
                      <a:lnTo>
                        <a:pt x="86" y="271"/>
                      </a:lnTo>
                      <a:lnTo>
                        <a:pt x="86" y="272"/>
                      </a:lnTo>
                      <a:lnTo>
                        <a:pt x="85" y="273"/>
                      </a:lnTo>
                      <a:lnTo>
                        <a:pt x="86" y="273"/>
                      </a:lnTo>
                      <a:lnTo>
                        <a:pt x="86" y="275"/>
                      </a:lnTo>
                      <a:lnTo>
                        <a:pt x="86" y="276"/>
                      </a:lnTo>
                      <a:lnTo>
                        <a:pt x="85" y="277"/>
                      </a:lnTo>
                      <a:lnTo>
                        <a:pt x="84" y="277"/>
                      </a:lnTo>
                      <a:lnTo>
                        <a:pt x="84" y="278"/>
                      </a:lnTo>
                      <a:lnTo>
                        <a:pt x="83" y="280"/>
                      </a:lnTo>
                      <a:lnTo>
                        <a:pt x="83" y="282"/>
                      </a:lnTo>
                      <a:lnTo>
                        <a:pt x="82" y="282"/>
                      </a:lnTo>
                      <a:lnTo>
                        <a:pt x="80" y="283"/>
                      </a:lnTo>
                      <a:lnTo>
                        <a:pt x="80" y="284"/>
                      </a:lnTo>
                      <a:lnTo>
                        <a:pt x="79" y="284"/>
                      </a:lnTo>
                      <a:lnTo>
                        <a:pt x="78" y="284"/>
                      </a:lnTo>
                      <a:lnTo>
                        <a:pt x="77" y="284"/>
                      </a:lnTo>
                      <a:lnTo>
                        <a:pt x="77" y="285"/>
                      </a:lnTo>
                      <a:lnTo>
                        <a:pt x="76" y="286"/>
                      </a:lnTo>
                      <a:lnTo>
                        <a:pt x="74" y="287"/>
                      </a:lnTo>
                      <a:lnTo>
                        <a:pt x="74" y="289"/>
                      </a:lnTo>
                      <a:lnTo>
                        <a:pt x="72" y="289"/>
                      </a:lnTo>
                      <a:lnTo>
                        <a:pt x="71" y="289"/>
                      </a:lnTo>
                      <a:lnTo>
                        <a:pt x="71" y="290"/>
                      </a:lnTo>
                      <a:lnTo>
                        <a:pt x="70" y="291"/>
                      </a:lnTo>
                      <a:lnTo>
                        <a:pt x="69" y="292"/>
                      </a:lnTo>
                      <a:lnTo>
                        <a:pt x="68" y="294"/>
                      </a:lnTo>
                      <a:lnTo>
                        <a:pt x="67" y="297"/>
                      </a:lnTo>
                      <a:lnTo>
                        <a:pt x="65" y="298"/>
                      </a:lnTo>
                      <a:lnTo>
                        <a:pt x="63" y="299"/>
                      </a:lnTo>
                      <a:lnTo>
                        <a:pt x="62" y="300"/>
                      </a:lnTo>
                      <a:lnTo>
                        <a:pt x="58" y="300"/>
                      </a:lnTo>
                      <a:lnTo>
                        <a:pt x="57" y="300"/>
                      </a:lnTo>
                      <a:lnTo>
                        <a:pt x="56" y="300"/>
                      </a:lnTo>
                      <a:lnTo>
                        <a:pt x="56" y="301"/>
                      </a:lnTo>
                      <a:lnTo>
                        <a:pt x="56" y="303"/>
                      </a:lnTo>
                      <a:lnTo>
                        <a:pt x="56" y="304"/>
                      </a:lnTo>
                      <a:lnTo>
                        <a:pt x="56" y="305"/>
                      </a:lnTo>
                      <a:lnTo>
                        <a:pt x="55" y="305"/>
                      </a:lnTo>
                      <a:lnTo>
                        <a:pt x="54" y="307"/>
                      </a:lnTo>
                      <a:lnTo>
                        <a:pt x="53" y="307"/>
                      </a:lnTo>
                      <a:lnTo>
                        <a:pt x="50" y="306"/>
                      </a:lnTo>
                      <a:lnTo>
                        <a:pt x="48" y="306"/>
                      </a:lnTo>
                      <a:lnTo>
                        <a:pt x="46" y="306"/>
                      </a:lnTo>
                      <a:lnTo>
                        <a:pt x="44" y="306"/>
                      </a:lnTo>
                      <a:lnTo>
                        <a:pt x="41" y="306"/>
                      </a:lnTo>
                      <a:lnTo>
                        <a:pt x="40" y="306"/>
                      </a:lnTo>
                      <a:lnTo>
                        <a:pt x="37" y="307"/>
                      </a:lnTo>
                      <a:lnTo>
                        <a:pt x="36" y="307"/>
                      </a:lnTo>
                      <a:lnTo>
                        <a:pt x="32" y="306"/>
                      </a:lnTo>
                      <a:lnTo>
                        <a:pt x="30" y="305"/>
                      </a:lnTo>
                      <a:lnTo>
                        <a:pt x="29" y="305"/>
                      </a:lnTo>
                      <a:lnTo>
                        <a:pt x="27" y="305"/>
                      </a:lnTo>
                      <a:lnTo>
                        <a:pt x="25" y="306"/>
                      </a:lnTo>
                      <a:lnTo>
                        <a:pt x="23" y="307"/>
                      </a:lnTo>
                      <a:lnTo>
                        <a:pt x="22" y="308"/>
                      </a:lnTo>
                      <a:lnTo>
                        <a:pt x="22" y="307"/>
                      </a:lnTo>
                      <a:lnTo>
                        <a:pt x="22" y="306"/>
                      </a:lnTo>
                      <a:lnTo>
                        <a:pt x="21" y="306"/>
                      </a:lnTo>
                      <a:lnTo>
                        <a:pt x="21" y="305"/>
                      </a:lnTo>
                      <a:lnTo>
                        <a:pt x="20" y="305"/>
                      </a:lnTo>
                      <a:lnTo>
                        <a:pt x="20" y="304"/>
                      </a:lnTo>
                      <a:lnTo>
                        <a:pt x="20" y="301"/>
                      </a:lnTo>
                      <a:lnTo>
                        <a:pt x="20" y="300"/>
                      </a:lnTo>
                      <a:lnTo>
                        <a:pt x="20" y="298"/>
                      </a:lnTo>
                      <a:lnTo>
                        <a:pt x="21" y="298"/>
                      </a:lnTo>
                      <a:lnTo>
                        <a:pt x="20" y="297"/>
                      </a:lnTo>
                      <a:lnTo>
                        <a:pt x="20" y="296"/>
                      </a:lnTo>
                      <a:lnTo>
                        <a:pt x="20" y="294"/>
                      </a:lnTo>
                      <a:lnTo>
                        <a:pt x="20" y="292"/>
                      </a:lnTo>
                      <a:lnTo>
                        <a:pt x="21" y="291"/>
                      </a:lnTo>
                      <a:lnTo>
                        <a:pt x="22" y="289"/>
                      </a:lnTo>
                      <a:lnTo>
                        <a:pt x="25" y="286"/>
                      </a:lnTo>
                      <a:lnTo>
                        <a:pt x="25" y="285"/>
                      </a:lnTo>
                      <a:lnTo>
                        <a:pt x="26" y="284"/>
                      </a:lnTo>
                      <a:lnTo>
                        <a:pt x="27" y="282"/>
                      </a:lnTo>
                      <a:lnTo>
                        <a:pt x="26" y="279"/>
                      </a:lnTo>
                      <a:lnTo>
                        <a:pt x="26" y="276"/>
                      </a:lnTo>
                      <a:lnTo>
                        <a:pt x="26" y="273"/>
                      </a:lnTo>
                      <a:lnTo>
                        <a:pt x="25" y="271"/>
                      </a:lnTo>
                      <a:lnTo>
                        <a:pt x="23" y="271"/>
                      </a:lnTo>
                      <a:lnTo>
                        <a:pt x="23" y="270"/>
                      </a:lnTo>
                      <a:lnTo>
                        <a:pt x="23" y="268"/>
                      </a:lnTo>
                      <a:lnTo>
                        <a:pt x="22" y="268"/>
                      </a:lnTo>
                      <a:lnTo>
                        <a:pt x="22" y="266"/>
                      </a:lnTo>
                      <a:lnTo>
                        <a:pt x="21" y="266"/>
                      </a:lnTo>
                      <a:lnTo>
                        <a:pt x="21" y="265"/>
                      </a:lnTo>
                      <a:lnTo>
                        <a:pt x="21" y="264"/>
                      </a:lnTo>
                      <a:lnTo>
                        <a:pt x="21" y="263"/>
                      </a:lnTo>
                      <a:lnTo>
                        <a:pt x="21" y="262"/>
                      </a:lnTo>
                      <a:lnTo>
                        <a:pt x="20" y="261"/>
                      </a:lnTo>
                      <a:lnTo>
                        <a:pt x="20" y="259"/>
                      </a:lnTo>
                      <a:lnTo>
                        <a:pt x="21" y="258"/>
                      </a:lnTo>
                      <a:lnTo>
                        <a:pt x="20" y="258"/>
                      </a:lnTo>
                      <a:lnTo>
                        <a:pt x="20" y="257"/>
                      </a:lnTo>
                      <a:lnTo>
                        <a:pt x="19" y="257"/>
                      </a:lnTo>
                      <a:lnTo>
                        <a:pt x="19" y="256"/>
                      </a:lnTo>
                      <a:lnTo>
                        <a:pt x="18" y="256"/>
                      </a:lnTo>
                      <a:lnTo>
                        <a:pt x="18" y="255"/>
                      </a:lnTo>
                      <a:lnTo>
                        <a:pt x="18" y="254"/>
                      </a:lnTo>
                      <a:lnTo>
                        <a:pt x="16" y="254"/>
                      </a:lnTo>
                      <a:lnTo>
                        <a:pt x="16" y="252"/>
                      </a:lnTo>
                      <a:lnTo>
                        <a:pt x="16" y="251"/>
                      </a:lnTo>
                      <a:lnTo>
                        <a:pt x="15" y="251"/>
                      </a:lnTo>
                      <a:lnTo>
                        <a:pt x="15" y="250"/>
                      </a:lnTo>
                      <a:lnTo>
                        <a:pt x="14" y="250"/>
                      </a:lnTo>
                      <a:lnTo>
                        <a:pt x="14" y="249"/>
                      </a:lnTo>
                      <a:lnTo>
                        <a:pt x="14" y="248"/>
                      </a:lnTo>
                      <a:lnTo>
                        <a:pt x="13" y="247"/>
                      </a:lnTo>
                      <a:lnTo>
                        <a:pt x="13" y="244"/>
                      </a:lnTo>
                      <a:lnTo>
                        <a:pt x="12" y="243"/>
                      </a:lnTo>
                      <a:lnTo>
                        <a:pt x="8" y="241"/>
                      </a:lnTo>
                      <a:lnTo>
                        <a:pt x="6" y="238"/>
                      </a:lnTo>
                      <a:lnTo>
                        <a:pt x="5" y="238"/>
                      </a:lnTo>
                      <a:lnTo>
                        <a:pt x="4" y="238"/>
                      </a:lnTo>
                      <a:lnTo>
                        <a:pt x="4" y="237"/>
                      </a:lnTo>
                      <a:lnTo>
                        <a:pt x="1" y="236"/>
                      </a:lnTo>
                      <a:lnTo>
                        <a:pt x="1" y="235"/>
                      </a:lnTo>
                      <a:lnTo>
                        <a:pt x="0" y="235"/>
                      </a:lnTo>
                      <a:lnTo>
                        <a:pt x="0" y="234"/>
                      </a:lnTo>
                      <a:lnTo>
                        <a:pt x="0" y="228"/>
                      </a:lnTo>
                      <a:lnTo>
                        <a:pt x="0" y="222"/>
                      </a:lnTo>
                      <a:lnTo>
                        <a:pt x="0" y="216"/>
                      </a:lnTo>
                      <a:lnTo>
                        <a:pt x="0" y="210"/>
                      </a:lnTo>
                      <a:lnTo>
                        <a:pt x="0" y="205"/>
                      </a:lnTo>
                      <a:lnTo>
                        <a:pt x="0" y="203"/>
                      </a:lnTo>
                      <a:lnTo>
                        <a:pt x="0" y="199"/>
                      </a:lnTo>
                      <a:lnTo>
                        <a:pt x="0" y="193"/>
                      </a:lnTo>
                      <a:lnTo>
                        <a:pt x="0" y="187"/>
                      </a:lnTo>
                      <a:lnTo>
                        <a:pt x="0" y="185"/>
                      </a:lnTo>
                      <a:lnTo>
                        <a:pt x="0" y="181"/>
                      </a:lnTo>
                      <a:lnTo>
                        <a:pt x="0" y="175"/>
                      </a:lnTo>
                      <a:lnTo>
                        <a:pt x="0" y="170"/>
                      </a:lnTo>
                      <a:lnTo>
                        <a:pt x="0" y="164"/>
                      </a:lnTo>
                      <a:lnTo>
                        <a:pt x="0" y="159"/>
                      </a:lnTo>
                      <a:lnTo>
                        <a:pt x="0" y="153"/>
                      </a:lnTo>
                      <a:lnTo>
                        <a:pt x="0" y="149"/>
                      </a:lnTo>
                      <a:lnTo>
                        <a:pt x="0" y="143"/>
                      </a:lnTo>
                      <a:lnTo>
                        <a:pt x="0" y="140"/>
                      </a:lnTo>
                      <a:lnTo>
                        <a:pt x="7" y="140"/>
                      </a:lnTo>
                      <a:lnTo>
                        <a:pt x="14" y="140"/>
                      </a:lnTo>
                      <a:lnTo>
                        <a:pt x="22" y="140"/>
                      </a:lnTo>
                      <a:lnTo>
                        <a:pt x="29" y="140"/>
                      </a:lnTo>
                      <a:lnTo>
                        <a:pt x="30" y="140"/>
                      </a:lnTo>
                      <a:lnTo>
                        <a:pt x="32" y="139"/>
                      </a:lnTo>
                      <a:lnTo>
                        <a:pt x="32" y="138"/>
                      </a:lnTo>
                      <a:lnTo>
                        <a:pt x="32" y="136"/>
                      </a:lnTo>
                      <a:lnTo>
                        <a:pt x="32" y="133"/>
                      </a:lnTo>
                      <a:lnTo>
                        <a:pt x="32" y="132"/>
                      </a:lnTo>
                      <a:lnTo>
                        <a:pt x="32" y="130"/>
                      </a:lnTo>
                      <a:lnTo>
                        <a:pt x="32" y="128"/>
                      </a:lnTo>
                      <a:lnTo>
                        <a:pt x="32" y="126"/>
                      </a:lnTo>
                      <a:lnTo>
                        <a:pt x="32" y="124"/>
                      </a:lnTo>
                      <a:lnTo>
                        <a:pt x="32" y="122"/>
                      </a:lnTo>
                      <a:lnTo>
                        <a:pt x="32" y="121"/>
                      </a:lnTo>
                      <a:lnTo>
                        <a:pt x="32" y="118"/>
                      </a:lnTo>
                      <a:lnTo>
                        <a:pt x="32" y="116"/>
                      </a:lnTo>
                      <a:lnTo>
                        <a:pt x="32" y="115"/>
                      </a:lnTo>
                      <a:lnTo>
                        <a:pt x="32" y="112"/>
                      </a:lnTo>
                      <a:lnTo>
                        <a:pt x="32" y="110"/>
                      </a:lnTo>
                      <a:lnTo>
                        <a:pt x="32" y="109"/>
                      </a:lnTo>
                      <a:lnTo>
                        <a:pt x="32" y="107"/>
                      </a:lnTo>
                      <a:lnTo>
                        <a:pt x="32" y="103"/>
                      </a:lnTo>
                      <a:lnTo>
                        <a:pt x="32" y="98"/>
                      </a:lnTo>
                      <a:lnTo>
                        <a:pt x="32" y="94"/>
                      </a:lnTo>
                      <a:lnTo>
                        <a:pt x="32" y="90"/>
                      </a:lnTo>
                      <a:lnTo>
                        <a:pt x="30" y="86"/>
                      </a:lnTo>
                      <a:lnTo>
                        <a:pt x="30" y="82"/>
                      </a:lnTo>
                      <a:lnTo>
                        <a:pt x="30" y="77"/>
                      </a:lnTo>
                      <a:lnTo>
                        <a:pt x="30" y="74"/>
                      </a:lnTo>
                      <a:lnTo>
                        <a:pt x="30" y="69"/>
                      </a:lnTo>
                      <a:lnTo>
                        <a:pt x="30" y="65"/>
                      </a:lnTo>
                      <a:lnTo>
                        <a:pt x="30" y="61"/>
                      </a:lnTo>
                      <a:lnTo>
                        <a:pt x="30" y="56"/>
                      </a:lnTo>
                      <a:lnTo>
                        <a:pt x="30" y="53"/>
                      </a:lnTo>
                      <a:lnTo>
                        <a:pt x="30" y="48"/>
                      </a:lnTo>
                      <a:lnTo>
                        <a:pt x="30" y="46"/>
                      </a:lnTo>
                      <a:lnTo>
                        <a:pt x="30" y="45"/>
                      </a:lnTo>
                      <a:lnTo>
                        <a:pt x="30" y="40"/>
                      </a:lnTo>
                      <a:lnTo>
                        <a:pt x="30" y="39"/>
                      </a:lnTo>
                      <a:lnTo>
                        <a:pt x="30" y="38"/>
                      </a:lnTo>
                      <a:lnTo>
                        <a:pt x="30" y="37"/>
                      </a:lnTo>
                      <a:lnTo>
                        <a:pt x="30" y="34"/>
                      </a:lnTo>
                      <a:lnTo>
                        <a:pt x="30" y="33"/>
                      </a:lnTo>
                      <a:lnTo>
                        <a:pt x="30" y="32"/>
                      </a:lnTo>
                      <a:lnTo>
                        <a:pt x="30" y="31"/>
                      </a:lnTo>
                      <a:lnTo>
                        <a:pt x="30" y="30"/>
                      </a:lnTo>
                      <a:lnTo>
                        <a:pt x="30" y="28"/>
                      </a:lnTo>
                      <a:lnTo>
                        <a:pt x="30" y="27"/>
                      </a:lnTo>
                      <a:lnTo>
                        <a:pt x="30" y="25"/>
                      </a:lnTo>
                      <a:lnTo>
                        <a:pt x="30" y="24"/>
                      </a:lnTo>
                      <a:lnTo>
                        <a:pt x="30" y="23"/>
                      </a:lnTo>
                      <a:lnTo>
                        <a:pt x="30" y="21"/>
                      </a:lnTo>
                      <a:lnTo>
                        <a:pt x="30" y="20"/>
                      </a:lnTo>
                      <a:lnTo>
                        <a:pt x="30" y="19"/>
                      </a:lnTo>
                      <a:lnTo>
                        <a:pt x="30" y="18"/>
                      </a:lnTo>
                      <a:lnTo>
                        <a:pt x="32" y="18"/>
                      </a:lnTo>
                      <a:lnTo>
                        <a:pt x="33" y="18"/>
                      </a:lnTo>
                      <a:lnTo>
                        <a:pt x="34" y="18"/>
                      </a:lnTo>
                      <a:lnTo>
                        <a:pt x="36" y="18"/>
                      </a:lnTo>
                      <a:lnTo>
                        <a:pt x="37" y="18"/>
                      </a:lnTo>
                      <a:lnTo>
                        <a:pt x="40" y="18"/>
                      </a:lnTo>
                      <a:lnTo>
                        <a:pt x="41" y="17"/>
                      </a:lnTo>
                      <a:lnTo>
                        <a:pt x="42" y="17"/>
                      </a:lnTo>
                      <a:lnTo>
                        <a:pt x="43" y="17"/>
                      </a:lnTo>
                      <a:lnTo>
                        <a:pt x="46" y="17"/>
                      </a:lnTo>
                      <a:lnTo>
                        <a:pt x="47" y="17"/>
                      </a:lnTo>
                      <a:lnTo>
                        <a:pt x="48" y="17"/>
                      </a:lnTo>
                      <a:lnTo>
                        <a:pt x="49" y="17"/>
                      </a:lnTo>
                      <a:lnTo>
                        <a:pt x="51" y="16"/>
                      </a:lnTo>
                      <a:lnTo>
                        <a:pt x="54" y="16"/>
                      </a:lnTo>
                      <a:lnTo>
                        <a:pt x="56" y="16"/>
                      </a:lnTo>
                      <a:lnTo>
                        <a:pt x="60" y="14"/>
                      </a:lnTo>
                      <a:lnTo>
                        <a:pt x="62" y="14"/>
                      </a:lnTo>
                      <a:lnTo>
                        <a:pt x="64" y="13"/>
                      </a:lnTo>
                      <a:lnTo>
                        <a:pt x="68" y="13"/>
                      </a:lnTo>
                      <a:lnTo>
                        <a:pt x="70" y="12"/>
                      </a:lnTo>
                      <a:lnTo>
                        <a:pt x="72" y="12"/>
                      </a:lnTo>
                      <a:lnTo>
                        <a:pt x="75" y="11"/>
                      </a:lnTo>
                      <a:lnTo>
                        <a:pt x="78" y="11"/>
                      </a:lnTo>
                      <a:lnTo>
                        <a:pt x="80" y="11"/>
                      </a:lnTo>
                      <a:lnTo>
                        <a:pt x="83" y="10"/>
                      </a:lnTo>
                      <a:lnTo>
                        <a:pt x="85" y="10"/>
                      </a:lnTo>
                      <a:lnTo>
                        <a:pt x="89" y="9"/>
                      </a:lnTo>
                      <a:lnTo>
                        <a:pt x="91" y="9"/>
                      </a:lnTo>
                      <a:lnTo>
                        <a:pt x="93" y="7"/>
                      </a:lnTo>
                      <a:lnTo>
                        <a:pt x="98" y="7"/>
                      </a:lnTo>
                      <a:lnTo>
                        <a:pt x="100" y="7"/>
                      </a:lnTo>
                      <a:lnTo>
                        <a:pt x="103" y="7"/>
                      </a:lnTo>
                      <a:lnTo>
                        <a:pt x="104" y="7"/>
                      </a:lnTo>
                      <a:lnTo>
                        <a:pt x="104" y="9"/>
                      </a:lnTo>
                      <a:lnTo>
                        <a:pt x="105" y="9"/>
                      </a:lnTo>
                      <a:lnTo>
                        <a:pt x="105" y="10"/>
                      </a:lnTo>
                      <a:lnTo>
                        <a:pt x="106" y="11"/>
                      </a:lnTo>
                      <a:lnTo>
                        <a:pt x="106" y="12"/>
                      </a:lnTo>
                      <a:lnTo>
                        <a:pt x="107" y="12"/>
                      </a:lnTo>
                      <a:lnTo>
                        <a:pt x="107" y="13"/>
                      </a:lnTo>
                      <a:lnTo>
                        <a:pt x="108" y="13"/>
                      </a:lnTo>
                      <a:lnTo>
                        <a:pt x="108" y="14"/>
                      </a:lnTo>
                      <a:lnTo>
                        <a:pt x="110" y="14"/>
                      </a:lnTo>
                      <a:lnTo>
                        <a:pt x="111" y="16"/>
                      </a:lnTo>
                      <a:lnTo>
                        <a:pt x="111" y="17"/>
                      </a:lnTo>
                      <a:lnTo>
                        <a:pt x="112" y="18"/>
                      </a:lnTo>
                      <a:lnTo>
                        <a:pt x="112" y="19"/>
                      </a:lnTo>
                      <a:lnTo>
                        <a:pt x="112" y="20"/>
                      </a:lnTo>
                      <a:lnTo>
                        <a:pt x="112" y="21"/>
                      </a:lnTo>
                      <a:lnTo>
                        <a:pt x="112" y="23"/>
                      </a:lnTo>
                      <a:lnTo>
                        <a:pt x="113" y="23"/>
                      </a:lnTo>
                      <a:lnTo>
                        <a:pt x="114" y="23"/>
                      </a:lnTo>
                      <a:lnTo>
                        <a:pt x="115" y="23"/>
                      </a:lnTo>
                      <a:lnTo>
                        <a:pt x="115" y="21"/>
                      </a:lnTo>
                      <a:lnTo>
                        <a:pt x="117" y="21"/>
                      </a:lnTo>
                      <a:lnTo>
                        <a:pt x="120" y="18"/>
                      </a:lnTo>
                      <a:lnTo>
                        <a:pt x="120" y="17"/>
                      </a:lnTo>
                      <a:lnTo>
                        <a:pt x="121" y="17"/>
                      </a:lnTo>
                      <a:lnTo>
                        <a:pt x="121" y="16"/>
                      </a:lnTo>
                      <a:lnTo>
                        <a:pt x="122" y="16"/>
                      </a:lnTo>
                      <a:lnTo>
                        <a:pt x="122" y="14"/>
                      </a:lnTo>
                      <a:lnTo>
                        <a:pt x="124" y="13"/>
                      </a:lnTo>
                      <a:lnTo>
                        <a:pt x="125" y="13"/>
                      </a:lnTo>
                      <a:lnTo>
                        <a:pt x="126" y="12"/>
                      </a:lnTo>
                      <a:lnTo>
                        <a:pt x="127" y="12"/>
                      </a:lnTo>
                      <a:lnTo>
                        <a:pt x="127" y="11"/>
                      </a:lnTo>
                      <a:lnTo>
                        <a:pt x="128" y="11"/>
                      </a:lnTo>
                      <a:lnTo>
                        <a:pt x="129" y="11"/>
                      </a:lnTo>
                      <a:lnTo>
                        <a:pt x="129" y="10"/>
                      </a:lnTo>
                      <a:lnTo>
                        <a:pt x="132" y="9"/>
                      </a:lnTo>
                      <a:lnTo>
                        <a:pt x="133" y="7"/>
                      </a:lnTo>
                      <a:lnTo>
                        <a:pt x="134" y="7"/>
                      </a:lnTo>
                      <a:lnTo>
                        <a:pt x="135" y="7"/>
                      </a:lnTo>
                      <a:lnTo>
                        <a:pt x="136" y="6"/>
                      </a:lnTo>
                      <a:lnTo>
                        <a:pt x="136" y="5"/>
                      </a:lnTo>
                      <a:lnTo>
                        <a:pt x="138" y="5"/>
                      </a:lnTo>
                      <a:lnTo>
                        <a:pt x="139" y="5"/>
                      </a:lnTo>
                      <a:lnTo>
                        <a:pt x="140" y="6"/>
                      </a:lnTo>
                      <a:lnTo>
                        <a:pt x="140" y="7"/>
                      </a:lnTo>
                      <a:lnTo>
                        <a:pt x="141" y="7"/>
                      </a:lnTo>
                      <a:lnTo>
                        <a:pt x="141" y="9"/>
                      </a:lnTo>
                      <a:lnTo>
                        <a:pt x="142" y="9"/>
                      </a:lnTo>
                      <a:lnTo>
                        <a:pt x="143" y="9"/>
                      </a:lnTo>
                      <a:lnTo>
                        <a:pt x="144" y="9"/>
                      </a:lnTo>
                      <a:lnTo>
                        <a:pt x="144" y="7"/>
                      </a:lnTo>
                      <a:lnTo>
                        <a:pt x="146" y="6"/>
                      </a:lnTo>
                      <a:lnTo>
                        <a:pt x="147" y="5"/>
                      </a:lnTo>
                      <a:lnTo>
                        <a:pt x="148" y="5"/>
                      </a:lnTo>
                      <a:lnTo>
                        <a:pt x="148" y="4"/>
                      </a:lnTo>
                      <a:lnTo>
                        <a:pt x="149" y="4"/>
                      </a:lnTo>
                      <a:lnTo>
                        <a:pt x="149" y="3"/>
                      </a:lnTo>
                      <a:lnTo>
                        <a:pt x="150" y="3"/>
                      </a:lnTo>
                      <a:lnTo>
                        <a:pt x="151" y="2"/>
                      </a:lnTo>
                      <a:lnTo>
                        <a:pt x="153" y="2"/>
                      </a:lnTo>
                      <a:lnTo>
                        <a:pt x="155" y="0"/>
                      </a:lnTo>
                      <a:lnTo>
                        <a:pt x="156" y="0"/>
                      </a:lnTo>
                      <a:lnTo>
                        <a:pt x="156" y="2"/>
                      </a:lnTo>
                      <a:lnTo>
                        <a:pt x="157" y="0"/>
                      </a:lnTo>
                      <a:lnTo>
                        <a:pt x="157" y="2"/>
                      </a:lnTo>
                      <a:lnTo>
                        <a:pt x="158" y="0"/>
                      </a:lnTo>
                      <a:lnTo>
                        <a:pt x="158" y="2"/>
                      </a:lnTo>
                      <a:lnTo>
                        <a:pt x="160" y="2"/>
                      </a:lnTo>
                      <a:lnTo>
                        <a:pt x="161" y="0"/>
                      </a:lnTo>
                      <a:lnTo>
                        <a:pt x="162" y="0"/>
                      </a:lnTo>
                      <a:lnTo>
                        <a:pt x="163" y="0"/>
                      </a:lnTo>
                      <a:lnTo>
                        <a:pt x="16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0" name="Freeform 77">
                  <a:extLst>
                    <a:ext uri="{FF2B5EF4-FFF2-40B4-BE49-F238E27FC236}">
                      <a16:creationId xmlns:a16="http://schemas.microsoft.com/office/drawing/2014/main" id="{FA692BD4-EF20-DA31-F5FF-A3640C2218B6}"/>
                    </a:ext>
                  </a:extLst>
                </p:cNvPr>
                <p:cNvSpPr>
                  <a:spLocks/>
                </p:cNvSpPr>
                <p:nvPr/>
              </p:nvSpPr>
              <p:spPr bwMode="auto">
                <a:xfrm>
                  <a:off x="6721288" y="3418928"/>
                  <a:ext cx="447838" cy="302885"/>
                </a:xfrm>
                <a:custGeom>
                  <a:avLst/>
                  <a:gdLst>
                    <a:gd name="T0" fmla="*/ 294 w 414"/>
                    <a:gd name="T1" fmla="*/ 51 h 280"/>
                    <a:gd name="T2" fmla="*/ 291 w 414"/>
                    <a:gd name="T3" fmla="*/ 69 h 280"/>
                    <a:gd name="T4" fmla="*/ 302 w 414"/>
                    <a:gd name="T5" fmla="*/ 74 h 280"/>
                    <a:gd name="T6" fmla="*/ 311 w 414"/>
                    <a:gd name="T7" fmla="*/ 88 h 280"/>
                    <a:gd name="T8" fmla="*/ 330 w 414"/>
                    <a:gd name="T9" fmla="*/ 91 h 280"/>
                    <a:gd name="T10" fmla="*/ 345 w 414"/>
                    <a:gd name="T11" fmla="*/ 104 h 280"/>
                    <a:gd name="T12" fmla="*/ 349 w 414"/>
                    <a:gd name="T13" fmla="*/ 118 h 280"/>
                    <a:gd name="T14" fmla="*/ 368 w 414"/>
                    <a:gd name="T15" fmla="*/ 128 h 280"/>
                    <a:gd name="T16" fmla="*/ 380 w 414"/>
                    <a:gd name="T17" fmla="*/ 142 h 280"/>
                    <a:gd name="T18" fmla="*/ 384 w 414"/>
                    <a:gd name="T19" fmla="*/ 153 h 280"/>
                    <a:gd name="T20" fmla="*/ 394 w 414"/>
                    <a:gd name="T21" fmla="*/ 163 h 280"/>
                    <a:gd name="T22" fmla="*/ 407 w 414"/>
                    <a:gd name="T23" fmla="*/ 172 h 280"/>
                    <a:gd name="T24" fmla="*/ 414 w 414"/>
                    <a:gd name="T25" fmla="*/ 189 h 280"/>
                    <a:gd name="T26" fmla="*/ 395 w 414"/>
                    <a:gd name="T27" fmla="*/ 192 h 280"/>
                    <a:gd name="T28" fmla="*/ 380 w 414"/>
                    <a:gd name="T29" fmla="*/ 188 h 280"/>
                    <a:gd name="T30" fmla="*/ 369 w 414"/>
                    <a:gd name="T31" fmla="*/ 186 h 280"/>
                    <a:gd name="T32" fmla="*/ 359 w 414"/>
                    <a:gd name="T33" fmla="*/ 182 h 280"/>
                    <a:gd name="T34" fmla="*/ 349 w 414"/>
                    <a:gd name="T35" fmla="*/ 184 h 280"/>
                    <a:gd name="T36" fmla="*/ 341 w 414"/>
                    <a:gd name="T37" fmla="*/ 193 h 280"/>
                    <a:gd name="T38" fmla="*/ 327 w 414"/>
                    <a:gd name="T39" fmla="*/ 194 h 280"/>
                    <a:gd name="T40" fmla="*/ 316 w 414"/>
                    <a:gd name="T41" fmla="*/ 191 h 280"/>
                    <a:gd name="T42" fmla="*/ 305 w 414"/>
                    <a:gd name="T43" fmla="*/ 196 h 280"/>
                    <a:gd name="T44" fmla="*/ 288 w 414"/>
                    <a:gd name="T45" fmla="*/ 203 h 280"/>
                    <a:gd name="T46" fmla="*/ 274 w 414"/>
                    <a:gd name="T47" fmla="*/ 200 h 280"/>
                    <a:gd name="T48" fmla="*/ 265 w 414"/>
                    <a:gd name="T49" fmla="*/ 205 h 280"/>
                    <a:gd name="T50" fmla="*/ 259 w 414"/>
                    <a:gd name="T51" fmla="*/ 217 h 280"/>
                    <a:gd name="T52" fmla="*/ 241 w 414"/>
                    <a:gd name="T53" fmla="*/ 217 h 280"/>
                    <a:gd name="T54" fmla="*/ 219 w 414"/>
                    <a:gd name="T55" fmla="*/ 214 h 280"/>
                    <a:gd name="T56" fmla="*/ 198 w 414"/>
                    <a:gd name="T57" fmla="*/ 212 h 280"/>
                    <a:gd name="T58" fmla="*/ 180 w 414"/>
                    <a:gd name="T59" fmla="*/ 194 h 280"/>
                    <a:gd name="T60" fmla="*/ 160 w 414"/>
                    <a:gd name="T61" fmla="*/ 188 h 280"/>
                    <a:gd name="T62" fmla="*/ 148 w 414"/>
                    <a:gd name="T63" fmla="*/ 200 h 280"/>
                    <a:gd name="T64" fmla="*/ 132 w 414"/>
                    <a:gd name="T65" fmla="*/ 215 h 280"/>
                    <a:gd name="T66" fmla="*/ 130 w 414"/>
                    <a:gd name="T67" fmla="*/ 236 h 280"/>
                    <a:gd name="T68" fmla="*/ 116 w 414"/>
                    <a:gd name="T69" fmla="*/ 238 h 280"/>
                    <a:gd name="T70" fmla="*/ 102 w 414"/>
                    <a:gd name="T71" fmla="*/ 236 h 280"/>
                    <a:gd name="T72" fmla="*/ 87 w 414"/>
                    <a:gd name="T73" fmla="*/ 238 h 280"/>
                    <a:gd name="T74" fmla="*/ 70 w 414"/>
                    <a:gd name="T75" fmla="*/ 243 h 280"/>
                    <a:gd name="T76" fmla="*/ 65 w 414"/>
                    <a:gd name="T77" fmla="*/ 266 h 280"/>
                    <a:gd name="T78" fmla="*/ 56 w 414"/>
                    <a:gd name="T79" fmla="*/ 270 h 280"/>
                    <a:gd name="T80" fmla="*/ 50 w 414"/>
                    <a:gd name="T81" fmla="*/ 255 h 280"/>
                    <a:gd name="T82" fmla="*/ 23 w 414"/>
                    <a:gd name="T83" fmla="*/ 229 h 280"/>
                    <a:gd name="T84" fmla="*/ 20 w 414"/>
                    <a:gd name="T85" fmla="*/ 212 h 280"/>
                    <a:gd name="T86" fmla="*/ 9 w 414"/>
                    <a:gd name="T87" fmla="*/ 187 h 280"/>
                    <a:gd name="T88" fmla="*/ 7 w 414"/>
                    <a:gd name="T89" fmla="*/ 175 h 280"/>
                    <a:gd name="T90" fmla="*/ 0 w 414"/>
                    <a:gd name="T91" fmla="*/ 160 h 280"/>
                    <a:gd name="T92" fmla="*/ 17 w 414"/>
                    <a:gd name="T93" fmla="*/ 139 h 280"/>
                    <a:gd name="T94" fmla="*/ 30 w 414"/>
                    <a:gd name="T95" fmla="*/ 119 h 280"/>
                    <a:gd name="T96" fmla="*/ 51 w 414"/>
                    <a:gd name="T97" fmla="*/ 111 h 280"/>
                    <a:gd name="T98" fmla="*/ 66 w 414"/>
                    <a:gd name="T99" fmla="*/ 102 h 280"/>
                    <a:gd name="T100" fmla="*/ 79 w 414"/>
                    <a:gd name="T101" fmla="*/ 109 h 280"/>
                    <a:gd name="T102" fmla="*/ 95 w 414"/>
                    <a:gd name="T103" fmla="*/ 101 h 280"/>
                    <a:gd name="T104" fmla="*/ 134 w 414"/>
                    <a:gd name="T105" fmla="*/ 96 h 280"/>
                    <a:gd name="T106" fmla="*/ 149 w 414"/>
                    <a:gd name="T107" fmla="*/ 74 h 280"/>
                    <a:gd name="T108" fmla="*/ 156 w 414"/>
                    <a:gd name="T109" fmla="*/ 65 h 280"/>
                    <a:gd name="T110" fmla="*/ 174 w 414"/>
                    <a:gd name="T111" fmla="*/ 63 h 280"/>
                    <a:gd name="T112" fmla="*/ 186 w 414"/>
                    <a:gd name="T113" fmla="*/ 61 h 280"/>
                    <a:gd name="T114" fmla="*/ 200 w 414"/>
                    <a:gd name="T115" fmla="*/ 53 h 280"/>
                    <a:gd name="T116" fmla="*/ 210 w 414"/>
                    <a:gd name="T117" fmla="*/ 41 h 280"/>
                    <a:gd name="T118" fmla="*/ 226 w 414"/>
                    <a:gd name="T119" fmla="*/ 26 h 280"/>
                    <a:gd name="T120" fmla="*/ 233 w 414"/>
                    <a:gd name="T121" fmla="*/ 14 h 280"/>
                    <a:gd name="T122" fmla="*/ 248 w 414"/>
                    <a:gd name="T123" fmla="*/ 6 h 280"/>
                    <a:gd name="T124" fmla="*/ 263 w 414"/>
                    <a:gd name="T125" fmla="*/ 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4" h="280">
                      <a:moveTo>
                        <a:pt x="269" y="3"/>
                      </a:moveTo>
                      <a:lnTo>
                        <a:pt x="269" y="4"/>
                      </a:lnTo>
                      <a:lnTo>
                        <a:pt x="273" y="11"/>
                      </a:lnTo>
                      <a:lnTo>
                        <a:pt x="277" y="13"/>
                      </a:lnTo>
                      <a:lnTo>
                        <a:pt x="283" y="19"/>
                      </a:lnTo>
                      <a:lnTo>
                        <a:pt x="288" y="27"/>
                      </a:lnTo>
                      <a:lnTo>
                        <a:pt x="293" y="35"/>
                      </a:lnTo>
                      <a:lnTo>
                        <a:pt x="294" y="38"/>
                      </a:lnTo>
                      <a:lnTo>
                        <a:pt x="295" y="42"/>
                      </a:lnTo>
                      <a:lnTo>
                        <a:pt x="294" y="44"/>
                      </a:lnTo>
                      <a:lnTo>
                        <a:pt x="294" y="45"/>
                      </a:lnTo>
                      <a:lnTo>
                        <a:pt x="293" y="47"/>
                      </a:lnTo>
                      <a:lnTo>
                        <a:pt x="293" y="48"/>
                      </a:lnTo>
                      <a:lnTo>
                        <a:pt x="293" y="49"/>
                      </a:lnTo>
                      <a:lnTo>
                        <a:pt x="293" y="51"/>
                      </a:lnTo>
                      <a:lnTo>
                        <a:pt x="294" y="51"/>
                      </a:lnTo>
                      <a:lnTo>
                        <a:pt x="294" y="52"/>
                      </a:lnTo>
                      <a:lnTo>
                        <a:pt x="293" y="54"/>
                      </a:lnTo>
                      <a:lnTo>
                        <a:pt x="293" y="55"/>
                      </a:lnTo>
                      <a:lnTo>
                        <a:pt x="293" y="56"/>
                      </a:lnTo>
                      <a:lnTo>
                        <a:pt x="292" y="59"/>
                      </a:lnTo>
                      <a:lnTo>
                        <a:pt x="291" y="59"/>
                      </a:lnTo>
                      <a:lnTo>
                        <a:pt x="290" y="60"/>
                      </a:lnTo>
                      <a:lnTo>
                        <a:pt x="290" y="59"/>
                      </a:lnTo>
                      <a:lnTo>
                        <a:pt x="288" y="60"/>
                      </a:lnTo>
                      <a:lnTo>
                        <a:pt x="287" y="65"/>
                      </a:lnTo>
                      <a:lnTo>
                        <a:pt x="288" y="66"/>
                      </a:lnTo>
                      <a:lnTo>
                        <a:pt x="290" y="66"/>
                      </a:lnTo>
                      <a:lnTo>
                        <a:pt x="291" y="65"/>
                      </a:lnTo>
                      <a:lnTo>
                        <a:pt x="292" y="66"/>
                      </a:lnTo>
                      <a:lnTo>
                        <a:pt x="292" y="67"/>
                      </a:lnTo>
                      <a:lnTo>
                        <a:pt x="291" y="69"/>
                      </a:lnTo>
                      <a:lnTo>
                        <a:pt x="290" y="72"/>
                      </a:lnTo>
                      <a:lnTo>
                        <a:pt x="288" y="72"/>
                      </a:lnTo>
                      <a:lnTo>
                        <a:pt x="288" y="73"/>
                      </a:lnTo>
                      <a:lnTo>
                        <a:pt x="290" y="74"/>
                      </a:lnTo>
                      <a:lnTo>
                        <a:pt x="291" y="75"/>
                      </a:lnTo>
                      <a:lnTo>
                        <a:pt x="291" y="74"/>
                      </a:lnTo>
                      <a:lnTo>
                        <a:pt x="292" y="74"/>
                      </a:lnTo>
                      <a:lnTo>
                        <a:pt x="293" y="74"/>
                      </a:lnTo>
                      <a:lnTo>
                        <a:pt x="294" y="74"/>
                      </a:lnTo>
                      <a:lnTo>
                        <a:pt x="295" y="74"/>
                      </a:lnTo>
                      <a:lnTo>
                        <a:pt x="297" y="75"/>
                      </a:lnTo>
                      <a:lnTo>
                        <a:pt x="297" y="74"/>
                      </a:lnTo>
                      <a:lnTo>
                        <a:pt x="298" y="74"/>
                      </a:lnTo>
                      <a:lnTo>
                        <a:pt x="299" y="74"/>
                      </a:lnTo>
                      <a:lnTo>
                        <a:pt x="301" y="74"/>
                      </a:lnTo>
                      <a:lnTo>
                        <a:pt x="302" y="74"/>
                      </a:lnTo>
                      <a:lnTo>
                        <a:pt x="304" y="75"/>
                      </a:lnTo>
                      <a:lnTo>
                        <a:pt x="305" y="75"/>
                      </a:lnTo>
                      <a:lnTo>
                        <a:pt x="306" y="75"/>
                      </a:lnTo>
                      <a:lnTo>
                        <a:pt x="309" y="75"/>
                      </a:lnTo>
                      <a:lnTo>
                        <a:pt x="311" y="75"/>
                      </a:lnTo>
                      <a:lnTo>
                        <a:pt x="312" y="75"/>
                      </a:lnTo>
                      <a:lnTo>
                        <a:pt x="313" y="75"/>
                      </a:lnTo>
                      <a:lnTo>
                        <a:pt x="312" y="76"/>
                      </a:lnTo>
                      <a:lnTo>
                        <a:pt x="312" y="77"/>
                      </a:lnTo>
                      <a:lnTo>
                        <a:pt x="313" y="79"/>
                      </a:lnTo>
                      <a:lnTo>
                        <a:pt x="312" y="80"/>
                      </a:lnTo>
                      <a:lnTo>
                        <a:pt x="309" y="83"/>
                      </a:lnTo>
                      <a:lnTo>
                        <a:pt x="309" y="84"/>
                      </a:lnTo>
                      <a:lnTo>
                        <a:pt x="309" y="86"/>
                      </a:lnTo>
                      <a:lnTo>
                        <a:pt x="311" y="87"/>
                      </a:lnTo>
                      <a:lnTo>
                        <a:pt x="311" y="88"/>
                      </a:lnTo>
                      <a:lnTo>
                        <a:pt x="312" y="88"/>
                      </a:lnTo>
                      <a:lnTo>
                        <a:pt x="313" y="88"/>
                      </a:lnTo>
                      <a:lnTo>
                        <a:pt x="314" y="88"/>
                      </a:lnTo>
                      <a:lnTo>
                        <a:pt x="315" y="88"/>
                      </a:lnTo>
                      <a:lnTo>
                        <a:pt x="315" y="89"/>
                      </a:lnTo>
                      <a:lnTo>
                        <a:pt x="316" y="89"/>
                      </a:lnTo>
                      <a:lnTo>
                        <a:pt x="318" y="88"/>
                      </a:lnTo>
                      <a:lnTo>
                        <a:pt x="319" y="88"/>
                      </a:lnTo>
                      <a:lnTo>
                        <a:pt x="320" y="89"/>
                      </a:lnTo>
                      <a:lnTo>
                        <a:pt x="321" y="90"/>
                      </a:lnTo>
                      <a:lnTo>
                        <a:pt x="322" y="90"/>
                      </a:lnTo>
                      <a:lnTo>
                        <a:pt x="324" y="90"/>
                      </a:lnTo>
                      <a:lnTo>
                        <a:pt x="327" y="90"/>
                      </a:lnTo>
                      <a:lnTo>
                        <a:pt x="328" y="90"/>
                      </a:lnTo>
                      <a:lnTo>
                        <a:pt x="329" y="91"/>
                      </a:lnTo>
                      <a:lnTo>
                        <a:pt x="330" y="91"/>
                      </a:lnTo>
                      <a:lnTo>
                        <a:pt x="331" y="91"/>
                      </a:lnTo>
                      <a:lnTo>
                        <a:pt x="335" y="94"/>
                      </a:lnTo>
                      <a:lnTo>
                        <a:pt x="335" y="95"/>
                      </a:lnTo>
                      <a:lnTo>
                        <a:pt x="335" y="96"/>
                      </a:lnTo>
                      <a:lnTo>
                        <a:pt x="336" y="97"/>
                      </a:lnTo>
                      <a:lnTo>
                        <a:pt x="336" y="98"/>
                      </a:lnTo>
                      <a:lnTo>
                        <a:pt x="338" y="100"/>
                      </a:lnTo>
                      <a:lnTo>
                        <a:pt x="338" y="101"/>
                      </a:lnTo>
                      <a:lnTo>
                        <a:pt x="340" y="101"/>
                      </a:lnTo>
                      <a:lnTo>
                        <a:pt x="341" y="101"/>
                      </a:lnTo>
                      <a:lnTo>
                        <a:pt x="342" y="101"/>
                      </a:lnTo>
                      <a:lnTo>
                        <a:pt x="343" y="101"/>
                      </a:lnTo>
                      <a:lnTo>
                        <a:pt x="344" y="101"/>
                      </a:lnTo>
                      <a:lnTo>
                        <a:pt x="344" y="102"/>
                      </a:lnTo>
                      <a:lnTo>
                        <a:pt x="345" y="103"/>
                      </a:lnTo>
                      <a:lnTo>
                        <a:pt x="345" y="104"/>
                      </a:lnTo>
                      <a:lnTo>
                        <a:pt x="345" y="105"/>
                      </a:lnTo>
                      <a:lnTo>
                        <a:pt x="345" y="107"/>
                      </a:lnTo>
                      <a:lnTo>
                        <a:pt x="345" y="108"/>
                      </a:lnTo>
                      <a:lnTo>
                        <a:pt x="345" y="109"/>
                      </a:lnTo>
                      <a:lnTo>
                        <a:pt x="343" y="110"/>
                      </a:lnTo>
                      <a:lnTo>
                        <a:pt x="342" y="110"/>
                      </a:lnTo>
                      <a:lnTo>
                        <a:pt x="342" y="111"/>
                      </a:lnTo>
                      <a:lnTo>
                        <a:pt x="343" y="112"/>
                      </a:lnTo>
                      <a:lnTo>
                        <a:pt x="345" y="114"/>
                      </a:lnTo>
                      <a:lnTo>
                        <a:pt x="345" y="115"/>
                      </a:lnTo>
                      <a:lnTo>
                        <a:pt x="347" y="115"/>
                      </a:lnTo>
                      <a:lnTo>
                        <a:pt x="347" y="116"/>
                      </a:lnTo>
                      <a:lnTo>
                        <a:pt x="348" y="116"/>
                      </a:lnTo>
                      <a:lnTo>
                        <a:pt x="348" y="117"/>
                      </a:lnTo>
                      <a:lnTo>
                        <a:pt x="348" y="118"/>
                      </a:lnTo>
                      <a:lnTo>
                        <a:pt x="349" y="118"/>
                      </a:lnTo>
                      <a:lnTo>
                        <a:pt x="350" y="119"/>
                      </a:lnTo>
                      <a:lnTo>
                        <a:pt x="351" y="121"/>
                      </a:lnTo>
                      <a:lnTo>
                        <a:pt x="352" y="121"/>
                      </a:lnTo>
                      <a:lnTo>
                        <a:pt x="354" y="121"/>
                      </a:lnTo>
                      <a:lnTo>
                        <a:pt x="356" y="122"/>
                      </a:lnTo>
                      <a:lnTo>
                        <a:pt x="358" y="123"/>
                      </a:lnTo>
                      <a:lnTo>
                        <a:pt x="359" y="124"/>
                      </a:lnTo>
                      <a:lnTo>
                        <a:pt x="361" y="124"/>
                      </a:lnTo>
                      <a:lnTo>
                        <a:pt x="362" y="124"/>
                      </a:lnTo>
                      <a:lnTo>
                        <a:pt x="362" y="125"/>
                      </a:lnTo>
                      <a:lnTo>
                        <a:pt x="363" y="125"/>
                      </a:lnTo>
                      <a:lnTo>
                        <a:pt x="364" y="126"/>
                      </a:lnTo>
                      <a:lnTo>
                        <a:pt x="365" y="126"/>
                      </a:lnTo>
                      <a:lnTo>
                        <a:pt x="365" y="128"/>
                      </a:lnTo>
                      <a:lnTo>
                        <a:pt x="366" y="128"/>
                      </a:lnTo>
                      <a:lnTo>
                        <a:pt x="368" y="128"/>
                      </a:lnTo>
                      <a:lnTo>
                        <a:pt x="368" y="129"/>
                      </a:lnTo>
                      <a:lnTo>
                        <a:pt x="369" y="129"/>
                      </a:lnTo>
                      <a:lnTo>
                        <a:pt x="370" y="129"/>
                      </a:lnTo>
                      <a:lnTo>
                        <a:pt x="370" y="130"/>
                      </a:lnTo>
                      <a:lnTo>
                        <a:pt x="370" y="131"/>
                      </a:lnTo>
                      <a:lnTo>
                        <a:pt x="370" y="132"/>
                      </a:lnTo>
                      <a:lnTo>
                        <a:pt x="371" y="132"/>
                      </a:lnTo>
                      <a:lnTo>
                        <a:pt x="371" y="133"/>
                      </a:lnTo>
                      <a:lnTo>
                        <a:pt x="372" y="135"/>
                      </a:lnTo>
                      <a:lnTo>
                        <a:pt x="373" y="135"/>
                      </a:lnTo>
                      <a:lnTo>
                        <a:pt x="375" y="137"/>
                      </a:lnTo>
                      <a:lnTo>
                        <a:pt x="376" y="137"/>
                      </a:lnTo>
                      <a:lnTo>
                        <a:pt x="377" y="138"/>
                      </a:lnTo>
                      <a:lnTo>
                        <a:pt x="379" y="139"/>
                      </a:lnTo>
                      <a:lnTo>
                        <a:pt x="380" y="140"/>
                      </a:lnTo>
                      <a:lnTo>
                        <a:pt x="380" y="142"/>
                      </a:lnTo>
                      <a:lnTo>
                        <a:pt x="380" y="143"/>
                      </a:lnTo>
                      <a:lnTo>
                        <a:pt x="379" y="144"/>
                      </a:lnTo>
                      <a:lnTo>
                        <a:pt x="378" y="145"/>
                      </a:lnTo>
                      <a:lnTo>
                        <a:pt x="377" y="146"/>
                      </a:lnTo>
                      <a:lnTo>
                        <a:pt x="378" y="146"/>
                      </a:lnTo>
                      <a:lnTo>
                        <a:pt x="378" y="147"/>
                      </a:lnTo>
                      <a:lnTo>
                        <a:pt x="378" y="149"/>
                      </a:lnTo>
                      <a:lnTo>
                        <a:pt x="379" y="149"/>
                      </a:lnTo>
                      <a:lnTo>
                        <a:pt x="379" y="150"/>
                      </a:lnTo>
                      <a:lnTo>
                        <a:pt x="380" y="150"/>
                      </a:lnTo>
                      <a:lnTo>
                        <a:pt x="380" y="151"/>
                      </a:lnTo>
                      <a:lnTo>
                        <a:pt x="382" y="151"/>
                      </a:lnTo>
                      <a:lnTo>
                        <a:pt x="383" y="151"/>
                      </a:lnTo>
                      <a:lnTo>
                        <a:pt x="383" y="152"/>
                      </a:lnTo>
                      <a:lnTo>
                        <a:pt x="384" y="152"/>
                      </a:lnTo>
                      <a:lnTo>
                        <a:pt x="384" y="153"/>
                      </a:lnTo>
                      <a:lnTo>
                        <a:pt x="385" y="153"/>
                      </a:lnTo>
                      <a:lnTo>
                        <a:pt x="385" y="154"/>
                      </a:lnTo>
                      <a:lnTo>
                        <a:pt x="385" y="156"/>
                      </a:lnTo>
                      <a:lnTo>
                        <a:pt x="384" y="156"/>
                      </a:lnTo>
                      <a:lnTo>
                        <a:pt x="383" y="157"/>
                      </a:lnTo>
                      <a:lnTo>
                        <a:pt x="383" y="158"/>
                      </a:lnTo>
                      <a:lnTo>
                        <a:pt x="384" y="158"/>
                      </a:lnTo>
                      <a:lnTo>
                        <a:pt x="385" y="158"/>
                      </a:lnTo>
                      <a:lnTo>
                        <a:pt x="385" y="159"/>
                      </a:lnTo>
                      <a:lnTo>
                        <a:pt x="386" y="159"/>
                      </a:lnTo>
                      <a:lnTo>
                        <a:pt x="386" y="160"/>
                      </a:lnTo>
                      <a:lnTo>
                        <a:pt x="388" y="160"/>
                      </a:lnTo>
                      <a:lnTo>
                        <a:pt x="391" y="160"/>
                      </a:lnTo>
                      <a:lnTo>
                        <a:pt x="393" y="161"/>
                      </a:lnTo>
                      <a:lnTo>
                        <a:pt x="394" y="161"/>
                      </a:lnTo>
                      <a:lnTo>
                        <a:pt x="394" y="163"/>
                      </a:lnTo>
                      <a:lnTo>
                        <a:pt x="394" y="164"/>
                      </a:lnTo>
                      <a:lnTo>
                        <a:pt x="395" y="165"/>
                      </a:lnTo>
                      <a:lnTo>
                        <a:pt x="397" y="165"/>
                      </a:lnTo>
                      <a:lnTo>
                        <a:pt x="397" y="164"/>
                      </a:lnTo>
                      <a:lnTo>
                        <a:pt x="398" y="165"/>
                      </a:lnTo>
                      <a:lnTo>
                        <a:pt x="398" y="166"/>
                      </a:lnTo>
                      <a:lnTo>
                        <a:pt x="399" y="166"/>
                      </a:lnTo>
                      <a:lnTo>
                        <a:pt x="400" y="165"/>
                      </a:lnTo>
                      <a:lnTo>
                        <a:pt x="400" y="166"/>
                      </a:lnTo>
                      <a:lnTo>
                        <a:pt x="401" y="167"/>
                      </a:lnTo>
                      <a:lnTo>
                        <a:pt x="402" y="167"/>
                      </a:lnTo>
                      <a:lnTo>
                        <a:pt x="405" y="168"/>
                      </a:lnTo>
                      <a:lnTo>
                        <a:pt x="405" y="170"/>
                      </a:lnTo>
                      <a:lnTo>
                        <a:pt x="406" y="170"/>
                      </a:lnTo>
                      <a:lnTo>
                        <a:pt x="407" y="171"/>
                      </a:lnTo>
                      <a:lnTo>
                        <a:pt x="407" y="172"/>
                      </a:lnTo>
                      <a:lnTo>
                        <a:pt x="407" y="173"/>
                      </a:lnTo>
                      <a:lnTo>
                        <a:pt x="407" y="174"/>
                      </a:lnTo>
                      <a:lnTo>
                        <a:pt x="408" y="174"/>
                      </a:lnTo>
                      <a:lnTo>
                        <a:pt x="408" y="175"/>
                      </a:lnTo>
                      <a:lnTo>
                        <a:pt x="407" y="179"/>
                      </a:lnTo>
                      <a:lnTo>
                        <a:pt x="408" y="180"/>
                      </a:lnTo>
                      <a:lnTo>
                        <a:pt x="408" y="181"/>
                      </a:lnTo>
                      <a:lnTo>
                        <a:pt x="408" y="182"/>
                      </a:lnTo>
                      <a:lnTo>
                        <a:pt x="409" y="185"/>
                      </a:lnTo>
                      <a:lnTo>
                        <a:pt x="411" y="186"/>
                      </a:lnTo>
                      <a:lnTo>
                        <a:pt x="412" y="187"/>
                      </a:lnTo>
                      <a:lnTo>
                        <a:pt x="413" y="188"/>
                      </a:lnTo>
                      <a:lnTo>
                        <a:pt x="413" y="189"/>
                      </a:lnTo>
                      <a:lnTo>
                        <a:pt x="414" y="189"/>
                      </a:lnTo>
                      <a:lnTo>
                        <a:pt x="414" y="191"/>
                      </a:lnTo>
                      <a:lnTo>
                        <a:pt x="414" y="189"/>
                      </a:lnTo>
                      <a:lnTo>
                        <a:pt x="413" y="189"/>
                      </a:lnTo>
                      <a:lnTo>
                        <a:pt x="412" y="189"/>
                      </a:lnTo>
                      <a:lnTo>
                        <a:pt x="411" y="189"/>
                      </a:lnTo>
                      <a:lnTo>
                        <a:pt x="411" y="188"/>
                      </a:lnTo>
                      <a:lnTo>
                        <a:pt x="409" y="188"/>
                      </a:lnTo>
                      <a:lnTo>
                        <a:pt x="408" y="188"/>
                      </a:lnTo>
                      <a:lnTo>
                        <a:pt x="406" y="187"/>
                      </a:lnTo>
                      <a:lnTo>
                        <a:pt x="405" y="186"/>
                      </a:lnTo>
                      <a:lnTo>
                        <a:pt x="402" y="186"/>
                      </a:lnTo>
                      <a:lnTo>
                        <a:pt x="401" y="186"/>
                      </a:lnTo>
                      <a:lnTo>
                        <a:pt x="400" y="187"/>
                      </a:lnTo>
                      <a:lnTo>
                        <a:pt x="399" y="188"/>
                      </a:lnTo>
                      <a:lnTo>
                        <a:pt x="398" y="189"/>
                      </a:lnTo>
                      <a:lnTo>
                        <a:pt x="397" y="191"/>
                      </a:lnTo>
                      <a:lnTo>
                        <a:pt x="397" y="192"/>
                      </a:lnTo>
                      <a:lnTo>
                        <a:pt x="395" y="192"/>
                      </a:lnTo>
                      <a:lnTo>
                        <a:pt x="395" y="191"/>
                      </a:lnTo>
                      <a:lnTo>
                        <a:pt x="394" y="192"/>
                      </a:lnTo>
                      <a:lnTo>
                        <a:pt x="394" y="191"/>
                      </a:lnTo>
                      <a:lnTo>
                        <a:pt x="393" y="189"/>
                      </a:lnTo>
                      <a:lnTo>
                        <a:pt x="392" y="189"/>
                      </a:lnTo>
                      <a:lnTo>
                        <a:pt x="391" y="189"/>
                      </a:lnTo>
                      <a:lnTo>
                        <a:pt x="390" y="191"/>
                      </a:lnTo>
                      <a:lnTo>
                        <a:pt x="388" y="191"/>
                      </a:lnTo>
                      <a:lnTo>
                        <a:pt x="387" y="189"/>
                      </a:lnTo>
                      <a:lnTo>
                        <a:pt x="387" y="191"/>
                      </a:lnTo>
                      <a:lnTo>
                        <a:pt x="386" y="191"/>
                      </a:lnTo>
                      <a:lnTo>
                        <a:pt x="385" y="191"/>
                      </a:lnTo>
                      <a:lnTo>
                        <a:pt x="384" y="191"/>
                      </a:lnTo>
                      <a:lnTo>
                        <a:pt x="383" y="189"/>
                      </a:lnTo>
                      <a:lnTo>
                        <a:pt x="382" y="188"/>
                      </a:lnTo>
                      <a:lnTo>
                        <a:pt x="380" y="188"/>
                      </a:lnTo>
                      <a:lnTo>
                        <a:pt x="379" y="188"/>
                      </a:lnTo>
                      <a:lnTo>
                        <a:pt x="378" y="188"/>
                      </a:lnTo>
                      <a:lnTo>
                        <a:pt x="378" y="187"/>
                      </a:lnTo>
                      <a:lnTo>
                        <a:pt x="377" y="187"/>
                      </a:lnTo>
                      <a:lnTo>
                        <a:pt x="377" y="186"/>
                      </a:lnTo>
                      <a:lnTo>
                        <a:pt x="377" y="187"/>
                      </a:lnTo>
                      <a:lnTo>
                        <a:pt x="376" y="187"/>
                      </a:lnTo>
                      <a:lnTo>
                        <a:pt x="376" y="186"/>
                      </a:lnTo>
                      <a:lnTo>
                        <a:pt x="375" y="185"/>
                      </a:lnTo>
                      <a:lnTo>
                        <a:pt x="373" y="185"/>
                      </a:lnTo>
                      <a:lnTo>
                        <a:pt x="372" y="185"/>
                      </a:lnTo>
                      <a:lnTo>
                        <a:pt x="371" y="185"/>
                      </a:lnTo>
                      <a:lnTo>
                        <a:pt x="372" y="186"/>
                      </a:lnTo>
                      <a:lnTo>
                        <a:pt x="371" y="186"/>
                      </a:lnTo>
                      <a:lnTo>
                        <a:pt x="370" y="186"/>
                      </a:lnTo>
                      <a:lnTo>
                        <a:pt x="369" y="186"/>
                      </a:lnTo>
                      <a:lnTo>
                        <a:pt x="369" y="185"/>
                      </a:lnTo>
                      <a:lnTo>
                        <a:pt x="368" y="185"/>
                      </a:lnTo>
                      <a:lnTo>
                        <a:pt x="368" y="186"/>
                      </a:lnTo>
                      <a:lnTo>
                        <a:pt x="366" y="186"/>
                      </a:lnTo>
                      <a:lnTo>
                        <a:pt x="366" y="187"/>
                      </a:lnTo>
                      <a:lnTo>
                        <a:pt x="365" y="187"/>
                      </a:lnTo>
                      <a:lnTo>
                        <a:pt x="365" y="186"/>
                      </a:lnTo>
                      <a:lnTo>
                        <a:pt x="364" y="186"/>
                      </a:lnTo>
                      <a:lnTo>
                        <a:pt x="363" y="186"/>
                      </a:lnTo>
                      <a:lnTo>
                        <a:pt x="363" y="185"/>
                      </a:lnTo>
                      <a:lnTo>
                        <a:pt x="362" y="185"/>
                      </a:lnTo>
                      <a:lnTo>
                        <a:pt x="362" y="184"/>
                      </a:lnTo>
                      <a:lnTo>
                        <a:pt x="362" y="185"/>
                      </a:lnTo>
                      <a:lnTo>
                        <a:pt x="361" y="185"/>
                      </a:lnTo>
                      <a:lnTo>
                        <a:pt x="359" y="184"/>
                      </a:lnTo>
                      <a:lnTo>
                        <a:pt x="359" y="182"/>
                      </a:lnTo>
                      <a:lnTo>
                        <a:pt x="358" y="182"/>
                      </a:lnTo>
                      <a:lnTo>
                        <a:pt x="357" y="182"/>
                      </a:lnTo>
                      <a:lnTo>
                        <a:pt x="356" y="182"/>
                      </a:lnTo>
                      <a:lnTo>
                        <a:pt x="357" y="182"/>
                      </a:lnTo>
                      <a:lnTo>
                        <a:pt x="357" y="181"/>
                      </a:lnTo>
                      <a:lnTo>
                        <a:pt x="356" y="181"/>
                      </a:lnTo>
                      <a:lnTo>
                        <a:pt x="356" y="180"/>
                      </a:lnTo>
                      <a:lnTo>
                        <a:pt x="355" y="180"/>
                      </a:lnTo>
                      <a:lnTo>
                        <a:pt x="354" y="180"/>
                      </a:lnTo>
                      <a:lnTo>
                        <a:pt x="355" y="181"/>
                      </a:lnTo>
                      <a:lnTo>
                        <a:pt x="354" y="181"/>
                      </a:lnTo>
                      <a:lnTo>
                        <a:pt x="352" y="181"/>
                      </a:lnTo>
                      <a:lnTo>
                        <a:pt x="351" y="182"/>
                      </a:lnTo>
                      <a:lnTo>
                        <a:pt x="350" y="182"/>
                      </a:lnTo>
                      <a:lnTo>
                        <a:pt x="349" y="182"/>
                      </a:lnTo>
                      <a:lnTo>
                        <a:pt x="349" y="184"/>
                      </a:lnTo>
                      <a:lnTo>
                        <a:pt x="348" y="184"/>
                      </a:lnTo>
                      <a:lnTo>
                        <a:pt x="348" y="185"/>
                      </a:lnTo>
                      <a:lnTo>
                        <a:pt x="348" y="186"/>
                      </a:lnTo>
                      <a:lnTo>
                        <a:pt x="347" y="186"/>
                      </a:lnTo>
                      <a:lnTo>
                        <a:pt x="347" y="187"/>
                      </a:lnTo>
                      <a:lnTo>
                        <a:pt x="348" y="187"/>
                      </a:lnTo>
                      <a:lnTo>
                        <a:pt x="348" y="188"/>
                      </a:lnTo>
                      <a:lnTo>
                        <a:pt x="348" y="189"/>
                      </a:lnTo>
                      <a:lnTo>
                        <a:pt x="348" y="191"/>
                      </a:lnTo>
                      <a:lnTo>
                        <a:pt x="347" y="191"/>
                      </a:lnTo>
                      <a:lnTo>
                        <a:pt x="347" y="192"/>
                      </a:lnTo>
                      <a:lnTo>
                        <a:pt x="345" y="192"/>
                      </a:lnTo>
                      <a:lnTo>
                        <a:pt x="344" y="192"/>
                      </a:lnTo>
                      <a:lnTo>
                        <a:pt x="342" y="192"/>
                      </a:lnTo>
                      <a:lnTo>
                        <a:pt x="341" y="192"/>
                      </a:lnTo>
                      <a:lnTo>
                        <a:pt x="341" y="193"/>
                      </a:lnTo>
                      <a:lnTo>
                        <a:pt x="340" y="193"/>
                      </a:lnTo>
                      <a:lnTo>
                        <a:pt x="340" y="194"/>
                      </a:lnTo>
                      <a:lnTo>
                        <a:pt x="338" y="194"/>
                      </a:lnTo>
                      <a:lnTo>
                        <a:pt x="337" y="193"/>
                      </a:lnTo>
                      <a:lnTo>
                        <a:pt x="336" y="193"/>
                      </a:lnTo>
                      <a:lnTo>
                        <a:pt x="335" y="193"/>
                      </a:lnTo>
                      <a:lnTo>
                        <a:pt x="334" y="194"/>
                      </a:lnTo>
                      <a:lnTo>
                        <a:pt x="333" y="194"/>
                      </a:lnTo>
                      <a:lnTo>
                        <a:pt x="331" y="194"/>
                      </a:lnTo>
                      <a:lnTo>
                        <a:pt x="330" y="195"/>
                      </a:lnTo>
                      <a:lnTo>
                        <a:pt x="329" y="195"/>
                      </a:lnTo>
                      <a:lnTo>
                        <a:pt x="328" y="195"/>
                      </a:lnTo>
                      <a:lnTo>
                        <a:pt x="327" y="195"/>
                      </a:lnTo>
                      <a:lnTo>
                        <a:pt x="326" y="195"/>
                      </a:lnTo>
                      <a:lnTo>
                        <a:pt x="326" y="194"/>
                      </a:lnTo>
                      <a:lnTo>
                        <a:pt x="327" y="194"/>
                      </a:lnTo>
                      <a:lnTo>
                        <a:pt x="326" y="194"/>
                      </a:lnTo>
                      <a:lnTo>
                        <a:pt x="326" y="193"/>
                      </a:lnTo>
                      <a:lnTo>
                        <a:pt x="324" y="193"/>
                      </a:lnTo>
                      <a:lnTo>
                        <a:pt x="324" y="192"/>
                      </a:lnTo>
                      <a:lnTo>
                        <a:pt x="323" y="192"/>
                      </a:lnTo>
                      <a:lnTo>
                        <a:pt x="322" y="191"/>
                      </a:lnTo>
                      <a:lnTo>
                        <a:pt x="322" y="189"/>
                      </a:lnTo>
                      <a:lnTo>
                        <a:pt x="321" y="189"/>
                      </a:lnTo>
                      <a:lnTo>
                        <a:pt x="320" y="189"/>
                      </a:lnTo>
                      <a:lnTo>
                        <a:pt x="319" y="189"/>
                      </a:lnTo>
                      <a:lnTo>
                        <a:pt x="319" y="191"/>
                      </a:lnTo>
                      <a:lnTo>
                        <a:pt x="319" y="189"/>
                      </a:lnTo>
                      <a:lnTo>
                        <a:pt x="318" y="189"/>
                      </a:lnTo>
                      <a:lnTo>
                        <a:pt x="318" y="188"/>
                      </a:lnTo>
                      <a:lnTo>
                        <a:pt x="318" y="189"/>
                      </a:lnTo>
                      <a:lnTo>
                        <a:pt x="316" y="191"/>
                      </a:lnTo>
                      <a:lnTo>
                        <a:pt x="318" y="191"/>
                      </a:lnTo>
                      <a:lnTo>
                        <a:pt x="318" y="192"/>
                      </a:lnTo>
                      <a:lnTo>
                        <a:pt x="315" y="193"/>
                      </a:lnTo>
                      <a:lnTo>
                        <a:pt x="314" y="193"/>
                      </a:lnTo>
                      <a:lnTo>
                        <a:pt x="314" y="194"/>
                      </a:lnTo>
                      <a:lnTo>
                        <a:pt x="314" y="195"/>
                      </a:lnTo>
                      <a:lnTo>
                        <a:pt x="313" y="195"/>
                      </a:lnTo>
                      <a:lnTo>
                        <a:pt x="313" y="194"/>
                      </a:lnTo>
                      <a:lnTo>
                        <a:pt x="312" y="194"/>
                      </a:lnTo>
                      <a:lnTo>
                        <a:pt x="311" y="195"/>
                      </a:lnTo>
                      <a:lnTo>
                        <a:pt x="309" y="195"/>
                      </a:lnTo>
                      <a:lnTo>
                        <a:pt x="308" y="195"/>
                      </a:lnTo>
                      <a:lnTo>
                        <a:pt x="307" y="196"/>
                      </a:lnTo>
                      <a:lnTo>
                        <a:pt x="305" y="196"/>
                      </a:lnTo>
                      <a:lnTo>
                        <a:pt x="305" y="198"/>
                      </a:lnTo>
                      <a:lnTo>
                        <a:pt x="305" y="196"/>
                      </a:lnTo>
                      <a:lnTo>
                        <a:pt x="304" y="196"/>
                      </a:lnTo>
                      <a:lnTo>
                        <a:pt x="304" y="198"/>
                      </a:lnTo>
                      <a:lnTo>
                        <a:pt x="304" y="199"/>
                      </a:lnTo>
                      <a:lnTo>
                        <a:pt x="302" y="199"/>
                      </a:lnTo>
                      <a:lnTo>
                        <a:pt x="301" y="198"/>
                      </a:lnTo>
                      <a:lnTo>
                        <a:pt x="301" y="199"/>
                      </a:lnTo>
                      <a:lnTo>
                        <a:pt x="300" y="199"/>
                      </a:lnTo>
                      <a:lnTo>
                        <a:pt x="299" y="199"/>
                      </a:lnTo>
                      <a:lnTo>
                        <a:pt x="298" y="199"/>
                      </a:lnTo>
                      <a:lnTo>
                        <a:pt x="297" y="200"/>
                      </a:lnTo>
                      <a:lnTo>
                        <a:pt x="295" y="200"/>
                      </a:lnTo>
                      <a:lnTo>
                        <a:pt x="294" y="201"/>
                      </a:lnTo>
                      <a:lnTo>
                        <a:pt x="292" y="201"/>
                      </a:lnTo>
                      <a:lnTo>
                        <a:pt x="290" y="202"/>
                      </a:lnTo>
                      <a:lnTo>
                        <a:pt x="290" y="203"/>
                      </a:lnTo>
                      <a:lnTo>
                        <a:pt x="288" y="203"/>
                      </a:lnTo>
                      <a:lnTo>
                        <a:pt x="287" y="203"/>
                      </a:lnTo>
                      <a:lnTo>
                        <a:pt x="287" y="205"/>
                      </a:lnTo>
                      <a:lnTo>
                        <a:pt x="287" y="206"/>
                      </a:lnTo>
                      <a:lnTo>
                        <a:pt x="286" y="206"/>
                      </a:lnTo>
                      <a:lnTo>
                        <a:pt x="285" y="206"/>
                      </a:lnTo>
                      <a:lnTo>
                        <a:pt x="285" y="205"/>
                      </a:lnTo>
                      <a:lnTo>
                        <a:pt x="284" y="205"/>
                      </a:lnTo>
                      <a:lnTo>
                        <a:pt x="283" y="205"/>
                      </a:lnTo>
                      <a:lnTo>
                        <a:pt x="281" y="203"/>
                      </a:lnTo>
                      <a:lnTo>
                        <a:pt x="280" y="202"/>
                      </a:lnTo>
                      <a:lnTo>
                        <a:pt x="279" y="201"/>
                      </a:lnTo>
                      <a:lnTo>
                        <a:pt x="278" y="201"/>
                      </a:lnTo>
                      <a:lnTo>
                        <a:pt x="277" y="201"/>
                      </a:lnTo>
                      <a:lnTo>
                        <a:pt x="276" y="201"/>
                      </a:lnTo>
                      <a:lnTo>
                        <a:pt x="274" y="201"/>
                      </a:lnTo>
                      <a:lnTo>
                        <a:pt x="274" y="200"/>
                      </a:lnTo>
                      <a:lnTo>
                        <a:pt x="273" y="200"/>
                      </a:lnTo>
                      <a:lnTo>
                        <a:pt x="273" y="199"/>
                      </a:lnTo>
                      <a:lnTo>
                        <a:pt x="273" y="198"/>
                      </a:lnTo>
                      <a:lnTo>
                        <a:pt x="272" y="198"/>
                      </a:lnTo>
                      <a:lnTo>
                        <a:pt x="271" y="199"/>
                      </a:lnTo>
                      <a:lnTo>
                        <a:pt x="271" y="198"/>
                      </a:lnTo>
                      <a:lnTo>
                        <a:pt x="270" y="199"/>
                      </a:lnTo>
                      <a:lnTo>
                        <a:pt x="270" y="200"/>
                      </a:lnTo>
                      <a:lnTo>
                        <a:pt x="270" y="201"/>
                      </a:lnTo>
                      <a:lnTo>
                        <a:pt x="269" y="201"/>
                      </a:lnTo>
                      <a:lnTo>
                        <a:pt x="267" y="201"/>
                      </a:lnTo>
                      <a:lnTo>
                        <a:pt x="266" y="201"/>
                      </a:lnTo>
                      <a:lnTo>
                        <a:pt x="266" y="202"/>
                      </a:lnTo>
                      <a:lnTo>
                        <a:pt x="266" y="203"/>
                      </a:lnTo>
                      <a:lnTo>
                        <a:pt x="265" y="203"/>
                      </a:lnTo>
                      <a:lnTo>
                        <a:pt x="265" y="205"/>
                      </a:lnTo>
                      <a:lnTo>
                        <a:pt x="265" y="206"/>
                      </a:lnTo>
                      <a:lnTo>
                        <a:pt x="265" y="207"/>
                      </a:lnTo>
                      <a:lnTo>
                        <a:pt x="264" y="207"/>
                      </a:lnTo>
                      <a:lnTo>
                        <a:pt x="264" y="208"/>
                      </a:lnTo>
                      <a:lnTo>
                        <a:pt x="263" y="209"/>
                      </a:lnTo>
                      <a:lnTo>
                        <a:pt x="262" y="209"/>
                      </a:lnTo>
                      <a:lnTo>
                        <a:pt x="260" y="209"/>
                      </a:lnTo>
                      <a:lnTo>
                        <a:pt x="260" y="210"/>
                      </a:lnTo>
                      <a:lnTo>
                        <a:pt x="260" y="212"/>
                      </a:lnTo>
                      <a:lnTo>
                        <a:pt x="262" y="212"/>
                      </a:lnTo>
                      <a:lnTo>
                        <a:pt x="262" y="213"/>
                      </a:lnTo>
                      <a:lnTo>
                        <a:pt x="260" y="213"/>
                      </a:lnTo>
                      <a:lnTo>
                        <a:pt x="260" y="214"/>
                      </a:lnTo>
                      <a:lnTo>
                        <a:pt x="259" y="215"/>
                      </a:lnTo>
                      <a:lnTo>
                        <a:pt x="259" y="216"/>
                      </a:lnTo>
                      <a:lnTo>
                        <a:pt x="259" y="217"/>
                      </a:lnTo>
                      <a:lnTo>
                        <a:pt x="258" y="217"/>
                      </a:lnTo>
                      <a:lnTo>
                        <a:pt x="258" y="219"/>
                      </a:lnTo>
                      <a:lnTo>
                        <a:pt x="257" y="219"/>
                      </a:lnTo>
                      <a:lnTo>
                        <a:pt x="257" y="220"/>
                      </a:lnTo>
                      <a:lnTo>
                        <a:pt x="256" y="220"/>
                      </a:lnTo>
                      <a:lnTo>
                        <a:pt x="251" y="220"/>
                      </a:lnTo>
                      <a:lnTo>
                        <a:pt x="249" y="220"/>
                      </a:lnTo>
                      <a:lnTo>
                        <a:pt x="248" y="219"/>
                      </a:lnTo>
                      <a:lnTo>
                        <a:pt x="247" y="219"/>
                      </a:lnTo>
                      <a:lnTo>
                        <a:pt x="247" y="217"/>
                      </a:lnTo>
                      <a:lnTo>
                        <a:pt x="245" y="217"/>
                      </a:lnTo>
                      <a:lnTo>
                        <a:pt x="244" y="217"/>
                      </a:lnTo>
                      <a:lnTo>
                        <a:pt x="243" y="217"/>
                      </a:lnTo>
                      <a:lnTo>
                        <a:pt x="242" y="216"/>
                      </a:lnTo>
                      <a:lnTo>
                        <a:pt x="241" y="216"/>
                      </a:lnTo>
                      <a:lnTo>
                        <a:pt x="241" y="217"/>
                      </a:lnTo>
                      <a:lnTo>
                        <a:pt x="238" y="216"/>
                      </a:lnTo>
                      <a:lnTo>
                        <a:pt x="237" y="216"/>
                      </a:lnTo>
                      <a:lnTo>
                        <a:pt x="236" y="215"/>
                      </a:lnTo>
                      <a:lnTo>
                        <a:pt x="235" y="215"/>
                      </a:lnTo>
                      <a:lnTo>
                        <a:pt x="234" y="215"/>
                      </a:lnTo>
                      <a:lnTo>
                        <a:pt x="233" y="215"/>
                      </a:lnTo>
                      <a:lnTo>
                        <a:pt x="231" y="215"/>
                      </a:lnTo>
                      <a:lnTo>
                        <a:pt x="230" y="215"/>
                      </a:lnTo>
                      <a:lnTo>
                        <a:pt x="227" y="216"/>
                      </a:lnTo>
                      <a:lnTo>
                        <a:pt x="226" y="216"/>
                      </a:lnTo>
                      <a:lnTo>
                        <a:pt x="224" y="215"/>
                      </a:lnTo>
                      <a:lnTo>
                        <a:pt x="223" y="216"/>
                      </a:lnTo>
                      <a:lnTo>
                        <a:pt x="223" y="215"/>
                      </a:lnTo>
                      <a:lnTo>
                        <a:pt x="222" y="215"/>
                      </a:lnTo>
                      <a:lnTo>
                        <a:pt x="220" y="214"/>
                      </a:lnTo>
                      <a:lnTo>
                        <a:pt x="219" y="214"/>
                      </a:lnTo>
                      <a:lnTo>
                        <a:pt x="217" y="214"/>
                      </a:lnTo>
                      <a:lnTo>
                        <a:pt x="217" y="215"/>
                      </a:lnTo>
                      <a:lnTo>
                        <a:pt x="216" y="215"/>
                      </a:lnTo>
                      <a:lnTo>
                        <a:pt x="215" y="215"/>
                      </a:lnTo>
                      <a:lnTo>
                        <a:pt x="215" y="214"/>
                      </a:lnTo>
                      <a:lnTo>
                        <a:pt x="214" y="214"/>
                      </a:lnTo>
                      <a:lnTo>
                        <a:pt x="214" y="213"/>
                      </a:lnTo>
                      <a:lnTo>
                        <a:pt x="213" y="212"/>
                      </a:lnTo>
                      <a:lnTo>
                        <a:pt x="212" y="212"/>
                      </a:lnTo>
                      <a:lnTo>
                        <a:pt x="209" y="210"/>
                      </a:lnTo>
                      <a:lnTo>
                        <a:pt x="206" y="210"/>
                      </a:lnTo>
                      <a:lnTo>
                        <a:pt x="205" y="210"/>
                      </a:lnTo>
                      <a:lnTo>
                        <a:pt x="203" y="210"/>
                      </a:lnTo>
                      <a:lnTo>
                        <a:pt x="202" y="210"/>
                      </a:lnTo>
                      <a:lnTo>
                        <a:pt x="200" y="210"/>
                      </a:lnTo>
                      <a:lnTo>
                        <a:pt x="198" y="212"/>
                      </a:lnTo>
                      <a:lnTo>
                        <a:pt x="196" y="212"/>
                      </a:lnTo>
                      <a:lnTo>
                        <a:pt x="196" y="210"/>
                      </a:lnTo>
                      <a:lnTo>
                        <a:pt x="193" y="208"/>
                      </a:lnTo>
                      <a:lnTo>
                        <a:pt x="193" y="207"/>
                      </a:lnTo>
                      <a:lnTo>
                        <a:pt x="193" y="206"/>
                      </a:lnTo>
                      <a:lnTo>
                        <a:pt x="193" y="205"/>
                      </a:lnTo>
                      <a:lnTo>
                        <a:pt x="192" y="203"/>
                      </a:lnTo>
                      <a:lnTo>
                        <a:pt x="191" y="203"/>
                      </a:lnTo>
                      <a:lnTo>
                        <a:pt x="191" y="201"/>
                      </a:lnTo>
                      <a:lnTo>
                        <a:pt x="190" y="200"/>
                      </a:lnTo>
                      <a:lnTo>
                        <a:pt x="188" y="200"/>
                      </a:lnTo>
                      <a:lnTo>
                        <a:pt x="186" y="199"/>
                      </a:lnTo>
                      <a:lnTo>
                        <a:pt x="185" y="199"/>
                      </a:lnTo>
                      <a:lnTo>
                        <a:pt x="184" y="196"/>
                      </a:lnTo>
                      <a:lnTo>
                        <a:pt x="181" y="195"/>
                      </a:lnTo>
                      <a:lnTo>
                        <a:pt x="180" y="194"/>
                      </a:lnTo>
                      <a:lnTo>
                        <a:pt x="179" y="194"/>
                      </a:lnTo>
                      <a:lnTo>
                        <a:pt x="179" y="193"/>
                      </a:lnTo>
                      <a:lnTo>
                        <a:pt x="176" y="193"/>
                      </a:lnTo>
                      <a:lnTo>
                        <a:pt x="174" y="193"/>
                      </a:lnTo>
                      <a:lnTo>
                        <a:pt x="174" y="192"/>
                      </a:lnTo>
                      <a:lnTo>
                        <a:pt x="174" y="191"/>
                      </a:lnTo>
                      <a:lnTo>
                        <a:pt x="173" y="191"/>
                      </a:lnTo>
                      <a:lnTo>
                        <a:pt x="173" y="189"/>
                      </a:lnTo>
                      <a:lnTo>
                        <a:pt x="171" y="189"/>
                      </a:lnTo>
                      <a:lnTo>
                        <a:pt x="171" y="188"/>
                      </a:lnTo>
                      <a:lnTo>
                        <a:pt x="170" y="188"/>
                      </a:lnTo>
                      <a:lnTo>
                        <a:pt x="166" y="188"/>
                      </a:lnTo>
                      <a:lnTo>
                        <a:pt x="165" y="188"/>
                      </a:lnTo>
                      <a:lnTo>
                        <a:pt x="164" y="188"/>
                      </a:lnTo>
                      <a:lnTo>
                        <a:pt x="163" y="188"/>
                      </a:lnTo>
                      <a:lnTo>
                        <a:pt x="160" y="188"/>
                      </a:lnTo>
                      <a:lnTo>
                        <a:pt x="159" y="188"/>
                      </a:lnTo>
                      <a:lnTo>
                        <a:pt x="159" y="189"/>
                      </a:lnTo>
                      <a:lnTo>
                        <a:pt x="158" y="189"/>
                      </a:lnTo>
                      <a:lnTo>
                        <a:pt x="156" y="192"/>
                      </a:lnTo>
                      <a:lnTo>
                        <a:pt x="155" y="193"/>
                      </a:lnTo>
                      <a:lnTo>
                        <a:pt x="153" y="193"/>
                      </a:lnTo>
                      <a:lnTo>
                        <a:pt x="153" y="194"/>
                      </a:lnTo>
                      <a:lnTo>
                        <a:pt x="152" y="194"/>
                      </a:lnTo>
                      <a:lnTo>
                        <a:pt x="151" y="194"/>
                      </a:lnTo>
                      <a:lnTo>
                        <a:pt x="150" y="194"/>
                      </a:lnTo>
                      <a:lnTo>
                        <a:pt x="150" y="195"/>
                      </a:lnTo>
                      <a:lnTo>
                        <a:pt x="149" y="195"/>
                      </a:lnTo>
                      <a:lnTo>
                        <a:pt x="149" y="196"/>
                      </a:lnTo>
                      <a:lnTo>
                        <a:pt x="149" y="198"/>
                      </a:lnTo>
                      <a:lnTo>
                        <a:pt x="148" y="199"/>
                      </a:lnTo>
                      <a:lnTo>
                        <a:pt x="148" y="200"/>
                      </a:lnTo>
                      <a:lnTo>
                        <a:pt x="146" y="201"/>
                      </a:lnTo>
                      <a:lnTo>
                        <a:pt x="145" y="201"/>
                      </a:lnTo>
                      <a:lnTo>
                        <a:pt x="144" y="203"/>
                      </a:lnTo>
                      <a:lnTo>
                        <a:pt x="143" y="203"/>
                      </a:lnTo>
                      <a:lnTo>
                        <a:pt x="143" y="205"/>
                      </a:lnTo>
                      <a:lnTo>
                        <a:pt x="142" y="206"/>
                      </a:lnTo>
                      <a:lnTo>
                        <a:pt x="142" y="207"/>
                      </a:lnTo>
                      <a:lnTo>
                        <a:pt x="139" y="210"/>
                      </a:lnTo>
                      <a:lnTo>
                        <a:pt x="139" y="212"/>
                      </a:lnTo>
                      <a:lnTo>
                        <a:pt x="138" y="213"/>
                      </a:lnTo>
                      <a:lnTo>
                        <a:pt x="136" y="213"/>
                      </a:lnTo>
                      <a:lnTo>
                        <a:pt x="135" y="213"/>
                      </a:lnTo>
                      <a:lnTo>
                        <a:pt x="134" y="213"/>
                      </a:lnTo>
                      <a:lnTo>
                        <a:pt x="132" y="213"/>
                      </a:lnTo>
                      <a:lnTo>
                        <a:pt x="132" y="214"/>
                      </a:lnTo>
                      <a:lnTo>
                        <a:pt x="132" y="215"/>
                      </a:lnTo>
                      <a:lnTo>
                        <a:pt x="134" y="216"/>
                      </a:lnTo>
                      <a:lnTo>
                        <a:pt x="134" y="217"/>
                      </a:lnTo>
                      <a:lnTo>
                        <a:pt x="135" y="219"/>
                      </a:lnTo>
                      <a:lnTo>
                        <a:pt x="135" y="221"/>
                      </a:lnTo>
                      <a:lnTo>
                        <a:pt x="136" y="223"/>
                      </a:lnTo>
                      <a:lnTo>
                        <a:pt x="136" y="226"/>
                      </a:lnTo>
                      <a:lnTo>
                        <a:pt x="135" y="227"/>
                      </a:lnTo>
                      <a:lnTo>
                        <a:pt x="135" y="228"/>
                      </a:lnTo>
                      <a:lnTo>
                        <a:pt x="135" y="229"/>
                      </a:lnTo>
                      <a:lnTo>
                        <a:pt x="135" y="230"/>
                      </a:lnTo>
                      <a:lnTo>
                        <a:pt x="134" y="234"/>
                      </a:lnTo>
                      <a:lnTo>
                        <a:pt x="135" y="241"/>
                      </a:lnTo>
                      <a:lnTo>
                        <a:pt x="134" y="241"/>
                      </a:lnTo>
                      <a:lnTo>
                        <a:pt x="132" y="240"/>
                      </a:lnTo>
                      <a:lnTo>
                        <a:pt x="131" y="237"/>
                      </a:lnTo>
                      <a:lnTo>
                        <a:pt x="130" y="236"/>
                      </a:lnTo>
                      <a:lnTo>
                        <a:pt x="129" y="236"/>
                      </a:lnTo>
                      <a:lnTo>
                        <a:pt x="129" y="237"/>
                      </a:lnTo>
                      <a:lnTo>
                        <a:pt x="128" y="237"/>
                      </a:lnTo>
                      <a:lnTo>
                        <a:pt x="128" y="238"/>
                      </a:lnTo>
                      <a:lnTo>
                        <a:pt x="127" y="238"/>
                      </a:lnTo>
                      <a:lnTo>
                        <a:pt x="127" y="237"/>
                      </a:lnTo>
                      <a:lnTo>
                        <a:pt x="124" y="238"/>
                      </a:lnTo>
                      <a:lnTo>
                        <a:pt x="123" y="238"/>
                      </a:lnTo>
                      <a:lnTo>
                        <a:pt x="122" y="240"/>
                      </a:lnTo>
                      <a:lnTo>
                        <a:pt x="122" y="241"/>
                      </a:lnTo>
                      <a:lnTo>
                        <a:pt x="121" y="241"/>
                      </a:lnTo>
                      <a:lnTo>
                        <a:pt x="120" y="241"/>
                      </a:lnTo>
                      <a:lnTo>
                        <a:pt x="120" y="240"/>
                      </a:lnTo>
                      <a:lnTo>
                        <a:pt x="119" y="238"/>
                      </a:lnTo>
                      <a:lnTo>
                        <a:pt x="117" y="238"/>
                      </a:lnTo>
                      <a:lnTo>
                        <a:pt x="116" y="238"/>
                      </a:lnTo>
                      <a:lnTo>
                        <a:pt x="115" y="238"/>
                      </a:lnTo>
                      <a:lnTo>
                        <a:pt x="115" y="240"/>
                      </a:lnTo>
                      <a:lnTo>
                        <a:pt x="114" y="240"/>
                      </a:lnTo>
                      <a:lnTo>
                        <a:pt x="113" y="238"/>
                      </a:lnTo>
                      <a:lnTo>
                        <a:pt x="112" y="240"/>
                      </a:lnTo>
                      <a:lnTo>
                        <a:pt x="110" y="240"/>
                      </a:lnTo>
                      <a:lnTo>
                        <a:pt x="110" y="238"/>
                      </a:lnTo>
                      <a:lnTo>
                        <a:pt x="109" y="238"/>
                      </a:lnTo>
                      <a:lnTo>
                        <a:pt x="109" y="237"/>
                      </a:lnTo>
                      <a:lnTo>
                        <a:pt x="108" y="236"/>
                      </a:lnTo>
                      <a:lnTo>
                        <a:pt x="108" y="237"/>
                      </a:lnTo>
                      <a:lnTo>
                        <a:pt x="107" y="237"/>
                      </a:lnTo>
                      <a:lnTo>
                        <a:pt x="107" y="236"/>
                      </a:lnTo>
                      <a:lnTo>
                        <a:pt x="106" y="236"/>
                      </a:lnTo>
                      <a:lnTo>
                        <a:pt x="103" y="236"/>
                      </a:lnTo>
                      <a:lnTo>
                        <a:pt x="102" y="236"/>
                      </a:lnTo>
                      <a:lnTo>
                        <a:pt x="101" y="236"/>
                      </a:lnTo>
                      <a:lnTo>
                        <a:pt x="100" y="235"/>
                      </a:lnTo>
                      <a:lnTo>
                        <a:pt x="99" y="235"/>
                      </a:lnTo>
                      <a:lnTo>
                        <a:pt x="99" y="234"/>
                      </a:lnTo>
                      <a:lnTo>
                        <a:pt x="98" y="234"/>
                      </a:lnTo>
                      <a:lnTo>
                        <a:pt x="96" y="235"/>
                      </a:lnTo>
                      <a:lnTo>
                        <a:pt x="95" y="235"/>
                      </a:lnTo>
                      <a:lnTo>
                        <a:pt x="94" y="236"/>
                      </a:lnTo>
                      <a:lnTo>
                        <a:pt x="94" y="237"/>
                      </a:lnTo>
                      <a:lnTo>
                        <a:pt x="93" y="237"/>
                      </a:lnTo>
                      <a:lnTo>
                        <a:pt x="92" y="236"/>
                      </a:lnTo>
                      <a:lnTo>
                        <a:pt x="91" y="236"/>
                      </a:lnTo>
                      <a:lnTo>
                        <a:pt x="91" y="237"/>
                      </a:lnTo>
                      <a:lnTo>
                        <a:pt x="89" y="238"/>
                      </a:lnTo>
                      <a:lnTo>
                        <a:pt x="88" y="238"/>
                      </a:lnTo>
                      <a:lnTo>
                        <a:pt x="87" y="238"/>
                      </a:lnTo>
                      <a:lnTo>
                        <a:pt x="86" y="238"/>
                      </a:lnTo>
                      <a:lnTo>
                        <a:pt x="85" y="238"/>
                      </a:lnTo>
                      <a:lnTo>
                        <a:pt x="84" y="240"/>
                      </a:lnTo>
                      <a:lnTo>
                        <a:pt x="82" y="240"/>
                      </a:lnTo>
                      <a:lnTo>
                        <a:pt x="82" y="238"/>
                      </a:lnTo>
                      <a:lnTo>
                        <a:pt x="81" y="238"/>
                      </a:lnTo>
                      <a:lnTo>
                        <a:pt x="80" y="238"/>
                      </a:lnTo>
                      <a:lnTo>
                        <a:pt x="79" y="238"/>
                      </a:lnTo>
                      <a:lnTo>
                        <a:pt x="79" y="240"/>
                      </a:lnTo>
                      <a:lnTo>
                        <a:pt x="78" y="240"/>
                      </a:lnTo>
                      <a:lnTo>
                        <a:pt x="74" y="240"/>
                      </a:lnTo>
                      <a:lnTo>
                        <a:pt x="73" y="240"/>
                      </a:lnTo>
                      <a:lnTo>
                        <a:pt x="72" y="240"/>
                      </a:lnTo>
                      <a:lnTo>
                        <a:pt x="71" y="241"/>
                      </a:lnTo>
                      <a:lnTo>
                        <a:pt x="70" y="242"/>
                      </a:lnTo>
                      <a:lnTo>
                        <a:pt x="70" y="243"/>
                      </a:lnTo>
                      <a:lnTo>
                        <a:pt x="68" y="245"/>
                      </a:lnTo>
                      <a:lnTo>
                        <a:pt x="68" y="248"/>
                      </a:lnTo>
                      <a:lnTo>
                        <a:pt x="68" y="249"/>
                      </a:lnTo>
                      <a:lnTo>
                        <a:pt x="67" y="251"/>
                      </a:lnTo>
                      <a:lnTo>
                        <a:pt x="66" y="251"/>
                      </a:lnTo>
                      <a:lnTo>
                        <a:pt x="66" y="252"/>
                      </a:lnTo>
                      <a:lnTo>
                        <a:pt x="67" y="254"/>
                      </a:lnTo>
                      <a:lnTo>
                        <a:pt x="67" y="255"/>
                      </a:lnTo>
                      <a:lnTo>
                        <a:pt x="67" y="256"/>
                      </a:lnTo>
                      <a:lnTo>
                        <a:pt x="66" y="258"/>
                      </a:lnTo>
                      <a:lnTo>
                        <a:pt x="66" y="259"/>
                      </a:lnTo>
                      <a:lnTo>
                        <a:pt x="67" y="261"/>
                      </a:lnTo>
                      <a:lnTo>
                        <a:pt x="67" y="262"/>
                      </a:lnTo>
                      <a:lnTo>
                        <a:pt x="66" y="263"/>
                      </a:lnTo>
                      <a:lnTo>
                        <a:pt x="65" y="265"/>
                      </a:lnTo>
                      <a:lnTo>
                        <a:pt x="65" y="266"/>
                      </a:lnTo>
                      <a:lnTo>
                        <a:pt x="64" y="269"/>
                      </a:lnTo>
                      <a:lnTo>
                        <a:pt x="63" y="272"/>
                      </a:lnTo>
                      <a:lnTo>
                        <a:pt x="62" y="275"/>
                      </a:lnTo>
                      <a:lnTo>
                        <a:pt x="59" y="277"/>
                      </a:lnTo>
                      <a:lnTo>
                        <a:pt x="58" y="280"/>
                      </a:lnTo>
                      <a:lnTo>
                        <a:pt x="58" y="279"/>
                      </a:lnTo>
                      <a:lnTo>
                        <a:pt x="57" y="279"/>
                      </a:lnTo>
                      <a:lnTo>
                        <a:pt x="57" y="278"/>
                      </a:lnTo>
                      <a:lnTo>
                        <a:pt x="57" y="277"/>
                      </a:lnTo>
                      <a:lnTo>
                        <a:pt x="56" y="277"/>
                      </a:lnTo>
                      <a:lnTo>
                        <a:pt x="56" y="276"/>
                      </a:lnTo>
                      <a:lnTo>
                        <a:pt x="56" y="275"/>
                      </a:lnTo>
                      <a:lnTo>
                        <a:pt x="56" y="273"/>
                      </a:lnTo>
                      <a:lnTo>
                        <a:pt x="55" y="272"/>
                      </a:lnTo>
                      <a:lnTo>
                        <a:pt x="55" y="271"/>
                      </a:lnTo>
                      <a:lnTo>
                        <a:pt x="56" y="270"/>
                      </a:lnTo>
                      <a:lnTo>
                        <a:pt x="56" y="269"/>
                      </a:lnTo>
                      <a:lnTo>
                        <a:pt x="55" y="268"/>
                      </a:lnTo>
                      <a:lnTo>
                        <a:pt x="55" y="266"/>
                      </a:lnTo>
                      <a:lnTo>
                        <a:pt x="56" y="265"/>
                      </a:lnTo>
                      <a:lnTo>
                        <a:pt x="55" y="265"/>
                      </a:lnTo>
                      <a:lnTo>
                        <a:pt x="53" y="265"/>
                      </a:lnTo>
                      <a:lnTo>
                        <a:pt x="53" y="264"/>
                      </a:lnTo>
                      <a:lnTo>
                        <a:pt x="53" y="263"/>
                      </a:lnTo>
                      <a:lnTo>
                        <a:pt x="55" y="262"/>
                      </a:lnTo>
                      <a:lnTo>
                        <a:pt x="55" y="261"/>
                      </a:lnTo>
                      <a:lnTo>
                        <a:pt x="55" y="259"/>
                      </a:lnTo>
                      <a:lnTo>
                        <a:pt x="53" y="258"/>
                      </a:lnTo>
                      <a:lnTo>
                        <a:pt x="53" y="257"/>
                      </a:lnTo>
                      <a:lnTo>
                        <a:pt x="52" y="257"/>
                      </a:lnTo>
                      <a:lnTo>
                        <a:pt x="51" y="257"/>
                      </a:lnTo>
                      <a:lnTo>
                        <a:pt x="50" y="255"/>
                      </a:lnTo>
                      <a:lnTo>
                        <a:pt x="50" y="254"/>
                      </a:lnTo>
                      <a:lnTo>
                        <a:pt x="49" y="254"/>
                      </a:lnTo>
                      <a:lnTo>
                        <a:pt x="48" y="254"/>
                      </a:lnTo>
                      <a:lnTo>
                        <a:pt x="46" y="254"/>
                      </a:lnTo>
                      <a:lnTo>
                        <a:pt x="46" y="252"/>
                      </a:lnTo>
                      <a:lnTo>
                        <a:pt x="46" y="254"/>
                      </a:lnTo>
                      <a:lnTo>
                        <a:pt x="45" y="254"/>
                      </a:lnTo>
                      <a:lnTo>
                        <a:pt x="43" y="250"/>
                      </a:lnTo>
                      <a:lnTo>
                        <a:pt x="39" y="248"/>
                      </a:lnTo>
                      <a:lnTo>
                        <a:pt x="36" y="244"/>
                      </a:lnTo>
                      <a:lnTo>
                        <a:pt x="34" y="241"/>
                      </a:lnTo>
                      <a:lnTo>
                        <a:pt x="30" y="237"/>
                      </a:lnTo>
                      <a:lnTo>
                        <a:pt x="28" y="236"/>
                      </a:lnTo>
                      <a:lnTo>
                        <a:pt x="28" y="235"/>
                      </a:lnTo>
                      <a:lnTo>
                        <a:pt x="25" y="233"/>
                      </a:lnTo>
                      <a:lnTo>
                        <a:pt x="23" y="229"/>
                      </a:lnTo>
                      <a:lnTo>
                        <a:pt x="21" y="224"/>
                      </a:lnTo>
                      <a:lnTo>
                        <a:pt x="22" y="224"/>
                      </a:lnTo>
                      <a:lnTo>
                        <a:pt x="23" y="224"/>
                      </a:lnTo>
                      <a:lnTo>
                        <a:pt x="24" y="223"/>
                      </a:lnTo>
                      <a:lnTo>
                        <a:pt x="25" y="223"/>
                      </a:lnTo>
                      <a:lnTo>
                        <a:pt x="25" y="222"/>
                      </a:lnTo>
                      <a:lnTo>
                        <a:pt x="24" y="222"/>
                      </a:lnTo>
                      <a:lnTo>
                        <a:pt x="24" y="221"/>
                      </a:lnTo>
                      <a:lnTo>
                        <a:pt x="23" y="221"/>
                      </a:lnTo>
                      <a:lnTo>
                        <a:pt x="23" y="220"/>
                      </a:lnTo>
                      <a:lnTo>
                        <a:pt x="22" y="219"/>
                      </a:lnTo>
                      <a:lnTo>
                        <a:pt x="22" y="216"/>
                      </a:lnTo>
                      <a:lnTo>
                        <a:pt x="22" y="215"/>
                      </a:lnTo>
                      <a:lnTo>
                        <a:pt x="21" y="214"/>
                      </a:lnTo>
                      <a:lnTo>
                        <a:pt x="20" y="213"/>
                      </a:lnTo>
                      <a:lnTo>
                        <a:pt x="20" y="212"/>
                      </a:lnTo>
                      <a:lnTo>
                        <a:pt x="18" y="212"/>
                      </a:lnTo>
                      <a:lnTo>
                        <a:pt x="13" y="208"/>
                      </a:lnTo>
                      <a:lnTo>
                        <a:pt x="11" y="207"/>
                      </a:lnTo>
                      <a:lnTo>
                        <a:pt x="10" y="206"/>
                      </a:lnTo>
                      <a:lnTo>
                        <a:pt x="10" y="203"/>
                      </a:lnTo>
                      <a:lnTo>
                        <a:pt x="10" y="201"/>
                      </a:lnTo>
                      <a:lnTo>
                        <a:pt x="10" y="200"/>
                      </a:lnTo>
                      <a:lnTo>
                        <a:pt x="10" y="199"/>
                      </a:lnTo>
                      <a:lnTo>
                        <a:pt x="10" y="196"/>
                      </a:lnTo>
                      <a:lnTo>
                        <a:pt x="9" y="195"/>
                      </a:lnTo>
                      <a:lnTo>
                        <a:pt x="9" y="194"/>
                      </a:lnTo>
                      <a:lnTo>
                        <a:pt x="9" y="193"/>
                      </a:lnTo>
                      <a:lnTo>
                        <a:pt x="9" y="192"/>
                      </a:lnTo>
                      <a:lnTo>
                        <a:pt x="9" y="191"/>
                      </a:lnTo>
                      <a:lnTo>
                        <a:pt x="9" y="188"/>
                      </a:lnTo>
                      <a:lnTo>
                        <a:pt x="9" y="187"/>
                      </a:lnTo>
                      <a:lnTo>
                        <a:pt x="8" y="187"/>
                      </a:lnTo>
                      <a:lnTo>
                        <a:pt x="8" y="186"/>
                      </a:lnTo>
                      <a:lnTo>
                        <a:pt x="7" y="186"/>
                      </a:lnTo>
                      <a:lnTo>
                        <a:pt x="6" y="186"/>
                      </a:lnTo>
                      <a:lnTo>
                        <a:pt x="6" y="185"/>
                      </a:lnTo>
                      <a:lnTo>
                        <a:pt x="4" y="185"/>
                      </a:lnTo>
                      <a:lnTo>
                        <a:pt x="4" y="184"/>
                      </a:lnTo>
                      <a:lnTo>
                        <a:pt x="6" y="184"/>
                      </a:lnTo>
                      <a:lnTo>
                        <a:pt x="6" y="182"/>
                      </a:lnTo>
                      <a:lnTo>
                        <a:pt x="6" y="181"/>
                      </a:lnTo>
                      <a:lnTo>
                        <a:pt x="7" y="181"/>
                      </a:lnTo>
                      <a:lnTo>
                        <a:pt x="7" y="180"/>
                      </a:lnTo>
                      <a:lnTo>
                        <a:pt x="7" y="179"/>
                      </a:lnTo>
                      <a:lnTo>
                        <a:pt x="8" y="178"/>
                      </a:lnTo>
                      <a:lnTo>
                        <a:pt x="8" y="177"/>
                      </a:lnTo>
                      <a:lnTo>
                        <a:pt x="7" y="175"/>
                      </a:lnTo>
                      <a:lnTo>
                        <a:pt x="7" y="174"/>
                      </a:lnTo>
                      <a:lnTo>
                        <a:pt x="7" y="173"/>
                      </a:lnTo>
                      <a:lnTo>
                        <a:pt x="7" y="172"/>
                      </a:lnTo>
                      <a:lnTo>
                        <a:pt x="8" y="171"/>
                      </a:lnTo>
                      <a:lnTo>
                        <a:pt x="8" y="170"/>
                      </a:lnTo>
                      <a:lnTo>
                        <a:pt x="8" y="166"/>
                      </a:lnTo>
                      <a:lnTo>
                        <a:pt x="7" y="165"/>
                      </a:lnTo>
                      <a:lnTo>
                        <a:pt x="7" y="164"/>
                      </a:lnTo>
                      <a:lnTo>
                        <a:pt x="6" y="164"/>
                      </a:lnTo>
                      <a:lnTo>
                        <a:pt x="6" y="165"/>
                      </a:lnTo>
                      <a:lnTo>
                        <a:pt x="4" y="165"/>
                      </a:lnTo>
                      <a:lnTo>
                        <a:pt x="3" y="165"/>
                      </a:lnTo>
                      <a:lnTo>
                        <a:pt x="2" y="164"/>
                      </a:lnTo>
                      <a:lnTo>
                        <a:pt x="2" y="163"/>
                      </a:lnTo>
                      <a:lnTo>
                        <a:pt x="1" y="161"/>
                      </a:lnTo>
                      <a:lnTo>
                        <a:pt x="0" y="160"/>
                      </a:lnTo>
                      <a:lnTo>
                        <a:pt x="1" y="160"/>
                      </a:lnTo>
                      <a:lnTo>
                        <a:pt x="1" y="159"/>
                      </a:lnTo>
                      <a:lnTo>
                        <a:pt x="2" y="159"/>
                      </a:lnTo>
                      <a:lnTo>
                        <a:pt x="1" y="159"/>
                      </a:lnTo>
                      <a:lnTo>
                        <a:pt x="2" y="158"/>
                      </a:lnTo>
                      <a:lnTo>
                        <a:pt x="3" y="158"/>
                      </a:lnTo>
                      <a:lnTo>
                        <a:pt x="4" y="157"/>
                      </a:lnTo>
                      <a:lnTo>
                        <a:pt x="4" y="156"/>
                      </a:lnTo>
                      <a:lnTo>
                        <a:pt x="6" y="156"/>
                      </a:lnTo>
                      <a:lnTo>
                        <a:pt x="10" y="153"/>
                      </a:lnTo>
                      <a:lnTo>
                        <a:pt x="11" y="153"/>
                      </a:lnTo>
                      <a:lnTo>
                        <a:pt x="13" y="151"/>
                      </a:lnTo>
                      <a:lnTo>
                        <a:pt x="13" y="150"/>
                      </a:lnTo>
                      <a:lnTo>
                        <a:pt x="13" y="149"/>
                      </a:lnTo>
                      <a:lnTo>
                        <a:pt x="14" y="147"/>
                      </a:lnTo>
                      <a:lnTo>
                        <a:pt x="17" y="139"/>
                      </a:lnTo>
                      <a:lnTo>
                        <a:pt x="17" y="138"/>
                      </a:lnTo>
                      <a:lnTo>
                        <a:pt x="18" y="138"/>
                      </a:lnTo>
                      <a:lnTo>
                        <a:pt x="21" y="137"/>
                      </a:lnTo>
                      <a:lnTo>
                        <a:pt x="21" y="136"/>
                      </a:lnTo>
                      <a:lnTo>
                        <a:pt x="21" y="135"/>
                      </a:lnTo>
                      <a:lnTo>
                        <a:pt x="22" y="133"/>
                      </a:lnTo>
                      <a:lnTo>
                        <a:pt x="23" y="131"/>
                      </a:lnTo>
                      <a:lnTo>
                        <a:pt x="23" y="129"/>
                      </a:lnTo>
                      <a:lnTo>
                        <a:pt x="24" y="128"/>
                      </a:lnTo>
                      <a:lnTo>
                        <a:pt x="25" y="128"/>
                      </a:lnTo>
                      <a:lnTo>
                        <a:pt x="25" y="126"/>
                      </a:lnTo>
                      <a:lnTo>
                        <a:pt x="25" y="124"/>
                      </a:lnTo>
                      <a:lnTo>
                        <a:pt x="25" y="123"/>
                      </a:lnTo>
                      <a:lnTo>
                        <a:pt x="27" y="122"/>
                      </a:lnTo>
                      <a:lnTo>
                        <a:pt x="28" y="121"/>
                      </a:lnTo>
                      <a:lnTo>
                        <a:pt x="30" y="119"/>
                      </a:lnTo>
                      <a:lnTo>
                        <a:pt x="31" y="118"/>
                      </a:lnTo>
                      <a:lnTo>
                        <a:pt x="32" y="117"/>
                      </a:lnTo>
                      <a:lnTo>
                        <a:pt x="34" y="117"/>
                      </a:lnTo>
                      <a:lnTo>
                        <a:pt x="32" y="116"/>
                      </a:lnTo>
                      <a:lnTo>
                        <a:pt x="35" y="114"/>
                      </a:lnTo>
                      <a:lnTo>
                        <a:pt x="35" y="112"/>
                      </a:lnTo>
                      <a:lnTo>
                        <a:pt x="36" y="114"/>
                      </a:lnTo>
                      <a:lnTo>
                        <a:pt x="37" y="114"/>
                      </a:lnTo>
                      <a:lnTo>
                        <a:pt x="39" y="112"/>
                      </a:lnTo>
                      <a:lnTo>
                        <a:pt x="41" y="114"/>
                      </a:lnTo>
                      <a:lnTo>
                        <a:pt x="42" y="115"/>
                      </a:lnTo>
                      <a:lnTo>
                        <a:pt x="44" y="115"/>
                      </a:lnTo>
                      <a:lnTo>
                        <a:pt x="49" y="114"/>
                      </a:lnTo>
                      <a:lnTo>
                        <a:pt x="50" y="114"/>
                      </a:lnTo>
                      <a:lnTo>
                        <a:pt x="51" y="112"/>
                      </a:lnTo>
                      <a:lnTo>
                        <a:pt x="51" y="111"/>
                      </a:lnTo>
                      <a:lnTo>
                        <a:pt x="52" y="111"/>
                      </a:lnTo>
                      <a:lnTo>
                        <a:pt x="53" y="110"/>
                      </a:lnTo>
                      <a:lnTo>
                        <a:pt x="56" y="110"/>
                      </a:lnTo>
                      <a:lnTo>
                        <a:pt x="57" y="110"/>
                      </a:lnTo>
                      <a:lnTo>
                        <a:pt x="58" y="110"/>
                      </a:lnTo>
                      <a:lnTo>
                        <a:pt x="58" y="109"/>
                      </a:lnTo>
                      <a:lnTo>
                        <a:pt x="59" y="109"/>
                      </a:lnTo>
                      <a:lnTo>
                        <a:pt x="60" y="109"/>
                      </a:lnTo>
                      <a:lnTo>
                        <a:pt x="63" y="108"/>
                      </a:lnTo>
                      <a:lnTo>
                        <a:pt x="64" y="108"/>
                      </a:lnTo>
                      <a:lnTo>
                        <a:pt x="64" y="105"/>
                      </a:lnTo>
                      <a:lnTo>
                        <a:pt x="64" y="104"/>
                      </a:lnTo>
                      <a:lnTo>
                        <a:pt x="65" y="104"/>
                      </a:lnTo>
                      <a:lnTo>
                        <a:pt x="66" y="104"/>
                      </a:lnTo>
                      <a:lnTo>
                        <a:pt x="66" y="103"/>
                      </a:lnTo>
                      <a:lnTo>
                        <a:pt x="66" y="102"/>
                      </a:lnTo>
                      <a:lnTo>
                        <a:pt x="67" y="102"/>
                      </a:lnTo>
                      <a:lnTo>
                        <a:pt x="68" y="102"/>
                      </a:lnTo>
                      <a:lnTo>
                        <a:pt x="68" y="103"/>
                      </a:lnTo>
                      <a:lnTo>
                        <a:pt x="68" y="104"/>
                      </a:lnTo>
                      <a:lnTo>
                        <a:pt x="70" y="105"/>
                      </a:lnTo>
                      <a:lnTo>
                        <a:pt x="71" y="105"/>
                      </a:lnTo>
                      <a:lnTo>
                        <a:pt x="71" y="107"/>
                      </a:lnTo>
                      <a:lnTo>
                        <a:pt x="71" y="108"/>
                      </a:lnTo>
                      <a:lnTo>
                        <a:pt x="72" y="109"/>
                      </a:lnTo>
                      <a:lnTo>
                        <a:pt x="73" y="109"/>
                      </a:lnTo>
                      <a:lnTo>
                        <a:pt x="74" y="111"/>
                      </a:lnTo>
                      <a:lnTo>
                        <a:pt x="75" y="112"/>
                      </a:lnTo>
                      <a:lnTo>
                        <a:pt x="77" y="112"/>
                      </a:lnTo>
                      <a:lnTo>
                        <a:pt x="78" y="111"/>
                      </a:lnTo>
                      <a:lnTo>
                        <a:pt x="78" y="110"/>
                      </a:lnTo>
                      <a:lnTo>
                        <a:pt x="79" y="109"/>
                      </a:lnTo>
                      <a:lnTo>
                        <a:pt x="80" y="109"/>
                      </a:lnTo>
                      <a:lnTo>
                        <a:pt x="81" y="109"/>
                      </a:lnTo>
                      <a:lnTo>
                        <a:pt x="82" y="109"/>
                      </a:lnTo>
                      <a:lnTo>
                        <a:pt x="82" y="108"/>
                      </a:lnTo>
                      <a:lnTo>
                        <a:pt x="84" y="108"/>
                      </a:lnTo>
                      <a:lnTo>
                        <a:pt x="85" y="108"/>
                      </a:lnTo>
                      <a:lnTo>
                        <a:pt x="85" y="107"/>
                      </a:lnTo>
                      <a:lnTo>
                        <a:pt x="86" y="108"/>
                      </a:lnTo>
                      <a:lnTo>
                        <a:pt x="87" y="108"/>
                      </a:lnTo>
                      <a:lnTo>
                        <a:pt x="87" y="107"/>
                      </a:lnTo>
                      <a:lnTo>
                        <a:pt x="88" y="105"/>
                      </a:lnTo>
                      <a:lnTo>
                        <a:pt x="89" y="105"/>
                      </a:lnTo>
                      <a:lnTo>
                        <a:pt x="89" y="104"/>
                      </a:lnTo>
                      <a:lnTo>
                        <a:pt x="91" y="103"/>
                      </a:lnTo>
                      <a:lnTo>
                        <a:pt x="95" y="102"/>
                      </a:lnTo>
                      <a:lnTo>
                        <a:pt x="95" y="101"/>
                      </a:lnTo>
                      <a:lnTo>
                        <a:pt x="96" y="101"/>
                      </a:lnTo>
                      <a:lnTo>
                        <a:pt x="98" y="101"/>
                      </a:lnTo>
                      <a:lnTo>
                        <a:pt x="99" y="100"/>
                      </a:lnTo>
                      <a:lnTo>
                        <a:pt x="100" y="100"/>
                      </a:lnTo>
                      <a:lnTo>
                        <a:pt x="101" y="100"/>
                      </a:lnTo>
                      <a:lnTo>
                        <a:pt x="102" y="98"/>
                      </a:lnTo>
                      <a:lnTo>
                        <a:pt x="103" y="98"/>
                      </a:lnTo>
                      <a:lnTo>
                        <a:pt x="103" y="97"/>
                      </a:lnTo>
                      <a:lnTo>
                        <a:pt x="105" y="98"/>
                      </a:lnTo>
                      <a:lnTo>
                        <a:pt x="109" y="98"/>
                      </a:lnTo>
                      <a:lnTo>
                        <a:pt x="110" y="98"/>
                      </a:lnTo>
                      <a:lnTo>
                        <a:pt x="112" y="98"/>
                      </a:lnTo>
                      <a:lnTo>
                        <a:pt x="114" y="97"/>
                      </a:lnTo>
                      <a:lnTo>
                        <a:pt x="117" y="97"/>
                      </a:lnTo>
                      <a:lnTo>
                        <a:pt x="131" y="96"/>
                      </a:lnTo>
                      <a:lnTo>
                        <a:pt x="134" y="96"/>
                      </a:lnTo>
                      <a:lnTo>
                        <a:pt x="135" y="95"/>
                      </a:lnTo>
                      <a:lnTo>
                        <a:pt x="135" y="93"/>
                      </a:lnTo>
                      <a:lnTo>
                        <a:pt x="135" y="91"/>
                      </a:lnTo>
                      <a:lnTo>
                        <a:pt x="136" y="90"/>
                      </a:lnTo>
                      <a:lnTo>
                        <a:pt x="137" y="90"/>
                      </a:lnTo>
                      <a:lnTo>
                        <a:pt x="139" y="89"/>
                      </a:lnTo>
                      <a:lnTo>
                        <a:pt x="141" y="88"/>
                      </a:lnTo>
                      <a:lnTo>
                        <a:pt x="142" y="87"/>
                      </a:lnTo>
                      <a:lnTo>
                        <a:pt x="143" y="86"/>
                      </a:lnTo>
                      <a:lnTo>
                        <a:pt x="143" y="84"/>
                      </a:lnTo>
                      <a:lnTo>
                        <a:pt x="144" y="83"/>
                      </a:lnTo>
                      <a:lnTo>
                        <a:pt x="146" y="80"/>
                      </a:lnTo>
                      <a:lnTo>
                        <a:pt x="149" y="77"/>
                      </a:lnTo>
                      <a:lnTo>
                        <a:pt x="149" y="76"/>
                      </a:lnTo>
                      <a:lnTo>
                        <a:pt x="150" y="75"/>
                      </a:lnTo>
                      <a:lnTo>
                        <a:pt x="149" y="74"/>
                      </a:lnTo>
                      <a:lnTo>
                        <a:pt x="148" y="74"/>
                      </a:lnTo>
                      <a:lnTo>
                        <a:pt x="144" y="72"/>
                      </a:lnTo>
                      <a:lnTo>
                        <a:pt x="143" y="70"/>
                      </a:lnTo>
                      <a:lnTo>
                        <a:pt x="142" y="70"/>
                      </a:lnTo>
                      <a:lnTo>
                        <a:pt x="142" y="69"/>
                      </a:lnTo>
                      <a:lnTo>
                        <a:pt x="143" y="68"/>
                      </a:lnTo>
                      <a:lnTo>
                        <a:pt x="144" y="68"/>
                      </a:lnTo>
                      <a:lnTo>
                        <a:pt x="145" y="67"/>
                      </a:lnTo>
                      <a:lnTo>
                        <a:pt x="146" y="66"/>
                      </a:lnTo>
                      <a:lnTo>
                        <a:pt x="149" y="65"/>
                      </a:lnTo>
                      <a:lnTo>
                        <a:pt x="150" y="65"/>
                      </a:lnTo>
                      <a:lnTo>
                        <a:pt x="151" y="65"/>
                      </a:lnTo>
                      <a:lnTo>
                        <a:pt x="152" y="65"/>
                      </a:lnTo>
                      <a:lnTo>
                        <a:pt x="153" y="65"/>
                      </a:lnTo>
                      <a:lnTo>
                        <a:pt x="155" y="65"/>
                      </a:lnTo>
                      <a:lnTo>
                        <a:pt x="156" y="65"/>
                      </a:lnTo>
                      <a:lnTo>
                        <a:pt x="157" y="65"/>
                      </a:lnTo>
                      <a:lnTo>
                        <a:pt x="158" y="65"/>
                      </a:lnTo>
                      <a:lnTo>
                        <a:pt x="158" y="66"/>
                      </a:lnTo>
                      <a:lnTo>
                        <a:pt x="158" y="65"/>
                      </a:lnTo>
                      <a:lnTo>
                        <a:pt x="159" y="65"/>
                      </a:lnTo>
                      <a:lnTo>
                        <a:pt x="160" y="65"/>
                      </a:lnTo>
                      <a:lnTo>
                        <a:pt x="163" y="65"/>
                      </a:lnTo>
                      <a:lnTo>
                        <a:pt x="164" y="65"/>
                      </a:lnTo>
                      <a:lnTo>
                        <a:pt x="165" y="65"/>
                      </a:lnTo>
                      <a:lnTo>
                        <a:pt x="166" y="65"/>
                      </a:lnTo>
                      <a:lnTo>
                        <a:pt x="167" y="65"/>
                      </a:lnTo>
                      <a:lnTo>
                        <a:pt x="169" y="65"/>
                      </a:lnTo>
                      <a:lnTo>
                        <a:pt x="170" y="63"/>
                      </a:lnTo>
                      <a:lnTo>
                        <a:pt x="171" y="63"/>
                      </a:lnTo>
                      <a:lnTo>
                        <a:pt x="172" y="63"/>
                      </a:lnTo>
                      <a:lnTo>
                        <a:pt x="174" y="63"/>
                      </a:lnTo>
                      <a:lnTo>
                        <a:pt x="176" y="63"/>
                      </a:lnTo>
                      <a:lnTo>
                        <a:pt x="177" y="63"/>
                      </a:lnTo>
                      <a:lnTo>
                        <a:pt x="177" y="62"/>
                      </a:lnTo>
                      <a:lnTo>
                        <a:pt x="178" y="62"/>
                      </a:lnTo>
                      <a:lnTo>
                        <a:pt x="178" y="61"/>
                      </a:lnTo>
                      <a:lnTo>
                        <a:pt x="179" y="62"/>
                      </a:lnTo>
                      <a:lnTo>
                        <a:pt x="179" y="61"/>
                      </a:lnTo>
                      <a:lnTo>
                        <a:pt x="180" y="61"/>
                      </a:lnTo>
                      <a:lnTo>
                        <a:pt x="181" y="61"/>
                      </a:lnTo>
                      <a:lnTo>
                        <a:pt x="181" y="60"/>
                      </a:lnTo>
                      <a:lnTo>
                        <a:pt x="183" y="61"/>
                      </a:lnTo>
                      <a:lnTo>
                        <a:pt x="184" y="61"/>
                      </a:lnTo>
                      <a:lnTo>
                        <a:pt x="185" y="61"/>
                      </a:lnTo>
                      <a:lnTo>
                        <a:pt x="185" y="60"/>
                      </a:lnTo>
                      <a:lnTo>
                        <a:pt x="185" y="61"/>
                      </a:lnTo>
                      <a:lnTo>
                        <a:pt x="186" y="61"/>
                      </a:lnTo>
                      <a:lnTo>
                        <a:pt x="187" y="61"/>
                      </a:lnTo>
                      <a:lnTo>
                        <a:pt x="190" y="61"/>
                      </a:lnTo>
                      <a:lnTo>
                        <a:pt x="191" y="61"/>
                      </a:lnTo>
                      <a:lnTo>
                        <a:pt x="192" y="61"/>
                      </a:lnTo>
                      <a:lnTo>
                        <a:pt x="193" y="60"/>
                      </a:lnTo>
                      <a:lnTo>
                        <a:pt x="193" y="59"/>
                      </a:lnTo>
                      <a:lnTo>
                        <a:pt x="194" y="59"/>
                      </a:lnTo>
                      <a:lnTo>
                        <a:pt x="194" y="58"/>
                      </a:lnTo>
                      <a:lnTo>
                        <a:pt x="194" y="56"/>
                      </a:lnTo>
                      <a:lnTo>
                        <a:pt x="195" y="56"/>
                      </a:lnTo>
                      <a:lnTo>
                        <a:pt x="195" y="55"/>
                      </a:lnTo>
                      <a:lnTo>
                        <a:pt x="196" y="55"/>
                      </a:lnTo>
                      <a:lnTo>
                        <a:pt x="198" y="55"/>
                      </a:lnTo>
                      <a:lnTo>
                        <a:pt x="199" y="55"/>
                      </a:lnTo>
                      <a:lnTo>
                        <a:pt x="199" y="54"/>
                      </a:lnTo>
                      <a:lnTo>
                        <a:pt x="200" y="53"/>
                      </a:lnTo>
                      <a:lnTo>
                        <a:pt x="201" y="53"/>
                      </a:lnTo>
                      <a:lnTo>
                        <a:pt x="202" y="53"/>
                      </a:lnTo>
                      <a:lnTo>
                        <a:pt x="202" y="52"/>
                      </a:lnTo>
                      <a:lnTo>
                        <a:pt x="203" y="52"/>
                      </a:lnTo>
                      <a:lnTo>
                        <a:pt x="205" y="52"/>
                      </a:lnTo>
                      <a:lnTo>
                        <a:pt x="205" y="51"/>
                      </a:lnTo>
                      <a:lnTo>
                        <a:pt x="205" y="49"/>
                      </a:lnTo>
                      <a:lnTo>
                        <a:pt x="206" y="49"/>
                      </a:lnTo>
                      <a:lnTo>
                        <a:pt x="207" y="47"/>
                      </a:lnTo>
                      <a:lnTo>
                        <a:pt x="208" y="47"/>
                      </a:lnTo>
                      <a:lnTo>
                        <a:pt x="208" y="46"/>
                      </a:lnTo>
                      <a:lnTo>
                        <a:pt x="209" y="46"/>
                      </a:lnTo>
                      <a:lnTo>
                        <a:pt x="209" y="45"/>
                      </a:lnTo>
                      <a:lnTo>
                        <a:pt x="209" y="44"/>
                      </a:lnTo>
                      <a:lnTo>
                        <a:pt x="209" y="42"/>
                      </a:lnTo>
                      <a:lnTo>
                        <a:pt x="210" y="41"/>
                      </a:lnTo>
                      <a:lnTo>
                        <a:pt x="212" y="40"/>
                      </a:lnTo>
                      <a:lnTo>
                        <a:pt x="212" y="41"/>
                      </a:lnTo>
                      <a:lnTo>
                        <a:pt x="213" y="40"/>
                      </a:lnTo>
                      <a:lnTo>
                        <a:pt x="214" y="39"/>
                      </a:lnTo>
                      <a:lnTo>
                        <a:pt x="214" y="38"/>
                      </a:lnTo>
                      <a:lnTo>
                        <a:pt x="216" y="37"/>
                      </a:lnTo>
                      <a:lnTo>
                        <a:pt x="216" y="35"/>
                      </a:lnTo>
                      <a:lnTo>
                        <a:pt x="219" y="34"/>
                      </a:lnTo>
                      <a:lnTo>
                        <a:pt x="219" y="33"/>
                      </a:lnTo>
                      <a:lnTo>
                        <a:pt x="220" y="34"/>
                      </a:lnTo>
                      <a:lnTo>
                        <a:pt x="221" y="34"/>
                      </a:lnTo>
                      <a:lnTo>
                        <a:pt x="222" y="34"/>
                      </a:lnTo>
                      <a:lnTo>
                        <a:pt x="223" y="33"/>
                      </a:lnTo>
                      <a:lnTo>
                        <a:pt x="223" y="32"/>
                      </a:lnTo>
                      <a:lnTo>
                        <a:pt x="226" y="27"/>
                      </a:lnTo>
                      <a:lnTo>
                        <a:pt x="226" y="26"/>
                      </a:lnTo>
                      <a:lnTo>
                        <a:pt x="227" y="26"/>
                      </a:lnTo>
                      <a:lnTo>
                        <a:pt x="228" y="26"/>
                      </a:lnTo>
                      <a:lnTo>
                        <a:pt x="229" y="26"/>
                      </a:lnTo>
                      <a:lnTo>
                        <a:pt x="230" y="26"/>
                      </a:lnTo>
                      <a:lnTo>
                        <a:pt x="230" y="25"/>
                      </a:lnTo>
                      <a:lnTo>
                        <a:pt x="231" y="25"/>
                      </a:lnTo>
                      <a:lnTo>
                        <a:pt x="231" y="24"/>
                      </a:lnTo>
                      <a:lnTo>
                        <a:pt x="233" y="24"/>
                      </a:lnTo>
                      <a:lnTo>
                        <a:pt x="233" y="23"/>
                      </a:lnTo>
                      <a:lnTo>
                        <a:pt x="233" y="21"/>
                      </a:lnTo>
                      <a:lnTo>
                        <a:pt x="234" y="19"/>
                      </a:lnTo>
                      <a:lnTo>
                        <a:pt x="234" y="18"/>
                      </a:lnTo>
                      <a:lnTo>
                        <a:pt x="233" y="18"/>
                      </a:lnTo>
                      <a:lnTo>
                        <a:pt x="233" y="17"/>
                      </a:lnTo>
                      <a:lnTo>
                        <a:pt x="233" y="16"/>
                      </a:lnTo>
                      <a:lnTo>
                        <a:pt x="233" y="14"/>
                      </a:lnTo>
                      <a:lnTo>
                        <a:pt x="233" y="13"/>
                      </a:lnTo>
                      <a:lnTo>
                        <a:pt x="233" y="12"/>
                      </a:lnTo>
                      <a:lnTo>
                        <a:pt x="234" y="12"/>
                      </a:lnTo>
                      <a:lnTo>
                        <a:pt x="235" y="12"/>
                      </a:lnTo>
                      <a:lnTo>
                        <a:pt x="235" y="11"/>
                      </a:lnTo>
                      <a:lnTo>
                        <a:pt x="236" y="11"/>
                      </a:lnTo>
                      <a:lnTo>
                        <a:pt x="237" y="11"/>
                      </a:lnTo>
                      <a:lnTo>
                        <a:pt x="238" y="11"/>
                      </a:lnTo>
                      <a:lnTo>
                        <a:pt x="240" y="10"/>
                      </a:lnTo>
                      <a:lnTo>
                        <a:pt x="242" y="9"/>
                      </a:lnTo>
                      <a:lnTo>
                        <a:pt x="242" y="7"/>
                      </a:lnTo>
                      <a:lnTo>
                        <a:pt x="242" y="6"/>
                      </a:lnTo>
                      <a:lnTo>
                        <a:pt x="243" y="6"/>
                      </a:lnTo>
                      <a:lnTo>
                        <a:pt x="245" y="6"/>
                      </a:lnTo>
                      <a:lnTo>
                        <a:pt x="247" y="6"/>
                      </a:lnTo>
                      <a:lnTo>
                        <a:pt x="248" y="6"/>
                      </a:lnTo>
                      <a:lnTo>
                        <a:pt x="248" y="5"/>
                      </a:lnTo>
                      <a:lnTo>
                        <a:pt x="249" y="4"/>
                      </a:lnTo>
                      <a:lnTo>
                        <a:pt x="250" y="4"/>
                      </a:lnTo>
                      <a:lnTo>
                        <a:pt x="251" y="4"/>
                      </a:lnTo>
                      <a:lnTo>
                        <a:pt x="251" y="3"/>
                      </a:lnTo>
                      <a:lnTo>
                        <a:pt x="252" y="3"/>
                      </a:lnTo>
                      <a:lnTo>
                        <a:pt x="254" y="2"/>
                      </a:lnTo>
                      <a:lnTo>
                        <a:pt x="255" y="2"/>
                      </a:lnTo>
                      <a:lnTo>
                        <a:pt x="256" y="0"/>
                      </a:lnTo>
                      <a:lnTo>
                        <a:pt x="257" y="0"/>
                      </a:lnTo>
                      <a:lnTo>
                        <a:pt x="258" y="0"/>
                      </a:lnTo>
                      <a:lnTo>
                        <a:pt x="258" y="2"/>
                      </a:lnTo>
                      <a:lnTo>
                        <a:pt x="259" y="2"/>
                      </a:lnTo>
                      <a:lnTo>
                        <a:pt x="260" y="2"/>
                      </a:lnTo>
                      <a:lnTo>
                        <a:pt x="262" y="2"/>
                      </a:lnTo>
                      <a:lnTo>
                        <a:pt x="263" y="2"/>
                      </a:lnTo>
                      <a:lnTo>
                        <a:pt x="264" y="2"/>
                      </a:lnTo>
                      <a:lnTo>
                        <a:pt x="265" y="3"/>
                      </a:lnTo>
                      <a:lnTo>
                        <a:pt x="267" y="3"/>
                      </a:lnTo>
                      <a:lnTo>
                        <a:pt x="269"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1" name="Freeform 78">
                  <a:extLst>
                    <a:ext uri="{FF2B5EF4-FFF2-40B4-BE49-F238E27FC236}">
                      <a16:creationId xmlns:a16="http://schemas.microsoft.com/office/drawing/2014/main" id="{849D2D2A-B52A-314D-9F5E-253699A31884}"/>
                    </a:ext>
                  </a:extLst>
                </p:cNvPr>
                <p:cNvSpPr>
                  <a:spLocks noEditPoints="1"/>
                </p:cNvSpPr>
                <p:nvPr/>
              </p:nvSpPr>
              <p:spPr bwMode="auto">
                <a:xfrm>
                  <a:off x="5930541" y="3437317"/>
                  <a:ext cx="209856" cy="220673"/>
                </a:xfrm>
                <a:custGeom>
                  <a:avLst/>
                  <a:gdLst>
                    <a:gd name="T0" fmla="*/ 76 w 194"/>
                    <a:gd name="T1" fmla="*/ 3 h 204"/>
                    <a:gd name="T2" fmla="*/ 75 w 194"/>
                    <a:gd name="T3" fmla="*/ 13 h 204"/>
                    <a:gd name="T4" fmla="*/ 85 w 194"/>
                    <a:gd name="T5" fmla="*/ 11 h 204"/>
                    <a:gd name="T6" fmla="*/ 102 w 194"/>
                    <a:gd name="T7" fmla="*/ 14 h 204"/>
                    <a:gd name="T8" fmla="*/ 111 w 194"/>
                    <a:gd name="T9" fmla="*/ 17 h 204"/>
                    <a:gd name="T10" fmla="*/ 115 w 194"/>
                    <a:gd name="T11" fmla="*/ 23 h 204"/>
                    <a:gd name="T12" fmla="*/ 121 w 194"/>
                    <a:gd name="T13" fmla="*/ 31 h 204"/>
                    <a:gd name="T14" fmla="*/ 129 w 194"/>
                    <a:gd name="T15" fmla="*/ 30 h 204"/>
                    <a:gd name="T16" fmla="*/ 137 w 194"/>
                    <a:gd name="T17" fmla="*/ 31 h 204"/>
                    <a:gd name="T18" fmla="*/ 148 w 194"/>
                    <a:gd name="T19" fmla="*/ 27 h 204"/>
                    <a:gd name="T20" fmla="*/ 168 w 194"/>
                    <a:gd name="T21" fmla="*/ 25 h 204"/>
                    <a:gd name="T22" fmla="*/ 179 w 194"/>
                    <a:gd name="T23" fmla="*/ 34 h 204"/>
                    <a:gd name="T24" fmla="*/ 189 w 194"/>
                    <a:gd name="T25" fmla="*/ 44 h 204"/>
                    <a:gd name="T26" fmla="*/ 190 w 194"/>
                    <a:gd name="T27" fmla="*/ 56 h 204"/>
                    <a:gd name="T28" fmla="*/ 191 w 194"/>
                    <a:gd name="T29" fmla="*/ 84 h 204"/>
                    <a:gd name="T30" fmla="*/ 180 w 194"/>
                    <a:gd name="T31" fmla="*/ 99 h 204"/>
                    <a:gd name="T32" fmla="*/ 171 w 194"/>
                    <a:gd name="T33" fmla="*/ 129 h 204"/>
                    <a:gd name="T34" fmla="*/ 182 w 194"/>
                    <a:gd name="T35" fmla="*/ 162 h 204"/>
                    <a:gd name="T36" fmla="*/ 187 w 194"/>
                    <a:gd name="T37" fmla="*/ 175 h 204"/>
                    <a:gd name="T38" fmla="*/ 175 w 194"/>
                    <a:gd name="T39" fmla="*/ 177 h 204"/>
                    <a:gd name="T40" fmla="*/ 170 w 194"/>
                    <a:gd name="T41" fmla="*/ 172 h 204"/>
                    <a:gd name="T42" fmla="*/ 169 w 194"/>
                    <a:gd name="T43" fmla="*/ 175 h 204"/>
                    <a:gd name="T44" fmla="*/ 155 w 194"/>
                    <a:gd name="T45" fmla="*/ 176 h 204"/>
                    <a:gd name="T46" fmla="*/ 155 w 194"/>
                    <a:gd name="T47" fmla="*/ 174 h 204"/>
                    <a:gd name="T48" fmla="*/ 151 w 194"/>
                    <a:gd name="T49" fmla="*/ 170 h 204"/>
                    <a:gd name="T50" fmla="*/ 144 w 194"/>
                    <a:gd name="T51" fmla="*/ 172 h 204"/>
                    <a:gd name="T52" fmla="*/ 133 w 194"/>
                    <a:gd name="T53" fmla="*/ 174 h 204"/>
                    <a:gd name="T54" fmla="*/ 127 w 194"/>
                    <a:gd name="T55" fmla="*/ 174 h 204"/>
                    <a:gd name="T56" fmla="*/ 125 w 194"/>
                    <a:gd name="T57" fmla="*/ 177 h 204"/>
                    <a:gd name="T58" fmla="*/ 135 w 194"/>
                    <a:gd name="T59" fmla="*/ 174 h 204"/>
                    <a:gd name="T60" fmla="*/ 123 w 194"/>
                    <a:gd name="T61" fmla="*/ 177 h 204"/>
                    <a:gd name="T62" fmla="*/ 111 w 194"/>
                    <a:gd name="T63" fmla="*/ 176 h 204"/>
                    <a:gd name="T64" fmla="*/ 105 w 194"/>
                    <a:gd name="T65" fmla="*/ 178 h 204"/>
                    <a:gd name="T66" fmla="*/ 111 w 194"/>
                    <a:gd name="T67" fmla="*/ 177 h 204"/>
                    <a:gd name="T68" fmla="*/ 108 w 194"/>
                    <a:gd name="T69" fmla="*/ 178 h 204"/>
                    <a:gd name="T70" fmla="*/ 71 w 194"/>
                    <a:gd name="T71" fmla="*/ 189 h 204"/>
                    <a:gd name="T72" fmla="*/ 48 w 194"/>
                    <a:gd name="T73" fmla="*/ 198 h 204"/>
                    <a:gd name="T74" fmla="*/ 35 w 194"/>
                    <a:gd name="T75" fmla="*/ 191 h 204"/>
                    <a:gd name="T76" fmla="*/ 37 w 194"/>
                    <a:gd name="T77" fmla="*/ 178 h 204"/>
                    <a:gd name="T78" fmla="*/ 38 w 194"/>
                    <a:gd name="T79" fmla="*/ 169 h 204"/>
                    <a:gd name="T80" fmla="*/ 36 w 194"/>
                    <a:gd name="T81" fmla="*/ 157 h 204"/>
                    <a:gd name="T82" fmla="*/ 27 w 194"/>
                    <a:gd name="T83" fmla="*/ 151 h 204"/>
                    <a:gd name="T84" fmla="*/ 16 w 194"/>
                    <a:gd name="T85" fmla="*/ 142 h 204"/>
                    <a:gd name="T86" fmla="*/ 6 w 194"/>
                    <a:gd name="T87" fmla="*/ 137 h 204"/>
                    <a:gd name="T88" fmla="*/ 9 w 194"/>
                    <a:gd name="T89" fmla="*/ 128 h 204"/>
                    <a:gd name="T90" fmla="*/ 9 w 194"/>
                    <a:gd name="T91" fmla="*/ 113 h 204"/>
                    <a:gd name="T92" fmla="*/ 9 w 194"/>
                    <a:gd name="T93" fmla="*/ 101 h 204"/>
                    <a:gd name="T94" fmla="*/ 15 w 194"/>
                    <a:gd name="T95" fmla="*/ 93 h 204"/>
                    <a:gd name="T96" fmla="*/ 18 w 194"/>
                    <a:gd name="T97" fmla="*/ 83 h 204"/>
                    <a:gd name="T98" fmla="*/ 19 w 194"/>
                    <a:gd name="T99" fmla="*/ 72 h 204"/>
                    <a:gd name="T100" fmla="*/ 29 w 194"/>
                    <a:gd name="T101" fmla="*/ 72 h 204"/>
                    <a:gd name="T102" fmla="*/ 21 w 194"/>
                    <a:gd name="T103" fmla="*/ 59 h 204"/>
                    <a:gd name="T104" fmla="*/ 21 w 194"/>
                    <a:gd name="T105" fmla="*/ 49 h 204"/>
                    <a:gd name="T106" fmla="*/ 14 w 194"/>
                    <a:gd name="T107" fmla="*/ 29 h 204"/>
                    <a:gd name="T108" fmla="*/ 19 w 194"/>
                    <a:gd name="T109" fmla="*/ 18 h 204"/>
                    <a:gd name="T110" fmla="*/ 28 w 194"/>
                    <a:gd name="T111" fmla="*/ 10 h 204"/>
                    <a:gd name="T112" fmla="*/ 38 w 194"/>
                    <a:gd name="T113" fmla="*/ 13 h 204"/>
                    <a:gd name="T114" fmla="*/ 50 w 194"/>
                    <a:gd name="T115" fmla="*/ 16 h 204"/>
                    <a:gd name="T116" fmla="*/ 62 w 194"/>
                    <a:gd name="T117" fmla="*/ 9 h 204"/>
                    <a:gd name="T118" fmla="*/ 65 w 194"/>
                    <a:gd name="T119" fmla="*/ 4 h 204"/>
                    <a:gd name="T120" fmla="*/ 75 w 194"/>
                    <a:gd name="T121" fmla="*/ 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4" h="204">
                      <a:moveTo>
                        <a:pt x="173" y="177"/>
                      </a:moveTo>
                      <a:lnTo>
                        <a:pt x="175" y="177"/>
                      </a:lnTo>
                      <a:lnTo>
                        <a:pt x="176" y="178"/>
                      </a:lnTo>
                      <a:lnTo>
                        <a:pt x="175" y="178"/>
                      </a:lnTo>
                      <a:lnTo>
                        <a:pt x="171" y="178"/>
                      </a:lnTo>
                      <a:lnTo>
                        <a:pt x="171" y="177"/>
                      </a:lnTo>
                      <a:lnTo>
                        <a:pt x="172" y="176"/>
                      </a:lnTo>
                      <a:lnTo>
                        <a:pt x="173" y="176"/>
                      </a:lnTo>
                      <a:lnTo>
                        <a:pt x="173" y="177"/>
                      </a:lnTo>
                      <a:close/>
                      <a:moveTo>
                        <a:pt x="75" y="1"/>
                      </a:moveTo>
                      <a:lnTo>
                        <a:pt x="73" y="2"/>
                      </a:lnTo>
                      <a:lnTo>
                        <a:pt x="75" y="2"/>
                      </a:lnTo>
                      <a:lnTo>
                        <a:pt x="76" y="2"/>
                      </a:lnTo>
                      <a:lnTo>
                        <a:pt x="76" y="3"/>
                      </a:lnTo>
                      <a:lnTo>
                        <a:pt x="75" y="3"/>
                      </a:lnTo>
                      <a:lnTo>
                        <a:pt x="75" y="4"/>
                      </a:lnTo>
                      <a:lnTo>
                        <a:pt x="75" y="6"/>
                      </a:lnTo>
                      <a:lnTo>
                        <a:pt x="73" y="6"/>
                      </a:lnTo>
                      <a:lnTo>
                        <a:pt x="73" y="7"/>
                      </a:lnTo>
                      <a:lnTo>
                        <a:pt x="75" y="7"/>
                      </a:lnTo>
                      <a:lnTo>
                        <a:pt x="76" y="7"/>
                      </a:lnTo>
                      <a:lnTo>
                        <a:pt x="76" y="8"/>
                      </a:lnTo>
                      <a:lnTo>
                        <a:pt x="76" y="9"/>
                      </a:lnTo>
                      <a:lnTo>
                        <a:pt x="76" y="10"/>
                      </a:lnTo>
                      <a:lnTo>
                        <a:pt x="76" y="11"/>
                      </a:lnTo>
                      <a:lnTo>
                        <a:pt x="76" y="13"/>
                      </a:lnTo>
                      <a:lnTo>
                        <a:pt x="76" y="14"/>
                      </a:lnTo>
                      <a:lnTo>
                        <a:pt x="75" y="13"/>
                      </a:lnTo>
                      <a:lnTo>
                        <a:pt x="75" y="14"/>
                      </a:lnTo>
                      <a:lnTo>
                        <a:pt x="75" y="15"/>
                      </a:lnTo>
                      <a:lnTo>
                        <a:pt x="76" y="15"/>
                      </a:lnTo>
                      <a:lnTo>
                        <a:pt x="76" y="16"/>
                      </a:lnTo>
                      <a:lnTo>
                        <a:pt x="79" y="17"/>
                      </a:lnTo>
                      <a:lnTo>
                        <a:pt x="82" y="17"/>
                      </a:lnTo>
                      <a:lnTo>
                        <a:pt x="82" y="16"/>
                      </a:lnTo>
                      <a:lnTo>
                        <a:pt x="83" y="16"/>
                      </a:lnTo>
                      <a:lnTo>
                        <a:pt x="83" y="15"/>
                      </a:lnTo>
                      <a:lnTo>
                        <a:pt x="83" y="14"/>
                      </a:lnTo>
                      <a:lnTo>
                        <a:pt x="85" y="15"/>
                      </a:lnTo>
                      <a:lnTo>
                        <a:pt x="85" y="14"/>
                      </a:lnTo>
                      <a:lnTo>
                        <a:pt x="85" y="13"/>
                      </a:lnTo>
                      <a:lnTo>
                        <a:pt x="85" y="11"/>
                      </a:lnTo>
                      <a:lnTo>
                        <a:pt x="86" y="11"/>
                      </a:lnTo>
                      <a:lnTo>
                        <a:pt x="88" y="9"/>
                      </a:lnTo>
                      <a:lnTo>
                        <a:pt x="92" y="9"/>
                      </a:lnTo>
                      <a:lnTo>
                        <a:pt x="94" y="8"/>
                      </a:lnTo>
                      <a:lnTo>
                        <a:pt x="95" y="8"/>
                      </a:lnTo>
                      <a:lnTo>
                        <a:pt x="97" y="9"/>
                      </a:lnTo>
                      <a:lnTo>
                        <a:pt x="98" y="9"/>
                      </a:lnTo>
                      <a:lnTo>
                        <a:pt x="98" y="10"/>
                      </a:lnTo>
                      <a:lnTo>
                        <a:pt x="99" y="11"/>
                      </a:lnTo>
                      <a:lnTo>
                        <a:pt x="100" y="11"/>
                      </a:lnTo>
                      <a:lnTo>
                        <a:pt x="100" y="13"/>
                      </a:lnTo>
                      <a:lnTo>
                        <a:pt x="101" y="13"/>
                      </a:lnTo>
                      <a:lnTo>
                        <a:pt x="101" y="14"/>
                      </a:lnTo>
                      <a:lnTo>
                        <a:pt x="102" y="14"/>
                      </a:lnTo>
                      <a:lnTo>
                        <a:pt x="102" y="13"/>
                      </a:lnTo>
                      <a:lnTo>
                        <a:pt x="104" y="13"/>
                      </a:lnTo>
                      <a:lnTo>
                        <a:pt x="105" y="13"/>
                      </a:lnTo>
                      <a:lnTo>
                        <a:pt x="106" y="13"/>
                      </a:lnTo>
                      <a:lnTo>
                        <a:pt x="107" y="13"/>
                      </a:lnTo>
                      <a:lnTo>
                        <a:pt x="108" y="14"/>
                      </a:lnTo>
                      <a:lnTo>
                        <a:pt x="109" y="13"/>
                      </a:lnTo>
                      <a:lnTo>
                        <a:pt x="111" y="14"/>
                      </a:lnTo>
                      <a:lnTo>
                        <a:pt x="111" y="15"/>
                      </a:lnTo>
                      <a:lnTo>
                        <a:pt x="111" y="16"/>
                      </a:lnTo>
                      <a:lnTo>
                        <a:pt x="111" y="15"/>
                      </a:lnTo>
                      <a:lnTo>
                        <a:pt x="112" y="16"/>
                      </a:lnTo>
                      <a:lnTo>
                        <a:pt x="111" y="16"/>
                      </a:lnTo>
                      <a:lnTo>
                        <a:pt x="111" y="17"/>
                      </a:lnTo>
                      <a:lnTo>
                        <a:pt x="112" y="17"/>
                      </a:lnTo>
                      <a:lnTo>
                        <a:pt x="113" y="18"/>
                      </a:lnTo>
                      <a:lnTo>
                        <a:pt x="112" y="18"/>
                      </a:lnTo>
                      <a:lnTo>
                        <a:pt x="112" y="20"/>
                      </a:lnTo>
                      <a:lnTo>
                        <a:pt x="113" y="20"/>
                      </a:lnTo>
                      <a:lnTo>
                        <a:pt x="112" y="20"/>
                      </a:lnTo>
                      <a:lnTo>
                        <a:pt x="113" y="20"/>
                      </a:lnTo>
                      <a:lnTo>
                        <a:pt x="114" y="20"/>
                      </a:lnTo>
                      <a:lnTo>
                        <a:pt x="114" y="21"/>
                      </a:lnTo>
                      <a:lnTo>
                        <a:pt x="115" y="21"/>
                      </a:lnTo>
                      <a:lnTo>
                        <a:pt x="115" y="22"/>
                      </a:lnTo>
                      <a:lnTo>
                        <a:pt x="114" y="22"/>
                      </a:lnTo>
                      <a:lnTo>
                        <a:pt x="114" y="23"/>
                      </a:lnTo>
                      <a:lnTo>
                        <a:pt x="115" y="23"/>
                      </a:lnTo>
                      <a:lnTo>
                        <a:pt x="115" y="24"/>
                      </a:lnTo>
                      <a:lnTo>
                        <a:pt x="115" y="25"/>
                      </a:lnTo>
                      <a:lnTo>
                        <a:pt x="116" y="27"/>
                      </a:lnTo>
                      <a:lnTo>
                        <a:pt x="118" y="27"/>
                      </a:lnTo>
                      <a:lnTo>
                        <a:pt x="119" y="27"/>
                      </a:lnTo>
                      <a:lnTo>
                        <a:pt x="120" y="27"/>
                      </a:lnTo>
                      <a:lnTo>
                        <a:pt x="120" y="28"/>
                      </a:lnTo>
                      <a:lnTo>
                        <a:pt x="121" y="28"/>
                      </a:lnTo>
                      <a:lnTo>
                        <a:pt x="121" y="29"/>
                      </a:lnTo>
                      <a:lnTo>
                        <a:pt x="120" y="30"/>
                      </a:lnTo>
                      <a:lnTo>
                        <a:pt x="120" y="29"/>
                      </a:lnTo>
                      <a:lnTo>
                        <a:pt x="120" y="30"/>
                      </a:lnTo>
                      <a:lnTo>
                        <a:pt x="121" y="30"/>
                      </a:lnTo>
                      <a:lnTo>
                        <a:pt x="121" y="31"/>
                      </a:lnTo>
                      <a:lnTo>
                        <a:pt x="122" y="31"/>
                      </a:lnTo>
                      <a:lnTo>
                        <a:pt x="121" y="30"/>
                      </a:lnTo>
                      <a:lnTo>
                        <a:pt x="122" y="30"/>
                      </a:lnTo>
                      <a:lnTo>
                        <a:pt x="122" y="31"/>
                      </a:lnTo>
                      <a:lnTo>
                        <a:pt x="123" y="31"/>
                      </a:lnTo>
                      <a:lnTo>
                        <a:pt x="123" y="32"/>
                      </a:lnTo>
                      <a:lnTo>
                        <a:pt x="125" y="32"/>
                      </a:lnTo>
                      <a:lnTo>
                        <a:pt x="126" y="32"/>
                      </a:lnTo>
                      <a:lnTo>
                        <a:pt x="126" y="31"/>
                      </a:lnTo>
                      <a:lnTo>
                        <a:pt x="127" y="31"/>
                      </a:lnTo>
                      <a:lnTo>
                        <a:pt x="127" y="32"/>
                      </a:lnTo>
                      <a:lnTo>
                        <a:pt x="128" y="32"/>
                      </a:lnTo>
                      <a:lnTo>
                        <a:pt x="128" y="31"/>
                      </a:lnTo>
                      <a:lnTo>
                        <a:pt x="129" y="30"/>
                      </a:lnTo>
                      <a:lnTo>
                        <a:pt x="130" y="31"/>
                      </a:lnTo>
                      <a:lnTo>
                        <a:pt x="129" y="31"/>
                      </a:lnTo>
                      <a:lnTo>
                        <a:pt x="129" y="32"/>
                      </a:lnTo>
                      <a:lnTo>
                        <a:pt x="130" y="34"/>
                      </a:lnTo>
                      <a:lnTo>
                        <a:pt x="132" y="34"/>
                      </a:lnTo>
                      <a:lnTo>
                        <a:pt x="133" y="34"/>
                      </a:lnTo>
                      <a:lnTo>
                        <a:pt x="134" y="35"/>
                      </a:lnTo>
                      <a:lnTo>
                        <a:pt x="134" y="36"/>
                      </a:lnTo>
                      <a:lnTo>
                        <a:pt x="134" y="35"/>
                      </a:lnTo>
                      <a:lnTo>
                        <a:pt x="135" y="35"/>
                      </a:lnTo>
                      <a:lnTo>
                        <a:pt x="136" y="35"/>
                      </a:lnTo>
                      <a:lnTo>
                        <a:pt x="136" y="34"/>
                      </a:lnTo>
                      <a:lnTo>
                        <a:pt x="136" y="32"/>
                      </a:lnTo>
                      <a:lnTo>
                        <a:pt x="137" y="31"/>
                      </a:lnTo>
                      <a:lnTo>
                        <a:pt x="136" y="31"/>
                      </a:lnTo>
                      <a:lnTo>
                        <a:pt x="137" y="30"/>
                      </a:lnTo>
                      <a:lnTo>
                        <a:pt x="139" y="30"/>
                      </a:lnTo>
                      <a:lnTo>
                        <a:pt x="140" y="30"/>
                      </a:lnTo>
                      <a:lnTo>
                        <a:pt x="141" y="29"/>
                      </a:lnTo>
                      <a:lnTo>
                        <a:pt x="141" y="28"/>
                      </a:lnTo>
                      <a:lnTo>
                        <a:pt x="142" y="28"/>
                      </a:lnTo>
                      <a:lnTo>
                        <a:pt x="143" y="29"/>
                      </a:lnTo>
                      <a:lnTo>
                        <a:pt x="144" y="29"/>
                      </a:lnTo>
                      <a:lnTo>
                        <a:pt x="144" y="28"/>
                      </a:lnTo>
                      <a:lnTo>
                        <a:pt x="146" y="28"/>
                      </a:lnTo>
                      <a:lnTo>
                        <a:pt x="147" y="28"/>
                      </a:lnTo>
                      <a:lnTo>
                        <a:pt x="147" y="27"/>
                      </a:lnTo>
                      <a:lnTo>
                        <a:pt x="148" y="27"/>
                      </a:lnTo>
                      <a:lnTo>
                        <a:pt x="149" y="25"/>
                      </a:lnTo>
                      <a:lnTo>
                        <a:pt x="151" y="25"/>
                      </a:lnTo>
                      <a:lnTo>
                        <a:pt x="152" y="25"/>
                      </a:lnTo>
                      <a:lnTo>
                        <a:pt x="152" y="24"/>
                      </a:lnTo>
                      <a:lnTo>
                        <a:pt x="154" y="24"/>
                      </a:lnTo>
                      <a:lnTo>
                        <a:pt x="155" y="24"/>
                      </a:lnTo>
                      <a:lnTo>
                        <a:pt x="156" y="24"/>
                      </a:lnTo>
                      <a:lnTo>
                        <a:pt x="156" y="23"/>
                      </a:lnTo>
                      <a:lnTo>
                        <a:pt x="157" y="24"/>
                      </a:lnTo>
                      <a:lnTo>
                        <a:pt x="158" y="24"/>
                      </a:lnTo>
                      <a:lnTo>
                        <a:pt x="161" y="24"/>
                      </a:lnTo>
                      <a:lnTo>
                        <a:pt x="165" y="24"/>
                      </a:lnTo>
                      <a:lnTo>
                        <a:pt x="166" y="25"/>
                      </a:lnTo>
                      <a:lnTo>
                        <a:pt x="168" y="25"/>
                      </a:lnTo>
                      <a:lnTo>
                        <a:pt x="168" y="27"/>
                      </a:lnTo>
                      <a:lnTo>
                        <a:pt x="169" y="27"/>
                      </a:lnTo>
                      <a:lnTo>
                        <a:pt x="170" y="25"/>
                      </a:lnTo>
                      <a:lnTo>
                        <a:pt x="171" y="24"/>
                      </a:lnTo>
                      <a:lnTo>
                        <a:pt x="171" y="25"/>
                      </a:lnTo>
                      <a:lnTo>
                        <a:pt x="171" y="27"/>
                      </a:lnTo>
                      <a:lnTo>
                        <a:pt x="172" y="27"/>
                      </a:lnTo>
                      <a:lnTo>
                        <a:pt x="173" y="28"/>
                      </a:lnTo>
                      <a:lnTo>
                        <a:pt x="175" y="30"/>
                      </a:lnTo>
                      <a:lnTo>
                        <a:pt x="175" y="31"/>
                      </a:lnTo>
                      <a:lnTo>
                        <a:pt x="176" y="31"/>
                      </a:lnTo>
                      <a:lnTo>
                        <a:pt x="177" y="30"/>
                      </a:lnTo>
                      <a:lnTo>
                        <a:pt x="178" y="31"/>
                      </a:lnTo>
                      <a:lnTo>
                        <a:pt x="179" y="34"/>
                      </a:lnTo>
                      <a:lnTo>
                        <a:pt x="180" y="36"/>
                      </a:lnTo>
                      <a:lnTo>
                        <a:pt x="184" y="41"/>
                      </a:lnTo>
                      <a:lnTo>
                        <a:pt x="185" y="41"/>
                      </a:lnTo>
                      <a:lnTo>
                        <a:pt x="186" y="41"/>
                      </a:lnTo>
                      <a:lnTo>
                        <a:pt x="186" y="39"/>
                      </a:lnTo>
                      <a:lnTo>
                        <a:pt x="187" y="38"/>
                      </a:lnTo>
                      <a:lnTo>
                        <a:pt x="189" y="38"/>
                      </a:lnTo>
                      <a:lnTo>
                        <a:pt x="189" y="39"/>
                      </a:lnTo>
                      <a:lnTo>
                        <a:pt x="187" y="41"/>
                      </a:lnTo>
                      <a:lnTo>
                        <a:pt x="189" y="41"/>
                      </a:lnTo>
                      <a:lnTo>
                        <a:pt x="189" y="42"/>
                      </a:lnTo>
                      <a:lnTo>
                        <a:pt x="187" y="43"/>
                      </a:lnTo>
                      <a:lnTo>
                        <a:pt x="187" y="44"/>
                      </a:lnTo>
                      <a:lnTo>
                        <a:pt x="189" y="44"/>
                      </a:lnTo>
                      <a:lnTo>
                        <a:pt x="189" y="45"/>
                      </a:lnTo>
                      <a:lnTo>
                        <a:pt x="189" y="46"/>
                      </a:lnTo>
                      <a:lnTo>
                        <a:pt x="187" y="46"/>
                      </a:lnTo>
                      <a:lnTo>
                        <a:pt x="187" y="48"/>
                      </a:lnTo>
                      <a:lnTo>
                        <a:pt x="186" y="49"/>
                      </a:lnTo>
                      <a:lnTo>
                        <a:pt x="185" y="49"/>
                      </a:lnTo>
                      <a:lnTo>
                        <a:pt x="185" y="50"/>
                      </a:lnTo>
                      <a:lnTo>
                        <a:pt x="185" y="51"/>
                      </a:lnTo>
                      <a:lnTo>
                        <a:pt x="185" y="52"/>
                      </a:lnTo>
                      <a:lnTo>
                        <a:pt x="186" y="52"/>
                      </a:lnTo>
                      <a:lnTo>
                        <a:pt x="187" y="52"/>
                      </a:lnTo>
                      <a:lnTo>
                        <a:pt x="189" y="53"/>
                      </a:lnTo>
                      <a:lnTo>
                        <a:pt x="189" y="55"/>
                      </a:lnTo>
                      <a:lnTo>
                        <a:pt x="190" y="56"/>
                      </a:lnTo>
                      <a:lnTo>
                        <a:pt x="190" y="57"/>
                      </a:lnTo>
                      <a:lnTo>
                        <a:pt x="191" y="59"/>
                      </a:lnTo>
                      <a:lnTo>
                        <a:pt x="190" y="60"/>
                      </a:lnTo>
                      <a:lnTo>
                        <a:pt x="191" y="60"/>
                      </a:lnTo>
                      <a:lnTo>
                        <a:pt x="191" y="62"/>
                      </a:lnTo>
                      <a:lnTo>
                        <a:pt x="192" y="70"/>
                      </a:lnTo>
                      <a:lnTo>
                        <a:pt x="194" y="79"/>
                      </a:lnTo>
                      <a:lnTo>
                        <a:pt x="193" y="79"/>
                      </a:lnTo>
                      <a:lnTo>
                        <a:pt x="192" y="80"/>
                      </a:lnTo>
                      <a:lnTo>
                        <a:pt x="191" y="80"/>
                      </a:lnTo>
                      <a:lnTo>
                        <a:pt x="190" y="81"/>
                      </a:lnTo>
                      <a:lnTo>
                        <a:pt x="191" y="81"/>
                      </a:lnTo>
                      <a:lnTo>
                        <a:pt x="191" y="83"/>
                      </a:lnTo>
                      <a:lnTo>
                        <a:pt x="191" y="84"/>
                      </a:lnTo>
                      <a:lnTo>
                        <a:pt x="191" y="85"/>
                      </a:lnTo>
                      <a:lnTo>
                        <a:pt x="190" y="85"/>
                      </a:lnTo>
                      <a:lnTo>
                        <a:pt x="189" y="85"/>
                      </a:lnTo>
                      <a:lnTo>
                        <a:pt x="187" y="86"/>
                      </a:lnTo>
                      <a:lnTo>
                        <a:pt x="186" y="87"/>
                      </a:lnTo>
                      <a:lnTo>
                        <a:pt x="185" y="88"/>
                      </a:lnTo>
                      <a:lnTo>
                        <a:pt x="185" y="87"/>
                      </a:lnTo>
                      <a:lnTo>
                        <a:pt x="185" y="90"/>
                      </a:lnTo>
                      <a:lnTo>
                        <a:pt x="185" y="91"/>
                      </a:lnTo>
                      <a:lnTo>
                        <a:pt x="184" y="91"/>
                      </a:lnTo>
                      <a:lnTo>
                        <a:pt x="184" y="92"/>
                      </a:lnTo>
                      <a:lnTo>
                        <a:pt x="183" y="93"/>
                      </a:lnTo>
                      <a:lnTo>
                        <a:pt x="180" y="98"/>
                      </a:lnTo>
                      <a:lnTo>
                        <a:pt x="180" y="99"/>
                      </a:lnTo>
                      <a:lnTo>
                        <a:pt x="179" y="109"/>
                      </a:lnTo>
                      <a:lnTo>
                        <a:pt x="179" y="111"/>
                      </a:lnTo>
                      <a:lnTo>
                        <a:pt x="179" y="112"/>
                      </a:lnTo>
                      <a:lnTo>
                        <a:pt x="178" y="113"/>
                      </a:lnTo>
                      <a:lnTo>
                        <a:pt x="178" y="114"/>
                      </a:lnTo>
                      <a:lnTo>
                        <a:pt x="177" y="115"/>
                      </a:lnTo>
                      <a:lnTo>
                        <a:pt x="176" y="116"/>
                      </a:lnTo>
                      <a:lnTo>
                        <a:pt x="171" y="122"/>
                      </a:lnTo>
                      <a:lnTo>
                        <a:pt x="171" y="123"/>
                      </a:lnTo>
                      <a:lnTo>
                        <a:pt x="171" y="125"/>
                      </a:lnTo>
                      <a:lnTo>
                        <a:pt x="171" y="126"/>
                      </a:lnTo>
                      <a:lnTo>
                        <a:pt x="172" y="127"/>
                      </a:lnTo>
                      <a:lnTo>
                        <a:pt x="171" y="128"/>
                      </a:lnTo>
                      <a:lnTo>
                        <a:pt x="171" y="129"/>
                      </a:lnTo>
                      <a:lnTo>
                        <a:pt x="171" y="130"/>
                      </a:lnTo>
                      <a:lnTo>
                        <a:pt x="173" y="141"/>
                      </a:lnTo>
                      <a:lnTo>
                        <a:pt x="173" y="142"/>
                      </a:lnTo>
                      <a:lnTo>
                        <a:pt x="175" y="142"/>
                      </a:lnTo>
                      <a:lnTo>
                        <a:pt x="176" y="144"/>
                      </a:lnTo>
                      <a:lnTo>
                        <a:pt x="177" y="150"/>
                      </a:lnTo>
                      <a:lnTo>
                        <a:pt x="178" y="153"/>
                      </a:lnTo>
                      <a:lnTo>
                        <a:pt x="178" y="154"/>
                      </a:lnTo>
                      <a:lnTo>
                        <a:pt x="178" y="155"/>
                      </a:lnTo>
                      <a:lnTo>
                        <a:pt x="178" y="158"/>
                      </a:lnTo>
                      <a:lnTo>
                        <a:pt x="180" y="158"/>
                      </a:lnTo>
                      <a:lnTo>
                        <a:pt x="180" y="161"/>
                      </a:lnTo>
                      <a:lnTo>
                        <a:pt x="180" y="162"/>
                      </a:lnTo>
                      <a:lnTo>
                        <a:pt x="182" y="162"/>
                      </a:lnTo>
                      <a:lnTo>
                        <a:pt x="183" y="161"/>
                      </a:lnTo>
                      <a:lnTo>
                        <a:pt x="185" y="162"/>
                      </a:lnTo>
                      <a:lnTo>
                        <a:pt x="186" y="162"/>
                      </a:lnTo>
                      <a:lnTo>
                        <a:pt x="186" y="163"/>
                      </a:lnTo>
                      <a:lnTo>
                        <a:pt x="186" y="164"/>
                      </a:lnTo>
                      <a:lnTo>
                        <a:pt x="187" y="167"/>
                      </a:lnTo>
                      <a:lnTo>
                        <a:pt x="187" y="169"/>
                      </a:lnTo>
                      <a:lnTo>
                        <a:pt x="189" y="169"/>
                      </a:lnTo>
                      <a:lnTo>
                        <a:pt x="187" y="170"/>
                      </a:lnTo>
                      <a:lnTo>
                        <a:pt x="186" y="170"/>
                      </a:lnTo>
                      <a:lnTo>
                        <a:pt x="186" y="172"/>
                      </a:lnTo>
                      <a:lnTo>
                        <a:pt x="186" y="174"/>
                      </a:lnTo>
                      <a:lnTo>
                        <a:pt x="186" y="175"/>
                      </a:lnTo>
                      <a:lnTo>
                        <a:pt x="187" y="175"/>
                      </a:lnTo>
                      <a:lnTo>
                        <a:pt x="187" y="176"/>
                      </a:lnTo>
                      <a:lnTo>
                        <a:pt x="186" y="176"/>
                      </a:lnTo>
                      <a:lnTo>
                        <a:pt x="186" y="177"/>
                      </a:lnTo>
                      <a:lnTo>
                        <a:pt x="184" y="177"/>
                      </a:lnTo>
                      <a:lnTo>
                        <a:pt x="184" y="176"/>
                      </a:lnTo>
                      <a:lnTo>
                        <a:pt x="182" y="176"/>
                      </a:lnTo>
                      <a:lnTo>
                        <a:pt x="182" y="177"/>
                      </a:lnTo>
                      <a:lnTo>
                        <a:pt x="180" y="177"/>
                      </a:lnTo>
                      <a:lnTo>
                        <a:pt x="179" y="177"/>
                      </a:lnTo>
                      <a:lnTo>
                        <a:pt x="178" y="177"/>
                      </a:lnTo>
                      <a:lnTo>
                        <a:pt x="178" y="176"/>
                      </a:lnTo>
                      <a:lnTo>
                        <a:pt x="177" y="177"/>
                      </a:lnTo>
                      <a:lnTo>
                        <a:pt x="176" y="177"/>
                      </a:lnTo>
                      <a:lnTo>
                        <a:pt x="175" y="177"/>
                      </a:lnTo>
                      <a:lnTo>
                        <a:pt x="175" y="176"/>
                      </a:lnTo>
                      <a:lnTo>
                        <a:pt x="173" y="175"/>
                      </a:lnTo>
                      <a:lnTo>
                        <a:pt x="173" y="174"/>
                      </a:lnTo>
                      <a:lnTo>
                        <a:pt x="175" y="172"/>
                      </a:lnTo>
                      <a:lnTo>
                        <a:pt x="175" y="171"/>
                      </a:lnTo>
                      <a:lnTo>
                        <a:pt x="176" y="171"/>
                      </a:lnTo>
                      <a:lnTo>
                        <a:pt x="176" y="170"/>
                      </a:lnTo>
                      <a:lnTo>
                        <a:pt x="175" y="170"/>
                      </a:lnTo>
                      <a:lnTo>
                        <a:pt x="173" y="170"/>
                      </a:lnTo>
                      <a:lnTo>
                        <a:pt x="172" y="170"/>
                      </a:lnTo>
                      <a:lnTo>
                        <a:pt x="171" y="170"/>
                      </a:lnTo>
                      <a:lnTo>
                        <a:pt x="171" y="171"/>
                      </a:lnTo>
                      <a:lnTo>
                        <a:pt x="171" y="172"/>
                      </a:lnTo>
                      <a:lnTo>
                        <a:pt x="170" y="172"/>
                      </a:lnTo>
                      <a:lnTo>
                        <a:pt x="171" y="172"/>
                      </a:lnTo>
                      <a:lnTo>
                        <a:pt x="171" y="174"/>
                      </a:lnTo>
                      <a:lnTo>
                        <a:pt x="170" y="174"/>
                      </a:lnTo>
                      <a:lnTo>
                        <a:pt x="171" y="174"/>
                      </a:lnTo>
                      <a:lnTo>
                        <a:pt x="170" y="174"/>
                      </a:lnTo>
                      <a:lnTo>
                        <a:pt x="171" y="174"/>
                      </a:lnTo>
                      <a:lnTo>
                        <a:pt x="172" y="174"/>
                      </a:lnTo>
                      <a:lnTo>
                        <a:pt x="171" y="175"/>
                      </a:lnTo>
                      <a:lnTo>
                        <a:pt x="171" y="174"/>
                      </a:lnTo>
                      <a:lnTo>
                        <a:pt x="171" y="175"/>
                      </a:lnTo>
                      <a:lnTo>
                        <a:pt x="170" y="175"/>
                      </a:lnTo>
                      <a:lnTo>
                        <a:pt x="170" y="176"/>
                      </a:lnTo>
                      <a:lnTo>
                        <a:pt x="170" y="175"/>
                      </a:lnTo>
                      <a:lnTo>
                        <a:pt x="169" y="175"/>
                      </a:lnTo>
                      <a:lnTo>
                        <a:pt x="170" y="176"/>
                      </a:lnTo>
                      <a:lnTo>
                        <a:pt x="170" y="177"/>
                      </a:lnTo>
                      <a:lnTo>
                        <a:pt x="171" y="177"/>
                      </a:lnTo>
                      <a:lnTo>
                        <a:pt x="170" y="177"/>
                      </a:lnTo>
                      <a:lnTo>
                        <a:pt x="168" y="177"/>
                      </a:lnTo>
                      <a:lnTo>
                        <a:pt x="159" y="176"/>
                      </a:lnTo>
                      <a:lnTo>
                        <a:pt x="158" y="176"/>
                      </a:lnTo>
                      <a:lnTo>
                        <a:pt x="157" y="176"/>
                      </a:lnTo>
                      <a:lnTo>
                        <a:pt x="157" y="175"/>
                      </a:lnTo>
                      <a:lnTo>
                        <a:pt x="156" y="175"/>
                      </a:lnTo>
                      <a:lnTo>
                        <a:pt x="157" y="174"/>
                      </a:lnTo>
                      <a:lnTo>
                        <a:pt x="156" y="175"/>
                      </a:lnTo>
                      <a:lnTo>
                        <a:pt x="156" y="176"/>
                      </a:lnTo>
                      <a:lnTo>
                        <a:pt x="155" y="176"/>
                      </a:lnTo>
                      <a:lnTo>
                        <a:pt x="155" y="175"/>
                      </a:lnTo>
                      <a:lnTo>
                        <a:pt x="154" y="176"/>
                      </a:lnTo>
                      <a:lnTo>
                        <a:pt x="152" y="175"/>
                      </a:lnTo>
                      <a:lnTo>
                        <a:pt x="151" y="175"/>
                      </a:lnTo>
                      <a:lnTo>
                        <a:pt x="149" y="175"/>
                      </a:lnTo>
                      <a:lnTo>
                        <a:pt x="148" y="174"/>
                      </a:lnTo>
                      <a:lnTo>
                        <a:pt x="149" y="174"/>
                      </a:lnTo>
                      <a:lnTo>
                        <a:pt x="150" y="172"/>
                      </a:lnTo>
                      <a:lnTo>
                        <a:pt x="150" y="174"/>
                      </a:lnTo>
                      <a:lnTo>
                        <a:pt x="151" y="174"/>
                      </a:lnTo>
                      <a:lnTo>
                        <a:pt x="151" y="172"/>
                      </a:lnTo>
                      <a:lnTo>
                        <a:pt x="152" y="174"/>
                      </a:lnTo>
                      <a:lnTo>
                        <a:pt x="154" y="174"/>
                      </a:lnTo>
                      <a:lnTo>
                        <a:pt x="155" y="174"/>
                      </a:lnTo>
                      <a:lnTo>
                        <a:pt x="156" y="174"/>
                      </a:lnTo>
                      <a:lnTo>
                        <a:pt x="157" y="172"/>
                      </a:lnTo>
                      <a:lnTo>
                        <a:pt x="156" y="172"/>
                      </a:lnTo>
                      <a:lnTo>
                        <a:pt x="156" y="171"/>
                      </a:lnTo>
                      <a:lnTo>
                        <a:pt x="156" y="170"/>
                      </a:lnTo>
                      <a:lnTo>
                        <a:pt x="155" y="170"/>
                      </a:lnTo>
                      <a:lnTo>
                        <a:pt x="154" y="170"/>
                      </a:lnTo>
                      <a:lnTo>
                        <a:pt x="155" y="171"/>
                      </a:lnTo>
                      <a:lnTo>
                        <a:pt x="156" y="172"/>
                      </a:lnTo>
                      <a:lnTo>
                        <a:pt x="155" y="172"/>
                      </a:lnTo>
                      <a:lnTo>
                        <a:pt x="154" y="172"/>
                      </a:lnTo>
                      <a:lnTo>
                        <a:pt x="152" y="172"/>
                      </a:lnTo>
                      <a:lnTo>
                        <a:pt x="151" y="171"/>
                      </a:lnTo>
                      <a:lnTo>
                        <a:pt x="151" y="170"/>
                      </a:lnTo>
                      <a:lnTo>
                        <a:pt x="150" y="170"/>
                      </a:lnTo>
                      <a:lnTo>
                        <a:pt x="150" y="171"/>
                      </a:lnTo>
                      <a:lnTo>
                        <a:pt x="149" y="171"/>
                      </a:lnTo>
                      <a:lnTo>
                        <a:pt x="148" y="171"/>
                      </a:lnTo>
                      <a:lnTo>
                        <a:pt x="148" y="172"/>
                      </a:lnTo>
                      <a:lnTo>
                        <a:pt x="149" y="172"/>
                      </a:lnTo>
                      <a:lnTo>
                        <a:pt x="150" y="172"/>
                      </a:lnTo>
                      <a:lnTo>
                        <a:pt x="149" y="172"/>
                      </a:lnTo>
                      <a:lnTo>
                        <a:pt x="149" y="174"/>
                      </a:lnTo>
                      <a:lnTo>
                        <a:pt x="148" y="174"/>
                      </a:lnTo>
                      <a:lnTo>
                        <a:pt x="148" y="172"/>
                      </a:lnTo>
                      <a:lnTo>
                        <a:pt x="147" y="172"/>
                      </a:lnTo>
                      <a:lnTo>
                        <a:pt x="146" y="172"/>
                      </a:lnTo>
                      <a:lnTo>
                        <a:pt x="144" y="172"/>
                      </a:lnTo>
                      <a:lnTo>
                        <a:pt x="143" y="172"/>
                      </a:lnTo>
                      <a:lnTo>
                        <a:pt x="142" y="172"/>
                      </a:lnTo>
                      <a:lnTo>
                        <a:pt x="141" y="172"/>
                      </a:lnTo>
                      <a:lnTo>
                        <a:pt x="140" y="172"/>
                      </a:lnTo>
                      <a:lnTo>
                        <a:pt x="139" y="172"/>
                      </a:lnTo>
                      <a:lnTo>
                        <a:pt x="137" y="172"/>
                      </a:lnTo>
                      <a:lnTo>
                        <a:pt x="136" y="174"/>
                      </a:lnTo>
                      <a:lnTo>
                        <a:pt x="136" y="172"/>
                      </a:lnTo>
                      <a:lnTo>
                        <a:pt x="135" y="172"/>
                      </a:lnTo>
                      <a:lnTo>
                        <a:pt x="134" y="172"/>
                      </a:lnTo>
                      <a:lnTo>
                        <a:pt x="133" y="172"/>
                      </a:lnTo>
                      <a:lnTo>
                        <a:pt x="133" y="174"/>
                      </a:lnTo>
                      <a:lnTo>
                        <a:pt x="134" y="174"/>
                      </a:lnTo>
                      <a:lnTo>
                        <a:pt x="133" y="174"/>
                      </a:lnTo>
                      <a:lnTo>
                        <a:pt x="130" y="174"/>
                      </a:lnTo>
                      <a:lnTo>
                        <a:pt x="130" y="172"/>
                      </a:lnTo>
                      <a:lnTo>
                        <a:pt x="129" y="172"/>
                      </a:lnTo>
                      <a:lnTo>
                        <a:pt x="129" y="174"/>
                      </a:lnTo>
                      <a:lnTo>
                        <a:pt x="130" y="174"/>
                      </a:lnTo>
                      <a:lnTo>
                        <a:pt x="129" y="174"/>
                      </a:lnTo>
                      <a:lnTo>
                        <a:pt x="128" y="175"/>
                      </a:lnTo>
                      <a:lnTo>
                        <a:pt x="128" y="174"/>
                      </a:lnTo>
                      <a:lnTo>
                        <a:pt x="127" y="174"/>
                      </a:lnTo>
                      <a:lnTo>
                        <a:pt x="127" y="175"/>
                      </a:lnTo>
                      <a:lnTo>
                        <a:pt x="126" y="175"/>
                      </a:lnTo>
                      <a:lnTo>
                        <a:pt x="125" y="174"/>
                      </a:lnTo>
                      <a:lnTo>
                        <a:pt x="126" y="174"/>
                      </a:lnTo>
                      <a:lnTo>
                        <a:pt x="127" y="174"/>
                      </a:lnTo>
                      <a:lnTo>
                        <a:pt x="126" y="174"/>
                      </a:lnTo>
                      <a:lnTo>
                        <a:pt x="126" y="172"/>
                      </a:lnTo>
                      <a:lnTo>
                        <a:pt x="127" y="172"/>
                      </a:lnTo>
                      <a:lnTo>
                        <a:pt x="126" y="172"/>
                      </a:lnTo>
                      <a:lnTo>
                        <a:pt x="126" y="174"/>
                      </a:lnTo>
                      <a:lnTo>
                        <a:pt x="125" y="174"/>
                      </a:lnTo>
                      <a:lnTo>
                        <a:pt x="123" y="174"/>
                      </a:lnTo>
                      <a:lnTo>
                        <a:pt x="125" y="174"/>
                      </a:lnTo>
                      <a:lnTo>
                        <a:pt x="125" y="175"/>
                      </a:lnTo>
                      <a:lnTo>
                        <a:pt x="123" y="175"/>
                      </a:lnTo>
                      <a:lnTo>
                        <a:pt x="122" y="176"/>
                      </a:lnTo>
                      <a:lnTo>
                        <a:pt x="122" y="177"/>
                      </a:lnTo>
                      <a:lnTo>
                        <a:pt x="123" y="177"/>
                      </a:lnTo>
                      <a:lnTo>
                        <a:pt x="125" y="177"/>
                      </a:lnTo>
                      <a:lnTo>
                        <a:pt x="125" y="176"/>
                      </a:lnTo>
                      <a:lnTo>
                        <a:pt x="126" y="176"/>
                      </a:lnTo>
                      <a:lnTo>
                        <a:pt x="127" y="176"/>
                      </a:lnTo>
                      <a:lnTo>
                        <a:pt x="127" y="175"/>
                      </a:lnTo>
                      <a:lnTo>
                        <a:pt x="128" y="175"/>
                      </a:lnTo>
                      <a:lnTo>
                        <a:pt x="129" y="176"/>
                      </a:lnTo>
                      <a:lnTo>
                        <a:pt x="130" y="176"/>
                      </a:lnTo>
                      <a:lnTo>
                        <a:pt x="129" y="176"/>
                      </a:lnTo>
                      <a:lnTo>
                        <a:pt x="129" y="175"/>
                      </a:lnTo>
                      <a:lnTo>
                        <a:pt x="130" y="175"/>
                      </a:lnTo>
                      <a:lnTo>
                        <a:pt x="132" y="175"/>
                      </a:lnTo>
                      <a:lnTo>
                        <a:pt x="134" y="175"/>
                      </a:lnTo>
                      <a:lnTo>
                        <a:pt x="135" y="175"/>
                      </a:lnTo>
                      <a:lnTo>
                        <a:pt x="135" y="174"/>
                      </a:lnTo>
                      <a:lnTo>
                        <a:pt x="136" y="174"/>
                      </a:lnTo>
                      <a:lnTo>
                        <a:pt x="137" y="175"/>
                      </a:lnTo>
                      <a:lnTo>
                        <a:pt x="137" y="174"/>
                      </a:lnTo>
                      <a:lnTo>
                        <a:pt x="139" y="174"/>
                      </a:lnTo>
                      <a:lnTo>
                        <a:pt x="140" y="174"/>
                      </a:lnTo>
                      <a:lnTo>
                        <a:pt x="141" y="174"/>
                      </a:lnTo>
                      <a:lnTo>
                        <a:pt x="142" y="172"/>
                      </a:lnTo>
                      <a:lnTo>
                        <a:pt x="146" y="172"/>
                      </a:lnTo>
                      <a:lnTo>
                        <a:pt x="147" y="174"/>
                      </a:lnTo>
                      <a:lnTo>
                        <a:pt x="146" y="174"/>
                      </a:lnTo>
                      <a:lnTo>
                        <a:pt x="148" y="175"/>
                      </a:lnTo>
                      <a:lnTo>
                        <a:pt x="139" y="175"/>
                      </a:lnTo>
                      <a:lnTo>
                        <a:pt x="128" y="176"/>
                      </a:lnTo>
                      <a:lnTo>
                        <a:pt x="123" y="177"/>
                      </a:lnTo>
                      <a:lnTo>
                        <a:pt x="120" y="178"/>
                      </a:lnTo>
                      <a:lnTo>
                        <a:pt x="119" y="178"/>
                      </a:lnTo>
                      <a:lnTo>
                        <a:pt x="118" y="178"/>
                      </a:lnTo>
                      <a:lnTo>
                        <a:pt x="116" y="178"/>
                      </a:lnTo>
                      <a:lnTo>
                        <a:pt x="116" y="177"/>
                      </a:lnTo>
                      <a:lnTo>
                        <a:pt x="118" y="177"/>
                      </a:lnTo>
                      <a:lnTo>
                        <a:pt x="116" y="177"/>
                      </a:lnTo>
                      <a:lnTo>
                        <a:pt x="115" y="176"/>
                      </a:lnTo>
                      <a:lnTo>
                        <a:pt x="116" y="176"/>
                      </a:lnTo>
                      <a:lnTo>
                        <a:pt x="115" y="175"/>
                      </a:lnTo>
                      <a:lnTo>
                        <a:pt x="114" y="176"/>
                      </a:lnTo>
                      <a:lnTo>
                        <a:pt x="113" y="176"/>
                      </a:lnTo>
                      <a:lnTo>
                        <a:pt x="112" y="176"/>
                      </a:lnTo>
                      <a:lnTo>
                        <a:pt x="111" y="176"/>
                      </a:lnTo>
                      <a:lnTo>
                        <a:pt x="109" y="175"/>
                      </a:lnTo>
                      <a:lnTo>
                        <a:pt x="109" y="176"/>
                      </a:lnTo>
                      <a:lnTo>
                        <a:pt x="108" y="175"/>
                      </a:lnTo>
                      <a:lnTo>
                        <a:pt x="108" y="176"/>
                      </a:lnTo>
                      <a:lnTo>
                        <a:pt x="107" y="176"/>
                      </a:lnTo>
                      <a:lnTo>
                        <a:pt x="107" y="175"/>
                      </a:lnTo>
                      <a:lnTo>
                        <a:pt x="106" y="175"/>
                      </a:lnTo>
                      <a:lnTo>
                        <a:pt x="106" y="176"/>
                      </a:lnTo>
                      <a:lnTo>
                        <a:pt x="105" y="176"/>
                      </a:lnTo>
                      <a:lnTo>
                        <a:pt x="106" y="176"/>
                      </a:lnTo>
                      <a:lnTo>
                        <a:pt x="107" y="176"/>
                      </a:lnTo>
                      <a:lnTo>
                        <a:pt x="106" y="177"/>
                      </a:lnTo>
                      <a:lnTo>
                        <a:pt x="105" y="177"/>
                      </a:lnTo>
                      <a:lnTo>
                        <a:pt x="105" y="178"/>
                      </a:lnTo>
                      <a:lnTo>
                        <a:pt x="104" y="177"/>
                      </a:lnTo>
                      <a:lnTo>
                        <a:pt x="102" y="177"/>
                      </a:lnTo>
                      <a:lnTo>
                        <a:pt x="104" y="178"/>
                      </a:lnTo>
                      <a:lnTo>
                        <a:pt x="105" y="178"/>
                      </a:lnTo>
                      <a:lnTo>
                        <a:pt x="106" y="178"/>
                      </a:lnTo>
                      <a:lnTo>
                        <a:pt x="107" y="178"/>
                      </a:lnTo>
                      <a:lnTo>
                        <a:pt x="106" y="178"/>
                      </a:lnTo>
                      <a:lnTo>
                        <a:pt x="105" y="178"/>
                      </a:lnTo>
                      <a:lnTo>
                        <a:pt x="105" y="177"/>
                      </a:lnTo>
                      <a:lnTo>
                        <a:pt x="106" y="177"/>
                      </a:lnTo>
                      <a:lnTo>
                        <a:pt x="107" y="177"/>
                      </a:lnTo>
                      <a:lnTo>
                        <a:pt x="108" y="177"/>
                      </a:lnTo>
                      <a:lnTo>
                        <a:pt x="109" y="177"/>
                      </a:lnTo>
                      <a:lnTo>
                        <a:pt x="111" y="177"/>
                      </a:lnTo>
                      <a:lnTo>
                        <a:pt x="109" y="177"/>
                      </a:lnTo>
                      <a:lnTo>
                        <a:pt x="109" y="176"/>
                      </a:lnTo>
                      <a:lnTo>
                        <a:pt x="108" y="176"/>
                      </a:lnTo>
                      <a:lnTo>
                        <a:pt x="109" y="176"/>
                      </a:lnTo>
                      <a:lnTo>
                        <a:pt x="111" y="176"/>
                      </a:lnTo>
                      <a:lnTo>
                        <a:pt x="112" y="177"/>
                      </a:lnTo>
                      <a:lnTo>
                        <a:pt x="113" y="177"/>
                      </a:lnTo>
                      <a:lnTo>
                        <a:pt x="113" y="176"/>
                      </a:lnTo>
                      <a:lnTo>
                        <a:pt x="114" y="176"/>
                      </a:lnTo>
                      <a:lnTo>
                        <a:pt x="115" y="176"/>
                      </a:lnTo>
                      <a:lnTo>
                        <a:pt x="115" y="177"/>
                      </a:lnTo>
                      <a:lnTo>
                        <a:pt x="115" y="178"/>
                      </a:lnTo>
                      <a:lnTo>
                        <a:pt x="116" y="178"/>
                      </a:lnTo>
                      <a:lnTo>
                        <a:pt x="108" y="178"/>
                      </a:lnTo>
                      <a:lnTo>
                        <a:pt x="107" y="179"/>
                      </a:lnTo>
                      <a:lnTo>
                        <a:pt x="100" y="179"/>
                      </a:lnTo>
                      <a:lnTo>
                        <a:pt x="99" y="179"/>
                      </a:lnTo>
                      <a:lnTo>
                        <a:pt x="99" y="178"/>
                      </a:lnTo>
                      <a:lnTo>
                        <a:pt x="98" y="179"/>
                      </a:lnTo>
                      <a:lnTo>
                        <a:pt x="99" y="179"/>
                      </a:lnTo>
                      <a:lnTo>
                        <a:pt x="97" y="181"/>
                      </a:lnTo>
                      <a:lnTo>
                        <a:pt x="90" y="182"/>
                      </a:lnTo>
                      <a:lnTo>
                        <a:pt x="88" y="182"/>
                      </a:lnTo>
                      <a:lnTo>
                        <a:pt x="85" y="183"/>
                      </a:lnTo>
                      <a:lnTo>
                        <a:pt x="84" y="183"/>
                      </a:lnTo>
                      <a:lnTo>
                        <a:pt x="83" y="184"/>
                      </a:lnTo>
                      <a:lnTo>
                        <a:pt x="80" y="185"/>
                      </a:lnTo>
                      <a:lnTo>
                        <a:pt x="71" y="189"/>
                      </a:lnTo>
                      <a:lnTo>
                        <a:pt x="71" y="190"/>
                      </a:lnTo>
                      <a:lnTo>
                        <a:pt x="68" y="190"/>
                      </a:lnTo>
                      <a:lnTo>
                        <a:pt x="66" y="190"/>
                      </a:lnTo>
                      <a:lnTo>
                        <a:pt x="66" y="191"/>
                      </a:lnTo>
                      <a:lnTo>
                        <a:pt x="65" y="191"/>
                      </a:lnTo>
                      <a:lnTo>
                        <a:pt x="64" y="191"/>
                      </a:lnTo>
                      <a:lnTo>
                        <a:pt x="61" y="193"/>
                      </a:lnTo>
                      <a:lnTo>
                        <a:pt x="57" y="193"/>
                      </a:lnTo>
                      <a:lnTo>
                        <a:pt x="56" y="193"/>
                      </a:lnTo>
                      <a:lnTo>
                        <a:pt x="55" y="195"/>
                      </a:lnTo>
                      <a:lnTo>
                        <a:pt x="52" y="197"/>
                      </a:lnTo>
                      <a:lnTo>
                        <a:pt x="51" y="198"/>
                      </a:lnTo>
                      <a:lnTo>
                        <a:pt x="50" y="198"/>
                      </a:lnTo>
                      <a:lnTo>
                        <a:pt x="48" y="198"/>
                      </a:lnTo>
                      <a:lnTo>
                        <a:pt x="45" y="199"/>
                      </a:lnTo>
                      <a:lnTo>
                        <a:pt x="44" y="200"/>
                      </a:lnTo>
                      <a:lnTo>
                        <a:pt x="43" y="200"/>
                      </a:lnTo>
                      <a:lnTo>
                        <a:pt x="42" y="202"/>
                      </a:lnTo>
                      <a:lnTo>
                        <a:pt x="40" y="204"/>
                      </a:lnTo>
                      <a:lnTo>
                        <a:pt x="38" y="204"/>
                      </a:lnTo>
                      <a:lnTo>
                        <a:pt x="37" y="204"/>
                      </a:lnTo>
                      <a:lnTo>
                        <a:pt x="36" y="204"/>
                      </a:lnTo>
                      <a:lnTo>
                        <a:pt x="35" y="203"/>
                      </a:lnTo>
                      <a:lnTo>
                        <a:pt x="35" y="202"/>
                      </a:lnTo>
                      <a:lnTo>
                        <a:pt x="35" y="200"/>
                      </a:lnTo>
                      <a:lnTo>
                        <a:pt x="35" y="199"/>
                      </a:lnTo>
                      <a:lnTo>
                        <a:pt x="35" y="192"/>
                      </a:lnTo>
                      <a:lnTo>
                        <a:pt x="35" y="191"/>
                      </a:lnTo>
                      <a:lnTo>
                        <a:pt x="34" y="190"/>
                      </a:lnTo>
                      <a:lnTo>
                        <a:pt x="34" y="189"/>
                      </a:lnTo>
                      <a:lnTo>
                        <a:pt x="34" y="188"/>
                      </a:lnTo>
                      <a:lnTo>
                        <a:pt x="34" y="186"/>
                      </a:lnTo>
                      <a:lnTo>
                        <a:pt x="35" y="186"/>
                      </a:lnTo>
                      <a:lnTo>
                        <a:pt x="35" y="185"/>
                      </a:lnTo>
                      <a:lnTo>
                        <a:pt x="35" y="184"/>
                      </a:lnTo>
                      <a:lnTo>
                        <a:pt x="35" y="183"/>
                      </a:lnTo>
                      <a:lnTo>
                        <a:pt x="34" y="182"/>
                      </a:lnTo>
                      <a:lnTo>
                        <a:pt x="34" y="181"/>
                      </a:lnTo>
                      <a:lnTo>
                        <a:pt x="35" y="181"/>
                      </a:lnTo>
                      <a:lnTo>
                        <a:pt x="36" y="181"/>
                      </a:lnTo>
                      <a:lnTo>
                        <a:pt x="37" y="179"/>
                      </a:lnTo>
                      <a:lnTo>
                        <a:pt x="37" y="178"/>
                      </a:lnTo>
                      <a:lnTo>
                        <a:pt x="37" y="176"/>
                      </a:lnTo>
                      <a:lnTo>
                        <a:pt x="37" y="175"/>
                      </a:lnTo>
                      <a:lnTo>
                        <a:pt x="38" y="175"/>
                      </a:lnTo>
                      <a:lnTo>
                        <a:pt x="38" y="174"/>
                      </a:lnTo>
                      <a:lnTo>
                        <a:pt x="38" y="175"/>
                      </a:lnTo>
                      <a:lnTo>
                        <a:pt x="40" y="175"/>
                      </a:lnTo>
                      <a:lnTo>
                        <a:pt x="40" y="174"/>
                      </a:lnTo>
                      <a:lnTo>
                        <a:pt x="40" y="172"/>
                      </a:lnTo>
                      <a:lnTo>
                        <a:pt x="40" y="171"/>
                      </a:lnTo>
                      <a:lnTo>
                        <a:pt x="38" y="171"/>
                      </a:lnTo>
                      <a:lnTo>
                        <a:pt x="38" y="170"/>
                      </a:lnTo>
                      <a:lnTo>
                        <a:pt x="38" y="169"/>
                      </a:lnTo>
                      <a:lnTo>
                        <a:pt x="38" y="170"/>
                      </a:lnTo>
                      <a:lnTo>
                        <a:pt x="38" y="169"/>
                      </a:lnTo>
                      <a:lnTo>
                        <a:pt x="38" y="168"/>
                      </a:lnTo>
                      <a:lnTo>
                        <a:pt x="40" y="168"/>
                      </a:lnTo>
                      <a:lnTo>
                        <a:pt x="40" y="167"/>
                      </a:lnTo>
                      <a:lnTo>
                        <a:pt x="40" y="165"/>
                      </a:lnTo>
                      <a:lnTo>
                        <a:pt x="40" y="164"/>
                      </a:lnTo>
                      <a:lnTo>
                        <a:pt x="40" y="163"/>
                      </a:lnTo>
                      <a:lnTo>
                        <a:pt x="38" y="163"/>
                      </a:lnTo>
                      <a:lnTo>
                        <a:pt x="38" y="160"/>
                      </a:lnTo>
                      <a:lnTo>
                        <a:pt x="38" y="158"/>
                      </a:lnTo>
                      <a:lnTo>
                        <a:pt x="38" y="157"/>
                      </a:lnTo>
                      <a:lnTo>
                        <a:pt x="38" y="156"/>
                      </a:lnTo>
                      <a:lnTo>
                        <a:pt x="37" y="156"/>
                      </a:lnTo>
                      <a:lnTo>
                        <a:pt x="37" y="157"/>
                      </a:lnTo>
                      <a:lnTo>
                        <a:pt x="36" y="157"/>
                      </a:lnTo>
                      <a:lnTo>
                        <a:pt x="35" y="156"/>
                      </a:lnTo>
                      <a:lnTo>
                        <a:pt x="35" y="157"/>
                      </a:lnTo>
                      <a:lnTo>
                        <a:pt x="34" y="156"/>
                      </a:lnTo>
                      <a:lnTo>
                        <a:pt x="34" y="155"/>
                      </a:lnTo>
                      <a:lnTo>
                        <a:pt x="33" y="155"/>
                      </a:lnTo>
                      <a:lnTo>
                        <a:pt x="31" y="155"/>
                      </a:lnTo>
                      <a:lnTo>
                        <a:pt x="31" y="154"/>
                      </a:lnTo>
                      <a:lnTo>
                        <a:pt x="30" y="154"/>
                      </a:lnTo>
                      <a:lnTo>
                        <a:pt x="30" y="155"/>
                      </a:lnTo>
                      <a:lnTo>
                        <a:pt x="29" y="155"/>
                      </a:lnTo>
                      <a:lnTo>
                        <a:pt x="29" y="154"/>
                      </a:lnTo>
                      <a:lnTo>
                        <a:pt x="28" y="154"/>
                      </a:lnTo>
                      <a:lnTo>
                        <a:pt x="27" y="153"/>
                      </a:lnTo>
                      <a:lnTo>
                        <a:pt x="27" y="151"/>
                      </a:lnTo>
                      <a:lnTo>
                        <a:pt x="27" y="150"/>
                      </a:lnTo>
                      <a:lnTo>
                        <a:pt x="27" y="149"/>
                      </a:lnTo>
                      <a:lnTo>
                        <a:pt x="26" y="149"/>
                      </a:lnTo>
                      <a:lnTo>
                        <a:pt x="24" y="149"/>
                      </a:lnTo>
                      <a:lnTo>
                        <a:pt x="24" y="148"/>
                      </a:lnTo>
                      <a:lnTo>
                        <a:pt x="24" y="147"/>
                      </a:lnTo>
                      <a:lnTo>
                        <a:pt x="26" y="146"/>
                      </a:lnTo>
                      <a:lnTo>
                        <a:pt x="24" y="144"/>
                      </a:lnTo>
                      <a:lnTo>
                        <a:pt x="23" y="143"/>
                      </a:lnTo>
                      <a:lnTo>
                        <a:pt x="22" y="143"/>
                      </a:lnTo>
                      <a:lnTo>
                        <a:pt x="20" y="143"/>
                      </a:lnTo>
                      <a:lnTo>
                        <a:pt x="20" y="142"/>
                      </a:lnTo>
                      <a:lnTo>
                        <a:pt x="19" y="142"/>
                      </a:lnTo>
                      <a:lnTo>
                        <a:pt x="16" y="142"/>
                      </a:lnTo>
                      <a:lnTo>
                        <a:pt x="16" y="143"/>
                      </a:lnTo>
                      <a:lnTo>
                        <a:pt x="15" y="143"/>
                      </a:lnTo>
                      <a:lnTo>
                        <a:pt x="14" y="143"/>
                      </a:lnTo>
                      <a:lnTo>
                        <a:pt x="14" y="142"/>
                      </a:lnTo>
                      <a:lnTo>
                        <a:pt x="12" y="142"/>
                      </a:lnTo>
                      <a:lnTo>
                        <a:pt x="11" y="142"/>
                      </a:lnTo>
                      <a:lnTo>
                        <a:pt x="11" y="141"/>
                      </a:lnTo>
                      <a:lnTo>
                        <a:pt x="9" y="141"/>
                      </a:lnTo>
                      <a:lnTo>
                        <a:pt x="8" y="141"/>
                      </a:lnTo>
                      <a:lnTo>
                        <a:pt x="7" y="141"/>
                      </a:lnTo>
                      <a:lnTo>
                        <a:pt x="7" y="140"/>
                      </a:lnTo>
                      <a:lnTo>
                        <a:pt x="7" y="139"/>
                      </a:lnTo>
                      <a:lnTo>
                        <a:pt x="7" y="137"/>
                      </a:lnTo>
                      <a:lnTo>
                        <a:pt x="6" y="137"/>
                      </a:lnTo>
                      <a:lnTo>
                        <a:pt x="6" y="136"/>
                      </a:lnTo>
                      <a:lnTo>
                        <a:pt x="5" y="137"/>
                      </a:lnTo>
                      <a:lnTo>
                        <a:pt x="5" y="139"/>
                      </a:lnTo>
                      <a:lnTo>
                        <a:pt x="4" y="139"/>
                      </a:lnTo>
                      <a:lnTo>
                        <a:pt x="2" y="137"/>
                      </a:lnTo>
                      <a:lnTo>
                        <a:pt x="2" y="136"/>
                      </a:lnTo>
                      <a:lnTo>
                        <a:pt x="1" y="136"/>
                      </a:lnTo>
                      <a:lnTo>
                        <a:pt x="0" y="136"/>
                      </a:lnTo>
                      <a:lnTo>
                        <a:pt x="1" y="135"/>
                      </a:lnTo>
                      <a:lnTo>
                        <a:pt x="2" y="135"/>
                      </a:lnTo>
                      <a:lnTo>
                        <a:pt x="2" y="134"/>
                      </a:lnTo>
                      <a:lnTo>
                        <a:pt x="4" y="134"/>
                      </a:lnTo>
                      <a:lnTo>
                        <a:pt x="6" y="132"/>
                      </a:lnTo>
                      <a:lnTo>
                        <a:pt x="9" y="128"/>
                      </a:lnTo>
                      <a:lnTo>
                        <a:pt x="9" y="127"/>
                      </a:lnTo>
                      <a:lnTo>
                        <a:pt x="11" y="126"/>
                      </a:lnTo>
                      <a:lnTo>
                        <a:pt x="11" y="125"/>
                      </a:lnTo>
                      <a:lnTo>
                        <a:pt x="9" y="125"/>
                      </a:lnTo>
                      <a:lnTo>
                        <a:pt x="9" y="123"/>
                      </a:lnTo>
                      <a:lnTo>
                        <a:pt x="9" y="122"/>
                      </a:lnTo>
                      <a:lnTo>
                        <a:pt x="9" y="121"/>
                      </a:lnTo>
                      <a:lnTo>
                        <a:pt x="11" y="121"/>
                      </a:lnTo>
                      <a:lnTo>
                        <a:pt x="11" y="120"/>
                      </a:lnTo>
                      <a:lnTo>
                        <a:pt x="11" y="116"/>
                      </a:lnTo>
                      <a:lnTo>
                        <a:pt x="11" y="115"/>
                      </a:lnTo>
                      <a:lnTo>
                        <a:pt x="9" y="115"/>
                      </a:lnTo>
                      <a:lnTo>
                        <a:pt x="9" y="114"/>
                      </a:lnTo>
                      <a:lnTo>
                        <a:pt x="9" y="113"/>
                      </a:lnTo>
                      <a:lnTo>
                        <a:pt x="8" y="113"/>
                      </a:lnTo>
                      <a:lnTo>
                        <a:pt x="8" y="112"/>
                      </a:lnTo>
                      <a:lnTo>
                        <a:pt x="8" y="111"/>
                      </a:lnTo>
                      <a:lnTo>
                        <a:pt x="7" y="111"/>
                      </a:lnTo>
                      <a:lnTo>
                        <a:pt x="7" y="109"/>
                      </a:lnTo>
                      <a:lnTo>
                        <a:pt x="7" y="106"/>
                      </a:lnTo>
                      <a:lnTo>
                        <a:pt x="6" y="105"/>
                      </a:lnTo>
                      <a:lnTo>
                        <a:pt x="6" y="104"/>
                      </a:lnTo>
                      <a:lnTo>
                        <a:pt x="5" y="102"/>
                      </a:lnTo>
                      <a:lnTo>
                        <a:pt x="6" y="101"/>
                      </a:lnTo>
                      <a:lnTo>
                        <a:pt x="7" y="100"/>
                      </a:lnTo>
                      <a:lnTo>
                        <a:pt x="7" y="101"/>
                      </a:lnTo>
                      <a:lnTo>
                        <a:pt x="8" y="101"/>
                      </a:lnTo>
                      <a:lnTo>
                        <a:pt x="9" y="101"/>
                      </a:lnTo>
                      <a:lnTo>
                        <a:pt x="11" y="101"/>
                      </a:lnTo>
                      <a:lnTo>
                        <a:pt x="12" y="102"/>
                      </a:lnTo>
                      <a:lnTo>
                        <a:pt x="13" y="102"/>
                      </a:lnTo>
                      <a:lnTo>
                        <a:pt x="13" y="101"/>
                      </a:lnTo>
                      <a:lnTo>
                        <a:pt x="13" y="100"/>
                      </a:lnTo>
                      <a:lnTo>
                        <a:pt x="14" y="100"/>
                      </a:lnTo>
                      <a:lnTo>
                        <a:pt x="14" y="99"/>
                      </a:lnTo>
                      <a:lnTo>
                        <a:pt x="15" y="99"/>
                      </a:lnTo>
                      <a:lnTo>
                        <a:pt x="14" y="99"/>
                      </a:lnTo>
                      <a:lnTo>
                        <a:pt x="15" y="98"/>
                      </a:lnTo>
                      <a:lnTo>
                        <a:pt x="15" y="97"/>
                      </a:lnTo>
                      <a:lnTo>
                        <a:pt x="16" y="95"/>
                      </a:lnTo>
                      <a:lnTo>
                        <a:pt x="16" y="94"/>
                      </a:lnTo>
                      <a:lnTo>
                        <a:pt x="15" y="93"/>
                      </a:lnTo>
                      <a:lnTo>
                        <a:pt x="15" y="92"/>
                      </a:lnTo>
                      <a:lnTo>
                        <a:pt x="18" y="90"/>
                      </a:lnTo>
                      <a:lnTo>
                        <a:pt x="18" y="88"/>
                      </a:lnTo>
                      <a:lnTo>
                        <a:pt x="18" y="87"/>
                      </a:lnTo>
                      <a:lnTo>
                        <a:pt x="19" y="87"/>
                      </a:lnTo>
                      <a:lnTo>
                        <a:pt x="20" y="87"/>
                      </a:lnTo>
                      <a:lnTo>
                        <a:pt x="21" y="87"/>
                      </a:lnTo>
                      <a:lnTo>
                        <a:pt x="20" y="86"/>
                      </a:lnTo>
                      <a:lnTo>
                        <a:pt x="19" y="85"/>
                      </a:lnTo>
                      <a:lnTo>
                        <a:pt x="19" y="84"/>
                      </a:lnTo>
                      <a:lnTo>
                        <a:pt x="19" y="83"/>
                      </a:lnTo>
                      <a:lnTo>
                        <a:pt x="20" y="83"/>
                      </a:lnTo>
                      <a:lnTo>
                        <a:pt x="19" y="83"/>
                      </a:lnTo>
                      <a:lnTo>
                        <a:pt x="18" y="83"/>
                      </a:lnTo>
                      <a:lnTo>
                        <a:pt x="16" y="83"/>
                      </a:lnTo>
                      <a:lnTo>
                        <a:pt x="14" y="83"/>
                      </a:lnTo>
                      <a:lnTo>
                        <a:pt x="11" y="80"/>
                      </a:lnTo>
                      <a:lnTo>
                        <a:pt x="12" y="79"/>
                      </a:lnTo>
                      <a:lnTo>
                        <a:pt x="12" y="78"/>
                      </a:lnTo>
                      <a:lnTo>
                        <a:pt x="12" y="76"/>
                      </a:lnTo>
                      <a:lnTo>
                        <a:pt x="12" y="74"/>
                      </a:lnTo>
                      <a:lnTo>
                        <a:pt x="12" y="73"/>
                      </a:lnTo>
                      <a:lnTo>
                        <a:pt x="13" y="72"/>
                      </a:lnTo>
                      <a:lnTo>
                        <a:pt x="14" y="72"/>
                      </a:lnTo>
                      <a:lnTo>
                        <a:pt x="15" y="72"/>
                      </a:lnTo>
                      <a:lnTo>
                        <a:pt x="16" y="72"/>
                      </a:lnTo>
                      <a:lnTo>
                        <a:pt x="18" y="72"/>
                      </a:lnTo>
                      <a:lnTo>
                        <a:pt x="19" y="72"/>
                      </a:lnTo>
                      <a:lnTo>
                        <a:pt x="20" y="72"/>
                      </a:lnTo>
                      <a:lnTo>
                        <a:pt x="21" y="72"/>
                      </a:lnTo>
                      <a:lnTo>
                        <a:pt x="21" y="73"/>
                      </a:lnTo>
                      <a:lnTo>
                        <a:pt x="22" y="74"/>
                      </a:lnTo>
                      <a:lnTo>
                        <a:pt x="23" y="74"/>
                      </a:lnTo>
                      <a:lnTo>
                        <a:pt x="24" y="74"/>
                      </a:lnTo>
                      <a:lnTo>
                        <a:pt x="24" y="73"/>
                      </a:lnTo>
                      <a:lnTo>
                        <a:pt x="26" y="73"/>
                      </a:lnTo>
                      <a:lnTo>
                        <a:pt x="27" y="76"/>
                      </a:lnTo>
                      <a:lnTo>
                        <a:pt x="28" y="77"/>
                      </a:lnTo>
                      <a:lnTo>
                        <a:pt x="30" y="76"/>
                      </a:lnTo>
                      <a:lnTo>
                        <a:pt x="29" y="74"/>
                      </a:lnTo>
                      <a:lnTo>
                        <a:pt x="29" y="73"/>
                      </a:lnTo>
                      <a:lnTo>
                        <a:pt x="29" y="72"/>
                      </a:lnTo>
                      <a:lnTo>
                        <a:pt x="29" y="71"/>
                      </a:lnTo>
                      <a:lnTo>
                        <a:pt x="29" y="70"/>
                      </a:lnTo>
                      <a:lnTo>
                        <a:pt x="29" y="69"/>
                      </a:lnTo>
                      <a:lnTo>
                        <a:pt x="29" y="67"/>
                      </a:lnTo>
                      <a:lnTo>
                        <a:pt x="28" y="67"/>
                      </a:lnTo>
                      <a:lnTo>
                        <a:pt x="27" y="66"/>
                      </a:lnTo>
                      <a:lnTo>
                        <a:pt x="27" y="65"/>
                      </a:lnTo>
                      <a:lnTo>
                        <a:pt x="26" y="65"/>
                      </a:lnTo>
                      <a:lnTo>
                        <a:pt x="26" y="64"/>
                      </a:lnTo>
                      <a:lnTo>
                        <a:pt x="24" y="64"/>
                      </a:lnTo>
                      <a:lnTo>
                        <a:pt x="22" y="64"/>
                      </a:lnTo>
                      <a:lnTo>
                        <a:pt x="20" y="63"/>
                      </a:lnTo>
                      <a:lnTo>
                        <a:pt x="20" y="62"/>
                      </a:lnTo>
                      <a:lnTo>
                        <a:pt x="21" y="59"/>
                      </a:lnTo>
                      <a:lnTo>
                        <a:pt x="21" y="58"/>
                      </a:lnTo>
                      <a:lnTo>
                        <a:pt x="21" y="57"/>
                      </a:lnTo>
                      <a:lnTo>
                        <a:pt x="21" y="56"/>
                      </a:lnTo>
                      <a:lnTo>
                        <a:pt x="22" y="56"/>
                      </a:lnTo>
                      <a:lnTo>
                        <a:pt x="24" y="55"/>
                      </a:lnTo>
                      <a:lnTo>
                        <a:pt x="26" y="55"/>
                      </a:lnTo>
                      <a:lnTo>
                        <a:pt x="27" y="53"/>
                      </a:lnTo>
                      <a:lnTo>
                        <a:pt x="26" y="52"/>
                      </a:lnTo>
                      <a:lnTo>
                        <a:pt x="24" y="52"/>
                      </a:lnTo>
                      <a:lnTo>
                        <a:pt x="24" y="51"/>
                      </a:lnTo>
                      <a:lnTo>
                        <a:pt x="23" y="51"/>
                      </a:lnTo>
                      <a:lnTo>
                        <a:pt x="22" y="51"/>
                      </a:lnTo>
                      <a:lnTo>
                        <a:pt x="21" y="50"/>
                      </a:lnTo>
                      <a:lnTo>
                        <a:pt x="21" y="49"/>
                      </a:lnTo>
                      <a:lnTo>
                        <a:pt x="22" y="46"/>
                      </a:lnTo>
                      <a:lnTo>
                        <a:pt x="22" y="45"/>
                      </a:lnTo>
                      <a:lnTo>
                        <a:pt x="23" y="43"/>
                      </a:lnTo>
                      <a:lnTo>
                        <a:pt x="21" y="43"/>
                      </a:lnTo>
                      <a:lnTo>
                        <a:pt x="20" y="43"/>
                      </a:lnTo>
                      <a:lnTo>
                        <a:pt x="19" y="44"/>
                      </a:lnTo>
                      <a:lnTo>
                        <a:pt x="18" y="44"/>
                      </a:lnTo>
                      <a:lnTo>
                        <a:pt x="16" y="43"/>
                      </a:lnTo>
                      <a:lnTo>
                        <a:pt x="14" y="41"/>
                      </a:lnTo>
                      <a:lnTo>
                        <a:pt x="14" y="39"/>
                      </a:lnTo>
                      <a:lnTo>
                        <a:pt x="14" y="38"/>
                      </a:lnTo>
                      <a:lnTo>
                        <a:pt x="14" y="37"/>
                      </a:lnTo>
                      <a:lnTo>
                        <a:pt x="15" y="29"/>
                      </a:lnTo>
                      <a:lnTo>
                        <a:pt x="14" y="29"/>
                      </a:lnTo>
                      <a:lnTo>
                        <a:pt x="14" y="28"/>
                      </a:lnTo>
                      <a:lnTo>
                        <a:pt x="14" y="27"/>
                      </a:lnTo>
                      <a:lnTo>
                        <a:pt x="13" y="27"/>
                      </a:lnTo>
                      <a:lnTo>
                        <a:pt x="13" y="25"/>
                      </a:lnTo>
                      <a:lnTo>
                        <a:pt x="14" y="25"/>
                      </a:lnTo>
                      <a:lnTo>
                        <a:pt x="13" y="24"/>
                      </a:lnTo>
                      <a:lnTo>
                        <a:pt x="14" y="24"/>
                      </a:lnTo>
                      <a:lnTo>
                        <a:pt x="14" y="23"/>
                      </a:lnTo>
                      <a:lnTo>
                        <a:pt x="15" y="22"/>
                      </a:lnTo>
                      <a:lnTo>
                        <a:pt x="16" y="22"/>
                      </a:lnTo>
                      <a:lnTo>
                        <a:pt x="18" y="21"/>
                      </a:lnTo>
                      <a:lnTo>
                        <a:pt x="18" y="20"/>
                      </a:lnTo>
                      <a:lnTo>
                        <a:pt x="19" y="20"/>
                      </a:lnTo>
                      <a:lnTo>
                        <a:pt x="19" y="18"/>
                      </a:lnTo>
                      <a:lnTo>
                        <a:pt x="20" y="18"/>
                      </a:lnTo>
                      <a:lnTo>
                        <a:pt x="21" y="18"/>
                      </a:lnTo>
                      <a:lnTo>
                        <a:pt x="22" y="18"/>
                      </a:lnTo>
                      <a:lnTo>
                        <a:pt x="22" y="17"/>
                      </a:lnTo>
                      <a:lnTo>
                        <a:pt x="23" y="17"/>
                      </a:lnTo>
                      <a:lnTo>
                        <a:pt x="24" y="16"/>
                      </a:lnTo>
                      <a:lnTo>
                        <a:pt x="24" y="15"/>
                      </a:lnTo>
                      <a:lnTo>
                        <a:pt x="26" y="15"/>
                      </a:lnTo>
                      <a:lnTo>
                        <a:pt x="26" y="14"/>
                      </a:lnTo>
                      <a:lnTo>
                        <a:pt x="26" y="13"/>
                      </a:lnTo>
                      <a:lnTo>
                        <a:pt x="27" y="13"/>
                      </a:lnTo>
                      <a:lnTo>
                        <a:pt x="27" y="11"/>
                      </a:lnTo>
                      <a:lnTo>
                        <a:pt x="28" y="11"/>
                      </a:lnTo>
                      <a:lnTo>
                        <a:pt x="28" y="10"/>
                      </a:lnTo>
                      <a:lnTo>
                        <a:pt x="28" y="11"/>
                      </a:lnTo>
                      <a:lnTo>
                        <a:pt x="28" y="10"/>
                      </a:lnTo>
                      <a:lnTo>
                        <a:pt x="29" y="10"/>
                      </a:lnTo>
                      <a:lnTo>
                        <a:pt x="29" y="9"/>
                      </a:lnTo>
                      <a:lnTo>
                        <a:pt x="30" y="10"/>
                      </a:lnTo>
                      <a:lnTo>
                        <a:pt x="31" y="10"/>
                      </a:lnTo>
                      <a:lnTo>
                        <a:pt x="33" y="10"/>
                      </a:lnTo>
                      <a:lnTo>
                        <a:pt x="34" y="9"/>
                      </a:lnTo>
                      <a:lnTo>
                        <a:pt x="35" y="9"/>
                      </a:lnTo>
                      <a:lnTo>
                        <a:pt x="35" y="10"/>
                      </a:lnTo>
                      <a:lnTo>
                        <a:pt x="35" y="11"/>
                      </a:lnTo>
                      <a:lnTo>
                        <a:pt x="36" y="13"/>
                      </a:lnTo>
                      <a:lnTo>
                        <a:pt x="37" y="13"/>
                      </a:lnTo>
                      <a:lnTo>
                        <a:pt x="38" y="13"/>
                      </a:lnTo>
                      <a:lnTo>
                        <a:pt x="38" y="15"/>
                      </a:lnTo>
                      <a:lnTo>
                        <a:pt x="38" y="16"/>
                      </a:lnTo>
                      <a:lnTo>
                        <a:pt x="40" y="16"/>
                      </a:lnTo>
                      <a:lnTo>
                        <a:pt x="41" y="16"/>
                      </a:lnTo>
                      <a:lnTo>
                        <a:pt x="43" y="16"/>
                      </a:lnTo>
                      <a:lnTo>
                        <a:pt x="47" y="17"/>
                      </a:lnTo>
                      <a:lnTo>
                        <a:pt x="48" y="17"/>
                      </a:lnTo>
                      <a:lnTo>
                        <a:pt x="48" y="18"/>
                      </a:lnTo>
                      <a:lnTo>
                        <a:pt x="49" y="18"/>
                      </a:lnTo>
                      <a:lnTo>
                        <a:pt x="50" y="18"/>
                      </a:lnTo>
                      <a:lnTo>
                        <a:pt x="51" y="18"/>
                      </a:lnTo>
                      <a:lnTo>
                        <a:pt x="51" y="17"/>
                      </a:lnTo>
                      <a:lnTo>
                        <a:pt x="51" y="16"/>
                      </a:lnTo>
                      <a:lnTo>
                        <a:pt x="50" y="16"/>
                      </a:lnTo>
                      <a:lnTo>
                        <a:pt x="50" y="15"/>
                      </a:lnTo>
                      <a:lnTo>
                        <a:pt x="51" y="13"/>
                      </a:lnTo>
                      <a:lnTo>
                        <a:pt x="52" y="13"/>
                      </a:lnTo>
                      <a:lnTo>
                        <a:pt x="54" y="13"/>
                      </a:lnTo>
                      <a:lnTo>
                        <a:pt x="55" y="13"/>
                      </a:lnTo>
                      <a:lnTo>
                        <a:pt x="56" y="11"/>
                      </a:lnTo>
                      <a:lnTo>
                        <a:pt x="57" y="11"/>
                      </a:lnTo>
                      <a:lnTo>
                        <a:pt x="58" y="11"/>
                      </a:lnTo>
                      <a:lnTo>
                        <a:pt x="59" y="13"/>
                      </a:lnTo>
                      <a:lnTo>
                        <a:pt x="61" y="13"/>
                      </a:lnTo>
                      <a:lnTo>
                        <a:pt x="61" y="11"/>
                      </a:lnTo>
                      <a:lnTo>
                        <a:pt x="61" y="10"/>
                      </a:lnTo>
                      <a:lnTo>
                        <a:pt x="62" y="10"/>
                      </a:lnTo>
                      <a:lnTo>
                        <a:pt x="62" y="9"/>
                      </a:lnTo>
                      <a:lnTo>
                        <a:pt x="61" y="9"/>
                      </a:lnTo>
                      <a:lnTo>
                        <a:pt x="59" y="8"/>
                      </a:lnTo>
                      <a:lnTo>
                        <a:pt x="59" y="7"/>
                      </a:lnTo>
                      <a:lnTo>
                        <a:pt x="61" y="6"/>
                      </a:lnTo>
                      <a:lnTo>
                        <a:pt x="61" y="4"/>
                      </a:lnTo>
                      <a:lnTo>
                        <a:pt x="59" y="4"/>
                      </a:lnTo>
                      <a:lnTo>
                        <a:pt x="59" y="3"/>
                      </a:lnTo>
                      <a:lnTo>
                        <a:pt x="61" y="3"/>
                      </a:lnTo>
                      <a:lnTo>
                        <a:pt x="61" y="2"/>
                      </a:lnTo>
                      <a:lnTo>
                        <a:pt x="62" y="2"/>
                      </a:lnTo>
                      <a:lnTo>
                        <a:pt x="62" y="3"/>
                      </a:lnTo>
                      <a:lnTo>
                        <a:pt x="63" y="3"/>
                      </a:lnTo>
                      <a:lnTo>
                        <a:pt x="63" y="4"/>
                      </a:lnTo>
                      <a:lnTo>
                        <a:pt x="65" y="4"/>
                      </a:lnTo>
                      <a:lnTo>
                        <a:pt x="65" y="6"/>
                      </a:lnTo>
                      <a:lnTo>
                        <a:pt x="66" y="6"/>
                      </a:lnTo>
                      <a:lnTo>
                        <a:pt x="68" y="6"/>
                      </a:lnTo>
                      <a:lnTo>
                        <a:pt x="69" y="6"/>
                      </a:lnTo>
                      <a:lnTo>
                        <a:pt x="69" y="4"/>
                      </a:lnTo>
                      <a:lnTo>
                        <a:pt x="69" y="3"/>
                      </a:lnTo>
                      <a:lnTo>
                        <a:pt x="68" y="3"/>
                      </a:lnTo>
                      <a:lnTo>
                        <a:pt x="68" y="2"/>
                      </a:lnTo>
                      <a:lnTo>
                        <a:pt x="69" y="1"/>
                      </a:lnTo>
                      <a:lnTo>
                        <a:pt x="70" y="1"/>
                      </a:lnTo>
                      <a:lnTo>
                        <a:pt x="71" y="1"/>
                      </a:lnTo>
                      <a:lnTo>
                        <a:pt x="72" y="0"/>
                      </a:lnTo>
                      <a:lnTo>
                        <a:pt x="73" y="0"/>
                      </a:lnTo>
                      <a:lnTo>
                        <a:pt x="7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2" name="Freeform 79">
                  <a:extLst>
                    <a:ext uri="{FF2B5EF4-FFF2-40B4-BE49-F238E27FC236}">
                      <a16:creationId xmlns:a16="http://schemas.microsoft.com/office/drawing/2014/main" id="{1A50C6FF-F541-F518-62F4-2628F5D9CA8B}"/>
                    </a:ext>
                  </a:extLst>
                </p:cNvPr>
                <p:cNvSpPr>
                  <a:spLocks noEditPoints="1"/>
                </p:cNvSpPr>
                <p:nvPr/>
              </p:nvSpPr>
              <p:spPr bwMode="auto">
                <a:xfrm>
                  <a:off x="6520085" y="3347534"/>
                  <a:ext cx="263942" cy="394832"/>
                </a:xfrm>
                <a:custGeom>
                  <a:avLst/>
                  <a:gdLst>
                    <a:gd name="T0" fmla="*/ 181 w 244"/>
                    <a:gd name="T1" fmla="*/ 6 h 365"/>
                    <a:gd name="T2" fmla="*/ 188 w 244"/>
                    <a:gd name="T3" fmla="*/ 6 h 365"/>
                    <a:gd name="T4" fmla="*/ 197 w 244"/>
                    <a:gd name="T5" fmla="*/ 15 h 365"/>
                    <a:gd name="T6" fmla="*/ 201 w 244"/>
                    <a:gd name="T7" fmla="*/ 29 h 365"/>
                    <a:gd name="T8" fmla="*/ 207 w 244"/>
                    <a:gd name="T9" fmla="*/ 38 h 365"/>
                    <a:gd name="T10" fmla="*/ 207 w 244"/>
                    <a:gd name="T11" fmla="*/ 56 h 365"/>
                    <a:gd name="T12" fmla="*/ 209 w 244"/>
                    <a:gd name="T13" fmla="*/ 83 h 365"/>
                    <a:gd name="T14" fmla="*/ 224 w 244"/>
                    <a:gd name="T15" fmla="*/ 98 h 365"/>
                    <a:gd name="T16" fmla="*/ 180 w 244"/>
                    <a:gd name="T17" fmla="*/ 100 h 365"/>
                    <a:gd name="T18" fmla="*/ 201 w 244"/>
                    <a:gd name="T19" fmla="*/ 138 h 365"/>
                    <a:gd name="T20" fmla="*/ 216 w 244"/>
                    <a:gd name="T21" fmla="*/ 160 h 365"/>
                    <a:gd name="T22" fmla="*/ 216 w 244"/>
                    <a:gd name="T23" fmla="*/ 185 h 365"/>
                    <a:gd name="T24" fmla="*/ 203 w 244"/>
                    <a:gd name="T25" fmla="*/ 204 h 365"/>
                    <a:gd name="T26" fmla="*/ 187 w 244"/>
                    <a:gd name="T27" fmla="*/ 225 h 365"/>
                    <a:gd name="T28" fmla="*/ 193 w 244"/>
                    <a:gd name="T29" fmla="*/ 238 h 365"/>
                    <a:gd name="T30" fmla="*/ 192 w 244"/>
                    <a:gd name="T31" fmla="*/ 252 h 365"/>
                    <a:gd name="T32" fmla="*/ 196 w 244"/>
                    <a:gd name="T33" fmla="*/ 269 h 365"/>
                    <a:gd name="T34" fmla="*/ 211 w 244"/>
                    <a:gd name="T35" fmla="*/ 288 h 365"/>
                    <a:gd name="T36" fmla="*/ 231 w 244"/>
                    <a:gd name="T37" fmla="*/ 320 h 365"/>
                    <a:gd name="T38" fmla="*/ 239 w 244"/>
                    <a:gd name="T39" fmla="*/ 329 h 365"/>
                    <a:gd name="T40" fmla="*/ 243 w 244"/>
                    <a:gd name="T41" fmla="*/ 343 h 365"/>
                    <a:gd name="T42" fmla="*/ 239 w 244"/>
                    <a:gd name="T43" fmla="*/ 355 h 365"/>
                    <a:gd name="T44" fmla="*/ 232 w 244"/>
                    <a:gd name="T45" fmla="*/ 359 h 365"/>
                    <a:gd name="T46" fmla="*/ 214 w 244"/>
                    <a:gd name="T47" fmla="*/ 355 h 365"/>
                    <a:gd name="T48" fmla="*/ 202 w 244"/>
                    <a:gd name="T49" fmla="*/ 351 h 365"/>
                    <a:gd name="T50" fmla="*/ 192 w 244"/>
                    <a:gd name="T51" fmla="*/ 348 h 365"/>
                    <a:gd name="T52" fmla="*/ 152 w 244"/>
                    <a:gd name="T53" fmla="*/ 348 h 365"/>
                    <a:gd name="T54" fmla="*/ 137 w 244"/>
                    <a:gd name="T55" fmla="*/ 346 h 365"/>
                    <a:gd name="T56" fmla="*/ 116 w 244"/>
                    <a:gd name="T57" fmla="*/ 345 h 365"/>
                    <a:gd name="T58" fmla="*/ 90 w 244"/>
                    <a:gd name="T59" fmla="*/ 346 h 365"/>
                    <a:gd name="T60" fmla="*/ 42 w 244"/>
                    <a:gd name="T61" fmla="*/ 348 h 365"/>
                    <a:gd name="T62" fmla="*/ 45 w 244"/>
                    <a:gd name="T63" fmla="*/ 316 h 365"/>
                    <a:gd name="T64" fmla="*/ 40 w 244"/>
                    <a:gd name="T65" fmla="*/ 303 h 365"/>
                    <a:gd name="T66" fmla="*/ 36 w 244"/>
                    <a:gd name="T67" fmla="*/ 300 h 365"/>
                    <a:gd name="T68" fmla="*/ 40 w 244"/>
                    <a:gd name="T69" fmla="*/ 294 h 365"/>
                    <a:gd name="T70" fmla="*/ 37 w 244"/>
                    <a:gd name="T71" fmla="*/ 289 h 365"/>
                    <a:gd name="T72" fmla="*/ 30 w 244"/>
                    <a:gd name="T73" fmla="*/ 290 h 365"/>
                    <a:gd name="T74" fmla="*/ 26 w 244"/>
                    <a:gd name="T75" fmla="*/ 290 h 365"/>
                    <a:gd name="T76" fmla="*/ 12 w 244"/>
                    <a:gd name="T77" fmla="*/ 282 h 365"/>
                    <a:gd name="T78" fmla="*/ 9 w 244"/>
                    <a:gd name="T79" fmla="*/ 274 h 365"/>
                    <a:gd name="T80" fmla="*/ 2 w 244"/>
                    <a:gd name="T81" fmla="*/ 276 h 365"/>
                    <a:gd name="T82" fmla="*/ 2 w 244"/>
                    <a:gd name="T83" fmla="*/ 269 h 365"/>
                    <a:gd name="T84" fmla="*/ 10 w 244"/>
                    <a:gd name="T85" fmla="*/ 251 h 365"/>
                    <a:gd name="T86" fmla="*/ 10 w 244"/>
                    <a:gd name="T87" fmla="*/ 237 h 365"/>
                    <a:gd name="T88" fmla="*/ 24 w 244"/>
                    <a:gd name="T89" fmla="*/ 220 h 365"/>
                    <a:gd name="T90" fmla="*/ 40 w 244"/>
                    <a:gd name="T91" fmla="*/ 203 h 365"/>
                    <a:gd name="T92" fmla="*/ 64 w 244"/>
                    <a:gd name="T93" fmla="*/ 198 h 365"/>
                    <a:gd name="T94" fmla="*/ 79 w 244"/>
                    <a:gd name="T95" fmla="*/ 204 h 365"/>
                    <a:gd name="T96" fmla="*/ 89 w 244"/>
                    <a:gd name="T97" fmla="*/ 215 h 365"/>
                    <a:gd name="T98" fmla="*/ 99 w 244"/>
                    <a:gd name="T99" fmla="*/ 198 h 365"/>
                    <a:gd name="T100" fmla="*/ 106 w 244"/>
                    <a:gd name="T101" fmla="*/ 183 h 365"/>
                    <a:gd name="T102" fmla="*/ 117 w 244"/>
                    <a:gd name="T103" fmla="*/ 159 h 365"/>
                    <a:gd name="T104" fmla="*/ 125 w 244"/>
                    <a:gd name="T105" fmla="*/ 145 h 365"/>
                    <a:gd name="T106" fmla="*/ 138 w 244"/>
                    <a:gd name="T107" fmla="*/ 125 h 365"/>
                    <a:gd name="T108" fmla="*/ 149 w 244"/>
                    <a:gd name="T109" fmla="*/ 105 h 365"/>
                    <a:gd name="T110" fmla="*/ 157 w 244"/>
                    <a:gd name="T111" fmla="*/ 84 h 365"/>
                    <a:gd name="T112" fmla="*/ 177 w 244"/>
                    <a:gd name="T113" fmla="*/ 59 h 365"/>
                    <a:gd name="T114" fmla="*/ 193 w 244"/>
                    <a:gd name="T115" fmla="*/ 48 h 365"/>
                    <a:gd name="T116" fmla="*/ 194 w 244"/>
                    <a:gd name="T117" fmla="*/ 30 h 365"/>
                    <a:gd name="T118" fmla="*/ 179 w 244"/>
                    <a:gd name="T119" fmla="*/ 17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 h="365">
                      <a:moveTo>
                        <a:pt x="182" y="0"/>
                      </a:moveTo>
                      <a:lnTo>
                        <a:pt x="184" y="1"/>
                      </a:lnTo>
                      <a:lnTo>
                        <a:pt x="182" y="1"/>
                      </a:lnTo>
                      <a:lnTo>
                        <a:pt x="181" y="1"/>
                      </a:lnTo>
                      <a:lnTo>
                        <a:pt x="182" y="1"/>
                      </a:lnTo>
                      <a:lnTo>
                        <a:pt x="182" y="2"/>
                      </a:lnTo>
                      <a:lnTo>
                        <a:pt x="181" y="2"/>
                      </a:lnTo>
                      <a:lnTo>
                        <a:pt x="180" y="2"/>
                      </a:lnTo>
                      <a:lnTo>
                        <a:pt x="181" y="2"/>
                      </a:lnTo>
                      <a:lnTo>
                        <a:pt x="181" y="3"/>
                      </a:lnTo>
                      <a:lnTo>
                        <a:pt x="182" y="3"/>
                      </a:lnTo>
                      <a:lnTo>
                        <a:pt x="182" y="5"/>
                      </a:lnTo>
                      <a:lnTo>
                        <a:pt x="181" y="5"/>
                      </a:lnTo>
                      <a:lnTo>
                        <a:pt x="182" y="6"/>
                      </a:lnTo>
                      <a:lnTo>
                        <a:pt x="181" y="6"/>
                      </a:lnTo>
                      <a:lnTo>
                        <a:pt x="182" y="6"/>
                      </a:lnTo>
                      <a:lnTo>
                        <a:pt x="182" y="7"/>
                      </a:lnTo>
                      <a:lnTo>
                        <a:pt x="184" y="7"/>
                      </a:lnTo>
                      <a:lnTo>
                        <a:pt x="185" y="7"/>
                      </a:lnTo>
                      <a:lnTo>
                        <a:pt x="186" y="7"/>
                      </a:lnTo>
                      <a:lnTo>
                        <a:pt x="186" y="6"/>
                      </a:lnTo>
                      <a:lnTo>
                        <a:pt x="186" y="5"/>
                      </a:lnTo>
                      <a:lnTo>
                        <a:pt x="187" y="5"/>
                      </a:lnTo>
                      <a:lnTo>
                        <a:pt x="187" y="3"/>
                      </a:lnTo>
                      <a:lnTo>
                        <a:pt x="187" y="5"/>
                      </a:lnTo>
                      <a:lnTo>
                        <a:pt x="188" y="5"/>
                      </a:lnTo>
                      <a:lnTo>
                        <a:pt x="188" y="3"/>
                      </a:lnTo>
                      <a:lnTo>
                        <a:pt x="189" y="3"/>
                      </a:lnTo>
                      <a:lnTo>
                        <a:pt x="189" y="5"/>
                      </a:lnTo>
                      <a:lnTo>
                        <a:pt x="188" y="6"/>
                      </a:lnTo>
                      <a:lnTo>
                        <a:pt x="188" y="7"/>
                      </a:lnTo>
                      <a:lnTo>
                        <a:pt x="189" y="8"/>
                      </a:lnTo>
                      <a:lnTo>
                        <a:pt x="190" y="8"/>
                      </a:lnTo>
                      <a:lnTo>
                        <a:pt x="190" y="9"/>
                      </a:lnTo>
                      <a:lnTo>
                        <a:pt x="190" y="10"/>
                      </a:lnTo>
                      <a:lnTo>
                        <a:pt x="192" y="10"/>
                      </a:lnTo>
                      <a:lnTo>
                        <a:pt x="193" y="10"/>
                      </a:lnTo>
                      <a:lnTo>
                        <a:pt x="193" y="12"/>
                      </a:lnTo>
                      <a:lnTo>
                        <a:pt x="194" y="12"/>
                      </a:lnTo>
                      <a:lnTo>
                        <a:pt x="195" y="12"/>
                      </a:lnTo>
                      <a:lnTo>
                        <a:pt x="195" y="13"/>
                      </a:lnTo>
                      <a:lnTo>
                        <a:pt x="195" y="14"/>
                      </a:lnTo>
                      <a:lnTo>
                        <a:pt x="196" y="13"/>
                      </a:lnTo>
                      <a:lnTo>
                        <a:pt x="197" y="14"/>
                      </a:lnTo>
                      <a:lnTo>
                        <a:pt x="197" y="15"/>
                      </a:lnTo>
                      <a:lnTo>
                        <a:pt x="199" y="14"/>
                      </a:lnTo>
                      <a:lnTo>
                        <a:pt x="200" y="15"/>
                      </a:lnTo>
                      <a:lnTo>
                        <a:pt x="200" y="19"/>
                      </a:lnTo>
                      <a:lnTo>
                        <a:pt x="200" y="20"/>
                      </a:lnTo>
                      <a:lnTo>
                        <a:pt x="200" y="21"/>
                      </a:lnTo>
                      <a:lnTo>
                        <a:pt x="200" y="20"/>
                      </a:lnTo>
                      <a:lnTo>
                        <a:pt x="201" y="21"/>
                      </a:lnTo>
                      <a:lnTo>
                        <a:pt x="201" y="22"/>
                      </a:lnTo>
                      <a:lnTo>
                        <a:pt x="202" y="24"/>
                      </a:lnTo>
                      <a:lnTo>
                        <a:pt x="202" y="27"/>
                      </a:lnTo>
                      <a:lnTo>
                        <a:pt x="202" y="28"/>
                      </a:lnTo>
                      <a:lnTo>
                        <a:pt x="201" y="28"/>
                      </a:lnTo>
                      <a:lnTo>
                        <a:pt x="201" y="29"/>
                      </a:lnTo>
                      <a:lnTo>
                        <a:pt x="202" y="29"/>
                      </a:lnTo>
                      <a:lnTo>
                        <a:pt x="201" y="29"/>
                      </a:lnTo>
                      <a:lnTo>
                        <a:pt x="201" y="30"/>
                      </a:lnTo>
                      <a:lnTo>
                        <a:pt x="202" y="30"/>
                      </a:lnTo>
                      <a:lnTo>
                        <a:pt x="202" y="31"/>
                      </a:lnTo>
                      <a:lnTo>
                        <a:pt x="203" y="31"/>
                      </a:lnTo>
                      <a:lnTo>
                        <a:pt x="203" y="33"/>
                      </a:lnTo>
                      <a:lnTo>
                        <a:pt x="204" y="31"/>
                      </a:lnTo>
                      <a:lnTo>
                        <a:pt x="206" y="31"/>
                      </a:lnTo>
                      <a:lnTo>
                        <a:pt x="207" y="33"/>
                      </a:lnTo>
                      <a:lnTo>
                        <a:pt x="206" y="33"/>
                      </a:lnTo>
                      <a:lnTo>
                        <a:pt x="206" y="34"/>
                      </a:lnTo>
                      <a:lnTo>
                        <a:pt x="207" y="34"/>
                      </a:lnTo>
                      <a:lnTo>
                        <a:pt x="207" y="35"/>
                      </a:lnTo>
                      <a:lnTo>
                        <a:pt x="207" y="36"/>
                      </a:lnTo>
                      <a:lnTo>
                        <a:pt x="207" y="37"/>
                      </a:lnTo>
                      <a:lnTo>
                        <a:pt x="207" y="38"/>
                      </a:lnTo>
                      <a:lnTo>
                        <a:pt x="206" y="38"/>
                      </a:lnTo>
                      <a:lnTo>
                        <a:pt x="207" y="40"/>
                      </a:lnTo>
                      <a:lnTo>
                        <a:pt x="208" y="40"/>
                      </a:lnTo>
                      <a:lnTo>
                        <a:pt x="208" y="42"/>
                      </a:lnTo>
                      <a:lnTo>
                        <a:pt x="208" y="43"/>
                      </a:lnTo>
                      <a:lnTo>
                        <a:pt x="208" y="44"/>
                      </a:lnTo>
                      <a:lnTo>
                        <a:pt x="207" y="44"/>
                      </a:lnTo>
                      <a:lnTo>
                        <a:pt x="207" y="45"/>
                      </a:lnTo>
                      <a:lnTo>
                        <a:pt x="208" y="48"/>
                      </a:lnTo>
                      <a:lnTo>
                        <a:pt x="209" y="49"/>
                      </a:lnTo>
                      <a:lnTo>
                        <a:pt x="209" y="50"/>
                      </a:lnTo>
                      <a:lnTo>
                        <a:pt x="209" y="51"/>
                      </a:lnTo>
                      <a:lnTo>
                        <a:pt x="207" y="52"/>
                      </a:lnTo>
                      <a:lnTo>
                        <a:pt x="207" y="54"/>
                      </a:lnTo>
                      <a:lnTo>
                        <a:pt x="207" y="56"/>
                      </a:lnTo>
                      <a:lnTo>
                        <a:pt x="207" y="57"/>
                      </a:lnTo>
                      <a:lnTo>
                        <a:pt x="207" y="58"/>
                      </a:lnTo>
                      <a:lnTo>
                        <a:pt x="206" y="59"/>
                      </a:lnTo>
                      <a:lnTo>
                        <a:pt x="206" y="62"/>
                      </a:lnTo>
                      <a:lnTo>
                        <a:pt x="206" y="65"/>
                      </a:lnTo>
                      <a:lnTo>
                        <a:pt x="206" y="68"/>
                      </a:lnTo>
                      <a:lnTo>
                        <a:pt x="207" y="70"/>
                      </a:lnTo>
                      <a:lnTo>
                        <a:pt x="208" y="71"/>
                      </a:lnTo>
                      <a:lnTo>
                        <a:pt x="207" y="71"/>
                      </a:lnTo>
                      <a:lnTo>
                        <a:pt x="207" y="72"/>
                      </a:lnTo>
                      <a:lnTo>
                        <a:pt x="207" y="75"/>
                      </a:lnTo>
                      <a:lnTo>
                        <a:pt x="209" y="79"/>
                      </a:lnTo>
                      <a:lnTo>
                        <a:pt x="209" y="80"/>
                      </a:lnTo>
                      <a:lnTo>
                        <a:pt x="209" y="82"/>
                      </a:lnTo>
                      <a:lnTo>
                        <a:pt x="209" y="83"/>
                      </a:lnTo>
                      <a:lnTo>
                        <a:pt x="210" y="83"/>
                      </a:lnTo>
                      <a:lnTo>
                        <a:pt x="211" y="83"/>
                      </a:lnTo>
                      <a:lnTo>
                        <a:pt x="211" y="84"/>
                      </a:lnTo>
                      <a:lnTo>
                        <a:pt x="213" y="84"/>
                      </a:lnTo>
                      <a:lnTo>
                        <a:pt x="213" y="85"/>
                      </a:lnTo>
                      <a:lnTo>
                        <a:pt x="213" y="86"/>
                      </a:lnTo>
                      <a:lnTo>
                        <a:pt x="214" y="86"/>
                      </a:lnTo>
                      <a:lnTo>
                        <a:pt x="214" y="87"/>
                      </a:lnTo>
                      <a:lnTo>
                        <a:pt x="214" y="89"/>
                      </a:lnTo>
                      <a:lnTo>
                        <a:pt x="215" y="90"/>
                      </a:lnTo>
                      <a:lnTo>
                        <a:pt x="218" y="93"/>
                      </a:lnTo>
                      <a:lnTo>
                        <a:pt x="220" y="96"/>
                      </a:lnTo>
                      <a:lnTo>
                        <a:pt x="221" y="96"/>
                      </a:lnTo>
                      <a:lnTo>
                        <a:pt x="222" y="97"/>
                      </a:lnTo>
                      <a:lnTo>
                        <a:pt x="224" y="98"/>
                      </a:lnTo>
                      <a:lnTo>
                        <a:pt x="225" y="99"/>
                      </a:lnTo>
                      <a:lnTo>
                        <a:pt x="227" y="100"/>
                      </a:lnTo>
                      <a:lnTo>
                        <a:pt x="218" y="101"/>
                      </a:lnTo>
                      <a:lnTo>
                        <a:pt x="217" y="101"/>
                      </a:lnTo>
                      <a:lnTo>
                        <a:pt x="211" y="100"/>
                      </a:lnTo>
                      <a:lnTo>
                        <a:pt x="210" y="100"/>
                      </a:lnTo>
                      <a:lnTo>
                        <a:pt x="208" y="100"/>
                      </a:lnTo>
                      <a:lnTo>
                        <a:pt x="207" y="101"/>
                      </a:lnTo>
                      <a:lnTo>
                        <a:pt x="206" y="101"/>
                      </a:lnTo>
                      <a:lnTo>
                        <a:pt x="203" y="101"/>
                      </a:lnTo>
                      <a:lnTo>
                        <a:pt x="202" y="101"/>
                      </a:lnTo>
                      <a:lnTo>
                        <a:pt x="197" y="103"/>
                      </a:lnTo>
                      <a:lnTo>
                        <a:pt x="196" y="103"/>
                      </a:lnTo>
                      <a:lnTo>
                        <a:pt x="187" y="100"/>
                      </a:lnTo>
                      <a:lnTo>
                        <a:pt x="180" y="100"/>
                      </a:lnTo>
                      <a:lnTo>
                        <a:pt x="179" y="100"/>
                      </a:lnTo>
                      <a:lnTo>
                        <a:pt x="179" y="101"/>
                      </a:lnTo>
                      <a:lnTo>
                        <a:pt x="177" y="105"/>
                      </a:lnTo>
                      <a:lnTo>
                        <a:pt x="177" y="106"/>
                      </a:lnTo>
                      <a:lnTo>
                        <a:pt x="173" y="108"/>
                      </a:lnTo>
                      <a:lnTo>
                        <a:pt x="172" y="111"/>
                      </a:lnTo>
                      <a:lnTo>
                        <a:pt x="172" y="112"/>
                      </a:lnTo>
                      <a:lnTo>
                        <a:pt x="174" y="113"/>
                      </a:lnTo>
                      <a:lnTo>
                        <a:pt x="184" y="124"/>
                      </a:lnTo>
                      <a:lnTo>
                        <a:pt x="184" y="126"/>
                      </a:lnTo>
                      <a:lnTo>
                        <a:pt x="185" y="126"/>
                      </a:lnTo>
                      <a:lnTo>
                        <a:pt x="192" y="132"/>
                      </a:lnTo>
                      <a:lnTo>
                        <a:pt x="199" y="138"/>
                      </a:lnTo>
                      <a:lnTo>
                        <a:pt x="200" y="138"/>
                      </a:lnTo>
                      <a:lnTo>
                        <a:pt x="201" y="138"/>
                      </a:lnTo>
                      <a:lnTo>
                        <a:pt x="202" y="139"/>
                      </a:lnTo>
                      <a:lnTo>
                        <a:pt x="202" y="140"/>
                      </a:lnTo>
                      <a:lnTo>
                        <a:pt x="203" y="140"/>
                      </a:lnTo>
                      <a:lnTo>
                        <a:pt x="203" y="141"/>
                      </a:lnTo>
                      <a:lnTo>
                        <a:pt x="203" y="142"/>
                      </a:lnTo>
                      <a:lnTo>
                        <a:pt x="204" y="142"/>
                      </a:lnTo>
                      <a:lnTo>
                        <a:pt x="206" y="142"/>
                      </a:lnTo>
                      <a:lnTo>
                        <a:pt x="207" y="142"/>
                      </a:lnTo>
                      <a:lnTo>
                        <a:pt x="207" y="143"/>
                      </a:lnTo>
                      <a:lnTo>
                        <a:pt x="208" y="143"/>
                      </a:lnTo>
                      <a:lnTo>
                        <a:pt x="209" y="146"/>
                      </a:lnTo>
                      <a:lnTo>
                        <a:pt x="210" y="148"/>
                      </a:lnTo>
                      <a:lnTo>
                        <a:pt x="211" y="148"/>
                      </a:lnTo>
                      <a:lnTo>
                        <a:pt x="211" y="150"/>
                      </a:lnTo>
                      <a:lnTo>
                        <a:pt x="216" y="160"/>
                      </a:lnTo>
                      <a:lnTo>
                        <a:pt x="218" y="166"/>
                      </a:lnTo>
                      <a:lnTo>
                        <a:pt x="220" y="169"/>
                      </a:lnTo>
                      <a:lnTo>
                        <a:pt x="221" y="170"/>
                      </a:lnTo>
                      <a:lnTo>
                        <a:pt x="222" y="170"/>
                      </a:lnTo>
                      <a:lnTo>
                        <a:pt x="223" y="170"/>
                      </a:lnTo>
                      <a:lnTo>
                        <a:pt x="223" y="174"/>
                      </a:lnTo>
                      <a:lnTo>
                        <a:pt x="223" y="175"/>
                      </a:lnTo>
                      <a:lnTo>
                        <a:pt x="222" y="177"/>
                      </a:lnTo>
                      <a:lnTo>
                        <a:pt x="221" y="178"/>
                      </a:lnTo>
                      <a:lnTo>
                        <a:pt x="221" y="180"/>
                      </a:lnTo>
                      <a:lnTo>
                        <a:pt x="218" y="182"/>
                      </a:lnTo>
                      <a:lnTo>
                        <a:pt x="220" y="183"/>
                      </a:lnTo>
                      <a:lnTo>
                        <a:pt x="218" y="183"/>
                      </a:lnTo>
                      <a:lnTo>
                        <a:pt x="217" y="184"/>
                      </a:lnTo>
                      <a:lnTo>
                        <a:pt x="216" y="185"/>
                      </a:lnTo>
                      <a:lnTo>
                        <a:pt x="214" y="187"/>
                      </a:lnTo>
                      <a:lnTo>
                        <a:pt x="213" y="188"/>
                      </a:lnTo>
                      <a:lnTo>
                        <a:pt x="211" y="189"/>
                      </a:lnTo>
                      <a:lnTo>
                        <a:pt x="211" y="190"/>
                      </a:lnTo>
                      <a:lnTo>
                        <a:pt x="211" y="192"/>
                      </a:lnTo>
                      <a:lnTo>
                        <a:pt x="211" y="194"/>
                      </a:lnTo>
                      <a:lnTo>
                        <a:pt x="210" y="194"/>
                      </a:lnTo>
                      <a:lnTo>
                        <a:pt x="209" y="195"/>
                      </a:lnTo>
                      <a:lnTo>
                        <a:pt x="209" y="197"/>
                      </a:lnTo>
                      <a:lnTo>
                        <a:pt x="208" y="199"/>
                      </a:lnTo>
                      <a:lnTo>
                        <a:pt x="207" y="201"/>
                      </a:lnTo>
                      <a:lnTo>
                        <a:pt x="207" y="202"/>
                      </a:lnTo>
                      <a:lnTo>
                        <a:pt x="207" y="203"/>
                      </a:lnTo>
                      <a:lnTo>
                        <a:pt x="204" y="204"/>
                      </a:lnTo>
                      <a:lnTo>
                        <a:pt x="203" y="204"/>
                      </a:lnTo>
                      <a:lnTo>
                        <a:pt x="203" y="205"/>
                      </a:lnTo>
                      <a:lnTo>
                        <a:pt x="200" y="213"/>
                      </a:lnTo>
                      <a:lnTo>
                        <a:pt x="199" y="215"/>
                      </a:lnTo>
                      <a:lnTo>
                        <a:pt x="199" y="216"/>
                      </a:lnTo>
                      <a:lnTo>
                        <a:pt x="199" y="217"/>
                      </a:lnTo>
                      <a:lnTo>
                        <a:pt x="197" y="219"/>
                      </a:lnTo>
                      <a:lnTo>
                        <a:pt x="196" y="219"/>
                      </a:lnTo>
                      <a:lnTo>
                        <a:pt x="192" y="222"/>
                      </a:lnTo>
                      <a:lnTo>
                        <a:pt x="190" y="222"/>
                      </a:lnTo>
                      <a:lnTo>
                        <a:pt x="190" y="223"/>
                      </a:lnTo>
                      <a:lnTo>
                        <a:pt x="189" y="224"/>
                      </a:lnTo>
                      <a:lnTo>
                        <a:pt x="188" y="224"/>
                      </a:lnTo>
                      <a:lnTo>
                        <a:pt x="187" y="225"/>
                      </a:lnTo>
                      <a:lnTo>
                        <a:pt x="188" y="225"/>
                      </a:lnTo>
                      <a:lnTo>
                        <a:pt x="187" y="225"/>
                      </a:lnTo>
                      <a:lnTo>
                        <a:pt x="187" y="226"/>
                      </a:lnTo>
                      <a:lnTo>
                        <a:pt x="186" y="226"/>
                      </a:lnTo>
                      <a:lnTo>
                        <a:pt x="187" y="227"/>
                      </a:lnTo>
                      <a:lnTo>
                        <a:pt x="188" y="229"/>
                      </a:lnTo>
                      <a:lnTo>
                        <a:pt x="188" y="230"/>
                      </a:lnTo>
                      <a:lnTo>
                        <a:pt x="189" y="231"/>
                      </a:lnTo>
                      <a:lnTo>
                        <a:pt x="190" y="231"/>
                      </a:lnTo>
                      <a:lnTo>
                        <a:pt x="192" y="231"/>
                      </a:lnTo>
                      <a:lnTo>
                        <a:pt x="192" y="230"/>
                      </a:lnTo>
                      <a:lnTo>
                        <a:pt x="193" y="230"/>
                      </a:lnTo>
                      <a:lnTo>
                        <a:pt x="193" y="231"/>
                      </a:lnTo>
                      <a:lnTo>
                        <a:pt x="194" y="232"/>
                      </a:lnTo>
                      <a:lnTo>
                        <a:pt x="194" y="236"/>
                      </a:lnTo>
                      <a:lnTo>
                        <a:pt x="194" y="237"/>
                      </a:lnTo>
                      <a:lnTo>
                        <a:pt x="193" y="238"/>
                      </a:lnTo>
                      <a:lnTo>
                        <a:pt x="193" y="239"/>
                      </a:lnTo>
                      <a:lnTo>
                        <a:pt x="193" y="240"/>
                      </a:lnTo>
                      <a:lnTo>
                        <a:pt x="193" y="241"/>
                      </a:lnTo>
                      <a:lnTo>
                        <a:pt x="194" y="243"/>
                      </a:lnTo>
                      <a:lnTo>
                        <a:pt x="194" y="244"/>
                      </a:lnTo>
                      <a:lnTo>
                        <a:pt x="193" y="245"/>
                      </a:lnTo>
                      <a:lnTo>
                        <a:pt x="193" y="246"/>
                      </a:lnTo>
                      <a:lnTo>
                        <a:pt x="193" y="247"/>
                      </a:lnTo>
                      <a:lnTo>
                        <a:pt x="192" y="247"/>
                      </a:lnTo>
                      <a:lnTo>
                        <a:pt x="192" y="248"/>
                      </a:lnTo>
                      <a:lnTo>
                        <a:pt x="192" y="250"/>
                      </a:lnTo>
                      <a:lnTo>
                        <a:pt x="190" y="250"/>
                      </a:lnTo>
                      <a:lnTo>
                        <a:pt x="190" y="251"/>
                      </a:lnTo>
                      <a:lnTo>
                        <a:pt x="192" y="251"/>
                      </a:lnTo>
                      <a:lnTo>
                        <a:pt x="192" y="252"/>
                      </a:lnTo>
                      <a:lnTo>
                        <a:pt x="193" y="252"/>
                      </a:lnTo>
                      <a:lnTo>
                        <a:pt x="194" y="252"/>
                      </a:lnTo>
                      <a:lnTo>
                        <a:pt x="194" y="253"/>
                      </a:lnTo>
                      <a:lnTo>
                        <a:pt x="195" y="253"/>
                      </a:lnTo>
                      <a:lnTo>
                        <a:pt x="195" y="254"/>
                      </a:lnTo>
                      <a:lnTo>
                        <a:pt x="195" y="257"/>
                      </a:lnTo>
                      <a:lnTo>
                        <a:pt x="195" y="258"/>
                      </a:lnTo>
                      <a:lnTo>
                        <a:pt x="195" y="259"/>
                      </a:lnTo>
                      <a:lnTo>
                        <a:pt x="195" y="260"/>
                      </a:lnTo>
                      <a:lnTo>
                        <a:pt x="195" y="261"/>
                      </a:lnTo>
                      <a:lnTo>
                        <a:pt x="196" y="262"/>
                      </a:lnTo>
                      <a:lnTo>
                        <a:pt x="196" y="265"/>
                      </a:lnTo>
                      <a:lnTo>
                        <a:pt x="196" y="266"/>
                      </a:lnTo>
                      <a:lnTo>
                        <a:pt x="196" y="267"/>
                      </a:lnTo>
                      <a:lnTo>
                        <a:pt x="196" y="269"/>
                      </a:lnTo>
                      <a:lnTo>
                        <a:pt x="196" y="272"/>
                      </a:lnTo>
                      <a:lnTo>
                        <a:pt x="197" y="273"/>
                      </a:lnTo>
                      <a:lnTo>
                        <a:pt x="199" y="274"/>
                      </a:lnTo>
                      <a:lnTo>
                        <a:pt x="204" y="278"/>
                      </a:lnTo>
                      <a:lnTo>
                        <a:pt x="206" y="278"/>
                      </a:lnTo>
                      <a:lnTo>
                        <a:pt x="206" y="279"/>
                      </a:lnTo>
                      <a:lnTo>
                        <a:pt x="207" y="280"/>
                      </a:lnTo>
                      <a:lnTo>
                        <a:pt x="208" y="281"/>
                      </a:lnTo>
                      <a:lnTo>
                        <a:pt x="208" y="282"/>
                      </a:lnTo>
                      <a:lnTo>
                        <a:pt x="208" y="285"/>
                      </a:lnTo>
                      <a:lnTo>
                        <a:pt x="209" y="286"/>
                      </a:lnTo>
                      <a:lnTo>
                        <a:pt x="209" y="287"/>
                      </a:lnTo>
                      <a:lnTo>
                        <a:pt x="210" y="287"/>
                      </a:lnTo>
                      <a:lnTo>
                        <a:pt x="210" y="288"/>
                      </a:lnTo>
                      <a:lnTo>
                        <a:pt x="211" y="288"/>
                      </a:lnTo>
                      <a:lnTo>
                        <a:pt x="211" y="289"/>
                      </a:lnTo>
                      <a:lnTo>
                        <a:pt x="210" y="289"/>
                      </a:lnTo>
                      <a:lnTo>
                        <a:pt x="209" y="290"/>
                      </a:lnTo>
                      <a:lnTo>
                        <a:pt x="208" y="290"/>
                      </a:lnTo>
                      <a:lnTo>
                        <a:pt x="207" y="290"/>
                      </a:lnTo>
                      <a:lnTo>
                        <a:pt x="209" y="295"/>
                      </a:lnTo>
                      <a:lnTo>
                        <a:pt x="211" y="299"/>
                      </a:lnTo>
                      <a:lnTo>
                        <a:pt x="214" y="301"/>
                      </a:lnTo>
                      <a:lnTo>
                        <a:pt x="214" y="302"/>
                      </a:lnTo>
                      <a:lnTo>
                        <a:pt x="216" y="303"/>
                      </a:lnTo>
                      <a:lnTo>
                        <a:pt x="220" y="307"/>
                      </a:lnTo>
                      <a:lnTo>
                        <a:pt x="222" y="310"/>
                      </a:lnTo>
                      <a:lnTo>
                        <a:pt x="225" y="314"/>
                      </a:lnTo>
                      <a:lnTo>
                        <a:pt x="229" y="316"/>
                      </a:lnTo>
                      <a:lnTo>
                        <a:pt x="231" y="320"/>
                      </a:lnTo>
                      <a:lnTo>
                        <a:pt x="232" y="320"/>
                      </a:lnTo>
                      <a:lnTo>
                        <a:pt x="232" y="318"/>
                      </a:lnTo>
                      <a:lnTo>
                        <a:pt x="232" y="320"/>
                      </a:lnTo>
                      <a:lnTo>
                        <a:pt x="234" y="320"/>
                      </a:lnTo>
                      <a:lnTo>
                        <a:pt x="235" y="320"/>
                      </a:lnTo>
                      <a:lnTo>
                        <a:pt x="236" y="320"/>
                      </a:lnTo>
                      <a:lnTo>
                        <a:pt x="236" y="321"/>
                      </a:lnTo>
                      <a:lnTo>
                        <a:pt x="237" y="323"/>
                      </a:lnTo>
                      <a:lnTo>
                        <a:pt x="238" y="323"/>
                      </a:lnTo>
                      <a:lnTo>
                        <a:pt x="239" y="323"/>
                      </a:lnTo>
                      <a:lnTo>
                        <a:pt x="239" y="324"/>
                      </a:lnTo>
                      <a:lnTo>
                        <a:pt x="241" y="325"/>
                      </a:lnTo>
                      <a:lnTo>
                        <a:pt x="241" y="327"/>
                      </a:lnTo>
                      <a:lnTo>
                        <a:pt x="241" y="328"/>
                      </a:lnTo>
                      <a:lnTo>
                        <a:pt x="239" y="329"/>
                      </a:lnTo>
                      <a:lnTo>
                        <a:pt x="239" y="330"/>
                      </a:lnTo>
                      <a:lnTo>
                        <a:pt x="239" y="331"/>
                      </a:lnTo>
                      <a:lnTo>
                        <a:pt x="241" y="331"/>
                      </a:lnTo>
                      <a:lnTo>
                        <a:pt x="242" y="331"/>
                      </a:lnTo>
                      <a:lnTo>
                        <a:pt x="241" y="332"/>
                      </a:lnTo>
                      <a:lnTo>
                        <a:pt x="241" y="334"/>
                      </a:lnTo>
                      <a:lnTo>
                        <a:pt x="242" y="335"/>
                      </a:lnTo>
                      <a:lnTo>
                        <a:pt x="242" y="336"/>
                      </a:lnTo>
                      <a:lnTo>
                        <a:pt x="241" y="337"/>
                      </a:lnTo>
                      <a:lnTo>
                        <a:pt x="241" y="338"/>
                      </a:lnTo>
                      <a:lnTo>
                        <a:pt x="242" y="339"/>
                      </a:lnTo>
                      <a:lnTo>
                        <a:pt x="242" y="341"/>
                      </a:lnTo>
                      <a:lnTo>
                        <a:pt x="242" y="342"/>
                      </a:lnTo>
                      <a:lnTo>
                        <a:pt x="242" y="343"/>
                      </a:lnTo>
                      <a:lnTo>
                        <a:pt x="243" y="343"/>
                      </a:lnTo>
                      <a:lnTo>
                        <a:pt x="243" y="344"/>
                      </a:lnTo>
                      <a:lnTo>
                        <a:pt x="243" y="345"/>
                      </a:lnTo>
                      <a:lnTo>
                        <a:pt x="244" y="345"/>
                      </a:lnTo>
                      <a:lnTo>
                        <a:pt x="244" y="346"/>
                      </a:lnTo>
                      <a:lnTo>
                        <a:pt x="244" y="348"/>
                      </a:lnTo>
                      <a:lnTo>
                        <a:pt x="243" y="349"/>
                      </a:lnTo>
                      <a:lnTo>
                        <a:pt x="243" y="348"/>
                      </a:lnTo>
                      <a:lnTo>
                        <a:pt x="242" y="348"/>
                      </a:lnTo>
                      <a:lnTo>
                        <a:pt x="241" y="349"/>
                      </a:lnTo>
                      <a:lnTo>
                        <a:pt x="241" y="350"/>
                      </a:lnTo>
                      <a:lnTo>
                        <a:pt x="241" y="351"/>
                      </a:lnTo>
                      <a:lnTo>
                        <a:pt x="241" y="352"/>
                      </a:lnTo>
                      <a:lnTo>
                        <a:pt x="241" y="353"/>
                      </a:lnTo>
                      <a:lnTo>
                        <a:pt x="239" y="353"/>
                      </a:lnTo>
                      <a:lnTo>
                        <a:pt x="239" y="355"/>
                      </a:lnTo>
                      <a:lnTo>
                        <a:pt x="241" y="355"/>
                      </a:lnTo>
                      <a:lnTo>
                        <a:pt x="241" y="356"/>
                      </a:lnTo>
                      <a:lnTo>
                        <a:pt x="242" y="359"/>
                      </a:lnTo>
                      <a:lnTo>
                        <a:pt x="243" y="363"/>
                      </a:lnTo>
                      <a:lnTo>
                        <a:pt x="242" y="363"/>
                      </a:lnTo>
                      <a:lnTo>
                        <a:pt x="241" y="365"/>
                      </a:lnTo>
                      <a:lnTo>
                        <a:pt x="239" y="363"/>
                      </a:lnTo>
                      <a:lnTo>
                        <a:pt x="238" y="363"/>
                      </a:lnTo>
                      <a:lnTo>
                        <a:pt x="238" y="362"/>
                      </a:lnTo>
                      <a:lnTo>
                        <a:pt x="237" y="362"/>
                      </a:lnTo>
                      <a:lnTo>
                        <a:pt x="236" y="360"/>
                      </a:lnTo>
                      <a:lnTo>
                        <a:pt x="235" y="360"/>
                      </a:lnTo>
                      <a:lnTo>
                        <a:pt x="235" y="359"/>
                      </a:lnTo>
                      <a:lnTo>
                        <a:pt x="234" y="359"/>
                      </a:lnTo>
                      <a:lnTo>
                        <a:pt x="232" y="359"/>
                      </a:lnTo>
                      <a:lnTo>
                        <a:pt x="232" y="358"/>
                      </a:lnTo>
                      <a:lnTo>
                        <a:pt x="231" y="358"/>
                      </a:lnTo>
                      <a:lnTo>
                        <a:pt x="230" y="357"/>
                      </a:lnTo>
                      <a:lnTo>
                        <a:pt x="229" y="357"/>
                      </a:lnTo>
                      <a:lnTo>
                        <a:pt x="229" y="356"/>
                      </a:lnTo>
                      <a:lnTo>
                        <a:pt x="225" y="356"/>
                      </a:lnTo>
                      <a:lnTo>
                        <a:pt x="223" y="355"/>
                      </a:lnTo>
                      <a:lnTo>
                        <a:pt x="222" y="355"/>
                      </a:lnTo>
                      <a:lnTo>
                        <a:pt x="220" y="355"/>
                      </a:lnTo>
                      <a:lnTo>
                        <a:pt x="218" y="356"/>
                      </a:lnTo>
                      <a:lnTo>
                        <a:pt x="217" y="357"/>
                      </a:lnTo>
                      <a:lnTo>
                        <a:pt x="216" y="356"/>
                      </a:lnTo>
                      <a:lnTo>
                        <a:pt x="216" y="355"/>
                      </a:lnTo>
                      <a:lnTo>
                        <a:pt x="215" y="355"/>
                      </a:lnTo>
                      <a:lnTo>
                        <a:pt x="214" y="355"/>
                      </a:lnTo>
                      <a:lnTo>
                        <a:pt x="214" y="353"/>
                      </a:lnTo>
                      <a:lnTo>
                        <a:pt x="213" y="353"/>
                      </a:lnTo>
                      <a:lnTo>
                        <a:pt x="211" y="353"/>
                      </a:lnTo>
                      <a:lnTo>
                        <a:pt x="211" y="352"/>
                      </a:lnTo>
                      <a:lnTo>
                        <a:pt x="210" y="353"/>
                      </a:lnTo>
                      <a:lnTo>
                        <a:pt x="209" y="355"/>
                      </a:lnTo>
                      <a:lnTo>
                        <a:pt x="208" y="355"/>
                      </a:lnTo>
                      <a:lnTo>
                        <a:pt x="207" y="355"/>
                      </a:lnTo>
                      <a:lnTo>
                        <a:pt x="206" y="353"/>
                      </a:lnTo>
                      <a:lnTo>
                        <a:pt x="204" y="353"/>
                      </a:lnTo>
                      <a:lnTo>
                        <a:pt x="204" y="355"/>
                      </a:lnTo>
                      <a:lnTo>
                        <a:pt x="203" y="353"/>
                      </a:lnTo>
                      <a:lnTo>
                        <a:pt x="203" y="352"/>
                      </a:lnTo>
                      <a:lnTo>
                        <a:pt x="202" y="352"/>
                      </a:lnTo>
                      <a:lnTo>
                        <a:pt x="202" y="351"/>
                      </a:lnTo>
                      <a:lnTo>
                        <a:pt x="201" y="351"/>
                      </a:lnTo>
                      <a:lnTo>
                        <a:pt x="201" y="352"/>
                      </a:lnTo>
                      <a:lnTo>
                        <a:pt x="199" y="352"/>
                      </a:lnTo>
                      <a:lnTo>
                        <a:pt x="199" y="351"/>
                      </a:lnTo>
                      <a:lnTo>
                        <a:pt x="197" y="351"/>
                      </a:lnTo>
                      <a:lnTo>
                        <a:pt x="199" y="351"/>
                      </a:lnTo>
                      <a:lnTo>
                        <a:pt x="197" y="350"/>
                      </a:lnTo>
                      <a:lnTo>
                        <a:pt x="197" y="351"/>
                      </a:lnTo>
                      <a:lnTo>
                        <a:pt x="196" y="351"/>
                      </a:lnTo>
                      <a:lnTo>
                        <a:pt x="196" y="350"/>
                      </a:lnTo>
                      <a:lnTo>
                        <a:pt x="195" y="350"/>
                      </a:lnTo>
                      <a:lnTo>
                        <a:pt x="195" y="349"/>
                      </a:lnTo>
                      <a:lnTo>
                        <a:pt x="194" y="349"/>
                      </a:lnTo>
                      <a:lnTo>
                        <a:pt x="193" y="348"/>
                      </a:lnTo>
                      <a:lnTo>
                        <a:pt x="192" y="348"/>
                      </a:lnTo>
                      <a:lnTo>
                        <a:pt x="192" y="349"/>
                      </a:lnTo>
                      <a:lnTo>
                        <a:pt x="189" y="350"/>
                      </a:lnTo>
                      <a:lnTo>
                        <a:pt x="188" y="350"/>
                      </a:lnTo>
                      <a:lnTo>
                        <a:pt x="187" y="350"/>
                      </a:lnTo>
                      <a:lnTo>
                        <a:pt x="187" y="349"/>
                      </a:lnTo>
                      <a:lnTo>
                        <a:pt x="185" y="349"/>
                      </a:lnTo>
                      <a:lnTo>
                        <a:pt x="184" y="350"/>
                      </a:lnTo>
                      <a:lnTo>
                        <a:pt x="180" y="350"/>
                      </a:lnTo>
                      <a:lnTo>
                        <a:pt x="174" y="350"/>
                      </a:lnTo>
                      <a:lnTo>
                        <a:pt x="168" y="350"/>
                      </a:lnTo>
                      <a:lnTo>
                        <a:pt x="164" y="350"/>
                      </a:lnTo>
                      <a:lnTo>
                        <a:pt x="163" y="350"/>
                      </a:lnTo>
                      <a:lnTo>
                        <a:pt x="158" y="350"/>
                      </a:lnTo>
                      <a:lnTo>
                        <a:pt x="152" y="349"/>
                      </a:lnTo>
                      <a:lnTo>
                        <a:pt x="152" y="348"/>
                      </a:lnTo>
                      <a:lnTo>
                        <a:pt x="152" y="346"/>
                      </a:lnTo>
                      <a:lnTo>
                        <a:pt x="151" y="346"/>
                      </a:lnTo>
                      <a:lnTo>
                        <a:pt x="150" y="346"/>
                      </a:lnTo>
                      <a:lnTo>
                        <a:pt x="149" y="345"/>
                      </a:lnTo>
                      <a:lnTo>
                        <a:pt x="147" y="345"/>
                      </a:lnTo>
                      <a:lnTo>
                        <a:pt x="146" y="345"/>
                      </a:lnTo>
                      <a:lnTo>
                        <a:pt x="146" y="346"/>
                      </a:lnTo>
                      <a:lnTo>
                        <a:pt x="145" y="346"/>
                      </a:lnTo>
                      <a:lnTo>
                        <a:pt x="144" y="346"/>
                      </a:lnTo>
                      <a:lnTo>
                        <a:pt x="143" y="346"/>
                      </a:lnTo>
                      <a:lnTo>
                        <a:pt x="142" y="346"/>
                      </a:lnTo>
                      <a:lnTo>
                        <a:pt x="140" y="346"/>
                      </a:lnTo>
                      <a:lnTo>
                        <a:pt x="139" y="346"/>
                      </a:lnTo>
                      <a:lnTo>
                        <a:pt x="138" y="346"/>
                      </a:lnTo>
                      <a:lnTo>
                        <a:pt x="137" y="346"/>
                      </a:lnTo>
                      <a:lnTo>
                        <a:pt x="136" y="346"/>
                      </a:lnTo>
                      <a:lnTo>
                        <a:pt x="135" y="348"/>
                      </a:lnTo>
                      <a:lnTo>
                        <a:pt x="130" y="346"/>
                      </a:lnTo>
                      <a:lnTo>
                        <a:pt x="129" y="345"/>
                      </a:lnTo>
                      <a:lnTo>
                        <a:pt x="129" y="346"/>
                      </a:lnTo>
                      <a:lnTo>
                        <a:pt x="128" y="345"/>
                      </a:lnTo>
                      <a:lnTo>
                        <a:pt x="126" y="345"/>
                      </a:lnTo>
                      <a:lnTo>
                        <a:pt x="125" y="345"/>
                      </a:lnTo>
                      <a:lnTo>
                        <a:pt x="123" y="345"/>
                      </a:lnTo>
                      <a:lnTo>
                        <a:pt x="122" y="345"/>
                      </a:lnTo>
                      <a:lnTo>
                        <a:pt x="121" y="345"/>
                      </a:lnTo>
                      <a:lnTo>
                        <a:pt x="120" y="345"/>
                      </a:lnTo>
                      <a:lnTo>
                        <a:pt x="118" y="345"/>
                      </a:lnTo>
                      <a:lnTo>
                        <a:pt x="117" y="345"/>
                      </a:lnTo>
                      <a:lnTo>
                        <a:pt x="116" y="345"/>
                      </a:lnTo>
                      <a:lnTo>
                        <a:pt x="115" y="345"/>
                      </a:lnTo>
                      <a:lnTo>
                        <a:pt x="114" y="345"/>
                      </a:lnTo>
                      <a:lnTo>
                        <a:pt x="113" y="345"/>
                      </a:lnTo>
                      <a:lnTo>
                        <a:pt x="110" y="345"/>
                      </a:lnTo>
                      <a:lnTo>
                        <a:pt x="108" y="345"/>
                      </a:lnTo>
                      <a:lnTo>
                        <a:pt x="104" y="345"/>
                      </a:lnTo>
                      <a:lnTo>
                        <a:pt x="103" y="346"/>
                      </a:lnTo>
                      <a:lnTo>
                        <a:pt x="103" y="345"/>
                      </a:lnTo>
                      <a:lnTo>
                        <a:pt x="102" y="345"/>
                      </a:lnTo>
                      <a:lnTo>
                        <a:pt x="101" y="345"/>
                      </a:lnTo>
                      <a:lnTo>
                        <a:pt x="101" y="344"/>
                      </a:lnTo>
                      <a:lnTo>
                        <a:pt x="100" y="344"/>
                      </a:lnTo>
                      <a:lnTo>
                        <a:pt x="99" y="345"/>
                      </a:lnTo>
                      <a:lnTo>
                        <a:pt x="90" y="345"/>
                      </a:lnTo>
                      <a:lnTo>
                        <a:pt x="90" y="346"/>
                      </a:lnTo>
                      <a:lnTo>
                        <a:pt x="90" y="348"/>
                      </a:lnTo>
                      <a:lnTo>
                        <a:pt x="90" y="349"/>
                      </a:lnTo>
                      <a:lnTo>
                        <a:pt x="89" y="349"/>
                      </a:lnTo>
                      <a:lnTo>
                        <a:pt x="89" y="350"/>
                      </a:lnTo>
                      <a:lnTo>
                        <a:pt x="80" y="350"/>
                      </a:lnTo>
                      <a:lnTo>
                        <a:pt x="71" y="350"/>
                      </a:lnTo>
                      <a:lnTo>
                        <a:pt x="61" y="350"/>
                      </a:lnTo>
                      <a:lnTo>
                        <a:pt x="60" y="350"/>
                      </a:lnTo>
                      <a:lnTo>
                        <a:pt x="53" y="350"/>
                      </a:lnTo>
                      <a:lnTo>
                        <a:pt x="52" y="350"/>
                      </a:lnTo>
                      <a:lnTo>
                        <a:pt x="47" y="350"/>
                      </a:lnTo>
                      <a:lnTo>
                        <a:pt x="45" y="349"/>
                      </a:lnTo>
                      <a:lnTo>
                        <a:pt x="44" y="349"/>
                      </a:lnTo>
                      <a:lnTo>
                        <a:pt x="43" y="348"/>
                      </a:lnTo>
                      <a:lnTo>
                        <a:pt x="42" y="348"/>
                      </a:lnTo>
                      <a:lnTo>
                        <a:pt x="42" y="346"/>
                      </a:lnTo>
                      <a:lnTo>
                        <a:pt x="42" y="345"/>
                      </a:lnTo>
                      <a:lnTo>
                        <a:pt x="42" y="344"/>
                      </a:lnTo>
                      <a:lnTo>
                        <a:pt x="42" y="343"/>
                      </a:lnTo>
                      <a:lnTo>
                        <a:pt x="42" y="337"/>
                      </a:lnTo>
                      <a:lnTo>
                        <a:pt x="43" y="334"/>
                      </a:lnTo>
                      <a:lnTo>
                        <a:pt x="44" y="331"/>
                      </a:lnTo>
                      <a:lnTo>
                        <a:pt x="44" y="328"/>
                      </a:lnTo>
                      <a:lnTo>
                        <a:pt x="44" y="325"/>
                      </a:lnTo>
                      <a:lnTo>
                        <a:pt x="45" y="324"/>
                      </a:lnTo>
                      <a:lnTo>
                        <a:pt x="45" y="323"/>
                      </a:lnTo>
                      <a:lnTo>
                        <a:pt x="46" y="323"/>
                      </a:lnTo>
                      <a:lnTo>
                        <a:pt x="46" y="322"/>
                      </a:lnTo>
                      <a:lnTo>
                        <a:pt x="46" y="321"/>
                      </a:lnTo>
                      <a:lnTo>
                        <a:pt x="45" y="316"/>
                      </a:lnTo>
                      <a:lnTo>
                        <a:pt x="44" y="316"/>
                      </a:lnTo>
                      <a:lnTo>
                        <a:pt x="44" y="315"/>
                      </a:lnTo>
                      <a:lnTo>
                        <a:pt x="45" y="315"/>
                      </a:lnTo>
                      <a:lnTo>
                        <a:pt x="44" y="315"/>
                      </a:lnTo>
                      <a:lnTo>
                        <a:pt x="44" y="314"/>
                      </a:lnTo>
                      <a:lnTo>
                        <a:pt x="43" y="313"/>
                      </a:lnTo>
                      <a:lnTo>
                        <a:pt x="40" y="310"/>
                      </a:lnTo>
                      <a:lnTo>
                        <a:pt x="39" y="309"/>
                      </a:lnTo>
                      <a:lnTo>
                        <a:pt x="36" y="307"/>
                      </a:lnTo>
                      <a:lnTo>
                        <a:pt x="37" y="307"/>
                      </a:lnTo>
                      <a:lnTo>
                        <a:pt x="38" y="306"/>
                      </a:lnTo>
                      <a:lnTo>
                        <a:pt x="40" y="304"/>
                      </a:lnTo>
                      <a:lnTo>
                        <a:pt x="40" y="303"/>
                      </a:lnTo>
                      <a:lnTo>
                        <a:pt x="42" y="303"/>
                      </a:lnTo>
                      <a:lnTo>
                        <a:pt x="40" y="303"/>
                      </a:lnTo>
                      <a:lnTo>
                        <a:pt x="39" y="303"/>
                      </a:lnTo>
                      <a:lnTo>
                        <a:pt x="39" y="304"/>
                      </a:lnTo>
                      <a:lnTo>
                        <a:pt x="38" y="304"/>
                      </a:lnTo>
                      <a:lnTo>
                        <a:pt x="36" y="304"/>
                      </a:lnTo>
                      <a:lnTo>
                        <a:pt x="36" y="303"/>
                      </a:lnTo>
                      <a:lnTo>
                        <a:pt x="35" y="301"/>
                      </a:lnTo>
                      <a:lnTo>
                        <a:pt x="33" y="300"/>
                      </a:lnTo>
                      <a:lnTo>
                        <a:pt x="33" y="299"/>
                      </a:lnTo>
                      <a:lnTo>
                        <a:pt x="33" y="297"/>
                      </a:lnTo>
                      <a:lnTo>
                        <a:pt x="33" y="299"/>
                      </a:lnTo>
                      <a:lnTo>
                        <a:pt x="35" y="299"/>
                      </a:lnTo>
                      <a:lnTo>
                        <a:pt x="35" y="300"/>
                      </a:lnTo>
                      <a:lnTo>
                        <a:pt x="36" y="300"/>
                      </a:lnTo>
                      <a:lnTo>
                        <a:pt x="37" y="300"/>
                      </a:lnTo>
                      <a:lnTo>
                        <a:pt x="36" y="300"/>
                      </a:lnTo>
                      <a:lnTo>
                        <a:pt x="35" y="300"/>
                      </a:lnTo>
                      <a:lnTo>
                        <a:pt x="35" y="299"/>
                      </a:lnTo>
                      <a:lnTo>
                        <a:pt x="35" y="297"/>
                      </a:lnTo>
                      <a:lnTo>
                        <a:pt x="35" y="296"/>
                      </a:lnTo>
                      <a:lnTo>
                        <a:pt x="36" y="296"/>
                      </a:lnTo>
                      <a:lnTo>
                        <a:pt x="37" y="297"/>
                      </a:lnTo>
                      <a:lnTo>
                        <a:pt x="38" y="296"/>
                      </a:lnTo>
                      <a:lnTo>
                        <a:pt x="38" y="297"/>
                      </a:lnTo>
                      <a:lnTo>
                        <a:pt x="39" y="297"/>
                      </a:lnTo>
                      <a:lnTo>
                        <a:pt x="39" y="296"/>
                      </a:lnTo>
                      <a:lnTo>
                        <a:pt x="38" y="296"/>
                      </a:lnTo>
                      <a:lnTo>
                        <a:pt x="37" y="295"/>
                      </a:lnTo>
                      <a:lnTo>
                        <a:pt x="38" y="294"/>
                      </a:lnTo>
                      <a:lnTo>
                        <a:pt x="39" y="294"/>
                      </a:lnTo>
                      <a:lnTo>
                        <a:pt x="40" y="294"/>
                      </a:lnTo>
                      <a:lnTo>
                        <a:pt x="39" y="294"/>
                      </a:lnTo>
                      <a:lnTo>
                        <a:pt x="40" y="294"/>
                      </a:lnTo>
                      <a:lnTo>
                        <a:pt x="40" y="293"/>
                      </a:lnTo>
                      <a:lnTo>
                        <a:pt x="37" y="294"/>
                      </a:lnTo>
                      <a:lnTo>
                        <a:pt x="36" y="294"/>
                      </a:lnTo>
                      <a:lnTo>
                        <a:pt x="36" y="293"/>
                      </a:lnTo>
                      <a:lnTo>
                        <a:pt x="36" y="292"/>
                      </a:lnTo>
                      <a:lnTo>
                        <a:pt x="37" y="292"/>
                      </a:lnTo>
                      <a:lnTo>
                        <a:pt x="37" y="290"/>
                      </a:lnTo>
                      <a:lnTo>
                        <a:pt x="38" y="289"/>
                      </a:lnTo>
                      <a:lnTo>
                        <a:pt x="39" y="288"/>
                      </a:lnTo>
                      <a:lnTo>
                        <a:pt x="38" y="288"/>
                      </a:lnTo>
                      <a:lnTo>
                        <a:pt x="38" y="289"/>
                      </a:lnTo>
                      <a:lnTo>
                        <a:pt x="38" y="288"/>
                      </a:lnTo>
                      <a:lnTo>
                        <a:pt x="37" y="289"/>
                      </a:lnTo>
                      <a:lnTo>
                        <a:pt x="36" y="290"/>
                      </a:lnTo>
                      <a:lnTo>
                        <a:pt x="35" y="292"/>
                      </a:lnTo>
                      <a:lnTo>
                        <a:pt x="33" y="292"/>
                      </a:lnTo>
                      <a:lnTo>
                        <a:pt x="33" y="290"/>
                      </a:lnTo>
                      <a:lnTo>
                        <a:pt x="33" y="292"/>
                      </a:lnTo>
                      <a:lnTo>
                        <a:pt x="32" y="290"/>
                      </a:lnTo>
                      <a:lnTo>
                        <a:pt x="31" y="289"/>
                      </a:lnTo>
                      <a:lnTo>
                        <a:pt x="31" y="288"/>
                      </a:lnTo>
                      <a:lnTo>
                        <a:pt x="30" y="289"/>
                      </a:lnTo>
                      <a:lnTo>
                        <a:pt x="31" y="290"/>
                      </a:lnTo>
                      <a:lnTo>
                        <a:pt x="32" y="292"/>
                      </a:lnTo>
                      <a:lnTo>
                        <a:pt x="32" y="293"/>
                      </a:lnTo>
                      <a:lnTo>
                        <a:pt x="31" y="293"/>
                      </a:lnTo>
                      <a:lnTo>
                        <a:pt x="30" y="292"/>
                      </a:lnTo>
                      <a:lnTo>
                        <a:pt x="30" y="290"/>
                      </a:lnTo>
                      <a:lnTo>
                        <a:pt x="30" y="292"/>
                      </a:lnTo>
                      <a:lnTo>
                        <a:pt x="29" y="292"/>
                      </a:lnTo>
                      <a:lnTo>
                        <a:pt x="30" y="293"/>
                      </a:lnTo>
                      <a:lnTo>
                        <a:pt x="30" y="294"/>
                      </a:lnTo>
                      <a:lnTo>
                        <a:pt x="31" y="294"/>
                      </a:lnTo>
                      <a:lnTo>
                        <a:pt x="31" y="295"/>
                      </a:lnTo>
                      <a:lnTo>
                        <a:pt x="30" y="295"/>
                      </a:lnTo>
                      <a:lnTo>
                        <a:pt x="29" y="295"/>
                      </a:lnTo>
                      <a:lnTo>
                        <a:pt x="28" y="295"/>
                      </a:lnTo>
                      <a:lnTo>
                        <a:pt x="26" y="295"/>
                      </a:lnTo>
                      <a:lnTo>
                        <a:pt x="25" y="294"/>
                      </a:lnTo>
                      <a:lnTo>
                        <a:pt x="25" y="293"/>
                      </a:lnTo>
                      <a:lnTo>
                        <a:pt x="25" y="292"/>
                      </a:lnTo>
                      <a:lnTo>
                        <a:pt x="26" y="292"/>
                      </a:lnTo>
                      <a:lnTo>
                        <a:pt x="26" y="290"/>
                      </a:lnTo>
                      <a:lnTo>
                        <a:pt x="25" y="292"/>
                      </a:lnTo>
                      <a:lnTo>
                        <a:pt x="24" y="293"/>
                      </a:lnTo>
                      <a:lnTo>
                        <a:pt x="23" y="293"/>
                      </a:lnTo>
                      <a:lnTo>
                        <a:pt x="22" y="293"/>
                      </a:lnTo>
                      <a:lnTo>
                        <a:pt x="23" y="292"/>
                      </a:lnTo>
                      <a:lnTo>
                        <a:pt x="22" y="292"/>
                      </a:lnTo>
                      <a:lnTo>
                        <a:pt x="21" y="292"/>
                      </a:lnTo>
                      <a:lnTo>
                        <a:pt x="19" y="292"/>
                      </a:lnTo>
                      <a:lnTo>
                        <a:pt x="18" y="290"/>
                      </a:lnTo>
                      <a:lnTo>
                        <a:pt x="15" y="289"/>
                      </a:lnTo>
                      <a:lnTo>
                        <a:pt x="15" y="288"/>
                      </a:lnTo>
                      <a:lnTo>
                        <a:pt x="15" y="286"/>
                      </a:lnTo>
                      <a:lnTo>
                        <a:pt x="15" y="285"/>
                      </a:lnTo>
                      <a:lnTo>
                        <a:pt x="14" y="283"/>
                      </a:lnTo>
                      <a:lnTo>
                        <a:pt x="12" y="282"/>
                      </a:lnTo>
                      <a:lnTo>
                        <a:pt x="12" y="278"/>
                      </a:lnTo>
                      <a:lnTo>
                        <a:pt x="12" y="276"/>
                      </a:lnTo>
                      <a:lnTo>
                        <a:pt x="14" y="275"/>
                      </a:lnTo>
                      <a:lnTo>
                        <a:pt x="14" y="274"/>
                      </a:lnTo>
                      <a:lnTo>
                        <a:pt x="12" y="275"/>
                      </a:lnTo>
                      <a:lnTo>
                        <a:pt x="12" y="274"/>
                      </a:lnTo>
                      <a:lnTo>
                        <a:pt x="12" y="273"/>
                      </a:lnTo>
                      <a:lnTo>
                        <a:pt x="11" y="273"/>
                      </a:lnTo>
                      <a:lnTo>
                        <a:pt x="11" y="272"/>
                      </a:lnTo>
                      <a:lnTo>
                        <a:pt x="10" y="272"/>
                      </a:lnTo>
                      <a:lnTo>
                        <a:pt x="11" y="274"/>
                      </a:lnTo>
                      <a:lnTo>
                        <a:pt x="11" y="275"/>
                      </a:lnTo>
                      <a:lnTo>
                        <a:pt x="10" y="274"/>
                      </a:lnTo>
                      <a:lnTo>
                        <a:pt x="9" y="273"/>
                      </a:lnTo>
                      <a:lnTo>
                        <a:pt x="9" y="274"/>
                      </a:lnTo>
                      <a:lnTo>
                        <a:pt x="9" y="275"/>
                      </a:lnTo>
                      <a:lnTo>
                        <a:pt x="8" y="274"/>
                      </a:lnTo>
                      <a:lnTo>
                        <a:pt x="7" y="274"/>
                      </a:lnTo>
                      <a:lnTo>
                        <a:pt x="7" y="273"/>
                      </a:lnTo>
                      <a:lnTo>
                        <a:pt x="7" y="272"/>
                      </a:lnTo>
                      <a:lnTo>
                        <a:pt x="4" y="271"/>
                      </a:lnTo>
                      <a:lnTo>
                        <a:pt x="4" y="268"/>
                      </a:lnTo>
                      <a:lnTo>
                        <a:pt x="4" y="269"/>
                      </a:lnTo>
                      <a:lnTo>
                        <a:pt x="4" y="271"/>
                      </a:lnTo>
                      <a:lnTo>
                        <a:pt x="4" y="272"/>
                      </a:lnTo>
                      <a:lnTo>
                        <a:pt x="5" y="274"/>
                      </a:lnTo>
                      <a:lnTo>
                        <a:pt x="7" y="275"/>
                      </a:lnTo>
                      <a:lnTo>
                        <a:pt x="7" y="276"/>
                      </a:lnTo>
                      <a:lnTo>
                        <a:pt x="5" y="276"/>
                      </a:lnTo>
                      <a:lnTo>
                        <a:pt x="2" y="276"/>
                      </a:lnTo>
                      <a:lnTo>
                        <a:pt x="2" y="275"/>
                      </a:lnTo>
                      <a:lnTo>
                        <a:pt x="3" y="275"/>
                      </a:lnTo>
                      <a:lnTo>
                        <a:pt x="2" y="275"/>
                      </a:lnTo>
                      <a:lnTo>
                        <a:pt x="2" y="276"/>
                      </a:lnTo>
                      <a:lnTo>
                        <a:pt x="1" y="276"/>
                      </a:lnTo>
                      <a:lnTo>
                        <a:pt x="0" y="275"/>
                      </a:lnTo>
                      <a:lnTo>
                        <a:pt x="0" y="274"/>
                      </a:lnTo>
                      <a:lnTo>
                        <a:pt x="1" y="274"/>
                      </a:lnTo>
                      <a:lnTo>
                        <a:pt x="1" y="273"/>
                      </a:lnTo>
                      <a:lnTo>
                        <a:pt x="0" y="273"/>
                      </a:lnTo>
                      <a:lnTo>
                        <a:pt x="0" y="272"/>
                      </a:lnTo>
                      <a:lnTo>
                        <a:pt x="1" y="272"/>
                      </a:lnTo>
                      <a:lnTo>
                        <a:pt x="1" y="271"/>
                      </a:lnTo>
                      <a:lnTo>
                        <a:pt x="2" y="271"/>
                      </a:lnTo>
                      <a:lnTo>
                        <a:pt x="2" y="269"/>
                      </a:lnTo>
                      <a:lnTo>
                        <a:pt x="2" y="268"/>
                      </a:lnTo>
                      <a:lnTo>
                        <a:pt x="2" y="267"/>
                      </a:lnTo>
                      <a:lnTo>
                        <a:pt x="2" y="266"/>
                      </a:lnTo>
                      <a:lnTo>
                        <a:pt x="3" y="266"/>
                      </a:lnTo>
                      <a:lnTo>
                        <a:pt x="3" y="265"/>
                      </a:lnTo>
                      <a:lnTo>
                        <a:pt x="3" y="264"/>
                      </a:lnTo>
                      <a:lnTo>
                        <a:pt x="4" y="264"/>
                      </a:lnTo>
                      <a:lnTo>
                        <a:pt x="4" y="262"/>
                      </a:lnTo>
                      <a:lnTo>
                        <a:pt x="5" y="260"/>
                      </a:lnTo>
                      <a:lnTo>
                        <a:pt x="7" y="259"/>
                      </a:lnTo>
                      <a:lnTo>
                        <a:pt x="7" y="258"/>
                      </a:lnTo>
                      <a:lnTo>
                        <a:pt x="8" y="257"/>
                      </a:lnTo>
                      <a:lnTo>
                        <a:pt x="8" y="255"/>
                      </a:lnTo>
                      <a:lnTo>
                        <a:pt x="9" y="255"/>
                      </a:lnTo>
                      <a:lnTo>
                        <a:pt x="10" y="251"/>
                      </a:lnTo>
                      <a:lnTo>
                        <a:pt x="9" y="250"/>
                      </a:lnTo>
                      <a:lnTo>
                        <a:pt x="10" y="248"/>
                      </a:lnTo>
                      <a:lnTo>
                        <a:pt x="10" y="247"/>
                      </a:lnTo>
                      <a:lnTo>
                        <a:pt x="10" y="246"/>
                      </a:lnTo>
                      <a:lnTo>
                        <a:pt x="10" y="245"/>
                      </a:lnTo>
                      <a:lnTo>
                        <a:pt x="10" y="244"/>
                      </a:lnTo>
                      <a:lnTo>
                        <a:pt x="11" y="244"/>
                      </a:lnTo>
                      <a:lnTo>
                        <a:pt x="11" y="243"/>
                      </a:lnTo>
                      <a:lnTo>
                        <a:pt x="12" y="243"/>
                      </a:lnTo>
                      <a:lnTo>
                        <a:pt x="12" y="241"/>
                      </a:lnTo>
                      <a:lnTo>
                        <a:pt x="11" y="240"/>
                      </a:lnTo>
                      <a:lnTo>
                        <a:pt x="10" y="239"/>
                      </a:lnTo>
                      <a:lnTo>
                        <a:pt x="9" y="238"/>
                      </a:lnTo>
                      <a:lnTo>
                        <a:pt x="10" y="238"/>
                      </a:lnTo>
                      <a:lnTo>
                        <a:pt x="10" y="237"/>
                      </a:lnTo>
                      <a:lnTo>
                        <a:pt x="11" y="237"/>
                      </a:lnTo>
                      <a:lnTo>
                        <a:pt x="11" y="236"/>
                      </a:lnTo>
                      <a:lnTo>
                        <a:pt x="10" y="236"/>
                      </a:lnTo>
                      <a:lnTo>
                        <a:pt x="10" y="234"/>
                      </a:lnTo>
                      <a:lnTo>
                        <a:pt x="10" y="233"/>
                      </a:lnTo>
                      <a:lnTo>
                        <a:pt x="11" y="233"/>
                      </a:lnTo>
                      <a:lnTo>
                        <a:pt x="12" y="232"/>
                      </a:lnTo>
                      <a:lnTo>
                        <a:pt x="14" y="232"/>
                      </a:lnTo>
                      <a:lnTo>
                        <a:pt x="15" y="232"/>
                      </a:lnTo>
                      <a:lnTo>
                        <a:pt x="15" y="231"/>
                      </a:lnTo>
                      <a:lnTo>
                        <a:pt x="16" y="230"/>
                      </a:lnTo>
                      <a:lnTo>
                        <a:pt x="16" y="229"/>
                      </a:lnTo>
                      <a:lnTo>
                        <a:pt x="19" y="225"/>
                      </a:lnTo>
                      <a:lnTo>
                        <a:pt x="24" y="222"/>
                      </a:lnTo>
                      <a:lnTo>
                        <a:pt x="24" y="220"/>
                      </a:lnTo>
                      <a:lnTo>
                        <a:pt x="25" y="219"/>
                      </a:lnTo>
                      <a:lnTo>
                        <a:pt x="26" y="218"/>
                      </a:lnTo>
                      <a:lnTo>
                        <a:pt x="28" y="218"/>
                      </a:lnTo>
                      <a:lnTo>
                        <a:pt x="29" y="218"/>
                      </a:lnTo>
                      <a:lnTo>
                        <a:pt x="30" y="216"/>
                      </a:lnTo>
                      <a:lnTo>
                        <a:pt x="31" y="216"/>
                      </a:lnTo>
                      <a:lnTo>
                        <a:pt x="32" y="215"/>
                      </a:lnTo>
                      <a:lnTo>
                        <a:pt x="33" y="213"/>
                      </a:lnTo>
                      <a:lnTo>
                        <a:pt x="33" y="212"/>
                      </a:lnTo>
                      <a:lnTo>
                        <a:pt x="35" y="212"/>
                      </a:lnTo>
                      <a:lnTo>
                        <a:pt x="36" y="212"/>
                      </a:lnTo>
                      <a:lnTo>
                        <a:pt x="37" y="212"/>
                      </a:lnTo>
                      <a:lnTo>
                        <a:pt x="37" y="211"/>
                      </a:lnTo>
                      <a:lnTo>
                        <a:pt x="39" y="204"/>
                      </a:lnTo>
                      <a:lnTo>
                        <a:pt x="40" y="203"/>
                      </a:lnTo>
                      <a:lnTo>
                        <a:pt x="42" y="203"/>
                      </a:lnTo>
                      <a:lnTo>
                        <a:pt x="42" y="204"/>
                      </a:lnTo>
                      <a:lnTo>
                        <a:pt x="43" y="203"/>
                      </a:lnTo>
                      <a:lnTo>
                        <a:pt x="51" y="197"/>
                      </a:lnTo>
                      <a:lnTo>
                        <a:pt x="51" y="196"/>
                      </a:lnTo>
                      <a:lnTo>
                        <a:pt x="52" y="196"/>
                      </a:lnTo>
                      <a:lnTo>
                        <a:pt x="52" y="197"/>
                      </a:lnTo>
                      <a:lnTo>
                        <a:pt x="52" y="199"/>
                      </a:lnTo>
                      <a:lnTo>
                        <a:pt x="53" y="199"/>
                      </a:lnTo>
                      <a:lnTo>
                        <a:pt x="53" y="201"/>
                      </a:lnTo>
                      <a:lnTo>
                        <a:pt x="54" y="201"/>
                      </a:lnTo>
                      <a:lnTo>
                        <a:pt x="62" y="201"/>
                      </a:lnTo>
                      <a:lnTo>
                        <a:pt x="62" y="199"/>
                      </a:lnTo>
                      <a:lnTo>
                        <a:pt x="62" y="198"/>
                      </a:lnTo>
                      <a:lnTo>
                        <a:pt x="64" y="198"/>
                      </a:lnTo>
                      <a:lnTo>
                        <a:pt x="64" y="196"/>
                      </a:lnTo>
                      <a:lnTo>
                        <a:pt x="64" y="195"/>
                      </a:lnTo>
                      <a:lnTo>
                        <a:pt x="65" y="194"/>
                      </a:lnTo>
                      <a:lnTo>
                        <a:pt x="65" y="192"/>
                      </a:lnTo>
                      <a:lnTo>
                        <a:pt x="66" y="194"/>
                      </a:lnTo>
                      <a:lnTo>
                        <a:pt x="66" y="195"/>
                      </a:lnTo>
                      <a:lnTo>
                        <a:pt x="67" y="195"/>
                      </a:lnTo>
                      <a:lnTo>
                        <a:pt x="69" y="196"/>
                      </a:lnTo>
                      <a:lnTo>
                        <a:pt x="72" y="197"/>
                      </a:lnTo>
                      <a:lnTo>
                        <a:pt x="73" y="198"/>
                      </a:lnTo>
                      <a:lnTo>
                        <a:pt x="74" y="199"/>
                      </a:lnTo>
                      <a:lnTo>
                        <a:pt x="74" y="201"/>
                      </a:lnTo>
                      <a:lnTo>
                        <a:pt x="74" y="202"/>
                      </a:lnTo>
                      <a:lnTo>
                        <a:pt x="75" y="203"/>
                      </a:lnTo>
                      <a:lnTo>
                        <a:pt x="79" y="204"/>
                      </a:lnTo>
                      <a:lnTo>
                        <a:pt x="80" y="204"/>
                      </a:lnTo>
                      <a:lnTo>
                        <a:pt x="80" y="206"/>
                      </a:lnTo>
                      <a:lnTo>
                        <a:pt x="80" y="208"/>
                      </a:lnTo>
                      <a:lnTo>
                        <a:pt x="80" y="209"/>
                      </a:lnTo>
                      <a:lnTo>
                        <a:pt x="80" y="210"/>
                      </a:lnTo>
                      <a:lnTo>
                        <a:pt x="81" y="212"/>
                      </a:lnTo>
                      <a:lnTo>
                        <a:pt x="81" y="213"/>
                      </a:lnTo>
                      <a:lnTo>
                        <a:pt x="82" y="215"/>
                      </a:lnTo>
                      <a:lnTo>
                        <a:pt x="83" y="215"/>
                      </a:lnTo>
                      <a:lnTo>
                        <a:pt x="85" y="215"/>
                      </a:lnTo>
                      <a:lnTo>
                        <a:pt x="86" y="215"/>
                      </a:lnTo>
                      <a:lnTo>
                        <a:pt x="87" y="215"/>
                      </a:lnTo>
                      <a:lnTo>
                        <a:pt x="87" y="213"/>
                      </a:lnTo>
                      <a:lnTo>
                        <a:pt x="88" y="215"/>
                      </a:lnTo>
                      <a:lnTo>
                        <a:pt x="89" y="215"/>
                      </a:lnTo>
                      <a:lnTo>
                        <a:pt x="90" y="213"/>
                      </a:lnTo>
                      <a:lnTo>
                        <a:pt x="92" y="212"/>
                      </a:lnTo>
                      <a:lnTo>
                        <a:pt x="92" y="211"/>
                      </a:lnTo>
                      <a:lnTo>
                        <a:pt x="92" y="210"/>
                      </a:lnTo>
                      <a:lnTo>
                        <a:pt x="93" y="209"/>
                      </a:lnTo>
                      <a:lnTo>
                        <a:pt x="94" y="209"/>
                      </a:lnTo>
                      <a:lnTo>
                        <a:pt x="95" y="209"/>
                      </a:lnTo>
                      <a:lnTo>
                        <a:pt x="95" y="208"/>
                      </a:lnTo>
                      <a:lnTo>
                        <a:pt x="96" y="205"/>
                      </a:lnTo>
                      <a:lnTo>
                        <a:pt x="96" y="204"/>
                      </a:lnTo>
                      <a:lnTo>
                        <a:pt x="96" y="203"/>
                      </a:lnTo>
                      <a:lnTo>
                        <a:pt x="96" y="202"/>
                      </a:lnTo>
                      <a:lnTo>
                        <a:pt x="95" y="202"/>
                      </a:lnTo>
                      <a:lnTo>
                        <a:pt x="96" y="201"/>
                      </a:lnTo>
                      <a:lnTo>
                        <a:pt x="99" y="198"/>
                      </a:lnTo>
                      <a:lnTo>
                        <a:pt x="100" y="197"/>
                      </a:lnTo>
                      <a:lnTo>
                        <a:pt x="101" y="196"/>
                      </a:lnTo>
                      <a:lnTo>
                        <a:pt x="102" y="196"/>
                      </a:lnTo>
                      <a:lnTo>
                        <a:pt x="103" y="195"/>
                      </a:lnTo>
                      <a:lnTo>
                        <a:pt x="104" y="194"/>
                      </a:lnTo>
                      <a:lnTo>
                        <a:pt x="106" y="194"/>
                      </a:lnTo>
                      <a:lnTo>
                        <a:pt x="107" y="192"/>
                      </a:lnTo>
                      <a:lnTo>
                        <a:pt x="106" y="192"/>
                      </a:lnTo>
                      <a:lnTo>
                        <a:pt x="104" y="191"/>
                      </a:lnTo>
                      <a:lnTo>
                        <a:pt x="103" y="189"/>
                      </a:lnTo>
                      <a:lnTo>
                        <a:pt x="103" y="188"/>
                      </a:lnTo>
                      <a:lnTo>
                        <a:pt x="102" y="188"/>
                      </a:lnTo>
                      <a:lnTo>
                        <a:pt x="102" y="187"/>
                      </a:lnTo>
                      <a:lnTo>
                        <a:pt x="103" y="187"/>
                      </a:lnTo>
                      <a:lnTo>
                        <a:pt x="106" y="183"/>
                      </a:lnTo>
                      <a:lnTo>
                        <a:pt x="107" y="182"/>
                      </a:lnTo>
                      <a:lnTo>
                        <a:pt x="109" y="180"/>
                      </a:lnTo>
                      <a:lnTo>
                        <a:pt x="110" y="178"/>
                      </a:lnTo>
                      <a:lnTo>
                        <a:pt x="110" y="177"/>
                      </a:lnTo>
                      <a:lnTo>
                        <a:pt x="111" y="177"/>
                      </a:lnTo>
                      <a:lnTo>
                        <a:pt x="110" y="175"/>
                      </a:lnTo>
                      <a:lnTo>
                        <a:pt x="110" y="174"/>
                      </a:lnTo>
                      <a:lnTo>
                        <a:pt x="111" y="171"/>
                      </a:lnTo>
                      <a:lnTo>
                        <a:pt x="115" y="167"/>
                      </a:lnTo>
                      <a:lnTo>
                        <a:pt x="116" y="166"/>
                      </a:lnTo>
                      <a:lnTo>
                        <a:pt x="116" y="164"/>
                      </a:lnTo>
                      <a:lnTo>
                        <a:pt x="116" y="163"/>
                      </a:lnTo>
                      <a:lnTo>
                        <a:pt x="116" y="162"/>
                      </a:lnTo>
                      <a:lnTo>
                        <a:pt x="116" y="161"/>
                      </a:lnTo>
                      <a:lnTo>
                        <a:pt x="117" y="159"/>
                      </a:lnTo>
                      <a:lnTo>
                        <a:pt x="117" y="157"/>
                      </a:lnTo>
                      <a:lnTo>
                        <a:pt x="117" y="155"/>
                      </a:lnTo>
                      <a:lnTo>
                        <a:pt x="117" y="153"/>
                      </a:lnTo>
                      <a:lnTo>
                        <a:pt x="117" y="152"/>
                      </a:lnTo>
                      <a:lnTo>
                        <a:pt x="118" y="150"/>
                      </a:lnTo>
                      <a:lnTo>
                        <a:pt x="120" y="150"/>
                      </a:lnTo>
                      <a:lnTo>
                        <a:pt x="121" y="150"/>
                      </a:lnTo>
                      <a:lnTo>
                        <a:pt x="121" y="149"/>
                      </a:lnTo>
                      <a:lnTo>
                        <a:pt x="122" y="149"/>
                      </a:lnTo>
                      <a:lnTo>
                        <a:pt x="123" y="148"/>
                      </a:lnTo>
                      <a:lnTo>
                        <a:pt x="123" y="147"/>
                      </a:lnTo>
                      <a:lnTo>
                        <a:pt x="122" y="145"/>
                      </a:lnTo>
                      <a:lnTo>
                        <a:pt x="123" y="145"/>
                      </a:lnTo>
                      <a:lnTo>
                        <a:pt x="124" y="145"/>
                      </a:lnTo>
                      <a:lnTo>
                        <a:pt x="125" y="145"/>
                      </a:lnTo>
                      <a:lnTo>
                        <a:pt x="126" y="145"/>
                      </a:lnTo>
                      <a:lnTo>
                        <a:pt x="128" y="145"/>
                      </a:lnTo>
                      <a:lnTo>
                        <a:pt x="131" y="143"/>
                      </a:lnTo>
                      <a:lnTo>
                        <a:pt x="131" y="142"/>
                      </a:lnTo>
                      <a:lnTo>
                        <a:pt x="132" y="141"/>
                      </a:lnTo>
                      <a:lnTo>
                        <a:pt x="132" y="140"/>
                      </a:lnTo>
                      <a:lnTo>
                        <a:pt x="133" y="140"/>
                      </a:lnTo>
                      <a:lnTo>
                        <a:pt x="135" y="140"/>
                      </a:lnTo>
                      <a:lnTo>
                        <a:pt x="135" y="139"/>
                      </a:lnTo>
                      <a:lnTo>
                        <a:pt x="136" y="138"/>
                      </a:lnTo>
                      <a:lnTo>
                        <a:pt x="136" y="132"/>
                      </a:lnTo>
                      <a:lnTo>
                        <a:pt x="136" y="131"/>
                      </a:lnTo>
                      <a:lnTo>
                        <a:pt x="136" y="129"/>
                      </a:lnTo>
                      <a:lnTo>
                        <a:pt x="137" y="127"/>
                      </a:lnTo>
                      <a:lnTo>
                        <a:pt x="138" y="125"/>
                      </a:lnTo>
                      <a:lnTo>
                        <a:pt x="138" y="124"/>
                      </a:lnTo>
                      <a:lnTo>
                        <a:pt x="138" y="122"/>
                      </a:lnTo>
                      <a:lnTo>
                        <a:pt x="138" y="121"/>
                      </a:lnTo>
                      <a:lnTo>
                        <a:pt x="137" y="120"/>
                      </a:lnTo>
                      <a:lnTo>
                        <a:pt x="139" y="119"/>
                      </a:lnTo>
                      <a:lnTo>
                        <a:pt x="140" y="117"/>
                      </a:lnTo>
                      <a:lnTo>
                        <a:pt x="143" y="115"/>
                      </a:lnTo>
                      <a:lnTo>
                        <a:pt x="145" y="115"/>
                      </a:lnTo>
                      <a:lnTo>
                        <a:pt x="147" y="114"/>
                      </a:lnTo>
                      <a:lnTo>
                        <a:pt x="149" y="112"/>
                      </a:lnTo>
                      <a:lnTo>
                        <a:pt x="149" y="111"/>
                      </a:lnTo>
                      <a:lnTo>
                        <a:pt x="149" y="108"/>
                      </a:lnTo>
                      <a:lnTo>
                        <a:pt x="150" y="107"/>
                      </a:lnTo>
                      <a:lnTo>
                        <a:pt x="150" y="106"/>
                      </a:lnTo>
                      <a:lnTo>
                        <a:pt x="149" y="105"/>
                      </a:lnTo>
                      <a:lnTo>
                        <a:pt x="149" y="104"/>
                      </a:lnTo>
                      <a:lnTo>
                        <a:pt x="149" y="103"/>
                      </a:lnTo>
                      <a:lnTo>
                        <a:pt x="149" y="101"/>
                      </a:lnTo>
                      <a:lnTo>
                        <a:pt x="150" y="100"/>
                      </a:lnTo>
                      <a:lnTo>
                        <a:pt x="149" y="100"/>
                      </a:lnTo>
                      <a:lnTo>
                        <a:pt x="149" y="99"/>
                      </a:lnTo>
                      <a:lnTo>
                        <a:pt x="149" y="98"/>
                      </a:lnTo>
                      <a:lnTo>
                        <a:pt x="150" y="97"/>
                      </a:lnTo>
                      <a:lnTo>
                        <a:pt x="153" y="97"/>
                      </a:lnTo>
                      <a:lnTo>
                        <a:pt x="154" y="96"/>
                      </a:lnTo>
                      <a:lnTo>
                        <a:pt x="156" y="94"/>
                      </a:lnTo>
                      <a:lnTo>
                        <a:pt x="156" y="93"/>
                      </a:lnTo>
                      <a:lnTo>
                        <a:pt x="156" y="92"/>
                      </a:lnTo>
                      <a:lnTo>
                        <a:pt x="157" y="90"/>
                      </a:lnTo>
                      <a:lnTo>
                        <a:pt x="157" y="84"/>
                      </a:lnTo>
                      <a:lnTo>
                        <a:pt x="158" y="79"/>
                      </a:lnTo>
                      <a:lnTo>
                        <a:pt x="159" y="78"/>
                      </a:lnTo>
                      <a:lnTo>
                        <a:pt x="165" y="70"/>
                      </a:lnTo>
                      <a:lnTo>
                        <a:pt x="165" y="69"/>
                      </a:lnTo>
                      <a:lnTo>
                        <a:pt x="165" y="68"/>
                      </a:lnTo>
                      <a:lnTo>
                        <a:pt x="166" y="66"/>
                      </a:lnTo>
                      <a:lnTo>
                        <a:pt x="167" y="65"/>
                      </a:lnTo>
                      <a:lnTo>
                        <a:pt x="168" y="64"/>
                      </a:lnTo>
                      <a:lnTo>
                        <a:pt x="170" y="62"/>
                      </a:lnTo>
                      <a:lnTo>
                        <a:pt x="170" y="61"/>
                      </a:lnTo>
                      <a:lnTo>
                        <a:pt x="171" y="59"/>
                      </a:lnTo>
                      <a:lnTo>
                        <a:pt x="172" y="58"/>
                      </a:lnTo>
                      <a:lnTo>
                        <a:pt x="173" y="58"/>
                      </a:lnTo>
                      <a:lnTo>
                        <a:pt x="174" y="59"/>
                      </a:lnTo>
                      <a:lnTo>
                        <a:pt x="177" y="59"/>
                      </a:lnTo>
                      <a:lnTo>
                        <a:pt x="178" y="59"/>
                      </a:lnTo>
                      <a:lnTo>
                        <a:pt x="179" y="59"/>
                      </a:lnTo>
                      <a:lnTo>
                        <a:pt x="180" y="59"/>
                      </a:lnTo>
                      <a:lnTo>
                        <a:pt x="180" y="58"/>
                      </a:lnTo>
                      <a:lnTo>
                        <a:pt x="181" y="58"/>
                      </a:lnTo>
                      <a:lnTo>
                        <a:pt x="182" y="58"/>
                      </a:lnTo>
                      <a:lnTo>
                        <a:pt x="185" y="55"/>
                      </a:lnTo>
                      <a:lnTo>
                        <a:pt x="186" y="55"/>
                      </a:lnTo>
                      <a:lnTo>
                        <a:pt x="187" y="54"/>
                      </a:lnTo>
                      <a:lnTo>
                        <a:pt x="188" y="54"/>
                      </a:lnTo>
                      <a:lnTo>
                        <a:pt x="189" y="52"/>
                      </a:lnTo>
                      <a:lnTo>
                        <a:pt x="192" y="51"/>
                      </a:lnTo>
                      <a:lnTo>
                        <a:pt x="193" y="50"/>
                      </a:lnTo>
                      <a:lnTo>
                        <a:pt x="193" y="49"/>
                      </a:lnTo>
                      <a:lnTo>
                        <a:pt x="193" y="48"/>
                      </a:lnTo>
                      <a:lnTo>
                        <a:pt x="193" y="47"/>
                      </a:lnTo>
                      <a:lnTo>
                        <a:pt x="192" y="45"/>
                      </a:lnTo>
                      <a:lnTo>
                        <a:pt x="190" y="45"/>
                      </a:lnTo>
                      <a:lnTo>
                        <a:pt x="190" y="44"/>
                      </a:lnTo>
                      <a:lnTo>
                        <a:pt x="192" y="43"/>
                      </a:lnTo>
                      <a:lnTo>
                        <a:pt x="192" y="42"/>
                      </a:lnTo>
                      <a:lnTo>
                        <a:pt x="193" y="38"/>
                      </a:lnTo>
                      <a:lnTo>
                        <a:pt x="193" y="37"/>
                      </a:lnTo>
                      <a:lnTo>
                        <a:pt x="193" y="36"/>
                      </a:lnTo>
                      <a:lnTo>
                        <a:pt x="192" y="35"/>
                      </a:lnTo>
                      <a:lnTo>
                        <a:pt x="192" y="34"/>
                      </a:lnTo>
                      <a:lnTo>
                        <a:pt x="193" y="34"/>
                      </a:lnTo>
                      <a:lnTo>
                        <a:pt x="193" y="31"/>
                      </a:lnTo>
                      <a:lnTo>
                        <a:pt x="193" y="30"/>
                      </a:lnTo>
                      <a:lnTo>
                        <a:pt x="194" y="30"/>
                      </a:lnTo>
                      <a:lnTo>
                        <a:pt x="194" y="29"/>
                      </a:lnTo>
                      <a:lnTo>
                        <a:pt x="193" y="29"/>
                      </a:lnTo>
                      <a:lnTo>
                        <a:pt x="192" y="28"/>
                      </a:lnTo>
                      <a:lnTo>
                        <a:pt x="190" y="28"/>
                      </a:lnTo>
                      <a:lnTo>
                        <a:pt x="190" y="27"/>
                      </a:lnTo>
                      <a:lnTo>
                        <a:pt x="189" y="26"/>
                      </a:lnTo>
                      <a:lnTo>
                        <a:pt x="189" y="24"/>
                      </a:lnTo>
                      <a:lnTo>
                        <a:pt x="188" y="24"/>
                      </a:lnTo>
                      <a:lnTo>
                        <a:pt x="186" y="23"/>
                      </a:lnTo>
                      <a:lnTo>
                        <a:pt x="180" y="23"/>
                      </a:lnTo>
                      <a:lnTo>
                        <a:pt x="179" y="23"/>
                      </a:lnTo>
                      <a:lnTo>
                        <a:pt x="179" y="22"/>
                      </a:lnTo>
                      <a:lnTo>
                        <a:pt x="179" y="21"/>
                      </a:lnTo>
                      <a:lnTo>
                        <a:pt x="179" y="20"/>
                      </a:lnTo>
                      <a:lnTo>
                        <a:pt x="179" y="17"/>
                      </a:lnTo>
                      <a:lnTo>
                        <a:pt x="177" y="9"/>
                      </a:lnTo>
                      <a:lnTo>
                        <a:pt x="174" y="0"/>
                      </a:lnTo>
                      <a:lnTo>
                        <a:pt x="182" y="0"/>
                      </a:lnTo>
                      <a:close/>
                      <a:moveTo>
                        <a:pt x="185" y="0"/>
                      </a:moveTo>
                      <a:lnTo>
                        <a:pt x="185" y="1"/>
                      </a:lnTo>
                      <a:lnTo>
                        <a:pt x="185" y="0"/>
                      </a:lnTo>
                      <a:lnTo>
                        <a:pt x="184" y="0"/>
                      </a:lnTo>
                      <a:lnTo>
                        <a:pt x="18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3" name="Freeform 80">
                  <a:extLst>
                    <a:ext uri="{FF2B5EF4-FFF2-40B4-BE49-F238E27FC236}">
                      <a16:creationId xmlns:a16="http://schemas.microsoft.com/office/drawing/2014/main" id="{6E252275-34AB-1B11-1F65-B7788CD98A39}"/>
                    </a:ext>
                  </a:extLst>
                </p:cNvPr>
                <p:cNvSpPr>
                  <a:spLocks noEditPoints="1"/>
                </p:cNvSpPr>
                <p:nvPr/>
              </p:nvSpPr>
              <p:spPr bwMode="auto">
                <a:xfrm>
                  <a:off x="6649893" y="3613640"/>
                  <a:ext cx="651203" cy="645794"/>
                </a:xfrm>
                <a:custGeom>
                  <a:avLst/>
                  <a:gdLst>
                    <a:gd name="T0" fmla="*/ 530 w 602"/>
                    <a:gd name="T1" fmla="*/ 238 h 597"/>
                    <a:gd name="T2" fmla="*/ 436 w 602"/>
                    <a:gd name="T3" fmla="*/ 6 h 597"/>
                    <a:gd name="T4" fmla="*/ 463 w 602"/>
                    <a:gd name="T5" fmla="*/ 12 h 597"/>
                    <a:gd name="T6" fmla="*/ 491 w 602"/>
                    <a:gd name="T7" fmla="*/ 26 h 597"/>
                    <a:gd name="T8" fmla="*/ 521 w 602"/>
                    <a:gd name="T9" fmla="*/ 27 h 597"/>
                    <a:gd name="T10" fmla="*/ 550 w 602"/>
                    <a:gd name="T11" fmla="*/ 23 h 597"/>
                    <a:gd name="T12" fmla="*/ 576 w 602"/>
                    <a:gd name="T13" fmla="*/ 48 h 597"/>
                    <a:gd name="T14" fmla="*/ 588 w 602"/>
                    <a:gd name="T15" fmla="*/ 67 h 597"/>
                    <a:gd name="T16" fmla="*/ 593 w 602"/>
                    <a:gd name="T17" fmla="*/ 96 h 597"/>
                    <a:gd name="T18" fmla="*/ 579 w 602"/>
                    <a:gd name="T19" fmla="*/ 121 h 597"/>
                    <a:gd name="T20" fmla="*/ 560 w 602"/>
                    <a:gd name="T21" fmla="*/ 145 h 597"/>
                    <a:gd name="T22" fmla="*/ 541 w 602"/>
                    <a:gd name="T23" fmla="*/ 186 h 597"/>
                    <a:gd name="T24" fmla="*/ 549 w 602"/>
                    <a:gd name="T25" fmla="*/ 196 h 597"/>
                    <a:gd name="T26" fmla="*/ 530 w 602"/>
                    <a:gd name="T27" fmla="*/ 222 h 597"/>
                    <a:gd name="T28" fmla="*/ 527 w 602"/>
                    <a:gd name="T29" fmla="*/ 240 h 597"/>
                    <a:gd name="T30" fmla="*/ 535 w 602"/>
                    <a:gd name="T31" fmla="*/ 265 h 597"/>
                    <a:gd name="T32" fmla="*/ 532 w 602"/>
                    <a:gd name="T33" fmla="*/ 305 h 597"/>
                    <a:gd name="T34" fmla="*/ 537 w 602"/>
                    <a:gd name="T35" fmla="*/ 341 h 597"/>
                    <a:gd name="T36" fmla="*/ 544 w 602"/>
                    <a:gd name="T37" fmla="*/ 377 h 597"/>
                    <a:gd name="T38" fmla="*/ 570 w 602"/>
                    <a:gd name="T39" fmla="*/ 417 h 597"/>
                    <a:gd name="T40" fmla="*/ 512 w 602"/>
                    <a:gd name="T41" fmla="*/ 455 h 597"/>
                    <a:gd name="T42" fmla="*/ 516 w 602"/>
                    <a:gd name="T43" fmla="*/ 474 h 597"/>
                    <a:gd name="T44" fmla="*/ 518 w 602"/>
                    <a:gd name="T45" fmla="*/ 506 h 597"/>
                    <a:gd name="T46" fmla="*/ 512 w 602"/>
                    <a:gd name="T47" fmla="*/ 544 h 597"/>
                    <a:gd name="T48" fmla="*/ 543 w 602"/>
                    <a:gd name="T49" fmla="*/ 565 h 597"/>
                    <a:gd name="T50" fmla="*/ 550 w 602"/>
                    <a:gd name="T51" fmla="*/ 597 h 597"/>
                    <a:gd name="T52" fmla="*/ 525 w 602"/>
                    <a:gd name="T53" fmla="*/ 588 h 597"/>
                    <a:gd name="T54" fmla="*/ 502 w 602"/>
                    <a:gd name="T55" fmla="*/ 565 h 597"/>
                    <a:gd name="T56" fmla="*/ 466 w 602"/>
                    <a:gd name="T57" fmla="*/ 538 h 597"/>
                    <a:gd name="T58" fmla="*/ 434 w 602"/>
                    <a:gd name="T59" fmla="*/ 547 h 597"/>
                    <a:gd name="T60" fmla="*/ 414 w 602"/>
                    <a:gd name="T61" fmla="*/ 526 h 597"/>
                    <a:gd name="T62" fmla="*/ 384 w 602"/>
                    <a:gd name="T63" fmla="*/ 525 h 597"/>
                    <a:gd name="T64" fmla="*/ 356 w 602"/>
                    <a:gd name="T65" fmla="*/ 517 h 597"/>
                    <a:gd name="T66" fmla="*/ 316 w 602"/>
                    <a:gd name="T67" fmla="*/ 519 h 597"/>
                    <a:gd name="T68" fmla="*/ 314 w 602"/>
                    <a:gd name="T69" fmla="*/ 485 h 597"/>
                    <a:gd name="T70" fmla="*/ 307 w 602"/>
                    <a:gd name="T71" fmla="*/ 441 h 597"/>
                    <a:gd name="T72" fmla="*/ 303 w 602"/>
                    <a:gd name="T73" fmla="*/ 406 h 597"/>
                    <a:gd name="T74" fmla="*/ 264 w 602"/>
                    <a:gd name="T75" fmla="*/ 391 h 597"/>
                    <a:gd name="T76" fmla="*/ 229 w 602"/>
                    <a:gd name="T77" fmla="*/ 401 h 597"/>
                    <a:gd name="T78" fmla="*/ 198 w 602"/>
                    <a:gd name="T79" fmla="*/ 421 h 597"/>
                    <a:gd name="T80" fmla="*/ 166 w 602"/>
                    <a:gd name="T81" fmla="*/ 421 h 597"/>
                    <a:gd name="T82" fmla="*/ 151 w 602"/>
                    <a:gd name="T83" fmla="*/ 400 h 597"/>
                    <a:gd name="T84" fmla="*/ 141 w 602"/>
                    <a:gd name="T85" fmla="*/ 368 h 597"/>
                    <a:gd name="T86" fmla="*/ 95 w 602"/>
                    <a:gd name="T87" fmla="*/ 356 h 597"/>
                    <a:gd name="T88" fmla="*/ 30 w 602"/>
                    <a:gd name="T89" fmla="*/ 356 h 597"/>
                    <a:gd name="T90" fmla="*/ 9 w 602"/>
                    <a:gd name="T91" fmla="*/ 349 h 597"/>
                    <a:gd name="T92" fmla="*/ 30 w 602"/>
                    <a:gd name="T93" fmla="*/ 320 h 597"/>
                    <a:gd name="T94" fmla="*/ 54 w 602"/>
                    <a:gd name="T95" fmla="*/ 313 h 597"/>
                    <a:gd name="T96" fmla="*/ 70 w 602"/>
                    <a:gd name="T97" fmla="*/ 324 h 597"/>
                    <a:gd name="T98" fmla="*/ 114 w 602"/>
                    <a:gd name="T99" fmla="*/ 296 h 597"/>
                    <a:gd name="T100" fmla="*/ 124 w 602"/>
                    <a:gd name="T101" fmla="*/ 242 h 597"/>
                    <a:gd name="T102" fmla="*/ 155 w 602"/>
                    <a:gd name="T103" fmla="*/ 204 h 597"/>
                    <a:gd name="T104" fmla="*/ 178 w 602"/>
                    <a:gd name="T105" fmla="*/ 144 h 597"/>
                    <a:gd name="T106" fmla="*/ 194 w 602"/>
                    <a:gd name="T107" fmla="*/ 85 h 597"/>
                    <a:gd name="T108" fmla="*/ 202 w 602"/>
                    <a:gd name="T109" fmla="*/ 33 h 597"/>
                    <a:gd name="T110" fmla="*/ 236 w 602"/>
                    <a:gd name="T111" fmla="*/ 8 h 597"/>
                    <a:gd name="T112" fmla="*/ 272 w 602"/>
                    <a:gd name="T113" fmla="*/ 30 h 597"/>
                    <a:gd name="T114" fmla="*/ 311 w 602"/>
                    <a:gd name="T115" fmla="*/ 37 h 597"/>
                    <a:gd name="T116" fmla="*/ 333 w 602"/>
                    <a:gd name="T117" fmla="*/ 21 h 597"/>
                    <a:gd name="T118" fmla="*/ 361 w 602"/>
                    <a:gd name="T119" fmla="*/ 20 h 597"/>
                    <a:gd name="T120" fmla="*/ 385 w 602"/>
                    <a:gd name="T121" fmla="*/ 11 h 597"/>
                    <a:gd name="T122" fmla="*/ 413 w 602"/>
                    <a:gd name="T123" fmla="*/ 12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2" h="597">
                      <a:moveTo>
                        <a:pt x="24" y="357"/>
                      </a:moveTo>
                      <a:lnTo>
                        <a:pt x="23" y="357"/>
                      </a:lnTo>
                      <a:lnTo>
                        <a:pt x="20" y="358"/>
                      </a:lnTo>
                      <a:lnTo>
                        <a:pt x="19" y="358"/>
                      </a:lnTo>
                      <a:lnTo>
                        <a:pt x="18" y="359"/>
                      </a:lnTo>
                      <a:lnTo>
                        <a:pt x="17" y="359"/>
                      </a:lnTo>
                      <a:lnTo>
                        <a:pt x="16" y="359"/>
                      </a:lnTo>
                      <a:lnTo>
                        <a:pt x="17" y="358"/>
                      </a:lnTo>
                      <a:lnTo>
                        <a:pt x="18" y="357"/>
                      </a:lnTo>
                      <a:lnTo>
                        <a:pt x="19" y="357"/>
                      </a:lnTo>
                      <a:lnTo>
                        <a:pt x="22" y="357"/>
                      </a:lnTo>
                      <a:lnTo>
                        <a:pt x="23" y="357"/>
                      </a:lnTo>
                      <a:lnTo>
                        <a:pt x="24" y="357"/>
                      </a:lnTo>
                      <a:close/>
                      <a:moveTo>
                        <a:pt x="532" y="231"/>
                      </a:moveTo>
                      <a:lnTo>
                        <a:pt x="534" y="231"/>
                      </a:lnTo>
                      <a:lnTo>
                        <a:pt x="534" y="232"/>
                      </a:lnTo>
                      <a:lnTo>
                        <a:pt x="532" y="232"/>
                      </a:lnTo>
                      <a:lnTo>
                        <a:pt x="532" y="233"/>
                      </a:lnTo>
                      <a:lnTo>
                        <a:pt x="534" y="235"/>
                      </a:lnTo>
                      <a:lnTo>
                        <a:pt x="532" y="235"/>
                      </a:lnTo>
                      <a:lnTo>
                        <a:pt x="532" y="236"/>
                      </a:lnTo>
                      <a:lnTo>
                        <a:pt x="532" y="237"/>
                      </a:lnTo>
                      <a:lnTo>
                        <a:pt x="534" y="238"/>
                      </a:lnTo>
                      <a:lnTo>
                        <a:pt x="532" y="239"/>
                      </a:lnTo>
                      <a:lnTo>
                        <a:pt x="532" y="240"/>
                      </a:lnTo>
                      <a:lnTo>
                        <a:pt x="531" y="242"/>
                      </a:lnTo>
                      <a:lnTo>
                        <a:pt x="530" y="242"/>
                      </a:lnTo>
                      <a:lnTo>
                        <a:pt x="530" y="240"/>
                      </a:lnTo>
                      <a:lnTo>
                        <a:pt x="529" y="240"/>
                      </a:lnTo>
                      <a:lnTo>
                        <a:pt x="529" y="239"/>
                      </a:lnTo>
                      <a:lnTo>
                        <a:pt x="530" y="239"/>
                      </a:lnTo>
                      <a:lnTo>
                        <a:pt x="530" y="238"/>
                      </a:lnTo>
                      <a:lnTo>
                        <a:pt x="530" y="237"/>
                      </a:lnTo>
                      <a:lnTo>
                        <a:pt x="531" y="236"/>
                      </a:lnTo>
                      <a:lnTo>
                        <a:pt x="531" y="235"/>
                      </a:lnTo>
                      <a:lnTo>
                        <a:pt x="531" y="233"/>
                      </a:lnTo>
                      <a:lnTo>
                        <a:pt x="531" y="232"/>
                      </a:lnTo>
                      <a:lnTo>
                        <a:pt x="532" y="231"/>
                      </a:lnTo>
                      <a:close/>
                      <a:moveTo>
                        <a:pt x="421" y="0"/>
                      </a:moveTo>
                      <a:lnTo>
                        <a:pt x="422" y="0"/>
                      </a:lnTo>
                      <a:lnTo>
                        <a:pt x="422" y="1"/>
                      </a:lnTo>
                      <a:lnTo>
                        <a:pt x="423" y="1"/>
                      </a:lnTo>
                      <a:lnTo>
                        <a:pt x="423" y="2"/>
                      </a:lnTo>
                      <a:lnTo>
                        <a:pt x="422" y="2"/>
                      </a:lnTo>
                      <a:lnTo>
                        <a:pt x="423" y="2"/>
                      </a:lnTo>
                      <a:lnTo>
                        <a:pt x="424" y="2"/>
                      </a:lnTo>
                      <a:lnTo>
                        <a:pt x="425" y="2"/>
                      </a:lnTo>
                      <a:lnTo>
                        <a:pt x="425" y="4"/>
                      </a:lnTo>
                      <a:lnTo>
                        <a:pt x="427" y="5"/>
                      </a:lnTo>
                      <a:lnTo>
                        <a:pt x="428" y="5"/>
                      </a:lnTo>
                      <a:lnTo>
                        <a:pt x="428" y="4"/>
                      </a:lnTo>
                      <a:lnTo>
                        <a:pt x="428" y="5"/>
                      </a:lnTo>
                      <a:lnTo>
                        <a:pt x="429" y="5"/>
                      </a:lnTo>
                      <a:lnTo>
                        <a:pt x="429" y="6"/>
                      </a:lnTo>
                      <a:lnTo>
                        <a:pt x="430" y="6"/>
                      </a:lnTo>
                      <a:lnTo>
                        <a:pt x="431" y="6"/>
                      </a:lnTo>
                      <a:lnTo>
                        <a:pt x="431" y="7"/>
                      </a:lnTo>
                      <a:lnTo>
                        <a:pt x="432" y="7"/>
                      </a:lnTo>
                      <a:lnTo>
                        <a:pt x="432" y="6"/>
                      </a:lnTo>
                      <a:lnTo>
                        <a:pt x="434" y="6"/>
                      </a:lnTo>
                      <a:lnTo>
                        <a:pt x="434" y="5"/>
                      </a:lnTo>
                      <a:lnTo>
                        <a:pt x="435" y="5"/>
                      </a:lnTo>
                      <a:lnTo>
                        <a:pt x="435" y="6"/>
                      </a:lnTo>
                      <a:lnTo>
                        <a:pt x="436" y="6"/>
                      </a:lnTo>
                      <a:lnTo>
                        <a:pt x="437" y="6"/>
                      </a:lnTo>
                      <a:lnTo>
                        <a:pt x="438" y="6"/>
                      </a:lnTo>
                      <a:lnTo>
                        <a:pt x="437" y="5"/>
                      </a:lnTo>
                      <a:lnTo>
                        <a:pt x="438" y="5"/>
                      </a:lnTo>
                      <a:lnTo>
                        <a:pt x="439" y="5"/>
                      </a:lnTo>
                      <a:lnTo>
                        <a:pt x="441" y="5"/>
                      </a:lnTo>
                      <a:lnTo>
                        <a:pt x="442" y="6"/>
                      </a:lnTo>
                      <a:lnTo>
                        <a:pt x="442" y="7"/>
                      </a:lnTo>
                      <a:lnTo>
                        <a:pt x="443" y="7"/>
                      </a:lnTo>
                      <a:lnTo>
                        <a:pt x="443" y="6"/>
                      </a:lnTo>
                      <a:lnTo>
                        <a:pt x="443" y="7"/>
                      </a:lnTo>
                      <a:lnTo>
                        <a:pt x="444" y="7"/>
                      </a:lnTo>
                      <a:lnTo>
                        <a:pt x="444" y="8"/>
                      </a:lnTo>
                      <a:lnTo>
                        <a:pt x="445" y="8"/>
                      </a:lnTo>
                      <a:lnTo>
                        <a:pt x="446" y="8"/>
                      </a:lnTo>
                      <a:lnTo>
                        <a:pt x="448" y="8"/>
                      </a:lnTo>
                      <a:lnTo>
                        <a:pt x="449" y="9"/>
                      </a:lnTo>
                      <a:lnTo>
                        <a:pt x="450" y="11"/>
                      </a:lnTo>
                      <a:lnTo>
                        <a:pt x="451" y="11"/>
                      </a:lnTo>
                      <a:lnTo>
                        <a:pt x="452" y="11"/>
                      </a:lnTo>
                      <a:lnTo>
                        <a:pt x="453" y="11"/>
                      </a:lnTo>
                      <a:lnTo>
                        <a:pt x="453" y="9"/>
                      </a:lnTo>
                      <a:lnTo>
                        <a:pt x="454" y="11"/>
                      </a:lnTo>
                      <a:lnTo>
                        <a:pt x="456" y="11"/>
                      </a:lnTo>
                      <a:lnTo>
                        <a:pt x="457" y="9"/>
                      </a:lnTo>
                      <a:lnTo>
                        <a:pt x="458" y="9"/>
                      </a:lnTo>
                      <a:lnTo>
                        <a:pt x="459" y="9"/>
                      </a:lnTo>
                      <a:lnTo>
                        <a:pt x="460" y="11"/>
                      </a:lnTo>
                      <a:lnTo>
                        <a:pt x="460" y="12"/>
                      </a:lnTo>
                      <a:lnTo>
                        <a:pt x="461" y="11"/>
                      </a:lnTo>
                      <a:lnTo>
                        <a:pt x="461" y="12"/>
                      </a:lnTo>
                      <a:lnTo>
                        <a:pt x="463" y="12"/>
                      </a:lnTo>
                      <a:lnTo>
                        <a:pt x="463" y="11"/>
                      </a:lnTo>
                      <a:lnTo>
                        <a:pt x="464" y="9"/>
                      </a:lnTo>
                      <a:lnTo>
                        <a:pt x="465" y="8"/>
                      </a:lnTo>
                      <a:lnTo>
                        <a:pt x="466" y="7"/>
                      </a:lnTo>
                      <a:lnTo>
                        <a:pt x="467" y="6"/>
                      </a:lnTo>
                      <a:lnTo>
                        <a:pt x="468" y="6"/>
                      </a:lnTo>
                      <a:lnTo>
                        <a:pt x="471" y="6"/>
                      </a:lnTo>
                      <a:lnTo>
                        <a:pt x="472" y="7"/>
                      </a:lnTo>
                      <a:lnTo>
                        <a:pt x="474" y="8"/>
                      </a:lnTo>
                      <a:lnTo>
                        <a:pt x="475" y="8"/>
                      </a:lnTo>
                      <a:lnTo>
                        <a:pt x="477" y="8"/>
                      </a:lnTo>
                      <a:lnTo>
                        <a:pt x="477" y="9"/>
                      </a:lnTo>
                      <a:lnTo>
                        <a:pt x="478" y="9"/>
                      </a:lnTo>
                      <a:lnTo>
                        <a:pt x="479" y="9"/>
                      </a:lnTo>
                      <a:lnTo>
                        <a:pt x="480" y="9"/>
                      </a:lnTo>
                      <a:lnTo>
                        <a:pt x="480" y="11"/>
                      </a:lnTo>
                      <a:lnTo>
                        <a:pt x="480" y="12"/>
                      </a:lnTo>
                      <a:lnTo>
                        <a:pt x="481" y="13"/>
                      </a:lnTo>
                      <a:lnTo>
                        <a:pt x="482" y="13"/>
                      </a:lnTo>
                      <a:lnTo>
                        <a:pt x="482" y="14"/>
                      </a:lnTo>
                      <a:lnTo>
                        <a:pt x="482" y="15"/>
                      </a:lnTo>
                      <a:lnTo>
                        <a:pt x="484" y="15"/>
                      </a:lnTo>
                      <a:lnTo>
                        <a:pt x="487" y="16"/>
                      </a:lnTo>
                      <a:lnTo>
                        <a:pt x="488" y="18"/>
                      </a:lnTo>
                      <a:lnTo>
                        <a:pt x="488" y="19"/>
                      </a:lnTo>
                      <a:lnTo>
                        <a:pt x="489" y="19"/>
                      </a:lnTo>
                      <a:lnTo>
                        <a:pt x="491" y="19"/>
                      </a:lnTo>
                      <a:lnTo>
                        <a:pt x="491" y="20"/>
                      </a:lnTo>
                      <a:lnTo>
                        <a:pt x="491" y="21"/>
                      </a:lnTo>
                      <a:lnTo>
                        <a:pt x="491" y="22"/>
                      </a:lnTo>
                      <a:lnTo>
                        <a:pt x="491" y="25"/>
                      </a:lnTo>
                      <a:lnTo>
                        <a:pt x="491" y="26"/>
                      </a:lnTo>
                      <a:lnTo>
                        <a:pt x="492" y="26"/>
                      </a:lnTo>
                      <a:lnTo>
                        <a:pt x="493" y="26"/>
                      </a:lnTo>
                      <a:lnTo>
                        <a:pt x="493" y="27"/>
                      </a:lnTo>
                      <a:lnTo>
                        <a:pt x="494" y="27"/>
                      </a:lnTo>
                      <a:lnTo>
                        <a:pt x="495" y="27"/>
                      </a:lnTo>
                      <a:lnTo>
                        <a:pt x="495" y="26"/>
                      </a:lnTo>
                      <a:lnTo>
                        <a:pt x="496" y="26"/>
                      </a:lnTo>
                      <a:lnTo>
                        <a:pt x="496" y="27"/>
                      </a:lnTo>
                      <a:lnTo>
                        <a:pt x="498" y="27"/>
                      </a:lnTo>
                      <a:lnTo>
                        <a:pt x="499" y="27"/>
                      </a:lnTo>
                      <a:lnTo>
                        <a:pt x="499" y="28"/>
                      </a:lnTo>
                      <a:lnTo>
                        <a:pt x="499" y="29"/>
                      </a:lnTo>
                      <a:lnTo>
                        <a:pt x="500" y="30"/>
                      </a:lnTo>
                      <a:lnTo>
                        <a:pt x="501" y="30"/>
                      </a:lnTo>
                      <a:lnTo>
                        <a:pt x="502" y="30"/>
                      </a:lnTo>
                      <a:lnTo>
                        <a:pt x="502" y="32"/>
                      </a:lnTo>
                      <a:lnTo>
                        <a:pt x="502" y="33"/>
                      </a:lnTo>
                      <a:lnTo>
                        <a:pt x="503" y="33"/>
                      </a:lnTo>
                      <a:lnTo>
                        <a:pt x="506" y="34"/>
                      </a:lnTo>
                      <a:lnTo>
                        <a:pt x="507" y="33"/>
                      </a:lnTo>
                      <a:lnTo>
                        <a:pt x="508" y="33"/>
                      </a:lnTo>
                      <a:lnTo>
                        <a:pt x="509" y="34"/>
                      </a:lnTo>
                      <a:lnTo>
                        <a:pt x="509" y="35"/>
                      </a:lnTo>
                      <a:lnTo>
                        <a:pt x="510" y="35"/>
                      </a:lnTo>
                      <a:lnTo>
                        <a:pt x="512" y="35"/>
                      </a:lnTo>
                      <a:lnTo>
                        <a:pt x="513" y="34"/>
                      </a:lnTo>
                      <a:lnTo>
                        <a:pt x="514" y="33"/>
                      </a:lnTo>
                      <a:lnTo>
                        <a:pt x="515" y="33"/>
                      </a:lnTo>
                      <a:lnTo>
                        <a:pt x="516" y="33"/>
                      </a:lnTo>
                      <a:lnTo>
                        <a:pt x="516" y="32"/>
                      </a:lnTo>
                      <a:lnTo>
                        <a:pt x="518" y="30"/>
                      </a:lnTo>
                      <a:lnTo>
                        <a:pt x="521" y="27"/>
                      </a:lnTo>
                      <a:lnTo>
                        <a:pt x="522" y="27"/>
                      </a:lnTo>
                      <a:lnTo>
                        <a:pt x="523" y="27"/>
                      </a:lnTo>
                      <a:lnTo>
                        <a:pt x="523" y="28"/>
                      </a:lnTo>
                      <a:lnTo>
                        <a:pt x="523" y="29"/>
                      </a:lnTo>
                      <a:lnTo>
                        <a:pt x="524" y="29"/>
                      </a:lnTo>
                      <a:lnTo>
                        <a:pt x="525" y="29"/>
                      </a:lnTo>
                      <a:lnTo>
                        <a:pt x="527" y="29"/>
                      </a:lnTo>
                      <a:lnTo>
                        <a:pt x="528" y="29"/>
                      </a:lnTo>
                      <a:lnTo>
                        <a:pt x="529" y="28"/>
                      </a:lnTo>
                      <a:lnTo>
                        <a:pt x="530" y="29"/>
                      </a:lnTo>
                      <a:lnTo>
                        <a:pt x="531" y="30"/>
                      </a:lnTo>
                      <a:lnTo>
                        <a:pt x="534" y="30"/>
                      </a:lnTo>
                      <a:lnTo>
                        <a:pt x="534" y="32"/>
                      </a:lnTo>
                      <a:lnTo>
                        <a:pt x="536" y="33"/>
                      </a:lnTo>
                      <a:lnTo>
                        <a:pt x="536" y="34"/>
                      </a:lnTo>
                      <a:lnTo>
                        <a:pt x="537" y="34"/>
                      </a:lnTo>
                      <a:lnTo>
                        <a:pt x="537" y="33"/>
                      </a:lnTo>
                      <a:lnTo>
                        <a:pt x="537" y="32"/>
                      </a:lnTo>
                      <a:lnTo>
                        <a:pt x="538" y="32"/>
                      </a:lnTo>
                      <a:lnTo>
                        <a:pt x="539" y="32"/>
                      </a:lnTo>
                      <a:lnTo>
                        <a:pt x="541" y="32"/>
                      </a:lnTo>
                      <a:lnTo>
                        <a:pt x="541" y="30"/>
                      </a:lnTo>
                      <a:lnTo>
                        <a:pt x="543" y="28"/>
                      </a:lnTo>
                      <a:lnTo>
                        <a:pt x="543" y="27"/>
                      </a:lnTo>
                      <a:lnTo>
                        <a:pt x="544" y="26"/>
                      </a:lnTo>
                      <a:lnTo>
                        <a:pt x="544" y="25"/>
                      </a:lnTo>
                      <a:lnTo>
                        <a:pt x="544" y="23"/>
                      </a:lnTo>
                      <a:lnTo>
                        <a:pt x="545" y="23"/>
                      </a:lnTo>
                      <a:lnTo>
                        <a:pt x="546" y="23"/>
                      </a:lnTo>
                      <a:lnTo>
                        <a:pt x="548" y="23"/>
                      </a:lnTo>
                      <a:lnTo>
                        <a:pt x="549" y="23"/>
                      </a:lnTo>
                      <a:lnTo>
                        <a:pt x="550" y="23"/>
                      </a:lnTo>
                      <a:lnTo>
                        <a:pt x="551" y="25"/>
                      </a:lnTo>
                      <a:lnTo>
                        <a:pt x="552" y="26"/>
                      </a:lnTo>
                      <a:lnTo>
                        <a:pt x="553" y="26"/>
                      </a:lnTo>
                      <a:lnTo>
                        <a:pt x="555" y="27"/>
                      </a:lnTo>
                      <a:lnTo>
                        <a:pt x="556" y="27"/>
                      </a:lnTo>
                      <a:lnTo>
                        <a:pt x="555" y="27"/>
                      </a:lnTo>
                      <a:lnTo>
                        <a:pt x="555" y="28"/>
                      </a:lnTo>
                      <a:lnTo>
                        <a:pt x="555" y="29"/>
                      </a:lnTo>
                      <a:lnTo>
                        <a:pt x="555" y="30"/>
                      </a:lnTo>
                      <a:lnTo>
                        <a:pt x="555" y="32"/>
                      </a:lnTo>
                      <a:lnTo>
                        <a:pt x="555" y="33"/>
                      </a:lnTo>
                      <a:lnTo>
                        <a:pt x="556" y="34"/>
                      </a:lnTo>
                      <a:lnTo>
                        <a:pt x="557" y="34"/>
                      </a:lnTo>
                      <a:lnTo>
                        <a:pt x="558" y="34"/>
                      </a:lnTo>
                      <a:lnTo>
                        <a:pt x="559" y="34"/>
                      </a:lnTo>
                      <a:lnTo>
                        <a:pt x="559" y="35"/>
                      </a:lnTo>
                      <a:lnTo>
                        <a:pt x="559" y="36"/>
                      </a:lnTo>
                      <a:lnTo>
                        <a:pt x="559" y="37"/>
                      </a:lnTo>
                      <a:lnTo>
                        <a:pt x="560" y="37"/>
                      </a:lnTo>
                      <a:lnTo>
                        <a:pt x="562" y="37"/>
                      </a:lnTo>
                      <a:lnTo>
                        <a:pt x="562" y="39"/>
                      </a:lnTo>
                      <a:lnTo>
                        <a:pt x="563" y="40"/>
                      </a:lnTo>
                      <a:lnTo>
                        <a:pt x="564" y="41"/>
                      </a:lnTo>
                      <a:lnTo>
                        <a:pt x="565" y="41"/>
                      </a:lnTo>
                      <a:lnTo>
                        <a:pt x="566" y="42"/>
                      </a:lnTo>
                      <a:lnTo>
                        <a:pt x="566" y="43"/>
                      </a:lnTo>
                      <a:lnTo>
                        <a:pt x="567" y="44"/>
                      </a:lnTo>
                      <a:lnTo>
                        <a:pt x="567" y="46"/>
                      </a:lnTo>
                      <a:lnTo>
                        <a:pt x="569" y="46"/>
                      </a:lnTo>
                      <a:lnTo>
                        <a:pt x="570" y="46"/>
                      </a:lnTo>
                      <a:lnTo>
                        <a:pt x="572" y="47"/>
                      </a:lnTo>
                      <a:lnTo>
                        <a:pt x="576" y="48"/>
                      </a:lnTo>
                      <a:lnTo>
                        <a:pt x="577" y="49"/>
                      </a:lnTo>
                      <a:lnTo>
                        <a:pt x="578" y="49"/>
                      </a:lnTo>
                      <a:lnTo>
                        <a:pt x="578" y="48"/>
                      </a:lnTo>
                      <a:lnTo>
                        <a:pt x="578" y="49"/>
                      </a:lnTo>
                      <a:lnTo>
                        <a:pt x="579" y="49"/>
                      </a:lnTo>
                      <a:lnTo>
                        <a:pt x="579" y="54"/>
                      </a:lnTo>
                      <a:lnTo>
                        <a:pt x="579" y="55"/>
                      </a:lnTo>
                      <a:lnTo>
                        <a:pt x="579" y="56"/>
                      </a:lnTo>
                      <a:lnTo>
                        <a:pt x="579" y="57"/>
                      </a:lnTo>
                      <a:lnTo>
                        <a:pt x="580" y="57"/>
                      </a:lnTo>
                      <a:lnTo>
                        <a:pt x="581" y="57"/>
                      </a:lnTo>
                      <a:lnTo>
                        <a:pt x="581" y="56"/>
                      </a:lnTo>
                      <a:lnTo>
                        <a:pt x="582" y="56"/>
                      </a:lnTo>
                      <a:lnTo>
                        <a:pt x="584" y="56"/>
                      </a:lnTo>
                      <a:lnTo>
                        <a:pt x="585" y="56"/>
                      </a:lnTo>
                      <a:lnTo>
                        <a:pt x="585" y="55"/>
                      </a:lnTo>
                      <a:lnTo>
                        <a:pt x="586" y="55"/>
                      </a:lnTo>
                      <a:lnTo>
                        <a:pt x="586" y="56"/>
                      </a:lnTo>
                      <a:lnTo>
                        <a:pt x="586" y="57"/>
                      </a:lnTo>
                      <a:lnTo>
                        <a:pt x="587" y="57"/>
                      </a:lnTo>
                      <a:lnTo>
                        <a:pt x="588" y="57"/>
                      </a:lnTo>
                      <a:lnTo>
                        <a:pt x="588" y="58"/>
                      </a:lnTo>
                      <a:lnTo>
                        <a:pt x="588" y="60"/>
                      </a:lnTo>
                      <a:lnTo>
                        <a:pt x="588" y="61"/>
                      </a:lnTo>
                      <a:lnTo>
                        <a:pt x="589" y="61"/>
                      </a:lnTo>
                      <a:lnTo>
                        <a:pt x="589" y="60"/>
                      </a:lnTo>
                      <a:lnTo>
                        <a:pt x="591" y="61"/>
                      </a:lnTo>
                      <a:lnTo>
                        <a:pt x="591" y="62"/>
                      </a:lnTo>
                      <a:lnTo>
                        <a:pt x="591" y="63"/>
                      </a:lnTo>
                      <a:lnTo>
                        <a:pt x="591" y="64"/>
                      </a:lnTo>
                      <a:lnTo>
                        <a:pt x="589" y="65"/>
                      </a:lnTo>
                      <a:lnTo>
                        <a:pt x="588" y="67"/>
                      </a:lnTo>
                      <a:lnTo>
                        <a:pt x="587" y="67"/>
                      </a:lnTo>
                      <a:lnTo>
                        <a:pt x="587" y="68"/>
                      </a:lnTo>
                      <a:lnTo>
                        <a:pt x="586" y="72"/>
                      </a:lnTo>
                      <a:lnTo>
                        <a:pt x="585" y="74"/>
                      </a:lnTo>
                      <a:lnTo>
                        <a:pt x="585" y="75"/>
                      </a:lnTo>
                      <a:lnTo>
                        <a:pt x="586" y="76"/>
                      </a:lnTo>
                      <a:lnTo>
                        <a:pt x="587" y="76"/>
                      </a:lnTo>
                      <a:lnTo>
                        <a:pt x="587" y="77"/>
                      </a:lnTo>
                      <a:lnTo>
                        <a:pt x="588" y="78"/>
                      </a:lnTo>
                      <a:lnTo>
                        <a:pt x="588" y="79"/>
                      </a:lnTo>
                      <a:lnTo>
                        <a:pt x="588" y="81"/>
                      </a:lnTo>
                      <a:lnTo>
                        <a:pt x="588" y="83"/>
                      </a:lnTo>
                      <a:lnTo>
                        <a:pt x="587" y="83"/>
                      </a:lnTo>
                      <a:lnTo>
                        <a:pt x="587" y="84"/>
                      </a:lnTo>
                      <a:lnTo>
                        <a:pt x="586" y="86"/>
                      </a:lnTo>
                      <a:lnTo>
                        <a:pt x="586" y="88"/>
                      </a:lnTo>
                      <a:lnTo>
                        <a:pt x="585" y="89"/>
                      </a:lnTo>
                      <a:lnTo>
                        <a:pt x="585" y="90"/>
                      </a:lnTo>
                      <a:lnTo>
                        <a:pt x="585" y="91"/>
                      </a:lnTo>
                      <a:lnTo>
                        <a:pt x="585" y="92"/>
                      </a:lnTo>
                      <a:lnTo>
                        <a:pt x="584" y="93"/>
                      </a:lnTo>
                      <a:lnTo>
                        <a:pt x="585" y="93"/>
                      </a:lnTo>
                      <a:lnTo>
                        <a:pt x="587" y="93"/>
                      </a:lnTo>
                      <a:lnTo>
                        <a:pt x="587" y="95"/>
                      </a:lnTo>
                      <a:lnTo>
                        <a:pt x="587" y="96"/>
                      </a:lnTo>
                      <a:lnTo>
                        <a:pt x="588" y="97"/>
                      </a:lnTo>
                      <a:lnTo>
                        <a:pt x="589" y="97"/>
                      </a:lnTo>
                      <a:lnTo>
                        <a:pt x="591" y="97"/>
                      </a:lnTo>
                      <a:lnTo>
                        <a:pt x="591" y="96"/>
                      </a:lnTo>
                      <a:lnTo>
                        <a:pt x="591" y="95"/>
                      </a:lnTo>
                      <a:lnTo>
                        <a:pt x="592" y="95"/>
                      </a:lnTo>
                      <a:lnTo>
                        <a:pt x="593" y="96"/>
                      </a:lnTo>
                      <a:lnTo>
                        <a:pt x="594" y="97"/>
                      </a:lnTo>
                      <a:lnTo>
                        <a:pt x="594" y="98"/>
                      </a:lnTo>
                      <a:lnTo>
                        <a:pt x="595" y="98"/>
                      </a:lnTo>
                      <a:lnTo>
                        <a:pt x="596" y="99"/>
                      </a:lnTo>
                      <a:lnTo>
                        <a:pt x="598" y="99"/>
                      </a:lnTo>
                      <a:lnTo>
                        <a:pt x="599" y="98"/>
                      </a:lnTo>
                      <a:lnTo>
                        <a:pt x="599" y="99"/>
                      </a:lnTo>
                      <a:lnTo>
                        <a:pt x="599" y="100"/>
                      </a:lnTo>
                      <a:lnTo>
                        <a:pt x="600" y="102"/>
                      </a:lnTo>
                      <a:lnTo>
                        <a:pt x="602" y="103"/>
                      </a:lnTo>
                      <a:lnTo>
                        <a:pt x="601" y="103"/>
                      </a:lnTo>
                      <a:lnTo>
                        <a:pt x="601" y="104"/>
                      </a:lnTo>
                      <a:lnTo>
                        <a:pt x="600" y="104"/>
                      </a:lnTo>
                      <a:lnTo>
                        <a:pt x="599" y="105"/>
                      </a:lnTo>
                      <a:lnTo>
                        <a:pt x="599" y="106"/>
                      </a:lnTo>
                      <a:lnTo>
                        <a:pt x="598" y="106"/>
                      </a:lnTo>
                      <a:lnTo>
                        <a:pt x="596" y="106"/>
                      </a:lnTo>
                      <a:lnTo>
                        <a:pt x="595" y="107"/>
                      </a:lnTo>
                      <a:lnTo>
                        <a:pt x="594" y="109"/>
                      </a:lnTo>
                      <a:lnTo>
                        <a:pt x="594" y="110"/>
                      </a:lnTo>
                      <a:lnTo>
                        <a:pt x="593" y="110"/>
                      </a:lnTo>
                      <a:lnTo>
                        <a:pt x="592" y="110"/>
                      </a:lnTo>
                      <a:lnTo>
                        <a:pt x="591" y="111"/>
                      </a:lnTo>
                      <a:lnTo>
                        <a:pt x="587" y="114"/>
                      </a:lnTo>
                      <a:lnTo>
                        <a:pt x="586" y="116"/>
                      </a:lnTo>
                      <a:lnTo>
                        <a:pt x="585" y="116"/>
                      </a:lnTo>
                      <a:lnTo>
                        <a:pt x="585" y="117"/>
                      </a:lnTo>
                      <a:lnTo>
                        <a:pt x="582" y="118"/>
                      </a:lnTo>
                      <a:lnTo>
                        <a:pt x="581" y="119"/>
                      </a:lnTo>
                      <a:lnTo>
                        <a:pt x="581" y="120"/>
                      </a:lnTo>
                      <a:lnTo>
                        <a:pt x="580" y="120"/>
                      </a:lnTo>
                      <a:lnTo>
                        <a:pt x="579" y="121"/>
                      </a:lnTo>
                      <a:lnTo>
                        <a:pt x="578" y="123"/>
                      </a:lnTo>
                      <a:lnTo>
                        <a:pt x="577" y="124"/>
                      </a:lnTo>
                      <a:lnTo>
                        <a:pt x="577" y="125"/>
                      </a:lnTo>
                      <a:lnTo>
                        <a:pt x="577" y="126"/>
                      </a:lnTo>
                      <a:lnTo>
                        <a:pt x="576" y="126"/>
                      </a:lnTo>
                      <a:lnTo>
                        <a:pt x="574" y="128"/>
                      </a:lnTo>
                      <a:lnTo>
                        <a:pt x="573" y="130"/>
                      </a:lnTo>
                      <a:lnTo>
                        <a:pt x="574" y="130"/>
                      </a:lnTo>
                      <a:lnTo>
                        <a:pt x="574" y="131"/>
                      </a:lnTo>
                      <a:lnTo>
                        <a:pt x="576" y="132"/>
                      </a:lnTo>
                      <a:lnTo>
                        <a:pt x="576" y="131"/>
                      </a:lnTo>
                      <a:lnTo>
                        <a:pt x="577" y="131"/>
                      </a:lnTo>
                      <a:lnTo>
                        <a:pt x="577" y="132"/>
                      </a:lnTo>
                      <a:lnTo>
                        <a:pt x="576" y="132"/>
                      </a:lnTo>
                      <a:lnTo>
                        <a:pt x="576" y="133"/>
                      </a:lnTo>
                      <a:lnTo>
                        <a:pt x="574" y="133"/>
                      </a:lnTo>
                      <a:lnTo>
                        <a:pt x="573" y="133"/>
                      </a:lnTo>
                      <a:lnTo>
                        <a:pt x="572" y="133"/>
                      </a:lnTo>
                      <a:lnTo>
                        <a:pt x="572" y="134"/>
                      </a:lnTo>
                      <a:lnTo>
                        <a:pt x="571" y="134"/>
                      </a:lnTo>
                      <a:lnTo>
                        <a:pt x="570" y="134"/>
                      </a:lnTo>
                      <a:lnTo>
                        <a:pt x="569" y="135"/>
                      </a:lnTo>
                      <a:lnTo>
                        <a:pt x="569" y="137"/>
                      </a:lnTo>
                      <a:lnTo>
                        <a:pt x="569" y="138"/>
                      </a:lnTo>
                      <a:lnTo>
                        <a:pt x="569" y="139"/>
                      </a:lnTo>
                      <a:lnTo>
                        <a:pt x="567" y="140"/>
                      </a:lnTo>
                      <a:lnTo>
                        <a:pt x="566" y="141"/>
                      </a:lnTo>
                      <a:lnTo>
                        <a:pt x="566" y="142"/>
                      </a:lnTo>
                      <a:lnTo>
                        <a:pt x="563" y="142"/>
                      </a:lnTo>
                      <a:lnTo>
                        <a:pt x="562" y="144"/>
                      </a:lnTo>
                      <a:lnTo>
                        <a:pt x="560" y="144"/>
                      </a:lnTo>
                      <a:lnTo>
                        <a:pt x="560" y="145"/>
                      </a:lnTo>
                      <a:lnTo>
                        <a:pt x="559" y="145"/>
                      </a:lnTo>
                      <a:lnTo>
                        <a:pt x="559" y="146"/>
                      </a:lnTo>
                      <a:lnTo>
                        <a:pt x="559" y="148"/>
                      </a:lnTo>
                      <a:lnTo>
                        <a:pt x="559" y="151"/>
                      </a:lnTo>
                      <a:lnTo>
                        <a:pt x="559" y="152"/>
                      </a:lnTo>
                      <a:lnTo>
                        <a:pt x="559" y="154"/>
                      </a:lnTo>
                      <a:lnTo>
                        <a:pt x="559" y="155"/>
                      </a:lnTo>
                      <a:lnTo>
                        <a:pt x="559" y="156"/>
                      </a:lnTo>
                      <a:lnTo>
                        <a:pt x="558" y="156"/>
                      </a:lnTo>
                      <a:lnTo>
                        <a:pt x="557" y="159"/>
                      </a:lnTo>
                      <a:lnTo>
                        <a:pt x="557" y="160"/>
                      </a:lnTo>
                      <a:lnTo>
                        <a:pt x="556" y="160"/>
                      </a:lnTo>
                      <a:lnTo>
                        <a:pt x="555" y="166"/>
                      </a:lnTo>
                      <a:lnTo>
                        <a:pt x="553" y="166"/>
                      </a:lnTo>
                      <a:lnTo>
                        <a:pt x="552" y="168"/>
                      </a:lnTo>
                      <a:lnTo>
                        <a:pt x="552" y="169"/>
                      </a:lnTo>
                      <a:lnTo>
                        <a:pt x="552" y="170"/>
                      </a:lnTo>
                      <a:lnTo>
                        <a:pt x="552" y="172"/>
                      </a:lnTo>
                      <a:lnTo>
                        <a:pt x="552" y="173"/>
                      </a:lnTo>
                      <a:lnTo>
                        <a:pt x="551" y="174"/>
                      </a:lnTo>
                      <a:lnTo>
                        <a:pt x="550" y="174"/>
                      </a:lnTo>
                      <a:lnTo>
                        <a:pt x="550" y="175"/>
                      </a:lnTo>
                      <a:lnTo>
                        <a:pt x="546" y="175"/>
                      </a:lnTo>
                      <a:lnTo>
                        <a:pt x="545" y="176"/>
                      </a:lnTo>
                      <a:lnTo>
                        <a:pt x="544" y="177"/>
                      </a:lnTo>
                      <a:lnTo>
                        <a:pt x="544" y="179"/>
                      </a:lnTo>
                      <a:lnTo>
                        <a:pt x="544" y="181"/>
                      </a:lnTo>
                      <a:lnTo>
                        <a:pt x="543" y="181"/>
                      </a:lnTo>
                      <a:lnTo>
                        <a:pt x="542" y="182"/>
                      </a:lnTo>
                      <a:lnTo>
                        <a:pt x="542" y="183"/>
                      </a:lnTo>
                      <a:lnTo>
                        <a:pt x="542" y="184"/>
                      </a:lnTo>
                      <a:lnTo>
                        <a:pt x="541" y="186"/>
                      </a:lnTo>
                      <a:lnTo>
                        <a:pt x="539" y="186"/>
                      </a:lnTo>
                      <a:lnTo>
                        <a:pt x="539" y="187"/>
                      </a:lnTo>
                      <a:lnTo>
                        <a:pt x="541" y="187"/>
                      </a:lnTo>
                      <a:lnTo>
                        <a:pt x="541" y="188"/>
                      </a:lnTo>
                      <a:lnTo>
                        <a:pt x="539" y="188"/>
                      </a:lnTo>
                      <a:lnTo>
                        <a:pt x="539" y="189"/>
                      </a:lnTo>
                      <a:lnTo>
                        <a:pt x="541" y="189"/>
                      </a:lnTo>
                      <a:lnTo>
                        <a:pt x="542" y="189"/>
                      </a:lnTo>
                      <a:lnTo>
                        <a:pt x="542" y="190"/>
                      </a:lnTo>
                      <a:lnTo>
                        <a:pt x="542" y="191"/>
                      </a:lnTo>
                      <a:lnTo>
                        <a:pt x="542" y="193"/>
                      </a:lnTo>
                      <a:lnTo>
                        <a:pt x="542" y="191"/>
                      </a:lnTo>
                      <a:lnTo>
                        <a:pt x="542" y="193"/>
                      </a:lnTo>
                      <a:lnTo>
                        <a:pt x="543" y="191"/>
                      </a:lnTo>
                      <a:lnTo>
                        <a:pt x="543" y="190"/>
                      </a:lnTo>
                      <a:lnTo>
                        <a:pt x="544" y="190"/>
                      </a:lnTo>
                      <a:lnTo>
                        <a:pt x="545" y="191"/>
                      </a:lnTo>
                      <a:lnTo>
                        <a:pt x="548" y="189"/>
                      </a:lnTo>
                      <a:lnTo>
                        <a:pt x="549" y="189"/>
                      </a:lnTo>
                      <a:lnTo>
                        <a:pt x="549" y="188"/>
                      </a:lnTo>
                      <a:lnTo>
                        <a:pt x="550" y="186"/>
                      </a:lnTo>
                      <a:lnTo>
                        <a:pt x="550" y="187"/>
                      </a:lnTo>
                      <a:lnTo>
                        <a:pt x="550" y="188"/>
                      </a:lnTo>
                      <a:lnTo>
                        <a:pt x="550" y="189"/>
                      </a:lnTo>
                      <a:lnTo>
                        <a:pt x="549" y="189"/>
                      </a:lnTo>
                      <a:lnTo>
                        <a:pt x="549" y="190"/>
                      </a:lnTo>
                      <a:lnTo>
                        <a:pt x="550" y="190"/>
                      </a:lnTo>
                      <a:lnTo>
                        <a:pt x="549" y="190"/>
                      </a:lnTo>
                      <a:lnTo>
                        <a:pt x="549" y="191"/>
                      </a:lnTo>
                      <a:lnTo>
                        <a:pt x="549" y="194"/>
                      </a:lnTo>
                      <a:lnTo>
                        <a:pt x="549" y="195"/>
                      </a:lnTo>
                      <a:lnTo>
                        <a:pt x="549" y="196"/>
                      </a:lnTo>
                      <a:lnTo>
                        <a:pt x="549" y="198"/>
                      </a:lnTo>
                      <a:lnTo>
                        <a:pt x="548" y="200"/>
                      </a:lnTo>
                      <a:lnTo>
                        <a:pt x="548" y="201"/>
                      </a:lnTo>
                      <a:lnTo>
                        <a:pt x="548" y="202"/>
                      </a:lnTo>
                      <a:lnTo>
                        <a:pt x="548" y="203"/>
                      </a:lnTo>
                      <a:lnTo>
                        <a:pt x="548" y="204"/>
                      </a:lnTo>
                      <a:lnTo>
                        <a:pt x="548" y="205"/>
                      </a:lnTo>
                      <a:lnTo>
                        <a:pt x="548" y="207"/>
                      </a:lnTo>
                      <a:lnTo>
                        <a:pt x="548" y="208"/>
                      </a:lnTo>
                      <a:lnTo>
                        <a:pt x="548" y="209"/>
                      </a:lnTo>
                      <a:lnTo>
                        <a:pt x="548" y="210"/>
                      </a:lnTo>
                      <a:lnTo>
                        <a:pt x="548" y="211"/>
                      </a:lnTo>
                      <a:lnTo>
                        <a:pt x="549" y="212"/>
                      </a:lnTo>
                      <a:lnTo>
                        <a:pt x="548" y="215"/>
                      </a:lnTo>
                      <a:lnTo>
                        <a:pt x="546" y="215"/>
                      </a:lnTo>
                      <a:lnTo>
                        <a:pt x="545" y="216"/>
                      </a:lnTo>
                      <a:lnTo>
                        <a:pt x="544" y="217"/>
                      </a:lnTo>
                      <a:lnTo>
                        <a:pt x="544" y="218"/>
                      </a:lnTo>
                      <a:lnTo>
                        <a:pt x="543" y="218"/>
                      </a:lnTo>
                      <a:lnTo>
                        <a:pt x="541" y="218"/>
                      </a:lnTo>
                      <a:lnTo>
                        <a:pt x="541" y="219"/>
                      </a:lnTo>
                      <a:lnTo>
                        <a:pt x="539" y="221"/>
                      </a:lnTo>
                      <a:lnTo>
                        <a:pt x="537" y="223"/>
                      </a:lnTo>
                      <a:lnTo>
                        <a:pt x="537" y="224"/>
                      </a:lnTo>
                      <a:lnTo>
                        <a:pt x="536" y="223"/>
                      </a:lnTo>
                      <a:lnTo>
                        <a:pt x="535" y="223"/>
                      </a:lnTo>
                      <a:lnTo>
                        <a:pt x="535" y="222"/>
                      </a:lnTo>
                      <a:lnTo>
                        <a:pt x="534" y="222"/>
                      </a:lnTo>
                      <a:lnTo>
                        <a:pt x="532" y="222"/>
                      </a:lnTo>
                      <a:lnTo>
                        <a:pt x="532" y="221"/>
                      </a:lnTo>
                      <a:lnTo>
                        <a:pt x="531" y="221"/>
                      </a:lnTo>
                      <a:lnTo>
                        <a:pt x="530" y="222"/>
                      </a:lnTo>
                      <a:lnTo>
                        <a:pt x="530" y="223"/>
                      </a:lnTo>
                      <a:lnTo>
                        <a:pt x="530" y="224"/>
                      </a:lnTo>
                      <a:lnTo>
                        <a:pt x="532" y="222"/>
                      </a:lnTo>
                      <a:lnTo>
                        <a:pt x="532" y="223"/>
                      </a:lnTo>
                      <a:lnTo>
                        <a:pt x="531" y="225"/>
                      </a:lnTo>
                      <a:lnTo>
                        <a:pt x="530" y="226"/>
                      </a:lnTo>
                      <a:lnTo>
                        <a:pt x="530" y="225"/>
                      </a:lnTo>
                      <a:lnTo>
                        <a:pt x="530" y="228"/>
                      </a:lnTo>
                      <a:lnTo>
                        <a:pt x="530" y="226"/>
                      </a:lnTo>
                      <a:lnTo>
                        <a:pt x="530" y="228"/>
                      </a:lnTo>
                      <a:lnTo>
                        <a:pt x="529" y="229"/>
                      </a:lnTo>
                      <a:lnTo>
                        <a:pt x="528" y="232"/>
                      </a:lnTo>
                      <a:lnTo>
                        <a:pt x="527" y="232"/>
                      </a:lnTo>
                      <a:lnTo>
                        <a:pt x="527" y="233"/>
                      </a:lnTo>
                      <a:lnTo>
                        <a:pt x="525" y="235"/>
                      </a:lnTo>
                      <a:lnTo>
                        <a:pt x="527" y="235"/>
                      </a:lnTo>
                      <a:lnTo>
                        <a:pt x="527" y="236"/>
                      </a:lnTo>
                      <a:lnTo>
                        <a:pt x="527" y="235"/>
                      </a:lnTo>
                      <a:lnTo>
                        <a:pt x="527" y="233"/>
                      </a:lnTo>
                      <a:lnTo>
                        <a:pt x="528" y="233"/>
                      </a:lnTo>
                      <a:lnTo>
                        <a:pt x="528" y="235"/>
                      </a:lnTo>
                      <a:lnTo>
                        <a:pt x="529" y="236"/>
                      </a:lnTo>
                      <a:lnTo>
                        <a:pt x="528" y="237"/>
                      </a:lnTo>
                      <a:lnTo>
                        <a:pt x="525" y="237"/>
                      </a:lnTo>
                      <a:lnTo>
                        <a:pt x="525" y="238"/>
                      </a:lnTo>
                      <a:lnTo>
                        <a:pt x="527" y="238"/>
                      </a:lnTo>
                      <a:lnTo>
                        <a:pt x="527" y="239"/>
                      </a:lnTo>
                      <a:lnTo>
                        <a:pt x="525" y="239"/>
                      </a:lnTo>
                      <a:lnTo>
                        <a:pt x="525" y="240"/>
                      </a:lnTo>
                      <a:lnTo>
                        <a:pt x="525" y="242"/>
                      </a:lnTo>
                      <a:lnTo>
                        <a:pt x="527" y="242"/>
                      </a:lnTo>
                      <a:lnTo>
                        <a:pt x="527" y="240"/>
                      </a:lnTo>
                      <a:lnTo>
                        <a:pt x="528" y="242"/>
                      </a:lnTo>
                      <a:lnTo>
                        <a:pt x="527" y="243"/>
                      </a:lnTo>
                      <a:lnTo>
                        <a:pt x="525" y="244"/>
                      </a:lnTo>
                      <a:lnTo>
                        <a:pt x="527" y="244"/>
                      </a:lnTo>
                      <a:lnTo>
                        <a:pt x="528" y="243"/>
                      </a:lnTo>
                      <a:lnTo>
                        <a:pt x="529" y="242"/>
                      </a:lnTo>
                      <a:lnTo>
                        <a:pt x="529" y="243"/>
                      </a:lnTo>
                      <a:lnTo>
                        <a:pt x="528" y="244"/>
                      </a:lnTo>
                      <a:lnTo>
                        <a:pt x="525" y="245"/>
                      </a:lnTo>
                      <a:lnTo>
                        <a:pt x="524" y="245"/>
                      </a:lnTo>
                      <a:lnTo>
                        <a:pt x="524" y="246"/>
                      </a:lnTo>
                      <a:lnTo>
                        <a:pt x="524" y="247"/>
                      </a:lnTo>
                      <a:lnTo>
                        <a:pt x="524" y="249"/>
                      </a:lnTo>
                      <a:lnTo>
                        <a:pt x="525" y="249"/>
                      </a:lnTo>
                      <a:lnTo>
                        <a:pt x="525" y="250"/>
                      </a:lnTo>
                      <a:lnTo>
                        <a:pt x="525" y="251"/>
                      </a:lnTo>
                      <a:lnTo>
                        <a:pt x="527" y="251"/>
                      </a:lnTo>
                      <a:lnTo>
                        <a:pt x="527" y="252"/>
                      </a:lnTo>
                      <a:lnTo>
                        <a:pt x="527" y="254"/>
                      </a:lnTo>
                      <a:lnTo>
                        <a:pt x="528" y="256"/>
                      </a:lnTo>
                      <a:lnTo>
                        <a:pt x="529" y="256"/>
                      </a:lnTo>
                      <a:lnTo>
                        <a:pt x="530" y="256"/>
                      </a:lnTo>
                      <a:lnTo>
                        <a:pt x="530" y="257"/>
                      </a:lnTo>
                      <a:lnTo>
                        <a:pt x="529" y="258"/>
                      </a:lnTo>
                      <a:lnTo>
                        <a:pt x="529" y="259"/>
                      </a:lnTo>
                      <a:lnTo>
                        <a:pt x="530" y="259"/>
                      </a:lnTo>
                      <a:lnTo>
                        <a:pt x="531" y="260"/>
                      </a:lnTo>
                      <a:lnTo>
                        <a:pt x="531" y="261"/>
                      </a:lnTo>
                      <a:lnTo>
                        <a:pt x="532" y="261"/>
                      </a:lnTo>
                      <a:lnTo>
                        <a:pt x="532" y="263"/>
                      </a:lnTo>
                      <a:lnTo>
                        <a:pt x="534" y="264"/>
                      </a:lnTo>
                      <a:lnTo>
                        <a:pt x="535" y="265"/>
                      </a:lnTo>
                      <a:lnTo>
                        <a:pt x="535" y="266"/>
                      </a:lnTo>
                      <a:lnTo>
                        <a:pt x="536" y="266"/>
                      </a:lnTo>
                      <a:lnTo>
                        <a:pt x="537" y="266"/>
                      </a:lnTo>
                      <a:lnTo>
                        <a:pt x="537" y="268"/>
                      </a:lnTo>
                      <a:lnTo>
                        <a:pt x="537" y="270"/>
                      </a:lnTo>
                      <a:lnTo>
                        <a:pt x="536" y="270"/>
                      </a:lnTo>
                      <a:lnTo>
                        <a:pt x="536" y="271"/>
                      </a:lnTo>
                      <a:lnTo>
                        <a:pt x="536" y="273"/>
                      </a:lnTo>
                      <a:lnTo>
                        <a:pt x="537" y="273"/>
                      </a:lnTo>
                      <a:lnTo>
                        <a:pt x="537" y="274"/>
                      </a:lnTo>
                      <a:lnTo>
                        <a:pt x="536" y="274"/>
                      </a:lnTo>
                      <a:lnTo>
                        <a:pt x="536" y="275"/>
                      </a:lnTo>
                      <a:lnTo>
                        <a:pt x="535" y="277"/>
                      </a:lnTo>
                      <a:lnTo>
                        <a:pt x="534" y="278"/>
                      </a:lnTo>
                      <a:lnTo>
                        <a:pt x="534" y="279"/>
                      </a:lnTo>
                      <a:lnTo>
                        <a:pt x="535" y="287"/>
                      </a:lnTo>
                      <a:lnTo>
                        <a:pt x="534" y="287"/>
                      </a:lnTo>
                      <a:lnTo>
                        <a:pt x="534" y="288"/>
                      </a:lnTo>
                      <a:lnTo>
                        <a:pt x="532" y="289"/>
                      </a:lnTo>
                      <a:lnTo>
                        <a:pt x="532" y="291"/>
                      </a:lnTo>
                      <a:lnTo>
                        <a:pt x="534" y="291"/>
                      </a:lnTo>
                      <a:lnTo>
                        <a:pt x="534" y="292"/>
                      </a:lnTo>
                      <a:lnTo>
                        <a:pt x="532" y="293"/>
                      </a:lnTo>
                      <a:lnTo>
                        <a:pt x="532" y="294"/>
                      </a:lnTo>
                      <a:lnTo>
                        <a:pt x="532" y="295"/>
                      </a:lnTo>
                      <a:lnTo>
                        <a:pt x="532" y="296"/>
                      </a:lnTo>
                      <a:lnTo>
                        <a:pt x="532" y="298"/>
                      </a:lnTo>
                      <a:lnTo>
                        <a:pt x="532" y="300"/>
                      </a:lnTo>
                      <a:lnTo>
                        <a:pt x="532" y="301"/>
                      </a:lnTo>
                      <a:lnTo>
                        <a:pt x="532" y="302"/>
                      </a:lnTo>
                      <a:lnTo>
                        <a:pt x="532" y="303"/>
                      </a:lnTo>
                      <a:lnTo>
                        <a:pt x="532" y="305"/>
                      </a:lnTo>
                      <a:lnTo>
                        <a:pt x="531" y="305"/>
                      </a:lnTo>
                      <a:lnTo>
                        <a:pt x="531" y="306"/>
                      </a:lnTo>
                      <a:lnTo>
                        <a:pt x="531" y="307"/>
                      </a:lnTo>
                      <a:lnTo>
                        <a:pt x="532" y="307"/>
                      </a:lnTo>
                      <a:lnTo>
                        <a:pt x="534" y="308"/>
                      </a:lnTo>
                      <a:lnTo>
                        <a:pt x="535" y="307"/>
                      </a:lnTo>
                      <a:lnTo>
                        <a:pt x="535" y="306"/>
                      </a:lnTo>
                      <a:lnTo>
                        <a:pt x="535" y="305"/>
                      </a:lnTo>
                      <a:lnTo>
                        <a:pt x="535" y="303"/>
                      </a:lnTo>
                      <a:lnTo>
                        <a:pt x="536" y="302"/>
                      </a:lnTo>
                      <a:lnTo>
                        <a:pt x="536" y="301"/>
                      </a:lnTo>
                      <a:lnTo>
                        <a:pt x="537" y="299"/>
                      </a:lnTo>
                      <a:lnTo>
                        <a:pt x="537" y="300"/>
                      </a:lnTo>
                      <a:lnTo>
                        <a:pt x="536" y="308"/>
                      </a:lnTo>
                      <a:lnTo>
                        <a:pt x="536" y="309"/>
                      </a:lnTo>
                      <a:lnTo>
                        <a:pt x="536" y="310"/>
                      </a:lnTo>
                      <a:lnTo>
                        <a:pt x="536" y="313"/>
                      </a:lnTo>
                      <a:lnTo>
                        <a:pt x="535" y="313"/>
                      </a:lnTo>
                      <a:lnTo>
                        <a:pt x="534" y="313"/>
                      </a:lnTo>
                      <a:lnTo>
                        <a:pt x="534" y="314"/>
                      </a:lnTo>
                      <a:lnTo>
                        <a:pt x="534" y="315"/>
                      </a:lnTo>
                      <a:lnTo>
                        <a:pt x="532" y="316"/>
                      </a:lnTo>
                      <a:lnTo>
                        <a:pt x="532" y="321"/>
                      </a:lnTo>
                      <a:lnTo>
                        <a:pt x="532" y="328"/>
                      </a:lnTo>
                      <a:lnTo>
                        <a:pt x="534" y="329"/>
                      </a:lnTo>
                      <a:lnTo>
                        <a:pt x="532" y="329"/>
                      </a:lnTo>
                      <a:lnTo>
                        <a:pt x="532" y="330"/>
                      </a:lnTo>
                      <a:lnTo>
                        <a:pt x="532" y="331"/>
                      </a:lnTo>
                      <a:lnTo>
                        <a:pt x="534" y="333"/>
                      </a:lnTo>
                      <a:lnTo>
                        <a:pt x="534" y="335"/>
                      </a:lnTo>
                      <a:lnTo>
                        <a:pt x="535" y="337"/>
                      </a:lnTo>
                      <a:lnTo>
                        <a:pt x="537" y="341"/>
                      </a:lnTo>
                      <a:lnTo>
                        <a:pt x="541" y="348"/>
                      </a:lnTo>
                      <a:lnTo>
                        <a:pt x="541" y="349"/>
                      </a:lnTo>
                      <a:lnTo>
                        <a:pt x="541" y="348"/>
                      </a:lnTo>
                      <a:lnTo>
                        <a:pt x="539" y="348"/>
                      </a:lnTo>
                      <a:lnTo>
                        <a:pt x="539" y="349"/>
                      </a:lnTo>
                      <a:lnTo>
                        <a:pt x="541" y="349"/>
                      </a:lnTo>
                      <a:lnTo>
                        <a:pt x="539" y="350"/>
                      </a:lnTo>
                      <a:lnTo>
                        <a:pt x="541" y="350"/>
                      </a:lnTo>
                      <a:lnTo>
                        <a:pt x="541" y="351"/>
                      </a:lnTo>
                      <a:lnTo>
                        <a:pt x="539" y="352"/>
                      </a:lnTo>
                      <a:lnTo>
                        <a:pt x="541" y="352"/>
                      </a:lnTo>
                      <a:lnTo>
                        <a:pt x="539" y="354"/>
                      </a:lnTo>
                      <a:lnTo>
                        <a:pt x="539" y="355"/>
                      </a:lnTo>
                      <a:lnTo>
                        <a:pt x="537" y="356"/>
                      </a:lnTo>
                      <a:lnTo>
                        <a:pt x="535" y="357"/>
                      </a:lnTo>
                      <a:lnTo>
                        <a:pt x="535" y="358"/>
                      </a:lnTo>
                      <a:lnTo>
                        <a:pt x="535" y="359"/>
                      </a:lnTo>
                      <a:lnTo>
                        <a:pt x="536" y="362"/>
                      </a:lnTo>
                      <a:lnTo>
                        <a:pt x="536" y="363"/>
                      </a:lnTo>
                      <a:lnTo>
                        <a:pt x="537" y="364"/>
                      </a:lnTo>
                      <a:lnTo>
                        <a:pt x="538" y="364"/>
                      </a:lnTo>
                      <a:lnTo>
                        <a:pt x="538" y="365"/>
                      </a:lnTo>
                      <a:lnTo>
                        <a:pt x="539" y="365"/>
                      </a:lnTo>
                      <a:lnTo>
                        <a:pt x="539" y="366"/>
                      </a:lnTo>
                      <a:lnTo>
                        <a:pt x="539" y="368"/>
                      </a:lnTo>
                      <a:lnTo>
                        <a:pt x="541" y="369"/>
                      </a:lnTo>
                      <a:lnTo>
                        <a:pt x="541" y="370"/>
                      </a:lnTo>
                      <a:lnTo>
                        <a:pt x="542" y="372"/>
                      </a:lnTo>
                      <a:lnTo>
                        <a:pt x="543" y="375"/>
                      </a:lnTo>
                      <a:lnTo>
                        <a:pt x="543" y="376"/>
                      </a:lnTo>
                      <a:lnTo>
                        <a:pt x="545" y="376"/>
                      </a:lnTo>
                      <a:lnTo>
                        <a:pt x="544" y="377"/>
                      </a:lnTo>
                      <a:lnTo>
                        <a:pt x="545" y="378"/>
                      </a:lnTo>
                      <a:lnTo>
                        <a:pt x="544" y="379"/>
                      </a:lnTo>
                      <a:lnTo>
                        <a:pt x="545" y="380"/>
                      </a:lnTo>
                      <a:lnTo>
                        <a:pt x="545" y="382"/>
                      </a:lnTo>
                      <a:lnTo>
                        <a:pt x="546" y="384"/>
                      </a:lnTo>
                      <a:lnTo>
                        <a:pt x="549" y="386"/>
                      </a:lnTo>
                      <a:lnTo>
                        <a:pt x="550" y="386"/>
                      </a:lnTo>
                      <a:lnTo>
                        <a:pt x="550" y="387"/>
                      </a:lnTo>
                      <a:lnTo>
                        <a:pt x="551" y="389"/>
                      </a:lnTo>
                      <a:lnTo>
                        <a:pt x="552" y="390"/>
                      </a:lnTo>
                      <a:lnTo>
                        <a:pt x="553" y="392"/>
                      </a:lnTo>
                      <a:lnTo>
                        <a:pt x="555" y="393"/>
                      </a:lnTo>
                      <a:lnTo>
                        <a:pt x="556" y="393"/>
                      </a:lnTo>
                      <a:lnTo>
                        <a:pt x="557" y="394"/>
                      </a:lnTo>
                      <a:lnTo>
                        <a:pt x="558" y="394"/>
                      </a:lnTo>
                      <a:lnTo>
                        <a:pt x="559" y="394"/>
                      </a:lnTo>
                      <a:lnTo>
                        <a:pt x="560" y="396"/>
                      </a:lnTo>
                      <a:lnTo>
                        <a:pt x="564" y="399"/>
                      </a:lnTo>
                      <a:lnTo>
                        <a:pt x="565" y="399"/>
                      </a:lnTo>
                      <a:lnTo>
                        <a:pt x="566" y="401"/>
                      </a:lnTo>
                      <a:lnTo>
                        <a:pt x="566" y="403"/>
                      </a:lnTo>
                      <a:lnTo>
                        <a:pt x="566" y="404"/>
                      </a:lnTo>
                      <a:lnTo>
                        <a:pt x="566" y="405"/>
                      </a:lnTo>
                      <a:lnTo>
                        <a:pt x="567" y="406"/>
                      </a:lnTo>
                      <a:lnTo>
                        <a:pt x="567" y="407"/>
                      </a:lnTo>
                      <a:lnTo>
                        <a:pt x="567" y="408"/>
                      </a:lnTo>
                      <a:lnTo>
                        <a:pt x="567" y="410"/>
                      </a:lnTo>
                      <a:lnTo>
                        <a:pt x="567" y="411"/>
                      </a:lnTo>
                      <a:lnTo>
                        <a:pt x="569" y="414"/>
                      </a:lnTo>
                      <a:lnTo>
                        <a:pt x="570" y="415"/>
                      </a:lnTo>
                      <a:lnTo>
                        <a:pt x="569" y="417"/>
                      </a:lnTo>
                      <a:lnTo>
                        <a:pt x="570" y="417"/>
                      </a:lnTo>
                      <a:lnTo>
                        <a:pt x="570" y="418"/>
                      </a:lnTo>
                      <a:lnTo>
                        <a:pt x="570" y="419"/>
                      </a:lnTo>
                      <a:lnTo>
                        <a:pt x="571" y="420"/>
                      </a:lnTo>
                      <a:lnTo>
                        <a:pt x="572" y="420"/>
                      </a:lnTo>
                      <a:lnTo>
                        <a:pt x="573" y="421"/>
                      </a:lnTo>
                      <a:lnTo>
                        <a:pt x="574" y="421"/>
                      </a:lnTo>
                      <a:lnTo>
                        <a:pt x="574" y="422"/>
                      </a:lnTo>
                      <a:lnTo>
                        <a:pt x="576" y="424"/>
                      </a:lnTo>
                      <a:lnTo>
                        <a:pt x="577" y="424"/>
                      </a:lnTo>
                      <a:lnTo>
                        <a:pt x="577" y="425"/>
                      </a:lnTo>
                      <a:lnTo>
                        <a:pt x="578" y="426"/>
                      </a:lnTo>
                      <a:lnTo>
                        <a:pt x="579" y="427"/>
                      </a:lnTo>
                      <a:lnTo>
                        <a:pt x="579" y="428"/>
                      </a:lnTo>
                      <a:lnTo>
                        <a:pt x="579" y="429"/>
                      </a:lnTo>
                      <a:lnTo>
                        <a:pt x="579" y="431"/>
                      </a:lnTo>
                      <a:lnTo>
                        <a:pt x="571" y="432"/>
                      </a:lnTo>
                      <a:lnTo>
                        <a:pt x="565" y="433"/>
                      </a:lnTo>
                      <a:lnTo>
                        <a:pt x="556" y="434"/>
                      </a:lnTo>
                      <a:lnTo>
                        <a:pt x="548" y="435"/>
                      </a:lnTo>
                      <a:lnTo>
                        <a:pt x="541" y="436"/>
                      </a:lnTo>
                      <a:lnTo>
                        <a:pt x="536" y="436"/>
                      </a:lnTo>
                      <a:lnTo>
                        <a:pt x="530" y="438"/>
                      </a:lnTo>
                      <a:lnTo>
                        <a:pt x="527" y="439"/>
                      </a:lnTo>
                      <a:lnTo>
                        <a:pt x="525" y="439"/>
                      </a:lnTo>
                      <a:lnTo>
                        <a:pt x="522" y="443"/>
                      </a:lnTo>
                      <a:lnTo>
                        <a:pt x="518" y="447"/>
                      </a:lnTo>
                      <a:lnTo>
                        <a:pt x="517" y="449"/>
                      </a:lnTo>
                      <a:lnTo>
                        <a:pt x="515" y="452"/>
                      </a:lnTo>
                      <a:lnTo>
                        <a:pt x="514" y="452"/>
                      </a:lnTo>
                      <a:lnTo>
                        <a:pt x="513" y="454"/>
                      </a:lnTo>
                      <a:lnTo>
                        <a:pt x="513" y="455"/>
                      </a:lnTo>
                      <a:lnTo>
                        <a:pt x="512" y="455"/>
                      </a:lnTo>
                      <a:lnTo>
                        <a:pt x="510" y="456"/>
                      </a:lnTo>
                      <a:lnTo>
                        <a:pt x="508" y="457"/>
                      </a:lnTo>
                      <a:lnTo>
                        <a:pt x="508" y="459"/>
                      </a:lnTo>
                      <a:lnTo>
                        <a:pt x="508" y="460"/>
                      </a:lnTo>
                      <a:lnTo>
                        <a:pt x="508" y="461"/>
                      </a:lnTo>
                      <a:lnTo>
                        <a:pt x="508" y="462"/>
                      </a:lnTo>
                      <a:lnTo>
                        <a:pt x="508" y="463"/>
                      </a:lnTo>
                      <a:lnTo>
                        <a:pt x="508" y="464"/>
                      </a:lnTo>
                      <a:lnTo>
                        <a:pt x="508" y="466"/>
                      </a:lnTo>
                      <a:lnTo>
                        <a:pt x="508" y="467"/>
                      </a:lnTo>
                      <a:lnTo>
                        <a:pt x="508" y="468"/>
                      </a:lnTo>
                      <a:lnTo>
                        <a:pt x="509" y="468"/>
                      </a:lnTo>
                      <a:lnTo>
                        <a:pt x="509" y="469"/>
                      </a:lnTo>
                      <a:lnTo>
                        <a:pt x="508" y="470"/>
                      </a:lnTo>
                      <a:lnTo>
                        <a:pt x="508" y="471"/>
                      </a:lnTo>
                      <a:lnTo>
                        <a:pt x="509" y="471"/>
                      </a:lnTo>
                      <a:lnTo>
                        <a:pt x="510" y="471"/>
                      </a:lnTo>
                      <a:lnTo>
                        <a:pt x="512" y="471"/>
                      </a:lnTo>
                      <a:lnTo>
                        <a:pt x="514" y="471"/>
                      </a:lnTo>
                      <a:lnTo>
                        <a:pt x="514" y="470"/>
                      </a:lnTo>
                      <a:lnTo>
                        <a:pt x="513" y="470"/>
                      </a:lnTo>
                      <a:lnTo>
                        <a:pt x="513" y="469"/>
                      </a:lnTo>
                      <a:lnTo>
                        <a:pt x="513" y="467"/>
                      </a:lnTo>
                      <a:lnTo>
                        <a:pt x="514" y="467"/>
                      </a:lnTo>
                      <a:lnTo>
                        <a:pt x="514" y="468"/>
                      </a:lnTo>
                      <a:lnTo>
                        <a:pt x="514" y="469"/>
                      </a:lnTo>
                      <a:lnTo>
                        <a:pt x="515" y="470"/>
                      </a:lnTo>
                      <a:lnTo>
                        <a:pt x="515" y="471"/>
                      </a:lnTo>
                      <a:lnTo>
                        <a:pt x="516" y="473"/>
                      </a:lnTo>
                      <a:lnTo>
                        <a:pt x="517" y="473"/>
                      </a:lnTo>
                      <a:lnTo>
                        <a:pt x="516" y="473"/>
                      </a:lnTo>
                      <a:lnTo>
                        <a:pt x="516" y="474"/>
                      </a:lnTo>
                      <a:lnTo>
                        <a:pt x="517" y="474"/>
                      </a:lnTo>
                      <a:lnTo>
                        <a:pt x="517" y="475"/>
                      </a:lnTo>
                      <a:lnTo>
                        <a:pt x="517" y="476"/>
                      </a:lnTo>
                      <a:lnTo>
                        <a:pt x="517" y="477"/>
                      </a:lnTo>
                      <a:lnTo>
                        <a:pt x="518" y="478"/>
                      </a:lnTo>
                      <a:lnTo>
                        <a:pt x="518" y="480"/>
                      </a:lnTo>
                      <a:lnTo>
                        <a:pt x="520" y="480"/>
                      </a:lnTo>
                      <a:lnTo>
                        <a:pt x="520" y="481"/>
                      </a:lnTo>
                      <a:lnTo>
                        <a:pt x="518" y="481"/>
                      </a:lnTo>
                      <a:lnTo>
                        <a:pt x="518" y="482"/>
                      </a:lnTo>
                      <a:lnTo>
                        <a:pt x="517" y="484"/>
                      </a:lnTo>
                      <a:lnTo>
                        <a:pt x="517" y="485"/>
                      </a:lnTo>
                      <a:lnTo>
                        <a:pt x="517" y="488"/>
                      </a:lnTo>
                      <a:lnTo>
                        <a:pt x="517" y="490"/>
                      </a:lnTo>
                      <a:lnTo>
                        <a:pt x="517" y="491"/>
                      </a:lnTo>
                      <a:lnTo>
                        <a:pt x="516" y="492"/>
                      </a:lnTo>
                      <a:lnTo>
                        <a:pt x="516" y="494"/>
                      </a:lnTo>
                      <a:lnTo>
                        <a:pt x="515" y="494"/>
                      </a:lnTo>
                      <a:lnTo>
                        <a:pt x="516" y="495"/>
                      </a:lnTo>
                      <a:lnTo>
                        <a:pt x="517" y="495"/>
                      </a:lnTo>
                      <a:lnTo>
                        <a:pt x="517" y="496"/>
                      </a:lnTo>
                      <a:lnTo>
                        <a:pt x="517" y="497"/>
                      </a:lnTo>
                      <a:lnTo>
                        <a:pt x="517" y="498"/>
                      </a:lnTo>
                      <a:lnTo>
                        <a:pt x="517" y="499"/>
                      </a:lnTo>
                      <a:lnTo>
                        <a:pt x="517" y="501"/>
                      </a:lnTo>
                      <a:lnTo>
                        <a:pt x="518" y="501"/>
                      </a:lnTo>
                      <a:lnTo>
                        <a:pt x="517" y="501"/>
                      </a:lnTo>
                      <a:lnTo>
                        <a:pt x="517" y="502"/>
                      </a:lnTo>
                      <a:lnTo>
                        <a:pt x="517" y="503"/>
                      </a:lnTo>
                      <a:lnTo>
                        <a:pt x="518" y="504"/>
                      </a:lnTo>
                      <a:lnTo>
                        <a:pt x="518" y="505"/>
                      </a:lnTo>
                      <a:lnTo>
                        <a:pt x="518" y="506"/>
                      </a:lnTo>
                      <a:lnTo>
                        <a:pt x="520" y="508"/>
                      </a:lnTo>
                      <a:lnTo>
                        <a:pt x="518" y="509"/>
                      </a:lnTo>
                      <a:lnTo>
                        <a:pt x="518" y="510"/>
                      </a:lnTo>
                      <a:lnTo>
                        <a:pt x="517" y="510"/>
                      </a:lnTo>
                      <a:lnTo>
                        <a:pt x="516" y="510"/>
                      </a:lnTo>
                      <a:lnTo>
                        <a:pt x="516" y="511"/>
                      </a:lnTo>
                      <a:lnTo>
                        <a:pt x="516" y="512"/>
                      </a:lnTo>
                      <a:lnTo>
                        <a:pt x="515" y="512"/>
                      </a:lnTo>
                      <a:lnTo>
                        <a:pt x="515" y="513"/>
                      </a:lnTo>
                      <a:lnTo>
                        <a:pt x="515" y="515"/>
                      </a:lnTo>
                      <a:lnTo>
                        <a:pt x="515" y="516"/>
                      </a:lnTo>
                      <a:lnTo>
                        <a:pt x="515" y="517"/>
                      </a:lnTo>
                      <a:lnTo>
                        <a:pt x="514" y="517"/>
                      </a:lnTo>
                      <a:lnTo>
                        <a:pt x="514" y="518"/>
                      </a:lnTo>
                      <a:lnTo>
                        <a:pt x="514" y="519"/>
                      </a:lnTo>
                      <a:lnTo>
                        <a:pt x="513" y="520"/>
                      </a:lnTo>
                      <a:lnTo>
                        <a:pt x="513" y="521"/>
                      </a:lnTo>
                      <a:lnTo>
                        <a:pt x="513" y="523"/>
                      </a:lnTo>
                      <a:lnTo>
                        <a:pt x="513" y="524"/>
                      </a:lnTo>
                      <a:lnTo>
                        <a:pt x="513" y="525"/>
                      </a:lnTo>
                      <a:lnTo>
                        <a:pt x="513" y="526"/>
                      </a:lnTo>
                      <a:lnTo>
                        <a:pt x="512" y="527"/>
                      </a:lnTo>
                      <a:lnTo>
                        <a:pt x="512" y="528"/>
                      </a:lnTo>
                      <a:lnTo>
                        <a:pt x="512" y="530"/>
                      </a:lnTo>
                      <a:lnTo>
                        <a:pt x="510" y="531"/>
                      </a:lnTo>
                      <a:lnTo>
                        <a:pt x="509" y="533"/>
                      </a:lnTo>
                      <a:lnTo>
                        <a:pt x="509" y="535"/>
                      </a:lnTo>
                      <a:lnTo>
                        <a:pt x="509" y="537"/>
                      </a:lnTo>
                      <a:lnTo>
                        <a:pt x="510" y="538"/>
                      </a:lnTo>
                      <a:lnTo>
                        <a:pt x="510" y="540"/>
                      </a:lnTo>
                      <a:lnTo>
                        <a:pt x="512" y="541"/>
                      </a:lnTo>
                      <a:lnTo>
                        <a:pt x="512" y="544"/>
                      </a:lnTo>
                      <a:lnTo>
                        <a:pt x="513" y="544"/>
                      </a:lnTo>
                      <a:lnTo>
                        <a:pt x="513" y="545"/>
                      </a:lnTo>
                      <a:lnTo>
                        <a:pt x="513" y="546"/>
                      </a:lnTo>
                      <a:lnTo>
                        <a:pt x="514" y="546"/>
                      </a:lnTo>
                      <a:lnTo>
                        <a:pt x="515" y="546"/>
                      </a:lnTo>
                      <a:lnTo>
                        <a:pt x="515" y="547"/>
                      </a:lnTo>
                      <a:lnTo>
                        <a:pt x="515" y="548"/>
                      </a:lnTo>
                      <a:lnTo>
                        <a:pt x="516" y="547"/>
                      </a:lnTo>
                      <a:lnTo>
                        <a:pt x="517" y="549"/>
                      </a:lnTo>
                      <a:lnTo>
                        <a:pt x="520" y="551"/>
                      </a:lnTo>
                      <a:lnTo>
                        <a:pt x="521" y="551"/>
                      </a:lnTo>
                      <a:lnTo>
                        <a:pt x="521" y="552"/>
                      </a:lnTo>
                      <a:lnTo>
                        <a:pt x="522" y="552"/>
                      </a:lnTo>
                      <a:lnTo>
                        <a:pt x="523" y="553"/>
                      </a:lnTo>
                      <a:lnTo>
                        <a:pt x="524" y="554"/>
                      </a:lnTo>
                      <a:lnTo>
                        <a:pt x="524" y="555"/>
                      </a:lnTo>
                      <a:lnTo>
                        <a:pt x="527" y="556"/>
                      </a:lnTo>
                      <a:lnTo>
                        <a:pt x="528" y="558"/>
                      </a:lnTo>
                      <a:lnTo>
                        <a:pt x="530" y="562"/>
                      </a:lnTo>
                      <a:lnTo>
                        <a:pt x="530" y="563"/>
                      </a:lnTo>
                      <a:lnTo>
                        <a:pt x="531" y="563"/>
                      </a:lnTo>
                      <a:lnTo>
                        <a:pt x="531" y="562"/>
                      </a:lnTo>
                      <a:lnTo>
                        <a:pt x="532" y="562"/>
                      </a:lnTo>
                      <a:lnTo>
                        <a:pt x="532" y="563"/>
                      </a:lnTo>
                      <a:lnTo>
                        <a:pt x="534" y="562"/>
                      </a:lnTo>
                      <a:lnTo>
                        <a:pt x="535" y="562"/>
                      </a:lnTo>
                      <a:lnTo>
                        <a:pt x="537" y="562"/>
                      </a:lnTo>
                      <a:lnTo>
                        <a:pt x="538" y="563"/>
                      </a:lnTo>
                      <a:lnTo>
                        <a:pt x="539" y="563"/>
                      </a:lnTo>
                      <a:lnTo>
                        <a:pt x="541" y="563"/>
                      </a:lnTo>
                      <a:lnTo>
                        <a:pt x="542" y="565"/>
                      </a:lnTo>
                      <a:lnTo>
                        <a:pt x="543" y="565"/>
                      </a:lnTo>
                      <a:lnTo>
                        <a:pt x="544" y="565"/>
                      </a:lnTo>
                      <a:lnTo>
                        <a:pt x="544" y="566"/>
                      </a:lnTo>
                      <a:lnTo>
                        <a:pt x="545" y="565"/>
                      </a:lnTo>
                      <a:lnTo>
                        <a:pt x="545" y="563"/>
                      </a:lnTo>
                      <a:lnTo>
                        <a:pt x="544" y="563"/>
                      </a:lnTo>
                      <a:lnTo>
                        <a:pt x="544" y="562"/>
                      </a:lnTo>
                      <a:lnTo>
                        <a:pt x="543" y="561"/>
                      </a:lnTo>
                      <a:lnTo>
                        <a:pt x="543" y="560"/>
                      </a:lnTo>
                      <a:lnTo>
                        <a:pt x="544" y="559"/>
                      </a:lnTo>
                      <a:lnTo>
                        <a:pt x="544" y="558"/>
                      </a:lnTo>
                      <a:lnTo>
                        <a:pt x="545" y="558"/>
                      </a:lnTo>
                      <a:lnTo>
                        <a:pt x="546" y="558"/>
                      </a:lnTo>
                      <a:lnTo>
                        <a:pt x="546" y="556"/>
                      </a:lnTo>
                      <a:lnTo>
                        <a:pt x="548" y="556"/>
                      </a:lnTo>
                      <a:lnTo>
                        <a:pt x="549" y="558"/>
                      </a:lnTo>
                      <a:lnTo>
                        <a:pt x="550" y="558"/>
                      </a:lnTo>
                      <a:lnTo>
                        <a:pt x="551" y="556"/>
                      </a:lnTo>
                      <a:lnTo>
                        <a:pt x="552" y="556"/>
                      </a:lnTo>
                      <a:lnTo>
                        <a:pt x="552" y="555"/>
                      </a:lnTo>
                      <a:lnTo>
                        <a:pt x="555" y="555"/>
                      </a:lnTo>
                      <a:lnTo>
                        <a:pt x="555" y="559"/>
                      </a:lnTo>
                      <a:lnTo>
                        <a:pt x="555" y="563"/>
                      </a:lnTo>
                      <a:lnTo>
                        <a:pt x="555" y="568"/>
                      </a:lnTo>
                      <a:lnTo>
                        <a:pt x="555" y="573"/>
                      </a:lnTo>
                      <a:lnTo>
                        <a:pt x="555" y="579"/>
                      </a:lnTo>
                      <a:lnTo>
                        <a:pt x="555" y="583"/>
                      </a:lnTo>
                      <a:lnTo>
                        <a:pt x="555" y="588"/>
                      </a:lnTo>
                      <a:lnTo>
                        <a:pt x="555" y="593"/>
                      </a:lnTo>
                      <a:lnTo>
                        <a:pt x="555" y="596"/>
                      </a:lnTo>
                      <a:lnTo>
                        <a:pt x="553" y="597"/>
                      </a:lnTo>
                      <a:lnTo>
                        <a:pt x="551" y="597"/>
                      </a:lnTo>
                      <a:lnTo>
                        <a:pt x="550" y="597"/>
                      </a:lnTo>
                      <a:lnTo>
                        <a:pt x="549" y="597"/>
                      </a:lnTo>
                      <a:lnTo>
                        <a:pt x="549" y="596"/>
                      </a:lnTo>
                      <a:lnTo>
                        <a:pt x="548" y="596"/>
                      </a:lnTo>
                      <a:lnTo>
                        <a:pt x="548" y="595"/>
                      </a:lnTo>
                      <a:lnTo>
                        <a:pt x="549" y="595"/>
                      </a:lnTo>
                      <a:lnTo>
                        <a:pt x="549" y="594"/>
                      </a:lnTo>
                      <a:lnTo>
                        <a:pt x="549" y="593"/>
                      </a:lnTo>
                      <a:lnTo>
                        <a:pt x="550" y="593"/>
                      </a:lnTo>
                      <a:lnTo>
                        <a:pt x="550" y="591"/>
                      </a:lnTo>
                      <a:lnTo>
                        <a:pt x="549" y="591"/>
                      </a:lnTo>
                      <a:lnTo>
                        <a:pt x="548" y="590"/>
                      </a:lnTo>
                      <a:lnTo>
                        <a:pt x="546" y="590"/>
                      </a:lnTo>
                      <a:lnTo>
                        <a:pt x="545" y="590"/>
                      </a:lnTo>
                      <a:lnTo>
                        <a:pt x="544" y="591"/>
                      </a:lnTo>
                      <a:lnTo>
                        <a:pt x="543" y="593"/>
                      </a:lnTo>
                      <a:lnTo>
                        <a:pt x="538" y="594"/>
                      </a:lnTo>
                      <a:lnTo>
                        <a:pt x="537" y="595"/>
                      </a:lnTo>
                      <a:lnTo>
                        <a:pt x="536" y="596"/>
                      </a:lnTo>
                      <a:lnTo>
                        <a:pt x="535" y="596"/>
                      </a:lnTo>
                      <a:lnTo>
                        <a:pt x="535" y="597"/>
                      </a:lnTo>
                      <a:lnTo>
                        <a:pt x="535" y="596"/>
                      </a:lnTo>
                      <a:lnTo>
                        <a:pt x="534" y="596"/>
                      </a:lnTo>
                      <a:lnTo>
                        <a:pt x="534" y="595"/>
                      </a:lnTo>
                      <a:lnTo>
                        <a:pt x="532" y="595"/>
                      </a:lnTo>
                      <a:lnTo>
                        <a:pt x="531" y="595"/>
                      </a:lnTo>
                      <a:lnTo>
                        <a:pt x="530" y="595"/>
                      </a:lnTo>
                      <a:lnTo>
                        <a:pt x="529" y="596"/>
                      </a:lnTo>
                      <a:lnTo>
                        <a:pt x="529" y="595"/>
                      </a:lnTo>
                      <a:lnTo>
                        <a:pt x="528" y="595"/>
                      </a:lnTo>
                      <a:lnTo>
                        <a:pt x="528" y="594"/>
                      </a:lnTo>
                      <a:lnTo>
                        <a:pt x="527" y="593"/>
                      </a:lnTo>
                      <a:lnTo>
                        <a:pt x="525" y="588"/>
                      </a:lnTo>
                      <a:lnTo>
                        <a:pt x="525" y="587"/>
                      </a:lnTo>
                      <a:lnTo>
                        <a:pt x="524" y="587"/>
                      </a:lnTo>
                      <a:lnTo>
                        <a:pt x="524" y="586"/>
                      </a:lnTo>
                      <a:lnTo>
                        <a:pt x="523" y="586"/>
                      </a:lnTo>
                      <a:lnTo>
                        <a:pt x="523" y="584"/>
                      </a:lnTo>
                      <a:lnTo>
                        <a:pt x="523" y="583"/>
                      </a:lnTo>
                      <a:lnTo>
                        <a:pt x="522" y="582"/>
                      </a:lnTo>
                      <a:lnTo>
                        <a:pt x="520" y="579"/>
                      </a:lnTo>
                      <a:lnTo>
                        <a:pt x="518" y="577"/>
                      </a:lnTo>
                      <a:lnTo>
                        <a:pt x="517" y="577"/>
                      </a:lnTo>
                      <a:lnTo>
                        <a:pt x="516" y="577"/>
                      </a:lnTo>
                      <a:lnTo>
                        <a:pt x="516" y="579"/>
                      </a:lnTo>
                      <a:lnTo>
                        <a:pt x="515" y="580"/>
                      </a:lnTo>
                      <a:lnTo>
                        <a:pt x="515" y="579"/>
                      </a:lnTo>
                      <a:lnTo>
                        <a:pt x="515" y="577"/>
                      </a:lnTo>
                      <a:lnTo>
                        <a:pt x="514" y="576"/>
                      </a:lnTo>
                      <a:lnTo>
                        <a:pt x="513" y="575"/>
                      </a:lnTo>
                      <a:lnTo>
                        <a:pt x="513" y="574"/>
                      </a:lnTo>
                      <a:lnTo>
                        <a:pt x="514" y="573"/>
                      </a:lnTo>
                      <a:lnTo>
                        <a:pt x="514" y="572"/>
                      </a:lnTo>
                      <a:lnTo>
                        <a:pt x="513" y="570"/>
                      </a:lnTo>
                      <a:lnTo>
                        <a:pt x="512" y="569"/>
                      </a:lnTo>
                      <a:lnTo>
                        <a:pt x="512" y="568"/>
                      </a:lnTo>
                      <a:lnTo>
                        <a:pt x="510" y="567"/>
                      </a:lnTo>
                      <a:lnTo>
                        <a:pt x="508" y="565"/>
                      </a:lnTo>
                      <a:lnTo>
                        <a:pt x="507" y="565"/>
                      </a:lnTo>
                      <a:lnTo>
                        <a:pt x="506" y="565"/>
                      </a:lnTo>
                      <a:lnTo>
                        <a:pt x="505" y="565"/>
                      </a:lnTo>
                      <a:lnTo>
                        <a:pt x="505" y="563"/>
                      </a:lnTo>
                      <a:lnTo>
                        <a:pt x="503" y="563"/>
                      </a:lnTo>
                      <a:lnTo>
                        <a:pt x="502" y="563"/>
                      </a:lnTo>
                      <a:lnTo>
                        <a:pt x="502" y="565"/>
                      </a:lnTo>
                      <a:lnTo>
                        <a:pt x="501" y="563"/>
                      </a:lnTo>
                      <a:lnTo>
                        <a:pt x="501" y="562"/>
                      </a:lnTo>
                      <a:lnTo>
                        <a:pt x="500" y="562"/>
                      </a:lnTo>
                      <a:lnTo>
                        <a:pt x="498" y="562"/>
                      </a:lnTo>
                      <a:lnTo>
                        <a:pt x="496" y="562"/>
                      </a:lnTo>
                      <a:lnTo>
                        <a:pt x="496" y="561"/>
                      </a:lnTo>
                      <a:lnTo>
                        <a:pt x="495" y="560"/>
                      </a:lnTo>
                      <a:lnTo>
                        <a:pt x="494" y="559"/>
                      </a:lnTo>
                      <a:lnTo>
                        <a:pt x="493" y="559"/>
                      </a:lnTo>
                      <a:lnTo>
                        <a:pt x="492" y="559"/>
                      </a:lnTo>
                      <a:lnTo>
                        <a:pt x="492" y="560"/>
                      </a:lnTo>
                      <a:lnTo>
                        <a:pt x="491" y="560"/>
                      </a:lnTo>
                      <a:lnTo>
                        <a:pt x="489" y="560"/>
                      </a:lnTo>
                      <a:lnTo>
                        <a:pt x="488" y="560"/>
                      </a:lnTo>
                      <a:lnTo>
                        <a:pt x="487" y="560"/>
                      </a:lnTo>
                      <a:lnTo>
                        <a:pt x="486" y="560"/>
                      </a:lnTo>
                      <a:lnTo>
                        <a:pt x="485" y="559"/>
                      </a:lnTo>
                      <a:lnTo>
                        <a:pt x="482" y="556"/>
                      </a:lnTo>
                      <a:lnTo>
                        <a:pt x="481" y="552"/>
                      </a:lnTo>
                      <a:lnTo>
                        <a:pt x="481" y="551"/>
                      </a:lnTo>
                      <a:lnTo>
                        <a:pt x="479" y="548"/>
                      </a:lnTo>
                      <a:lnTo>
                        <a:pt x="473" y="545"/>
                      </a:lnTo>
                      <a:lnTo>
                        <a:pt x="473" y="541"/>
                      </a:lnTo>
                      <a:lnTo>
                        <a:pt x="473" y="540"/>
                      </a:lnTo>
                      <a:lnTo>
                        <a:pt x="473" y="539"/>
                      </a:lnTo>
                      <a:lnTo>
                        <a:pt x="472" y="538"/>
                      </a:lnTo>
                      <a:lnTo>
                        <a:pt x="472" y="537"/>
                      </a:lnTo>
                      <a:lnTo>
                        <a:pt x="471" y="537"/>
                      </a:lnTo>
                      <a:lnTo>
                        <a:pt x="470" y="538"/>
                      </a:lnTo>
                      <a:lnTo>
                        <a:pt x="468" y="538"/>
                      </a:lnTo>
                      <a:lnTo>
                        <a:pt x="467" y="538"/>
                      </a:lnTo>
                      <a:lnTo>
                        <a:pt x="466" y="538"/>
                      </a:lnTo>
                      <a:lnTo>
                        <a:pt x="466" y="539"/>
                      </a:lnTo>
                      <a:lnTo>
                        <a:pt x="467" y="540"/>
                      </a:lnTo>
                      <a:lnTo>
                        <a:pt x="467" y="541"/>
                      </a:lnTo>
                      <a:lnTo>
                        <a:pt x="466" y="541"/>
                      </a:lnTo>
                      <a:lnTo>
                        <a:pt x="465" y="542"/>
                      </a:lnTo>
                      <a:lnTo>
                        <a:pt x="465" y="544"/>
                      </a:lnTo>
                      <a:lnTo>
                        <a:pt x="465" y="546"/>
                      </a:lnTo>
                      <a:lnTo>
                        <a:pt x="465" y="547"/>
                      </a:lnTo>
                      <a:lnTo>
                        <a:pt x="464" y="548"/>
                      </a:lnTo>
                      <a:lnTo>
                        <a:pt x="463" y="549"/>
                      </a:lnTo>
                      <a:lnTo>
                        <a:pt x="460" y="549"/>
                      </a:lnTo>
                      <a:lnTo>
                        <a:pt x="459" y="549"/>
                      </a:lnTo>
                      <a:lnTo>
                        <a:pt x="458" y="549"/>
                      </a:lnTo>
                      <a:lnTo>
                        <a:pt x="458" y="551"/>
                      </a:lnTo>
                      <a:lnTo>
                        <a:pt x="457" y="551"/>
                      </a:lnTo>
                      <a:lnTo>
                        <a:pt x="456" y="551"/>
                      </a:lnTo>
                      <a:lnTo>
                        <a:pt x="454" y="549"/>
                      </a:lnTo>
                      <a:lnTo>
                        <a:pt x="453" y="549"/>
                      </a:lnTo>
                      <a:lnTo>
                        <a:pt x="451" y="549"/>
                      </a:lnTo>
                      <a:lnTo>
                        <a:pt x="450" y="549"/>
                      </a:lnTo>
                      <a:lnTo>
                        <a:pt x="450" y="548"/>
                      </a:lnTo>
                      <a:lnTo>
                        <a:pt x="449" y="548"/>
                      </a:lnTo>
                      <a:lnTo>
                        <a:pt x="448" y="547"/>
                      </a:lnTo>
                      <a:lnTo>
                        <a:pt x="446" y="547"/>
                      </a:lnTo>
                      <a:lnTo>
                        <a:pt x="445" y="548"/>
                      </a:lnTo>
                      <a:lnTo>
                        <a:pt x="444" y="548"/>
                      </a:lnTo>
                      <a:lnTo>
                        <a:pt x="443" y="548"/>
                      </a:lnTo>
                      <a:lnTo>
                        <a:pt x="442" y="548"/>
                      </a:lnTo>
                      <a:lnTo>
                        <a:pt x="441" y="547"/>
                      </a:lnTo>
                      <a:lnTo>
                        <a:pt x="439" y="547"/>
                      </a:lnTo>
                      <a:lnTo>
                        <a:pt x="435" y="547"/>
                      </a:lnTo>
                      <a:lnTo>
                        <a:pt x="434" y="547"/>
                      </a:lnTo>
                      <a:lnTo>
                        <a:pt x="434" y="546"/>
                      </a:lnTo>
                      <a:lnTo>
                        <a:pt x="432" y="546"/>
                      </a:lnTo>
                      <a:lnTo>
                        <a:pt x="430" y="544"/>
                      </a:lnTo>
                      <a:lnTo>
                        <a:pt x="429" y="544"/>
                      </a:lnTo>
                      <a:lnTo>
                        <a:pt x="429" y="545"/>
                      </a:lnTo>
                      <a:lnTo>
                        <a:pt x="427" y="544"/>
                      </a:lnTo>
                      <a:lnTo>
                        <a:pt x="425" y="544"/>
                      </a:lnTo>
                      <a:lnTo>
                        <a:pt x="424" y="544"/>
                      </a:lnTo>
                      <a:lnTo>
                        <a:pt x="424" y="542"/>
                      </a:lnTo>
                      <a:lnTo>
                        <a:pt x="423" y="541"/>
                      </a:lnTo>
                      <a:lnTo>
                        <a:pt x="421" y="541"/>
                      </a:lnTo>
                      <a:lnTo>
                        <a:pt x="421" y="542"/>
                      </a:lnTo>
                      <a:lnTo>
                        <a:pt x="420" y="542"/>
                      </a:lnTo>
                      <a:lnTo>
                        <a:pt x="420" y="544"/>
                      </a:lnTo>
                      <a:lnTo>
                        <a:pt x="418" y="544"/>
                      </a:lnTo>
                      <a:lnTo>
                        <a:pt x="418" y="542"/>
                      </a:lnTo>
                      <a:lnTo>
                        <a:pt x="418" y="541"/>
                      </a:lnTo>
                      <a:lnTo>
                        <a:pt x="417" y="541"/>
                      </a:lnTo>
                      <a:lnTo>
                        <a:pt x="416" y="540"/>
                      </a:lnTo>
                      <a:lnTo>
                        <a:pt x="415" y="539"/>
                      </a:lnTo>
                      <a:lnTo>
                        <a:pt x="414" y="539"/>
                      </a:lnTo>
                      <a:lnTo>
                        <a:pt x="414" y="538"/>
                      </a:lnTo>
                      <a:lnTo>
                        <a:pt x="413" y="535"/>
                      </a:lnTo>
                      <a:lnTo>
                        <a:pt x="413" y="534"/>
                      </a:lnTo>
                      <a:lnTo>
                        <a:pt x="413" y="533"/>
                      </a:lnTo>
                      <a:lnTo>
                        <a:pt x="413" y="532"/>
                      </a:lnTo>
                      <a:lnTo>
                        <a:pt x="411" y="531"/>
                      </a:lnTo>
                      <a:lnTo>
                        <a:pt x="413" y="530"/>
                      </a:lnTo>
                      <a:lnTo>
                        <a:pt x="413" y="528"/>
                      </a:lnTo>
                      <a:lnTo>
                        <a:pt x="413" y="527"/>
                      </a:lnTo>
                      <a:lnTo>
                        <a:pt x="414" y="527"/>
                      </a:lnTo>
                      <a:lnTo>
                        <a:pt x="414" y="526"/>
                      </a:lnTo>
                      <a:lnTo>
                        <a:pt x="414" y="525"/>
                      </a:lnTo>
                      <a:lnTo>
                        <a:pt x="413" y="525"/>
                      </a:lnTo>
                      <a:lnTo>
                        <a:pt x="411" y="525"/>
                      </a:lnTo>
                      <a:lnTo>
                        <a:pt x="409" y="526"/>
                      </a:lnTo>
                      <a:lnTo>
                        <a:pt x="407" y="527"/>
                      </a:lnTo>
                      <a:lnTo>
                        <a:pt x="402" y="527"/>
                      </a:lnTo>
                      <a:lnTo>
                        <a:pt x="401" y="527"/>
                      </a:lnTo>
                      <a:lnTo>
                        <a:pt x="400" y="527"/>
                      </a:lnTo>
                      <a:lnTo>
                        <a:pt x="397" y="528"/>
                      </a:lnTo>
                      <a:lnTo>
                        <a:pt x="396" y="528"/>
                      </a:lnTo>
                      <a:lnTo>
                        <a:pt x="394" y="528"/>
                      </a:lnTo>
                      <a:lnTo>
                        <a:pt x="393" y="530"/>
                      </a:lnTo>
                      <a:lnTo>
                        <a:pt x="392" y="531"/>
                      </a:lnTo>
                      <a:lnTo>
                        <a:pt x="390" y="531"/>
                      </a:lnTo>
                      <a:lnTo>
                        <a:pt x="390" y="532"/>
                      </a:lnTo>
                      <a:lnTo>
                        <a:pt x="389" y="532"/>
                      </a:lnTo>
                      <a:lnTo>
                        <a:pt x="389" y="533"/>
                      </a:lnTo>
                      <a:lnTo>
                        <a:pt x="388" y="533"/>
                      </a:lnTo>
                      <a:lnTo>
                        <a:pt x="387" y="533"/>
                      </a:lnTo>
                      <a:lnTo>
                        <a:pt x="386" y="533"/>
                      </a:lnTo>
                      <a:lnTo>
                        <a:pt x="385" y="533"/>
                      </a:lnTo>
                      <a:lnTo>
                        <a:pt x="384" y="532"/>
                      </a:lnTo>
                      <a:lnTo>
                        <a:pt x="382" y="532"/>
                      </a:lnTo>
                      <a:lnTo>
                        <a:pt x="381" y="532"/>
                      </a:lnTo>
                      <a:lnTo>
                        <a:pt x="381" y="531"/>
                      </a:lnTo>
                      <a:lnTo>
                        <a:pt x="380" y="531"/>
                      </a:lnTo>
                      <a:lnTo>
                        <a:pt x="381" y="531"/>
                      </a:lnTo>
                      <a:lnTo>
                        <a:pt x="382" y="530"/>
                      </a:lnTo>
                      <a:lnTo>
                        <a:pt x="384" y="528"/>
                      </a:lnTo>
                      <a:lnTo>
                        <a:pt x="384" y="527"/>
                      </a:lnTo>
                      <a:lnTo>
                        <a:pt x="385" y="526"/>
                      </a:lnTo>
                      <a:lnTo>
                        <a:pt x="384" y="525"/>
                      </a:lnTo>
                      <a:lnTo>
                        <a:pt x="384" y="524"/>
                      </a:lnTo>
                      <a:lnTo>
                        <a:pt x="384" y="523"/>
                      </a:lnTo>
                      <a:lnTo>
                        <a:pt x="384" y="521"/>
                      </a:lnTo>
                      <a:lnTo>
                        <a:pt x="382" y="521"/>
                      </a:lnTo>
                      <a:lnTo>
                        <a:pt x="381" y="520"/>
                      </a:lnTo>
                      <a:lnTo>
                        <a:pt x="380" y="520"/>
                      </a:lnTo>
                      <a:lnTo>
                        <a:pt x="379" y="520"/>
                      </a:lnTo>
                      <a:lnTo>
                        <a:pt x="378" y="519"/>
                      </a:lnTo>
                      <a:lnTo>
                        <a:pt x="377" y="519"/>
                      </a:lnTo>
                      <a:lnTo>
                        <a:pt x="377" y="520"/>
                      </a:lnTo>
                      <a:lnTo>
                        <a:pt x="375" y="520"/>
                      </a:lnTo>
                      <a:lnTo>
                        <a:pt x="375" y="519"/>
                      </a:lnTo>
                      <a:lnTo>
                        <a:pt x="375" y="518"/>
                      </a:lnTo>
                      <a:lnTo>
                        <a:pt x="375" y="517"/>
                      </a:lnTo>
                      <a:lnTo>
                        <a:pt x="375" y="516"/>
                      </a:lnTo>
                      <a:lnTo>
                        <a:pt x="374" y="516"/>
                      </a:lnTo>
                      <a:lnTo>
                        <a:pt x="373" y="515"/>
                      </a:lnTo>
                      <a:lnTo>
                        <a:pt x="372" y="515"/>
                      </a:lnTo>
                      <a:lnTo>
                        <a:pt x="371" y="515"/>
                      </a:lnTo>
                      <a:lnTo>
                        <a:pt x="370" y="515"/>
                      </a:lnTo>
                      <a:lnTo>
                        <a:pt x="370" y="516"/>
                      </a:lnTo>
                      <a:lnTo>
                        <a:pt x="370" y="517"/>
                      </a:lnTo>
                      <a:lnTo>
                        <a:pt x="368" y="518"/>
                      </a:lnTo>
                      <a:lnTo>
                        <a:pt x="367" y="519"/>
                      </a:lnTo>
                      <a:lnTo>
                        <a:pt x="366" y="519"/>
                      </a:lnTo>
                      <a:lnTo>
                        <a:pt x="365" y="519"/>
                      </a:lnTo>
                      <a:lnTo>
                        <a:pt x="364" y="519"/>
                      </a:lnTo>
                      <a:lnTo>
                        <a:pt x="363" y="519"/>
                      </a:lnTo>
                      <a:lnTo>
                        <a:pt x="361" y="519"/>
                      </a:lnTo>
                      <a:lnTo>
                        <a:pt x="360" y="519"/>
                      </a:lnTo>
                      <a:lnTo>
                        <a:pt x="358" y="518"/>
                      </a:lnTo>
                      <a:lnTo>
                        <a:pt x="356" y="517"/>
                      </a:lnTo>
                      <a:lnTo>
                        <a:pt x="354" y="517"/>
                      </a:lnTo>
                      <a:lnTo>
                        <a:pt x="353" y="517"/>
                      </a:lnTo>
                      <a:lnTo>
                        <a:pt x="352" y="518"/>
                      </a:lnTo>
                      <a:lnTo>
                        <a:pt x="350" y="519"/>
                      </a:lnTo>
                      <a:lnTo>
                        <a:pt x="346" y="520"/>
                      </a:lnTo>
                      <a:lnTo>
                        <a:pt x="344" y="521"/>
                      </a:lnTo>
                      <a:lnTo>
                        <a:pt x="340" y="521"/>
                      </a:lnTo>
                      <a:lnTo>
                        <a:pt x="339" y="521"/>
                      </a:lnTo>
                      <a:lnTo>
                        <a:pt x="338" y="521"/>
                      </a:lnTo>
                      <a:lnTo>
                        <a:pt x="337" y="521"/>
                      </a:lnTo>
                      <a:lnTo>
                        <a:pt x="336" y="520"/>
                      </a:lnTo>
                      <a:lnTo>
                        <a:pt x="335" y="520"/>
                      </a:lnTo>
                      <a:lnTo>
                        <a:pt x="333" y="520"/>
                      </a:lnTo>
                      <a:lnTo>
                        <a:pt x="333" y="521"/>
                      </a:lnTo>
                      <a:lnTo>
                        <a:pt x="332" y="521"/>
                      </a:lnTo>
                      <a:lnTo>
                        <a:pt x="331" y="521"/>
                      </a:lnTo>
                      <a:lnTo>
                        <a:pt x="330" y="521"/>
                      </a:lnTo>
                      <a:lnTo>
                        <a:pt x="329" y="521"/>
                      </a:lnTo>
                      <a:lnTo>
                        <a:pt x="328" y="520"/>
                      </a:lnTo>
                      <a:lnTo>
                        <a:pt x="325" y="519"/>
                      </a:lnTo>
                      <a:lnTo>
                        <a:pt x="324" y="520"/>
                      </a:lnTo>
                      <a:lnTo>
                        <a:pt x="323" y="523"/>
                      </a:lnTo>
                      <a:lnTo>
                        <a:pt x="323" y="524"/>
                      </a:lnTo>
                      <a:lnTo>
                        <a:pt x="320" y="524"/>
                      </a:lnTo>
                      <a:lnTo>
                        <a:pt x="318" y="525"/>
                      </a:lnTo>
                      <a:lnTo>
                        <a:pt x="317" y="526"/>
                      </a:lnTo>
                      <a:lnTo>
                        <a:pt x="316" y="526"/>
                      </a:lnTo>
                      <a:lnTo>
                        <a:pt x="316" y="525"/>
                      </a:lnTo>
                      <a:lnTo>
                        <a:pt x="317" y="524"/>
                      </a:lnTo>
                      <a:lnTo>
                        <a:pt x="316" y="521"/>
                      </a:lnTo>
                      <a:lnTo>
                        <a:pt x="316" y="520"/>
                      </a:lnTo>
                      <a:lnTo>
                        <a:pt x="316" y="519"/>
                      </a:lnTo>
                      <a:lnTo>
                        <a:pt x="315" y="519"/>
                      </a:lnTo>
                      <a:lnTo>
                        <a:pt x="315" y="518"/>
                      </a:lnTo>
                      <a:lnTo>
                        <a:pt x="315" y="517"/>
                      </a:lnTo>
                      <a:lnTo>
                        <a:pt x="314" y="515"/>
                      </a:lnTo>
                      <a:lnTo>
                        <a:pt x="314" y="513"/>
                      </a:lnTo>
                      <a:lnTo>
                        <a:pt x="315" y="513"/>
                      </a:lnTo>
                      <a:lnTo>
                        <a:pt x="315" y="512"/>
                      </a:lnTo>
                      <a:lnTo>
                        <a:pt x="316" y="512"/>
                      </a:lnTo>
                      <a:lnTo>
                        <a:pt x="317" y="511"/>
                      </a:lnTo>
                      <a:lnTo>
                        <a:pt x="318" y="511"/>
                      </a:lnTo>
                      <a:lnTo>
                        <a:pt x="318" y="510"/>
                      </a:lnTo>
                      <a:lnTo>
                        <a:pt x="318" y="509"/>
                      </a:lnTo>
                      <a:lnTo>
                        <a:pt x="318" y="508"/>
                      </a:lnTo>
                      <a:lnTo>
                        <a:pt x="318" y="506"/>
                      </a:lnTo>
                      <a:lnTo>
                        <a:pt x="318" y="505"/>
                      </a:lnTo>
                      <a:lnTo>
                        <a:pt x="318" y="504"/>
                      </a:lnTo>
                      <a:lnTo>
                        <a:pt x="317" y="503"/>
                      </a:lnTo>
                      <a:lnTo>
                        <a:pt x="317" y="502"/>
                      </a:lnTo>
                      <a:lnTo>
                        <a:pt x="318" y="501"/>
                      </a:lnTo>
                      <a:lnTo>
                        <a:pt x="318" y="499"/>
                      </a:lnTo>
                      <a:lnTo>
                        <a:pt x="318" y="498"/>
                      </a:lnTo>
                      <a:lnTo>
                        <a:pt x="318" y="497"/>
                      </a:lnTo>
                      <a:lnTo>
                        <a:pt x="317" y="497"/>
                      </a:lnTo>
                      <a:lnTo>
                        <a:pt x="317" y="495"/>
                      </a:lnTo>
                      <a:lnTo>
                        <a:pt x="316" y="494"/>
                      </a:lnTo>
                      <a:lnTo>
                        <a:pt x="316" y="492"/>
                      </a:lnTo>
                      <a:lnTo>
                        <a:pt x="315" y="491"/>
                      </a:lnTo>
                      <a:lnTo>
                        <a:pt x="315" y="490"/>
                      </a:lnTo>
                      <a:lnTo>
                        <a:pt x="315" y="489"/>
                      </a:lnTo>
                      <a:lnTo>
                        <a:pt x="315" y="488"/>
                      </a:lnTo>
                      <a:lnTo>
                        <a:pt x="314" y="487"/>
                      </a:lnTo>
                      <a:lnTo>
                        <a:pt x="314" y="485"/>
                      </a:lnTo>
                      <a:lnTo>
                        <a:pt x="314" y="484"/>
                      </a:lnTo>
                      <a:lnTo>
                        <a:pt x="311" y="483"/>
                      </a:lnTo>
                      <a:lnTo>
                        <a:pt x="310" y="483"/>
                      </a:lnTo>
                      <a:lnTo>
                        <a:pt x="309" y="481"/>
                      </a:lnTo>
                      <a:lnTo>
                        <a:pt x="308" y="480"/>
                      </a:lnTo>
                      <a:lnTo>
                        <a:pt x="308" y="478"/>
                      </a:lnTo>
                      <a:lnTo>
                        <a:pt x="308" y="480"/>
                      </a:lnTo>
                      <a:lnTo>
                        <a:pt x="307" y="480"/>
                      </a:lnTo>
                      <a:lnTo>
                        <a:pt x="307" y="478"/>
                      </a:lnTo>
                      <a:lnTo>
                        <a:pt x="304" y="476"/>
                      </a:lnTo>
                      <a:lnTo>
                        <a:pt x="304" y="475"/>
                      </a:lnTo>
                      <a:lnTo>
                        <a:pt x="303" y="474"/>
                      </a:lnTo>
                      <a:lnTo>
                        <a:pt x="303" y="470"/>
                      </a:lnTo>
                      <a:lnTo>
                        <a:pt x="303" y="469"/>
                      </a:lnTo>
                      <a:lnTo>
                        <a:pt x="302" y="469"/>
                      </a:lnTo>
                      <a:lnTo>
                        <a:pt x="302" y="468"/>
                      </a:lnTo>
                      <a:lnTo>
                        <a:pt x="302" y="467"/>
                      </a:lnTo>
                      <a:lnTo>
                        <a:pt x="302" y="466"/>
                      </a:lnTo>
                      <a:lnTo>
                        <a:pt x="303" y="463"/>
                      </a:lnTo>
                      <a:lnTo>
                        <a:pt x="304" y="462"/>
                      </a:lnTo>
                      <a:lnTo>
                        <a:pt x="304" y="461"/>
                      </a:lnTo>
                      <a:lnTo>
                        <a:pt x="303" y="457"/>
                      </a:lnTo>
                      <a:lnTo>
                        <a:pt x="304" y="454"/>
                      </a:lnTo>
                      <a:lnTo>
                        <a:pt x="304" y="453"/>
                      </a:lnTo>
                      <a:lnTo>
                        <a:pt x="304" y="450"/>
                      </a:lnTo>
                      <a:lnTo>
                        <a:pt x="304" y="449"/>
                      </a:lnTo>
                      <a:lnTo>
                        <a:pt x="304" y="448"/>
                      </a:lnTo>
                      <a:lnTo>
                        <a:pt x="306" y="446"/>
                      </a:lnTo>
                      <a:lnTo>
                        <a:pt x="306" y="443"/>
                      </a:lnTo>
                      <a:lnTo>
                        <a:pt x="306" y="442"/>
                      </a:lnTo>
                      <a:lnTo>
                        <a:pt x="307" y="442"/>
                      </a:lnTo>
                      <a:lnTo>
                        <a:pt x="307" y="441"/>
                      </a:lnTo>
                      <a:lnTo>
                        <a:pt x="306" y="441"/>
                      </a:lnTo>
                      <a:lnTo>
                        <a:pt x="307" y="439"/>
                      </a:lnTo>
                      <a:lnTo>
                        <a:pt x="307" y="438"/>
                      </a:lnTo>
                      <a:lnTo>
                        <a:pt x="307" y="436"/>
                      </a:lnTo>
                      <a:lnTo>
                        <a:pt x="306" y="435"/>
                      </a:lnTo>
                      <a:lnTo>
                        <a:pt x="306" y="434"/>
                      </a:lnTo>
                      <a:lnTo>
                        <a:pt x="306" y="433"/>
                      </a:lnTo>
                      <a:lnTo>
                        <a:pt x="304" y="432"/>
                      </a:lnTo>
                      <a:lnTo>
                        <a:pt x="304" y="431"/>
                      </a:lnTo>
                      <a:lnTo>
                        <a:pt x="304" y="428"/>
                      </a:lnTo>
                      <a:lnTo>
                        <a:pt x="303" y="428"/>
                      </a:lnTo>
                      <a:lnTo>
                        <a:pt x="303" y="427"/>
                      </a:lnTo>
                      <a:lnTo>
                        <a:pt x="302" y="426"/>
                      </a:lnTo>
                      <a:lnTo>
                        <a:pt x="302" y="425"/>
                      </a:lnTo>
                      <a:lnTo>
                        <a:pt x="301" y="424"/>
                      </a:lnTo>
                      <a:lnTo>
                        <a:pt x="301" y="421"/>
                      </a:lnTo>
                      <a:lnTo>
                        <a:pt x="301" y="420"/>
                      </a:lnTo>
                      <a:lnTo>
                        <a:pt x="301" y="419"/>
                      </a:lnTo>
                      <a:lnTo>
                        <a:pt x="301" y="417"/>
                      </a:lnTo>
                      <a:lnTo>
                        <a:pt x="302" y="415"/>
                      </a:lnTo>
                      <a:lnTo>
                        <a:pt x="302" y="414"/>
                      </a:lnTo>
                      <a:lnTo>
                        <a:pt x="302" y="413"/>
                      </a:lnTo>
                      <a:lnTo>
                        <a:pt x="303" y="413"/>
                      </a:lnTo>
                      <a:lnTo>
                        <a:pt x="303" y="412"/>
                      </a:lnTo>
                      <a:lnTo>
                        <a:pt x="303" y="411"/>
                      </a:lnTo>
                      <a:lnTo>
                        <a:pt x="304" y="410"/>
                      </a:lnTo>
                      <a:lnTo>
                        <a:pt x="304" y="408"/>
                      </a:lnTo>
                      <a:lnTo>
                        <a:pt x="303" y="408"/>
                      </a:lnTo>
                      <a:lnTo>
                        <a:pt x="303" y="407"/>
                      </a:lnTo>
                      <a:lnTo>
                        <a:pt x="304" y="407"/>
                      </a:lnTo>
                      <a:lnTo>
                        <a:pt x="304" y="406"/>
                      </a:lnTo>
                      <a:lnTo>
                        <a:pt x="303" y="406"/>
                      </a:lnTo>
                      <a:lnTo>
                        <a:pt x="303" y="405"/>
                      </a:lnTo>
                      <a:lnTo>
                        <a:pt x="304" y="405"/>
                      </a:lnTo>
                      <a:lnTo>
                        <a:pt x="303" y="405"/>
                      </a:lnTo>
                      <a:lnTo>
                        <a:pt x="303" y="404"/>
                      </a:lnTo>
                      <a:lnTo>
                        <a:pt x="303" y="403"/>
                      </a:lnTo>
                      <a:lnTo>
                        <a:pt x="302" y="401"/>
                      </a:lnTo>
                      <a:lnTo>
                        <a:pt x="302" y="400"/>
                      </a:lnTo>
                      <a:lnTo>
                        <a:pt x="301" y="400"/>
                      </a:lnTo>
                      <a:lnTo>
                        <a:pt x="300" y="400"/>
                      </a:lnTo>
                      <a:lnTo>
                        <a:pt x="297" y="400"/>
                      </a:lnTo>
                      <a:lnTo>
                        <a:pt x="295" y="400"/>
                      </a:lnTo>
                      <a:lnTo>
                        <a:pt x="293" y="400"/>
                      </a:lnTo>
                      <a:lnTo>
                        <a:pt x="290" y="400"/>
                      </a:lnTo>
                      <a:lnTo>
                        <a:pt x="288" y="400"/>
                      </a:lnTo>
                      <a:lnTo>
                        <a:pt x="286" y="400"/>
                      </a:lnTo>
                      <a:lnTo>
                        <a:pt x="283" y="400"/>
                      </a:lnTo>
                      <a:lnTo>
                        <a:pt x="281" y="400"/>
                      </a:lnTo>
                      <a:lnTo>
                        <a:pt x="279" y="400"/>
                      </a:lnTo>
                      <a:lnTo>
                        <a:pt x="276" y="400"/>
                      </a:lnTo>
                      <a:lnTo>
                        <a:pt x="274" y="400"/>
                      </a:lnTo>
                      <a:lnTo>
                        <a:pt x="273" y="400"/>
                      </a:lnTo>
                      <a:lnTo>
                        <a:pt x="271" y="400"/>
                      </a:lnTo>
                      <a:lnTo>
                        <a:pt x="268" y="400"/>
                      </a:lnTo>
                      <a:lnTo>
                        <a:pt x="266" y="400"/>
                      </a:lnTo>
                      <a:lnTo>
                        <a:pt x="264" y="400"/>
                      </a:lnTo>
                      <a:lnTo>
                        <a:pt x="261" y="400"/>
                      </a:lnTo>
                      <a:lnTo>
                        <a:pt x="261" y="399"/>
                      </a:lnTo>
                      <a:lnTo>
                        <a:pt x="261" y="398"/>
                      </a:lnTo>
                      <a:lnTo>
                        <a:pt x="261" y="396"/>
                      </a:lnTo>
                      <a:lnTo>
                        <a:pt x="262" y="394"/>
                      </a:lnTo>
                      <a:lnTo>
                        <a:pt x="262" y="393"/>
                      </a:lnTo>
                      <a:lnTo>
                        <a:pt x="264" y="391"/>
                      </a:lnTo>
                      <a:lnTo>
                        <a:pt x="265" y="389"/>
                      </a:lnTo>
                      <a:lnTo>
                        <a:pt x="262" y="389"/>
                      </a:lnTo>
                      <a:lnTo>
                        <a:pt x="260" y="389"/>
                      </a:lnTo>
                      <a:lnTo>
                        <a:pt x="258" y="389"/>
                      </a:lnTo>
                      <a:lnTo>
                        <a:pt x="256" y="389"/>
                      </a:lnTo>
                      <a:lnTo>
                        <a:pt x="256" y="390"/>
                      </a:lnTo>
                      <a:lnTo>
                        <a:pt x="254" y="390"/>
                      </a:lnTo>
                      <a:lnTo>
                        <a:pt x="254" y="391"/>
                      </a:lnTo>
                      <a:lnTo>
                        <a:pt x="254" y="392"/>
                      </a:lnTo>
                      <a:lnTo>
                        <a:pt x="253" y="392"/>
                      </a:lnTo>
                      <a:lnTo>
                        <a:pt x="252" y="392"/>
                      </a:lnTo>
                      <a:lnTo>
                        <a:pt x="251" y="392"/>
                      </a:lnTo>
                      <a:lnTo>
                        <a:pt x="249" y="392"/>
                      </a:lnTo>
                      <a:lnTo>
                        <a:pt x="247" y="392"/>
                      </a:lnTo>
                      <a:lnTo>
                        <a:pt x="246" y="392"/>
                      </a:lnTo>
                      <a:lnTo>
                        <a:pt x="245" y="392"/>
                      </a:lnTo>
                      <a:lnTo>
                        <a:pt x="244" y="392"/>
                      </a:lnTo>
                      <a:lnTo>
                        <a:pt x="243" y="392"/>
                      </a:lnTo>
                      <a:lnTo>
                        <a:pt x="242" y="392"/>
                      </a:lnTo>
                      <a:lnTo>
                        <a:pt x="240" y="392"/>
                      </a:lnTo>
                      <a:lnTo>
                        <a:pt x="238" y="392"/>
                      </a:lnTo>
                      <a:lnTo>
                        <a:pt x="237" y="392"/>
                      </a:lnTo>
                      <a:lnTo>
                        <a:pt x="236" y="392"/>
                      </a:lnTo>
                      <a:lnTo>
                        <a:pt x="235" y="392"/>
                      </a:lnTo>
                      <a:lnTo>
                        <a:pt x="233" y="392"/>
                      </a:lnTo>
                      <a:lnTo>
                        <a:pt x="232" y="392"/>
                      </a:lnTo>
                      <a:lnTo>
                        <a:pt x="230" y="392"/>
                      </a:lnTo>
                      <a:lnTo>
                        <a:pt x="231" y="393"/>
                      </a:lnTo>
                      <a:lnTo>
                        <a:pt x="230" y="394"/>
                      </a:lnTo>
                      <a:lnTo>
                        <a:pt x="230" y="396"/>
                      </a:lnTo>
                      <a:lnTo>
                        <a:pt x="229" y="397"/>
                      </a:lnTo>
                      <a:lnTo>
                        <a:pt x="229" y="401"/>
                      </a:lnTo>
                      <a:lnTo>
                        <a:pt x="229" y="403"/>
                      </a:lnTo>
                      <a:lnTo>
                        <a:pt x="229" y="404"/>
                      </a:lnTo>
                      <a:lnTo>
                        <a:pt x="230" y="406"/>
                      </a:lnTo>
                      <a:lnTo>
                        <a:pt x="230" y="407"/>
                      </a:lnTo>
                      <a:lnTo>
                        <a:pt x="229" y="407"/>
                      </a:lnTo>
                      <a:lnTo>
                        <a:pt x="229" y="408"/>
                      </a:lnTo>
                      <a:lnTo>
                        <a:pt x="229" y="410"/>
                      </a:lnTo>
                      <a:lnTo>
                        <a:pt x="228" y="410"/>
                      </a:lnTo>
                      <a:lnTo>
                        <a:pt x="225" y="410"/>
                      </a:lnTo>
                      <a:lnTo>
                        <a:pt x="225" y="411"/>
                      </a:lnTo>
                      <a:lnTo>
                        <a:pt x="225" y="412"/>
                      </a:lnTo>
                      <a:lnTo>
                        <a:pt x="225" y="413"/>
                      </a:lnTo>
                      <a:lnTo>
                        <a:pt x="226" y="414"/>
                      </a:lnTo>
                      <a:lnTo>
                        <a:pt x="225" y="414"/>
                      </a:lnTo>
                      <a:lnTo>
                        <a:pt x="225" y="417"/>
                      </a:lnTo>
                      <a:lnTo>
                        <a:pt x="225" y="418"/>
                      </a:lnTo>
                      <a:lnTo>
                        <a:pt x="224" y="419"/>
                      </a:lnTo>
                      <a:lnTo>
                        <a:pt x="224" y="420"/>
                      </a:lnTo>
                      <a:lnTo>
                        <a:pt x="224" y="421"/>
                      </a:lnTo>
                      <a:lnTo>
                        <a:pt x="225" y="424"/>
                      </a:lnTo>
                      <a:lnTo>
                        <a:pt x="224" y="424"/>
                      </a:lnTo>
                      <a:lnTo>
                        <a:pt x="221" y="424"/>
                      </a:lnTo>
                      <a:lnTo>
                        <a:pt x="216" y="424"/>
                      </a:lnTo>
                      <a:lnTo>
                        <a:pt x="212" y="424"/>
                      </a:lnTo>
                      <a:lnTo>
                        <a:pt x="208" y="424"/>
                      </a:lnTo>
                      <a:lnTo>
                        <a:pt x="207" y="424"/>
                      </a:lnTo>
                      <a:lnTo>
                        <a:pt x="207" y="422"/>
                      </a:lnTo>
                      <a:lnTo>
                        <a:pt x="205" y="422"/>
                      </a:lnTo>
                      <a:lnTo>
                        <a:pt x="205" y="421"/>
                      </a:lnTo>
                      <a:lnTo>
                        <a:pt x="203" y="421"/>
                      </a:lnTo>
                      <a:lnTo>
                        <a:pt x="201" y="421"/>
                      </a:lnTo>
                      <a:lnTo>
                        <a:pt x="198" y="421"/>
                      </a:lnTo>
                      <a:lnTo>
                        <a:pt x="198" y="422"/>
                      </a:lnTo>
                      <a:lnTo>
                        <a:pt x="198" y="424"/>
                      </a:lnTo>
                      <a:lnTo>
                        <a:pt x="197" y="424"/>
                      </a:lnTo>
                      <a:lnTo>
                        <a:pt x="195" y="424"/>
                      </a:lnTo>
                      <a:lnTo>
                        <a:pt x="194" y="424"/>
                      </a:lnTo>
                      <a:lnTo>
                        <a:pt x="193" y="424"/>
                      </a:lnTo>
                      <a:lnTo>
                        <a:pt x="190" y="424"/>
                      </a:lnTo>
                      <a:lnTo>
                        <a:pt x="188" y="424"/>
                      </a:lnTo>
                      <a:lnTo>
                        <a:pt x="187" y="424"/>
                      </a:lnTo>
                      <a:lnTo>
                        <a:pt x="186" y="424"/>
                      </a:lnTo>
                      <a:lnTo>
                        <a:pt x="186" y="425"/>
                      </a:lnTo>
                      <a:lnTo>
                        <a:pt x="186" y="426"/>
                      </a:lnTo>
                      <a:lnTo>
                        <a:pt x="186" y="427"/>
                      </a:lnTo>
                      <a:lnTo>
                        <a:pt x="182" y="427"/>
                      </a:lnTo>
                      <a:lnTo>
                        <a:pt x="180" y="426"/>
                      </a:lnTo>
                      <a:lnTo>
                        <a:pt x="179" y="425"/>
                      </a:lnTo>
                      <a:lnTo>
                        <a:pt x="178" y="425"/>
                      </a:lnTo>
                      <a:lnTo>
                        <a:pt x="175" y="426"/>
                      </a:lnTo>
                      <a:lnTo>
                        <a:pt x="174" y="426"/>
                      </a:lnTo>
                      <a:lnTo>
                        <a:pt x="173" y="426"/>
                      </a:lnTo>
                      <a:lnTo>
                        <a:pt x="171" y="427"/>
                      </a:lnTo>
                      <a:lnTo>
                        <a:pt x="169" y="427"/>
                      </a:lnTo>
                      <a:lnTo>
                        <a:pt x="168" y="426"/>
                      </a:lnTo>
                      <a:lnTo>
                        <a:pt x="167" y="426"/>
                      </a:lnTo>
                      <a:lnTo>
                        <a:pt x="168" y="425"/>
                      </a:lnTo>
                      <a:lnTo>
                        <a:pt x="168" y="424"/>
                      </a:lnTo>
                      <a:lnTo>
                        <a:pt x="167" y="424"/>
                      </a:lnTo>
                      <a:lnTo>
                        <a:pt x="166" y="424"/>
                      </a:lnTo>
                      <a:lnTo>
                        <a:pt x="166" y="422"/>
                      </a:lnTo>
                      <a:lnTo>
                        <a:pt x="166" y="421"/>
                      </a:lnTo>
                      <a:lnTo>
                        <a:pt x="166" y="422"/>
                      </a:lnTo>
                      <a:lnTo>
                        <a:pt x="166" y="421"/>
                      </a:lnTo>
                      <a:lnTo>
                        <a:pt x="165" y="421"/>
                      </a:lnTo>
                      <a:lnTo>
                        <a:pt x="165" y="420"/>
                      </a:lnTo>
                      <a:lnTo>
                        <a:pt x="165" y="419"/>
                      </a:lnTo>
                      <a:lnTo>
                        <a:pt x="165" y="420"/>
                      </a:lnTo>
                      <a:lnTo>
                        <a:pt x="164" y="419"/>
                      </a:lnTo>
                      <a:lnTo>
                        <a:pt x="164" y="418"/>
                      </a:lnTo>
                      <a:lnTo>
                        <a:pt x="162" y="418"/>
                      </a:lnTo>
                      <a:lnTo>
                        <a:pt x="162" y="417"/>
                      </a:lnTo>
                      <a:lnTo>
                        <a:pt x="161" y="417"/>
                      </a:lnTo>
                      <a:lnTo>
                        <a:pt x="161" y="415"/>
                      </a:lnTo>
                      <a:lnTo>
                        <a:pt x="160" y="415"/>
                      </a:lnTo>
                      <a:lnTo>
                        <a:pt x="161" y="414"/>
                      </a:lnTo>
                      <a:lnTo>
                        <a:pt x="160" y="414"/>
                      </a:lnTo>
                      <a:lnTo>
                        <a:pt x="160" y="413"/>
                      </a:lnTo>
                      <a:lnTo>
                        <a:pt x="160" y="412"/>
                      </a:lnTo>
                      <a:lnTo>
                        <a:pt x="159" y="411"/>
                      </a:lnTo>
                      <a:lnTo>
                        <a:pt x="158" y="411"/>
                      </a:lnTo>
                      <a:lnTo>
                        <a:pt x="157" y="410"/>
                      </a:lnTo>
                      <a:lnTo>
                        <a:pt x="157" y="408"/>
                      </a:lnTo>
                      <a:lnTo>
                        <a:pt x="157" y="407"/>
                      </a:lnTo>
                      <a:lnTo>
                        <a:pt x="155" y="407"/>
                      </a:lnTo>
                      <a:lnTo>
                        <a:pt x="155" y="406"/>
                      </a:lnTo>
                      <a:lnTo>
                        <a:pt x="157" y="406"/>
                      </a:lnTo>
                      <a:lnTo>
                        <a:pt x="157" y="405"/>
                      </a:lnTo>
                      <a:lnTo>
                        <a:pt x="155" y="405"/>
                      </a:lnTo>
                      <a:lnTo>
                        <a:pt x="154" y="405"/>
                      </a:lnTo>
                      <a:lnTo>
                        <a:pt x="154" y="404"/>
                      </a:lnTo>
                      <a:lnTo>
                        <a:pt x="153" y="403"/>
                      </a:lnTo>
                      <a:lnTo>
                        <a:pt x="152" y="403"/>
                      </a:lnTo>
                      <a:lnTo>
                        <a:pt x="152" y="401"/>
                      </a:lnTo>
                      <a:lnTo>
                        <a:pt x="151" y="401"/>
                      </a:lnTo>
                      <a:lnTo>
                        <a:pt x="151" y="400"/>
                      </a:lnTo>
                      <a:lnTo>
                        <a:pt x="150" y="399"/>
                      </a:lnTo>
                      <a:lnTo>
                        <a:pt x="148" y="398"/>
                      </a:lnTo>
                      <a:lnTo>
                        <a:pt x="148" y="397"/>
                      </a:lnTo>
                      <a:lnTo>
                        <a:pt x="148" y="394"/>
                      </a:lnTo>
                      <a:lnTo>
                        <a:pt x="148" y="393"/>
                      </a:lnTo>
                      <a:lnTo>
                        <a:pt x="150" y="394"/>
                      </a:lnTo>
                      <a:lnTo>
                        <a:pt x="150" y="393"/>
                      </a:lnTo>
                      <a:lnTo>
                        <a:pt x="150" y="392"/>
                      </a:lnTo>
                      <a:lnTo>
                        <a:pt x="150" y="391"/>
                      </a:lnTo>
                      <a:lnTo>
                        <a:pt x="148" y="391"/>
                      </a:lnTo>
                      <a:lnTo>
                        <a:pt x="148" y="390"/>
                      </a:lnTo>
                      <a:lnTo>
                        <a:pt x="148" y="389"/>
                      </a:lnTo>
                      <a:lnTo>
                        <a:pt x="148" y="387"/>
                      </a:lnTo>
                      <a:lnTo>
                        <a:pt x="147" y="387"/>
                      </a:lnTo>
                      <a:lnTo>
                        <a:pt x="146" y="387"/>
                      </a:lnTo>
                      <a:lnTo>
                        <a:pt x="146" y="386"/>
                      </a:lnTo>
                      <a:lnTo>
                        <a:pt x="145" y="386"/>
                      </a:lnTo>
                      <a:lnTo>
                        <a:pt x="145" y="385"/>
                      </a:lnTo>
                      <a:lnTo>
                        <a:pt x="144" y="383"/>
                      </a:lnTo>
                      <a:lnTo>
                        <a:pt x="143" y="382"/>
                      </a:lnTo>
                      <a:lnTo>
                        <a:pt x="143" y="380"/>
                      </a:lnTo>
                      <a:lnTo>
                        <a:pt x="143" y="379"/>
                      </a:lnTo>
                      <a:lnTo>
                        <a:pt x="143" y="378"/>
                      </a:lnTo>
                      <a:lnTo>
                        <a:pt x="143" y="377"/>
                      </a:lnTo>
                      <a:lnTo>
                        <a:pt x="141" y="376"/>
                      </a:lnTo>
                      <a:lnTo>
                        <a:pt x="141" y="375"/>
                      </a:lnTo>
                      <a:lnTo>
                        <a:pt x="141" y="373"/>
                      </a:lnTo>
                      <a:lnTo>
                        <a:pt x="140" y="373"/>
                      </a:lnTo>
                      <a:lnTo>
                        <a:pt x="140" y="371"/>
                      </a:lnTo>
                      <a:lnTo>
                        <a:pt x="141" y="371"/>
                      </a:lnTo>
                      <a:lnTo>
                        <a:pt x="141" y="370"/>
                      </a:lnTo>
                      <a:lnTo>
                        <a:pt x="141" y="368"/>
                      </a:lnTo>
                      <a:lnTo>
                        <a:pt x="141" y="366"/>
                      </a:lnTo>
                      <a:lnTo>
                        <a:pt x="141" y="365"/>
                      </a:lnTo>
                      <a:lnTo>
                        <a:pt x="140" y="364"/>
                      </a:lnTo>
                      <a:lnTo>
                        <a:pt x="139" y="363"/>
                      </a:lnTo>
                      <a:lnTo>
                        <a:pt x="138" y="363"/>
                      </a:lnTo>
                      <a:lnTo>
                        <a:pt x="139" y="363"/>
                      </a:lnTo>
                      <a:lnTo>
                        <a:pt x="139" y="362"/>
                      </a:lnTo>
                      <a:lnTo>
                        <a:pt x="138" y="362"/>
                      </a:lnTo>
                      <a:lnTo>
                        <a:pt x="138" y="359"/>
                      </a:lnTo>
                      <a:lnTo>
                        <a:pt x="137" y="359"/>
                      </a:lnTo>
                      <a:lnTo>
                        <a:pt x="137" y="358"/>
                      </a:lnTo>
                      <a:lnTo>
                        <a:pt x="138" y="358"/>
                      </a:lnTo>
                      <a:lnTo>
                        <a:pt x="137" y="357"/>
                      </a:lnTo>
                      <a:lnTo>
                        <a:pt x="136" y="357"/>
                      </a:lnTo>
                      <a:lnTo>
                        <a:pt x="134" y="357"/>
                      </a:lnTo>
                      <a:lnTo>
                        <a:pt x="133" y="357"/>
                      </a:lnTo>
                      <a:lnTo>
                        <a:pt x="132" y="357"/>
                      </a:lnTo>
                      <a:lnTo>
                        <a:pt x="131" y="357"/>
                      </a:lnTo>
                      <a:lnTo>
                        <a:pt x="130" y="356"/>
                      </a:lnTo>
                      <a:lnTo>
                        <a:pt x="129" y="356"/>
                      </a:lnTo>
                      <a:lnTo>
                        <a:pt x="128" y="356"/>
                      </a:lnTo>
                      <a:lnTo>
                        <a:pt x="124" y="356"/>
                      </a:lnTo>
                      <a:lnTo>
                        <a:pt x="122" y="356"/>
                      </a:lnTo>
                      <a:lnTo>
                        <a:pt x="118" y="356"/>
                      </a:lnTo>
                      <a:lnTo>
                        <a:pt x="116" y="356"/>
                      </a:lnTo>
                      <a:lnTo>
                        <a:pt x="112" y="356"/>
                      </a:lnTo>
                      <a:lnTo>
                        <a:pt x="110" y="356"/>
                      </a:lnTo>
                      <a:lnTo>
                        <a:pt x="107" y="356"/>
                      </a:lnTo>
                      <a:lnTo>
                        <a:pt x="104" y="356"/>
                      </a:lnTo>
                      <a:lnTo>
                        <a:pt x="101" y="356"/>
                      </a:lnTo>
                      <a:lnTo>
                        <a:pt x="98" y="356"/>
                      </a:lnTo>
                      <a:lnTo>
                        <a:pt x="95" y="356"/>
                      </a:lnTo>
                      <a:lnTo>
                        <a:pt x="93" y="356"/>
                      </a:lnTo>
                      <a:lnTo>
                        <a:pt x="89" y="357"/>
                      </a:lnTo>
                      <a:lnTo>
                        <a:pt x="87" y="357"/>
                      </a:lnTo>
                      <a:lnTo>
                        <a:pt x="83" y="357"/>
                      </a:lnTo>
                      <a:lnTo>
                        <a:pt x="81" y="357"/>
                      </a:lnTo>
                      <a:lnTo>
                        <a:pt x="80" y="357"/>
                      </a:lnTo>
                      <a:lnTo>
                        <a:pt x="77" y="357"/>
                      </a:lnTo>
                      <a:lnTo>
                        <a:pt x="74" y="357"/>
                      </a:lnTo>
                      <a:lnTo>
                        <a:pt x="73" y="357"/>
                      </a:lnTo>
                      <a:lnTo>
                        <a:pt x="70" y="357"/>
                      </a:lnTo>
                      <a:lnTo>
                        <a:pt x="69" y="357"/>
                      </a:lnTo>
                      <a:lnTo>
                        <a:pt x="67" y="357"/>
                      </a:lnTo>
                      <a:lnTo>
                        <a:pt x="64" y="357"/>
                      </a:lnTo>
                      <a:lnTo>
                        <a:pt x="62" y="357"/>
                      </a:lnTo>
                      <a:lnTo>
                        <a:pt x="61" y="356"/>
                      </a:lnTo>
                      <a:lnTo>
                        <a:pt x="60" y="356"/>
                      </a:lnTo>
                      <a:lnTo>
                        <a:pt x="57" y="357"/>
                      </a:lnTo>
                      <a:lnTo>
                        <a:pt x="57" y="356"/>
                      </a:lnTo>
                      <a:lnTo>
                        <a:pt x="55" y="356"/>
                      </a:lnTo>
                      <a:lnTo>
                        <a:pt x="54" y="356"/>
                      </a:lnTo>
                      <a:lnTo>
                        <a:pt x="50" y="356"/>
                      </a:lnTo>
                      <a:lnTo>
                        <a:pt x="45" y="356"/>
                      </a:lnTo>
                      <a:lnTo>
                        <a:pt x="41" y="356"/>
                      </a:lnTo>
                      <a:lnTo>
                        <a:pt x="41" y="357"/>
                      </a:lnTo>
                      <a:lnTo>
                        <a:pt x="40" y="357"/>
                      </a:lnTo>
                      <a:lnTo>
                        <a:pt x="40" y="356"/>
                      </a:lnTo>
                      <a:lnTo>
                        <a:pt x="37" y="356"/>
                      </a:lnTo>
                      <a:lnTo>
                        <a:pt x="36" y="356"/>
                      </a:lnTo>
                      <a:lnTo>
                        <a:pt x="36" y="357"/>
                      </a:lnTo>
                      <a:lnTo>
                        <a:pt x="34" y="357"/>
                      </a:lnTo>
                      <a:lnTo>
                        <a:pt x="33" y="356"/>
                      </a:lnTo>
                      <a:lnTo>
                        <a:pt x="30" y="356"/>
                      </a:lnTo>
                      <a:lnTo>
                        <a:pt x="29" y="356"/>
                      </a:lnTo>
                      <a:lnTo>
                        <a:pt x="27" y="356"/>
                      </a:lnTo>
                      <a:lnTo>
                        <a:pt x="26" y="356"/>
                      </a:lnTo>
                      <a:lnTo>
                        <a:pt x="25" y="356"/>
                      </a:lnTo>
                      <a:lnTo>
                        <a:pt x="24" y="356"/>
                      </a:lnTo>
                      <a:lnTo>
                        <a:pt x="23" y="355"/>
                      </a:lnTo>
                      <a:lnTo>
                        <a:pt x="22" y="355"/>
                      </a:lnTo>
                      <a:lnTo>
                        <a:pt x="20" y="355"/>
                      </a:lnTo>
                      <a:lnTo>
                        <a:pt x="19" y="355"/>
                      </a:lnTo>
                      <a:lnTo>
                        <a:pt x="18" y="356"/>
                      </a:lnTo>
                      <a:lnTo>
                        <a:pt x="17" y="357"/>
                      </a:lnTo>
                      <a:lnTo>
                        <a:pt x="16" y="358"/>
                      </a:lnTo>
                      <a:lnTo>
                        <a:pt x="16" y="361"/>
                      </a:lnTo>
                      <a:lnTo>
                        <a:pt x="13" y="361"/>
                      </a:lnTo>
                      <a:lnTo>
                        <a:pt x="12" y="361"/>
                      </a:lnTo>
                      <a:lnTo>
                        <a:pt x="10" y="362"/>
                      </a:lnTo>
                      <a:lnTo>
                        <a:pt x="8" y="363"/>
                      </a:lnTo>
                      <a:lnTo>
                        <a:pt x="6" y="363"/>
                      </a:lnTo>
                      <a:lnTo>
                        <a:pt x="6" y="362"/>
                      </a:lnTo>
                      <a:lnTo>
                        <a:pt x="8" y="362"/>
                      </a:lnTo>
                      <a:lnTo>
                        <a:pt x="8" y="361"/>
                      </a:lnTo>
                      <a:lnTo>
                        <a:pt x="6" y="361"/>
                      </a:lnTo>
                      <a:lnTo>
                        <a:pt x="5" y="361"/>
                      </a:lnTo>
                      <a:lnTo>
                        <a:pt x="4" y="359"/>
                      </a:lnTo>
                      <a:lnTo>
                        <a:pt x="3" y="358"/>
                      </a:lnTo>
                      <a:lnTo>
                        <a:pt x="1" y="356"/>
                      </a:lnTo>
                      <a:lnTo>
                        <a:pt x="0" y="354"/>
                      </a:lnTo>
                      <a:lnTo>
                        <a:pt x="1" y="352"/>
                      </a:lnTo>
                      <a:lnTo>
                        <a:pt x="3" y="352"/>
                      </a:lnTo>
                      <a:lnTo>
                        <a:pt x="6" y="352"/>
                      </a:lnTo>
                      <a:lnTo>
                        <a:pt x="9" y="352"/>
                      </a:lnTo>
                      <a:lnTo>
                        <a:pt x="9" y="349"/>
                      </a:lnTo>
                      <a:lnTo>
                        <a:pt x="9" y="348"/>
                      </a:lnTo>
                      <a:lnTo>
                        <a:pt x="9" y="343"/>
                      </a:lnTo>
                      <a:lnTo>
                        <a:pt x="9" y="340"/>
                      </a:lnTo>
                      <a:lnTo>
                        <a:pt x="9" y="337"/>
                      </a:lnTo>
                      <a:lnTo>
                        <a:pt x="9" y="335"/>
                      </a:lnTo>
                      <a:lnTo>
                        <a:pt x="9" y="334"/>
                      </a:lnTo>
                      <a:lnTo>
                        <a:pt x="9" y="333"/>
                      </a:lnTo>
                      <a:lnTo>
                        <a:pt x="6" y="333"/>
                      </a:lnTo>
                      <a:lnTo>
                        <a:pt x="6" y="331"/>
                      </a:lnTo>
                      <a:lnTo>
                        <a:pt x="8" y="331"/>
                      </a:lnTo>
                      <a:lnTo>
                        <a:pt x="10" y="330"/>
                      </a:lnTo>
                      <a:lnTo>
                        <a:pt x="11" y="329"/>
                      </a:lnTo>
                      <a:lnTo>
                        <a:pt x="11" y="328"/>
                      </a:lnTo>
                      <a:lnTo>
                        <a:pt x="12" y="327"/>
                      </a:lnTo>
                      <a:lnTo>
                        <a:pt x="13" y="327"/>
                      </a:lnTo>
                      <a:lnTo>
                        <a:pt x="15" y="327"/>
                      </a:lnTo>
                      <a:lnTo>
                        <a:pt x="15" y="326"/>
                      </a:lnTo>
                      <a:lnTo>
                        <a:pt x="15" y="324"/>
                      </a:lnTo>
                      <a:lnTo>
                        <a:pt x="16" y="324"/>
                      </a:lnTo>
                      <a:lnTo>
                        <a:pt x="17" y="323"/>
                      </a:lnTo>
                      <a:lnTo>
                        <a:pt x="17" y="322"/>
                      </a:lnTo>
                      <a:lnTo>
                        <a:pt x="18" y="321"/>
                      </a:lnTo>
                      <a:lnTo>
                        <a:pt x="19" y="321"/>
                      </a:lnTo>
                      <a:lnTo>
                        <a:pt x="25" y="319"/>
                      </a:lnTo>
                      <a:lnTo>
                        <a:pt x="26" y="319"/>
                      </a:lnTo>
                      <a:lnTo>
                        <a:pt x="26" y="317"/>
                      </a:lnTo>
                      <a:lnTo>
                        <a:pt x="26" y="316"/>
                      </a:lnTo>
                      <a:lnTo>
                        <a:pt x="27" y="316"/>
                      </a:lnTo>
                      <a:lnTo>
                        <a:pt x="29" y="316"/>
                      </a:lnTo>
                      <a:lnTo>
                        <a:pt x="29" y="317"/>
                      </a:lnTo>
                      <a:lnTo>
                        <a:pt x="30" y="319"/>
                      </a:lnTo>
                      <a:lnTo>
                        <a:pt x="30" y="320"/>
                      </a:lnTo>
                      <a:lnTo>
                        <a:pt x="31" y="320"/>
                      </a:lnTo>
                      <a:lnTo>
                        <a:pt x="32" y="321"/>
                      </a:lnTo>
                      <a:lnTo>
                        <a:pt x="34" y="322"/>
                      </a:lnTo>
                      <a:lnTo>
                        <a:pt x="36" y="322"/>
                      </a:lnTo>
                      <a:lnTo>
                        <a:pt x="36" y="323"/>
                      </a:lnTo>
                      <a:lnTo>
                        <a:pt x="36" y="324"/>
                      </a:lnTo>
                      <a:lnTo>
                        <a:pt x="37" y="326"/>
                      </a:lnTo>
                      <a:lnTo>
                        <a:pt x="38" y="324"/>
                      </a:lnTo>
                      <a:lnTo>
                        <a:pt x="39" y="323"/>
                      </a:lnTo>
                      <a:lnTo>
                        <a:pt x="40" y="322"/>
                      </a:lnTo>
                      <a:lnTo>
                        <a:pt x="39" y="322"/>
                      </a:lnTo>
                      <a:lnTo>
                        <a:pt x="40" y="321"/>
                      </a:lnTo>
                      <a:lnTo>
                        <a:pt x="41" y="322"/>
                      </a:lnTo>
                      <a:lnTo>
                        <a:pt x="43" y="322"/>
                      </a:lnTo>
                      <a:lnTo>
                        <a:pt x="44" y="321"/>
                      </a:lnTo>
                      <a:lnTo>
                        <a:pt x="45" y="321"/>
                      </a:lnTo>
                      <a:lnTo>
                        <a:pt x="46" y="321"/>
                      </a:lnTo>
                      <a:lnTo>
                        <a:pt x="45" y="320"/>
                      </a:lnTo>
                      <a:lnTo>
                        <a:pt x="46" y="320"/>
                      </a:lnTo>
                      <a:lnTo>
                        <a:pt x="46" y="317"/>
                      </a:lnTo>
                      <a:lnTo>
                        <a:pt x="47" y="316"/>
                      </a:lnTo>
                      <a:lnTo>
                        <a:pt x="47" y="315"/>
                      </a:lnTo>
                      <a:lnTo>
                        <a:pt x="46" y="313"/>
                      </a:lnTo>
                      <a:lnTo>
                        <a:pt x="46" y="312"/>
                      </a:lnTo>
                      <a:lnTo>
                        <a:pt x="47" y="312"/>
                      </a:lnTo>
                      <a:lnTo>
                        <a:pt x="48" y="310"/>
                      </a:lnTo>
                      <a:lnTo>
                        <a:pt x="50" y="310"/>
                      </a:lnTo>
                      <a:lnTo>
                        <a:pt x="51" y="312"/>
                      </a:lnTo>
                      <a:lnTo>
                        <a:pt x="51" y="313"/>
                      </a:lnTo>
                      <a:lnTo>
                        <a:pt x="52" y="313"/>
                      </a:lnTo>
                      <a:lnTo>
                        <a:pt x="53" y="313"/>
                      </a:lnTo>
                      <a:lnTo>
                        <a:pt x="54" y="313"/>
                      </a:lnTo>
                      <a:lnTo>
                        <a:pt x="55" y="312"/>
                      </a:lnTo>
                      <a:lnTo>
                        <a:pt x="57" y="310"/>
                      </a:lnTo>
                      <a:lnTo>
                        <a:pt x="58" y="310"/>
                      </a:lnTo>
                      <a:lnTo>
                        <a:pt x="60" y="309"/>
                      </a:lnTo>
                      <a:lnTo>
                        <a:pt x="61" y="309"/>
                      </a:lnTo>
                      <a:lnTo>
                        <a:pt x="62" y="309"/>
                      </a:lnTo>
                      <a:lnTo>
                        <a:pt x="64" y="308"/>
                      </a:lnTo>
                      <a:lnTo>
                        <a:pt x="65" y="307"/>
                      </a:lnTo>
                      <a:lnTo>
                        <a:pt x="66" y="307"/>
                      </a:lnTo>
                      <a:lnTo>
                        <a:pt x="67" y="306"/>
                      </a:lnTo>
                      <a:lnTo>
                        <a:pt x="68" y="306"/>
                      </a:lnTo>
                      <a:lnTo>
                        <a:pt x="68" y="307"/>
                      </a:lnTo>
                      <a:lnTo>
                        <a:pt x="68" y="308"/>
                      </a:lnTo>
                      <a:lnTo>
                        <a:pt x="68" y="309"/>
                      </a:lnTo>
                      <a:lnTo>
                        <a:pt x="69" y="310"/>
                      </a:lnTo>
                      <a:lnTo>
                        <a:pt x="70" y="310"/>
                      </a:lnTo>
                      <a:lnTo>
                        <a:pt x="70" y="312"/>
                      </a:lnTo>
                      <a:lnTo>
                        <a:pt x="69" y="313"/>
                      </a:lnTo>
                      <a:lnTo>
                        <a:pt x="68" y="314"/>
                      </a:lnTo>
                      <a:lnTo>
                        <a:pt x="67" y="314"/>
                      </a:lnTo>
                      <a:lnTo>
                        <a:pt x="67" y="315"/>
                      </a:lnTo>
                      <a:lnTo>
                        <a:pt x="67" y="316"/>
                      </a:lnTo>
                      <a:lnTo>
                        <a:pt x="67" y="317"/>
                      </a:lnTo>
                      <a:lnTo>
                        <a:pt x="68" y="317"/>
                      </a:lnTo>
                      <a:lnTo>
                        <a:pt x="68" y="319"/>
                      </a:lnTo>
                      <a:lnTo>
                        <a:pt x="68" y="320"/>
                      </a:lnTo>
                      <a:lnTo>
                        <a:pt x="68" y="321"/>
                      </a:lnTo>
                      <a:lnTo>
                        <a:pt x="68" y="322"/>
                      </a:lnTo>
                      <a:lnTo>
                        <a:pt x="68" y="324"/>
                      </a:lnTo>
                      <a:lnTo>
                        <a:pt x="68" y="326"/>
                      </a:lnTo>
                      <a:lnTo>
                        <a:pt x="69" y="326"/>
                      </a:lnTo>
                      <a:lnTo>
                        <a:pt x="70" y="324"/>
                      </a:lnTo>
                      <a:lnTo>
                        <a:pt x="72" y="324"/>
                      </a:lnTo>
                      <a:lnTo>
                        <a:pt x="73" y="324"/>
                      </a:lnTo>
                      <a:lnTo>
                        <a:pt x="74" y="324"/>
                      </a:lnTo>
                      <a:lnTo>
                        <a:pt x="74" y="326"/>
                      </a:lnTo>
                      <a:lnTo>
                        <a:pt x="75" y="326"/>
                      </a:lnTo>
                      <a:lnTo>
                        <a:pt x="76" y="326"/>
                      </a:lnTo>
                      <a:lnTo>
                        <a:pt x="77" y="326"/>
                      </a:lnTo>
                      <a:lnTo>
                        <a:pt x="80" y="324"/>
                      </a:lnTo>
                      <a:lnTo>
                        <a:pt x="81" y="323"/>
                      </a:lnTo>
                      <a:lnTo>
                        <a:pt x="82" y="323"/>
                      </a:lnTo>
                      <a:lnTo>
                        <a:pt x="82" y="322"/>
                      </a:lnTo>
                      <a:lnTo>
                        <a:pt x="84" y="317"/>
                      </a:lnTo>
                      <a:lnTo>
                        <a:pt x="88" y="315"/>
                      </a:lnTo>
                      <a:lnTo>
                        <a:pt x="89" y="314"/>
                      </a:lnTo>
                      <a:lnTo>
                        <a:pt x="90" y="313"/>
                      </a:lnTo>
                      <a:lnTo>
                        <a:pt x="91" y="310"/>
                      </a:lnTo>
                      <a:lnTo>
                        <a:pt x="93" y="309"/>
                      </a:lnTo>
                      <a:lnTo>
                        <a:pt x="94" y="308"/>
                      </a:lnTo>
                      <a:lnTo>
                        <a:pt x="95" y="307"/>
                      </a:lnTo>
                      <a:lnTo>
                        <a:pt x="96" y="307"/>
                      </a:lnTo>
                      <a:lnTo>
                        <a:pt x="100" y="305"/>
                      </a:lnTo>
                      <a:lnTo>
                        <a:pt x="101" y="305"/>
                      </a:lnTo>
                      <a:lnTo>
                        <a:pt x="102" y="305"/>
                      </a:lnTo>
                      <a:lnTo>
                        <a:pt x="102" y="303"/>
                      </a:lnTo>
                      <a:lnTo>
                        <a:pt x="103" y="302"/>
                      </a:lnTo>
                      <a:lnTo>
                        <a:pt x="103" y="300"/>
                      </a:lnTo>
                      <a:lnTo>
                        <a:pt x="104" y="299"/>
                      </a:lnTo>
                      <a:lnTo>
                        <a:pt x="105" y="299"/>
                      </a:lnTo>
                      <a:lnTo>
                        <a:pt x="110" y="296"/>
                      </a:lnTo>
                      <a:lnTo>
                        <a:pt x="111" y="296"/>
                      </a:lnTo>
                      <a:lnTo>
                        <a:pt x="112" y="296"/>
                      </a:lnTo>
                      <a:lnTo>
                        <a:pt x="114" y="296"/>
                      </a:lnTo>
                      <a:lnTo>
                        <a:pt x="115" y="295"/>
                      </a:lnTo>
                      <a:lnTo>
                        <a:pt x="116" y="294"/>
                      </a:lnTo>
                      <a:lnTo>
                        <a:pt x="117" y="293"/>
                      </a:lnTo>
                      <a:lnTo>
                        <a:pt x="117" y="292"/>
                      </a:lnTo>
                      <a:lnTo>
                        <a:pt x="118" y="291"/>
                      </a:lnTo>
                      <a:lnTo>
                        <a:pt x="118" y="289"/>
                      </a:lnTo>
                      <a:lnTo>
                        <a:pt x="119" y="288"/>
                      </a:lnTo>
                      <a:lnTo>
                        <a:pt x="121" y="285"/>
                      </a:lnTo>
                      <a:lnTo>
                        <a:pt x="122" y="282"/>
                      </a:lnTo>
                      <a:lnTo>
                        <a:pt x="123" y="281"/>
                      </a:lnTo>
                      <a:lnTo>
                        <a:pt x="124" y="280"/>
                      </a:lnTo>
                      <a:lnTo>
                        <a:pt x="125" y="277"/>
                      </a:lnTo>
                      <a:lnTo>
                        <a:pt x="125" y="275"/>
                      </a:lnTo>
                      <a:lnTo>
                        <a:pt x="126" y="274"/>
                      </a:lnTo>
                      <a:lnTo>
                        <a:pt x="125" y="274"/>
                      </a:lnTo>
                      <a:lnTo>
                        <a:pt x="125" y="273"/>
                      </a:lnTo>
                      <a:lnTo>
                        <a:pt x="125" y="272"/>
                      </a:lnTo>
                      <a:lnTo>
                        <a:pt x="125" y="271"/>
                      </a:lnTo>
                      <a:lnTo>
                        <a:pt x="124" y="271"/>
                      </a:lnTo>
                      <a:lnTo>
                        <a:pt x="124" y="270"/>
                      </a:lnTo>
                      <a:lnTo>
                        <a:pt x="124" y="268"/>
                      </a:lnTo>
                      <a:lnTo>
                        <a:pt x="124" y="266"/>
                      </a:lnTo>
                      <a:lnTo>
                        <a:pt x="124" y="265"/>
                      </a:lnTo>
                      <a:lnTo>
                        <a:pt x="124" y="264"/>
                      </a:lnTo>
                      <a:lnTo>
                        <a:pt x="124" y="261"/>
                      </a:lnTo>
                      <a:lnTo>
                        <a:pt x="125" y="259"/>
                      </a:lnTo>
                      <a:lnTo>
                        <a:pt x="125" y="254"/>
                      </a:lnTo>
                      <a:lnTo>
                        <a:pt x="124" y="246"/>
                      </a:lnTo>
                      <a:lnTo>
                        <a:pt x="124" y="245"/>
                      </a:lnTo>
                      <a:lnTo>
                        <a:pt x="124" y="244"/>
                      </a:lnTo>
                      <a:lnTo>
                        <a:pt x="124" y="243"/>
                      </a:lnTo>
                      <a:lnTo>
                        <a:pt x="124" y="242"/>
                      </a:lnTo>
                      <a:lnTo>
                        <a:pt x="124" y="240"/>
                      </a:lnTo>
                      <a:lnTo>
                        <a:pt x="125" y="239"/>
                      </a:lnTo>
                      <a:lnTo>
                        <a:pt x="125" y="238"/>
                      </a:lnTo>
                      <a:lnTo>
                        <a:pt x="126" y="237"/>
                      </a:lnTo>
                      <a:lnTo>
                        <a:pt x="128" y="237"/>
                      </a:lnTo>
                      <a:lnTo>
                        <a:pt x="129" y="236"/>
                      </a:lnTo>
                      <a:lnTo>
                        <a:pt x="131" y="235"/>
                      </a:lnTo>
                      <a:lnTo>
                        <a:pt x="132" y="232"/>
                      </a:lnTo>
                      <a:lnTo>
                        <a:pt x="133" y="231"/>
                      </a:lnTo>
                      <a:lnTo>
                        <a:pt x="134" y="231"/>
                      </a:lnTo>
                      <a:lnTo>
                        <a:pt x="134" y="230"/>
                      </a:lnTo>
                      <a:lnTo>
                        <a:pt x="138" y="226"/>
                      </a:lnTo>
                      <a:lnTo>
                        <a:pt x="138" y="225"/>
                      </a:lnTo>
                      <a:lnTo>
                        <a:pt x="138" y="224"/>
                      </a:lnTo>
                      <a:lnTo>
                        <a:pt x="138" y="223"/>
                      </a:lnTo>
                      <a:lnTo>
                        <a:pt x="138" y="222"/>
                      </a:lnTo>
                      <a:lnTo>
                        <a:pt x="139" y="221"/>
                      </a:lnTo>
                      <a:lnTo>
                        <a:pt x="140" y="219"/>
                      </a:lnTo>
                      <a:lnTo>
                        <a:pt x="141" y="217"/>
                      </a:lnTo>
                      <a:lnTo>
                        <a:pt x="143" y="215"/>
                      </a:lnTo>
                      <a:lnTo>
                        <a:pt x="144" y="214"/>
                      </a:lnTo>
                      <a:lnTo>
                        <a:pt x="144" y="212"/>
                      </a:lnTo>
                      <a:lnTo>
                        <a:pt x="145" y="211"/>
                      </a:lnTo>
                      <a:lnTo>
                        <a:pt x="146" y="210"/>
                      </a:lnTo>
                      <a:lnTo>
                        <a:pt x="147" y="209"/>
                      </a:lnTo>
                      <a:lnTo>
                        <a:pt x="148" y="208"/>
                      </a:lnTo>
                      <a:lnTo>
                        <a:pt x="150" y="207"/>
                      </a:lnTo>
                      <a:lnTo>
                        <a:pt x="150" y="205"/>
                      </a:lnTo>
                      <a:lnTo>
                        <a:pt x="151" y="205"/>
                      </a:lnTo>
                      <a:lnTo>
                        <a:pt x="152" y="205"/>
                      </a:lnTo>
                      <a:lnTo>
                        <a:pt x="153" y="205"/>
                      </a:lnTo>
                      <a:lnTo>
                        <a:pt x="155" y="204"/>
                      </a:lnTo>
                      <a:lnTo>
                        <a:pt x="157" y="204"/>
                      </a:lnTo>
                      <a:lnTo>
                        <a:pt x="158" y="203"/>
                      </a:lnTo>
                      <a:lnTo>
                        <a:pt x="159" y="203"/>
                      </a:lnTo>
                      <a:lnTo>
                        <a:pt x="160" y="203"/>
                      </a:lnTo>
                      <a:lnTo>
                        <a:pt x="160" y="202"/>
                      </a:lnTo>
                      <a:lnTo>
                        <a:pt x="161" y="202"/>
                      </a:lnTo>
                      <a:lnTo>
                        <a:pt x="162" y="201"/>
                      </a:lnTo>
                      <a:lnTo>
                        <a:pt x="162" y="200"/>
                      </a:lnTo>
                      <a:lnTo>
                        <a:pt x="167" y="195"/>
                      </a:lnTo>
                      <a:lnTo>
                        <a:pt x="169" y="193"/>
                      </a:lnTo>
                      <a:lnTo>
                        <a:pt x="171" y="191"/>
                      </a:lnTo>
                      <a:lnTo>
                        <a:pt x="171" y="190"/>
                      </a:lnTo>
                      <a:lnTo>
                        <a:pt x="173" y="188"/>
                      </a:lnTo>
                      <a:lnTo>
                        <a:pt x="174" y="188"/>
                      </a:lnTo>
                      <a:lnTo>
                        <a:pt x="173" y="182"/>
                      </a:lnTo>
                      <a:lnTo>
                        <a:pt x="173" y="179"/>
                      </a:lnTo>
                      <a:lnTo>
                        <a:pt x="173" y="177"/>
                      </a:lnTo>
                      <a:lnTo>
                        <a:pt x="174" y="172"/>
                      </a:lnTo>
                      <a:lnTo>
                        <a:pt x="174" y="170"/>
                      </a:lnTo>
                      <a:lnTo>
                        <a:pt x="176" y="163"/>
                      </a:lnTo>
                      <a:lnTo>
                        <a:pt x="180" y="160"/>
                      </a:lnTo>
                      <a:lnTo>
                        <a:pt x="180" y="159"/>
                      </a:lnTo>
                      <a:lnTo>
                        <a:pt x="180" y="156"/>
                      </a:lnTo>
                      <a:lnTo>
                        <a:pt x="180" y="155"/>
                      </a:lnTo>
                      <a:lnTo>
                        <a:pt x="180" y="154"/>
                      </a:lnTo>
                      <a:lnTo>
                        <a:pt x="179" y="154"/>
                      </a:lnTo>
                      <a:lnTo>
                        <a:pt x="179" y="153"/>
                      </a:lnTo>
                      <a:lnTo>
                        <a:pt x="178" y="152"/>
                      </a:lnTo>
                      <a:lnTo>
                        <a:pt x="178" y="151"/>
                      </a:lnTo>
                      <a:lnTo>
                        <a:pt x="179" y="148"/>
                      </a:lnTo>
                      <a:lnTo>
                        <a:pt x="179" y="147"/>
                      </a:lnTo>
                      <a:lnTo>
                        <a:pt x="178" y="144"/>
                      </a:lnTo>
                      <a:lnTo>
                        <a:pt x="178" y="141"/>
                      </a:lnTo>
                      <a:lnTo>
                        <a:pt x="178" y="139"/>
                      </a:lnTo>
                      <a:lnTo>
                        <a:pt x="178" y="138"/>
                      </a:lnTo>
                      <a:lnTo>
                        <a:pt x="178" y="137"/>
                      </a:lnTo>
                      <a:lnTo>
                        <a:pt x="179" y="137"/>
                      </a:lnTo>
                      <a:lnTo>
                        <a:pt x="180" y="134"/>
                      </a:lnTo>
                      <a:lnTo>
                        <a:pt x="180" y="133"/>
                      </a:lnTo>
                      <a:lnTo>
                        <a:pt x="180" y="131"/>
                      </a:lnTo>
                      <a:lnTo>
                        <a:pt x="181" y="127"/>
                      </a:lnTo>
                      <a:lnTo>
                        <a:pt x="181" y="126"/>
                      </a:lnTo>
                      <a:lnTo>
                        <a:pt x="182" y="126"/>
                      </a:lnTo>
                      <a:lnTo>
                        <a:pt x="183" y="121"/>
                      </a:lnTo>
                      <a:lnTo>
                        <a:pt x="183" y="112"/>
                      </a:lnTo>
                      <a:lnTo>
                        <a:pt x="183" y="111"/>
                      </a:lnTo>
                      <a:lnTo>
                        <a:pt x="183" y="110"/>
                      </a:lnTo>
                      <a:lnTo>
                        <a:pt x="183" y="109"/>
                      </a:lnTo>
                      <a:lnTo>
                        <a:pt x="183" y="105"/>
                      </a:lnTo>
                      <a:lnTo>
                        <a:pt x="183" y="104"/>
                      </a:lnTo>
                      <a:lnTo>
                        <a:pt x="183" y="103"/>
                      </a:lnTo>
                      <a:lnTo>
                        <a:pt x="185" y="99"/>
                      </a:lnTo>
                      <a:lnTo>
                        <a:pt x="186" y="98"/>
                      </a:lnTo>
                      <a:lnTo>
                        <a:pt x="187" y="98"/>
                      </a:lnTo>
                      <a:lnTo>
                        <a:pt x="187" y="97"/>
                      </a:lnTo>
                      <a:lnTo>
                        <a:pt x="187" y="96"/>
                      </a:lnTo>
                      <a:lnTo>
                        <a:pt x="188" y="96"/>
                      </a:lnTo>
                      <a:lnTo>
                        <a:pt x="188" y="95"/>
                      </a:lnTo>
                      <a:lnTo>
                        <a:pt x="188" y="92"/>
                      </a:lnTo>
                      <a:lnTo>
                        <a:pt x="189" y="91"/>
                      </a:lnTo>
                      <a:lnTo>
                        <a:pt x="190" y="90"/>
                      </a:lnTo>
                      <a:lnTo>
                        <a:pt x="192" y="90"/>
                      </a:lnTo>
                      <a:lnTo>
                        <a:pt x="192" y="89"/>
                      </a:lnTo>
                      <a:lnTo>
                        <a:pt x="194" y="85"/>
                      </a:lnTo>
                      <a:lnTo>
                        <a:pt x="195" y="83"/>
                      </a:lnTo>
                      <a:lnTo>
                        <a:pt x="195" y="82"/>
                      </a:lnTo>
                      <a:lnTo>
                        <a:pt x="195" y="81"/>
                      </a:lnTo>
                      <a:lnTo>
                        <a:pt x="196" y="79"/>
                      </a:lnTo>
                      <a:lnTo>
                        <a:pt x="196" y="78"/>
                      </a:lnTo>
                      <a:lnTo>
                        <a:pt x="197" y="77"/>
                      </a:lnTo>
                      <a:lnTo>
                        <a:pt x="197" y="74"/>
                      </a:lnTo>
                      <a:lnTo>
                        <a:pt x="198" y="74"/>
                      </a:lnTo>
                      <a:lnTo>
                        <a:pt x="200" y="72"/>
                      </a:lnTo>
                      <a:lnTo>
                        <a:pt x="201" y="72"/>
                      </a:lnTo>
                      <a:lnTo>
                        <a:pt x="201" y="71"/>
                      </a:lnTo>
                      <a:lnTo>
                        <a:pt x="201" y="70"/>
                      </a:lnTo>
                      <a:lnTo>
                        <a:pt x="202" y="65"/>
                      </a:lnTo>
                      <a:lnTo>
                        <a:pt x="201" y="62"/>
                      </a:lnTo>
                      <a:lnTo>
                        <a:pt x="201" y="61"/>
                      </a:lnTo>
                      <a:lnTo>
                        <a:pt x="200" y="54"/>
                      </a:lnTo>
                      <a:lnTo>
                        <a:pt x="201" y="50"/>
                      </a:lnTo>
                      <a:lnTo>
                        <a:pt x="201" y="49"/>
                      </a:lnTo>
                      <a:lnTo>
                        <a:pt x="201" y="48"/>
                      </a:lnTo>
                      <a:lnTo>
                        <a:pt x="201" y="47"/>
                      </a:lnTo>
                      <a:lnTo>
                        <a:pt x="202" y="46"/>
                      </a:lnTo>
                      <a:lnTo>
                        <a:pt x="202" y="43"/>
                      </a:lnTo>
                      <a:lnTo>
                        <a:pt x="201" y="41"/>
                      </a:lnTo>
                      <a:lnTo>
                        <a:pt x="201" y="39"/>
                      </a:lnTo>
                      <a:lnTo>
                        <a:pt x="200" y="37"/>
                      </a:lnTo>
                      <a:lnTo>
                        <a:pt x="200" y="36"/>
                      </a:lnTo>
                      <a:lnTo>
                        <a:pt x="198" y="35"/>
                      </a:lnTo>
                      <a:lnTo>
                        <a:pt x="198" y="34"/>
                      </a:lnTo>
                      <a:lnTo>
                        <a:pt x="198" y="33"/>
                      </a:lnTo>
                      <a:lnTo>
                        <a:pt x="200" y="33"/>
                      </a:lnTo>
                      <a:lnTo>
                        <a:pt x="201" y="33"/>
                      </a:lnTo>
                      <a:lnTo>
                        <a:pt x="202" y="33"/>
                      </a:lnTo>
                      <a:lnTo>
                        <a:pt x="204" y="33"/>
                      </a:lnTo>
                      <a:lnTo>
                        <a:pt x="205" y="32"/>
                      </a:lnTo>
                      <a:lnTo>
                        <a:pt x="205" y="30"/>
                      </a:lnTo>
                      <a:lnTo>
                        <a:pt x="208" y="27"/>
                      </a:lnTo>
                      <a:lnTo>
                        <a:pt x="208" y="26"/>
                      </a:lnTo>
                      <a:lnTo>
                        <a:pt x="209" y="25"/>
                      </a:lnTo>
                      <a:lnTo>
                        <a:pt x="209" y="23"/>
                      </a:lnTo>
                      <a:lnTo>
                        <a:pt x="210" y="23"/>
                      </a:lnTo>
                      <a:lnTo>
                        <a:pt x="211" y="21"/>
                      </a:lnTo>
                      <a:lnTo>
                        <a:pt x="212" y="21"/>
                      </a:lnTo>
                      <a:lnTo>
                        <a:pt x="214" y="20"/>
                      </a:lnTo>
                      <a:lnTo>
                        <a:pt x="214" y="19"/>
                      </a:lnTo>
                      <a:lnTo>
                        <a:pt x="215" y="18"/>
                      </a:lnTo>
                      <a:lnTo>
                        <a:pt x="215" y="16"/>
                      </a:lnTo>
                      <a:lnTo>
                        <a:pt x="215" y="15"/>
                      </a:lnTo>
                      <a:lnTo>
                        <a:pt x="216" y="15"/>
                      </a:lnTo>
                      <a:lnTo>
                        <a:pt x="216" y="14"/>
                      </a:lnTo>
                      <a:lnTo>
                        <a:pt x="217" y="14"/>
                      </a:lnTo>
                      <a:lnTo>
                        <a:pt x="218" y="14"/>
                      </a:lnTo>
                      <a:lnTo>
                        <a:pt x="219" y="14"/>
                      </a:lnTo>
                      <a:lnTo>
                        <a:pt x="219" y="13"/>
                      </a:lnTo>
                      <a:lnTo>
                        <a:pt x="221" y="13"/>
                      </a:lnTo>
                      <a:lnTo>
                        <a:pt x="222" y="12"/>
                      </a:lnTo>
                      <a:lnTo>
                        <a:pt x="224" y="9"/>
                      </a:lnTo>
                      <a:lnTo>
                        <a:pt x="225" y="9"/>
                      </a:lnTo>
                      <a:lnTo>
                        <a:pt x="225" y="8"/>
                      </a:lnTo>
                      <a:lnTo>
                        <a:pt x="226" y="8"/>
                      </a:lnTo>
                      <a:lnTo>
                        <a:pt x="229" y="8"/>
                      </a:lnTo>
                      <a:lnTo>
                        <a:pt x="230" y="8"/>
                      </a:lnTo>
                      <a:lnTo>
                        <a:pt x="231" y="8"/>
                      </a:lnTo>
                      <a:lnTo>
                        <a:pt x="232" y="8"/>
                      </a:lnTo>
                      <a:lnTo>
                        <a:pt x="236" y="8"/>
                      </a:lnTo>
                      <a:lnTo>
                        <a:pt x="237" y="8"/>
                      </a:lnTo>
                      <a:lnTo>
                        <a:pt x="237" y="9"/>
                      </a:lnTo>
                      <a:lnTo>
                        <a:pt x="239" y="9"/>
                      </a:lnTo>
                      <a:lnTo>
                        <a:pt x="239" y="11"/>
                      </a:lnTo>
                      <a:lnTo>
                        <a:pt x="240" y="11"/>
                      </a:lnTo>
                      <a:lnTo>
                        <a:pt x="240" y="12"/>
                      </a:lnTo>
                      <a:lnTo>
                        <a:pt x="240" y="13"/>
                      </a:lnTo>
                      <a:lnTo>
                        <a:pt x="242" y="13"/>
                      </a:lnTo>
                      <a:lnTo>
                        <a:pt x="245" y="13"/>
                      </a:lnTo>
                      <a:lnTo>
                        <a:pt x="245" y="14"/>
                      </a:lnTo>
                      <a:lnTo>
                        <a:pt x="246" y="14"/>
                      </a:lnTo>
                      <a:lnTo>
                        <a:pt x="247" y="15"/>
                      </a:lnTo>
                      <a:lnTo>
                        <a:pt x="250" y="16"/>
                      </a:lnTo>
                      <a:lnTo>
                        <a:pt x="251" y="19"/>
                      </a:lnTo>
                      <a:lnTo>
                        <a:pt x="252" y="19"/>
                      </a:lnTo>
                      <a:lnTo>
                        <a:pt x="254" y="20"/>
                      </a:lnTo>
                      <a:lnTo>
                        <a:pt x="256" y="20"/>
                      </a:lnTo>
                      <a:lnTo>
                        <a:pt x="257" y="21"/>
                      </a:lnTo>
                      <a:lnTo>
                        <a:pt x="257" y="23"/>
                      </a:lnTo>
                      <a:lnTo>
                        <a:pt x="258" y="23"/>
                      </a:lnTo>
                      <a:lnTo>
                        <a:pt x="259" y="25"/>
                      </a:lnTo>
                      <a:lnTo>
                        <a:pt x="259" y="26"/>
                      </a:lnTo>
                      <a:lnTo>
                        <a:pt x="259" y="27"/>
                      </a:lnTo>
                      <a:lnTo>
                        <a:pt x="259" y="28"/>
                      </a:lnTo>
                      <a:lnTo>
                        <a:pt x="262" y="30"/>
                      </a:lnTo>
                      <a:lnTo>
                        <a:pt x="262" y="32"/>
                      </a:lnTo>
                      <a:lnTo>
                        <a:pt x="264" y="32"/>
                      </a:lnTo>
                      <a:lnTo>
                        <a:pt x="266" y="30"/>
                      </a:lnTo>
                      <a:lnTo>
                        <a:pt x="268" y="30"/>
                      </a:lnTo>
                      <a:lnTo>
                        <a:pt x="269" y="30"/>
                      </a:lnTo>
                      <a:lnTo>
                        <a:pt x="271" y="30"/>
                      </a:lnTo>
                      <a:lnTo>
                        <a:pt x="272" y="30"/>
                      </a:lnTo>
                      <a:lnTo>
                        <a:pt x="275" y="30"/>
                      </a:lnTo>
                      <a:lnTo>
                        <a:pt x="278" y="32"/>
                      </a:lnTo>
                      <a:lnTo>
                        <a:pt x="279" y="32"/>
                      </a:lnTo>
                      <a:lnTo>
                        <a:pt x="280" y="33"/>
                      </a:lnTo>
                      <a:lnTo>
                        <a:pt x="280" y="34"/>
                      </a:lnTo>
                      <a:lnTo>
                        <a:pt x="281" y="34"/>
                      </a:lnTo>
                      <a:lnTo>
                        <a:pt x="281" y="35"/>
                      </a:lnTo>
                      <a:lnTo>
                        <a:pt x="282" y="35"/>
                      </a:lnTo>
                      <a:lnTo>
                        <a:pt x="283" y="35"/>
                      </a:lnTo>
                      <a:lnTo>
                        <a:pt x="283" y="34"/>
                      </a:lnTo>
                      <a:lnTo>
                        <a:pt x="285" y="34"/>
                      </a:lnTo>
                      <a:lnTo>
                        <a:pt x="286" y="34"/>
                      </a:lnTo>
                      <a:lnTo>
                        <a:pt x="288" y="35"/>
                      </a:lnTo>
                      <a:lnTo>
                        <a:pt x="289" y="35"/>
                      </a:lnTo>
                      <a:lnTo>
                        <a:pt x="289" y="36"/>
                      </a:lnTo>
                      <a:lnTo>
                        <a:pt x="290" y="35"/>
                      </a:lnTo>
                      <a:lnTo>
                        <a:pt x="292" y="36"/>
                      </a:lnTo>
                      <a:lnTo>
                        <a:pt x="293" y="36"/>
                      </a:lnTo>
                      <a:lnTo>
                        <a:pt x="296" y="35"/>
                      </a:lnTo>
                      <a:lnTo>
                        <a:pt x="297" y="35"/>
                      </a:lnTo>
                      <a:lnTo>
                        <a:pt x="299" y="35"/>
                      </a:lnTo>
                      <a:lnTo>
                        <a:pt x="300" y="35"/>
                      </a:lnTo>
                      <a:lnTo>
                        <a:pt x="301" y="35"/>
                      </a:lnTo>
                      <a:lnTo>
                        <a:pt x="302" y="35"/>
                      </a:lnTo>
                      <a:lnTo>
                        <a:pt x="303" y="36"/>
                      </a:lnTo>
                      <a:lnTo>
                        <a:pt x="304" y="36"/>
                      </a:lnTo>
                      <a:lnTo>
                        <a:pt x="307" y="37"/>
                      </a:lnTo>
                      <a:lnTo>
                        <a:pt x="307" y="36"/>
                      </a:lnTo>
                      <a:lnTo>
                        <a:pt x="308" y="36"/>
                      </a:lnTo>
                      <a:lnTo>
                        <a:pt x="309" y="37"/>
                      </a:lnTo>
                      <a:lnTo>
                        <a:pt x="310" y="37"/>
                      </a:lnTo>
                      <a:lnTo>
                        <a:pt x="311" y="37"/>
                      </a:lnTo>
                      <a:lnTo>
                        <a:pt x="313" y="37"/>
                      </a:lnTo>
                      <a:lnTo>
                        <a:pt x="313" y="39"/>
                      </a:lnTo>
                      <a:lnTo>
                        <a:pt x="314" y="39"/>
                      </a:lnTo>
                      <a:lnTo>
                        <a:pt x="315" y="40"/>
                      </a:lnTo>
                      <a:lnTo>
                        <a:pt x="317" y="40"/>
                      </a:lnTo>
                      <a:lnTo>
                        <a:pt x="322" y="40"/>
                      </a:lnTo>
                      <a:lnTo>
                        <a:pt x="323" y="40"/>
                      </a:lnTo>
                      <a:lnTo>
                        <a:pt x="323" y="39"/>
                      </a:lnTo>
                      <a:lnTo>
                        <a:pt x="324" y="39"/>
                      </a:lnTo>
                      <a:lnTo>
                        <a:pt x="324" y="37"/>
                      </a:lnTo>
                      <a:lnTo>
                        <a:pt x="325" y="37"/>
                      </a:lnTo>
                      <a:lnTo>
                        <a:pt x="325" y="36"/>
                      </a:lnTo>
                      <a:lnTo>
                        <a:pt x="325" y="35"/>
                      </a:lnTo>
                      <a:lnTo>
                        <a:pt x="326" y="34"/>
                      </a:lnTo>
                      <a:lnTo>
                        <a:pt x="326" y="33"/>
                      </a:lnTo>
                      <a:lnTo>
                        <a:pt x="328" y="33"/>
                      </a:lnTo>
                      <a:lnTo>
                        <a:pt x="328" y="32"/>
                      </a:lnTo>
                      <a:lnTo>
                        <a:pt x="326" y="32"/>
                      </a:lnTo>
                      <a:lnTo>
                        <a:pt x="326" y="30"/>
                      </a:lnTo>
                      <a:lnTo>
                        <a:pt x="326" y="29"/>
                      </a:lnTo>
                      <a:lnTo>
                        <a:pt x="328" y="29"/>
                      </a:lnTo>
                      <a:lnTo>
                        <a:pt x="329" y="29"/>
                      </a:lnTo>
                      <a:lnTo>
                        <a:pt x="330" y="28"/>
                      </a:lnTo>
                      <a:lnTo>
                        <a:pt x="330" y="27"/>
                      </a:lnTo>
                      <a:lnTo>
                        <a:pt x="331" y="27"/>
                      </a:lnTo>
                      <a:lnTo>
                        <a:pt x="331" y="26"/>
                      </a:lnTo>
                      <a:lnTo>
                        <a:pt x="331" y="25"/>
                      </a:lnTo>
                      <a:lnTo>
                        <a:pt x="331" y="23"/>
                      </a:lnTo>
                      <a:lnTo>
                        <a:pt x="332" y="23"/>
                      </a:lnTo>
                      <a:lnTo>
                        <a:pt x="332" y="22"/>
                      </a:lnTo>
                      <a:lnTo>
                        <a:pt x="332" y="21"/>
                      </a:lnTo>
                      <a:lnTo>
                        <a:pt x="333" y="21"/>
                      </a:lnTo>
                      <a:lnTo>
                        <a:pt x="335" y="21"/>
                      </a:lnTo>
                      <a:lnTo>
                        <a:pt x="336" y="21"/>
                      </a:lnTo>
                      <a:lnTo>
                        <a:pt x="336" y="20"/>
                      </a:lnTo>
                      <a:lnTo>
                        <a:pt x="336" y="19"/>
                      </a:lnTo>
                      <a:lnTo>
                        <a:pt x="337" y="18"/>
                      </a:lnTo>
                      <a:lnTo>
                        <a:pt x="337" y="19"/>
                      </a:lnTo>
                      <a:lnTo>
                        <a:pt x="338" y="18"/>
                      </a:lnTo>
                      <a:lnTo>
                        <a:pt x="339" y="18"/>
                      </a:lnTo>
                      <a:lnTo>
                        <a:pt x="339" y="19"/>
                      </a:lnTo>
                      <a:lnTo>
                        <a:pt x="339" y="20"/>
                      </a:lnTo>
                      <a:lnTo>
                        <a:pt x="340" y="20"/>
                      </a:lnTo>
                      <a:lnTo>
                        <a:pt x="340" y="21"/>
                      </a:lnTo>
                      <a:lnTo>
                        <a:pt x="342" y="21"/>
                      </a:lnTo>
                      <a:lnTo>
                        <a:pt x="343" y="21"/>
                      </a:lnTo>
                      <a:lnTo>
                        <a:pt x="344" y="21"/>
                      </a:lnTo>
                      <a:lnTo>
                        <a:pt x="345" y="21"/>
                      </a:lnTo>
                      <a:lnTo>
                        <a:pt x="346" y="22"/>
                      </a:lnTo>
                      <a:lnTo>
                        <a:pt x="347" y="23"/>
                      </a:lnTo>
                      <a:lnTo>
                        <a:pt x="349" y="25"/>
                      </a:lnTo>
                      <a:lnTo>
                        <a:pt x="350" y="25"/>
                      </a:lnTo>
                      <a:lnTo>
                        <a:pt x="351" y="25"/>
                      </a:lnTo>
                      <a:lnTo>
                        <a:pt x="351" y="26"/>
                      </a:lnTo>
                      <a:lnTo>
                        <a:pt x="352" y="26"/>
                      </a:lnTo>
                      <a:lnTo>
                        <a:pt x="353" y="26"/>
                      </a:lnTo>
                      <a:lnTo>
                        <a:pt x="353" y="25"/>
                      </a:lnTo>
                      <a:lnTo>
                        <a:pt x="353" y="23"/>
                      </a:lnTo>
                      <a:lnTo>
                        <a:pt x="354" y="23"/>
                      </a:lnTo>
                      <a:lnTo>
                        <a:pt x="356" y="23"/>
                      </a:lnTo>
                      <a:lnTo>
                        <a:pt x="356" y="22"/>
                      </a:lnTo>
                      <a:lnTo>
                        <a:pt x="358" y="21"/>
                      </a:lnTo>
                      <a:lnTo>
                        <a:pt x="360" y="21"/>
                      </a:lnTo>
                      <a:lnTo>
                        <a:pt x="361" y="20"/>
                      </a:lnTo>
                      <a:lnTo>
                        <a:pt x="363" y="20"/>
                      </a:lnTo>
                      <a:lnTo>
                        <a:pt x="364" y="19"/>
                      </a:lnTo>
                      <a:lnTo>
                        <a:pt x="365" y="19"/>
                      </a:lnTo>
                      <a:lnTo>
                        <a:pt x="366" y="19"/>
                      </a:lnTo>
                      <a:lnTo>
                        <a:pt x="367" y="19"/>
                      </a:lnTo>
                      <a:lnTo>
                        <a:pt x="367" y="18"/>
                      </a:lnTo>
                      <a:lnTo>
                        <a:pt x="368" y="19"/>
                      </a:lnTo>
                      <a:lnTo>
                        <a:pt x="370" y="19"/>
                      </a:lnTo>
                      <a:lnTo>
                        <a:pt x="370" y="18"/>
                      </a:lnTo>
                      <a:lnTo>
                        <a:pt x="370" y="16"/>
                      </a:lnTo>
                      <a:lnTo>
                        <a:pt x="371" y="16"/>
                      </a:lnTo>
                      <a:lnTo>
                        <a:pt x="371" y="18"/>
                      </a:lnTo>
                      <a:lnTo>
                        <a:pt x="371" y="16"/>
                      </a:lnTo>
                      <a:lnTo>
                        <a:pt x="373" y="16"/>
                      </a:lnTo>
                      <a:lnTo>
                        <a:pt x="374" y="15"/>
                      </a:lnTo>
                      <a:lnTo>
                        <a:pt x="375" y="15"/>
                      </a:lnTo>
                      <a:lnTo>
                        <a:pt x="377" y="15"/>
                      </a:lnTo>
                      <a:lnTo>
                        <a:pt x="378" y="14"/>
                      </a:lnTo>
                      <a:lnTo>
                        <a:pt x="379" y="14"/>
                      </a:lnTo>
                      <a:lnTo>
                        <a:pt x="379" y="15"/>
                      </a:lnTo>
                      <a:lnTo>
                        <a:pt x="380" y="15"/>
                      </a:lnTo>
                      <a:lnTo>
                        <a:pt x="380" y="14"/>
                      </a:lnTo>
                      <a:lnTo>
                        <a:pt x="380" y="13"/>
                      </a:lnTo>
                      <a:lnTo>
                        <a:pt x="381" y="13"/>
                      </a:lnTo>
                      <a:lnTo>
                        <a:pt x="384" y="12"/>
                      </a:lnTo>
                      <a:lnTo>
                        <a:pt x="384" y="11"/>
                      </a:lnTo>
                      <a:lnTo>
                        <a:pt x="382" y="11"/>
                      </a:lnTo>
                      <a:lnTo>
                        <a:pt x="384" y="9"/>
                      </a:lnTo>
                      <a:lnTo>
                        <a:pt x="384" y="8"/>
                      </a:lnTo>
                      <a:lnTo>
                        <a:pt x="384" y="9"/>
                      </a:lnTo>
                      <a:lnTo>
                        <a:pt x="385" y="9"/>
                      </a:lnTo>
                      <a:lnTo>
                        <a:pt x="385" y="11"/>
                      </a:lnTo>
                      <a:lnTo>
                        <a:pt x="385" y="9"/>
                      </a:lnTo>
                      <a:lnTo>
                        <a:pt x="386" y="9"/>
                      </a:lnTo>
                      <a:lnTo>
                        <a:pt x="387" y="9"/>
                      </a:lnTo>
                      <a:lnTo>
                        <a:pt x="388" y="9"/>
                      </a:lnTo>
                      <a:lnTo>
                        <a:pt x="388" y="11"/>
                      </a:lnTo>
                      <a:lnTo>
                        <a:pt x="389" y="12"/>
                      </a:lnTo>
                      <a:lnTo>
                        <a:pt x="390" y="12"/>
                      </a:lnTo>
                      <a:lnTo>
                        <a:pt x="390" y="13"/>
                      </a:lnTo>
                      <a:lnTo>
                        <a:pt x="392" y="13"/>
                      </a:lnTo>
                      <a:lnTo>
                        <a:pt x="392" y="14"/>
                      </a:lnTo>
                      <a:lnTo>
                        <a:pt x="393" y="14"/>
                      </a:lnTo>
                      <a:lnTo>
                        <a:pt x="392" y="14"/>
                      </a:lnTo>
                      <a:lnTo>
                        <a:pt x="392" y="15"/>
                      </a:lnTo>
                      <a:lnTo>
                        <a:pt x="393" y="15"/>
                      </a:lnTo>
                      <a:lnTo>
                        <a:pt x="394" y="15"/>
                      </a:lnTo>
                      <a:lnTo>
                        <a:pt x="395" y="15"/>
                      </a:lnTo>
                      <a:lnTo>
                        <a:pt x="396" y="15"/>
                      </a:lnTo>
                      <a:lnTo>
                        <a:pt x="397" y="14"/>
                      </a:lnTo>
                      <a:lnTo>
                        <a:pt x="399" y="14"/>
                      </a:lnTo>
                      <a:lnTo>
                        <a:pt x="400" y="14"/>
                      </a:lnTo>
                      <a:lnTo>
                        <a:pt x="401" y="13"/>
                      </a:lnTo>
                      <a:lnTo>
                        <a:pt x="402" y="13"/>
                      </a:lnTo>
                      <a:lnTo>
                        <a:pt x="403" y="13"/>
                      </a:lnTo>
                      <a:lnTo>
                        <a:pt x="404" y="14"/>
                      </a:lnTo>
                      <a:lnTo>
                        <a:pt x="406" y="14"/>
                      </a:lnTo>
                      <a:lnTo>
                        <a:pt x="406" y="13"/>
                      </a:lnTo>
                      <a:lnTo>
                        <a:pt x="407" y="13"/>
                      </a:lnTo>
                      <a:lnTo>
                        <a:pt x="407" y="12"/>
                      </a:lnTo>
                      <a:lnTo>
                        <a:pt x="408" y="12"/>
                      </a:lnTo>
                      <a:lnTo>
                        <a:pt x="410" y="12"/>
                      </a:lnTo>
                      <a:lnTo>
                        <a:pt x="411" y="12"/>
                      </a:lnTo>
                      <a:lnTo>
                        <a:pt x="413" y="12"/>
                      </a:lnTo>
                      <a:lnTo>
                        <a:pt x="413" y="11"/>
                      </a:lnTo>
                      <a:lnTo>
                        <a:pt x="414" y="11"/>
                      </a:lnTo>
                      <a:lnTo>
                        <a:pt x="414" y="9"/>
                      </a:lnTo>
                      <a:lnTo>
                        <a:pt x="414" y="8"/>
                      </a:lnTo>
                      <a:lnTo>
                        <a:pt x="414" y="7"/>
                      </a:lnTo>
                      <a:lnTo>
                        <a:pt x="413" y="7"/>
                      </a:lnTo>
                      <a:lnTo>
                        <a:pt x="413" y="6"/>
                      </a:lnTo>
                      <a:lnTo>
                        <a:pt x="414" y="6"/>
                      </a:lnTo>
                      <a:lnTo>
                        <a:pt x="414" y="5"/>
                      </a:lnTo>
                      <a:lnTo>
                        <a:pt x="414" y="4"/>
                      </a:lnTo>
                      <a:lnTo>
                        <a:pt x="415" y="4"/>
                      </a:lnTo>
                      <a:lnTo>
                        <a:pt x="415" y="2"/>
                      </a:lnTo>
                      <a:lnTo>
                        <a:pt x="416" y="2"/>
                      </a:lnTo>
                      <a:lnTo>
                        <a:pt x="417" y="2"/>
                      </a:lnTo>
                      <a:lnTo>
                        <a:pt x="418" y="1"/>
                      </a:lnTo>
                      <a:lnTo>
                        <a:pt x="420" y="1"/>
                      </a:lnTo>
                      <a:lnTo>
                        <a:pt x="421" y="1"/>
                      </a:lnTo>
                      <a:lnTo>
                        <a:pt x="420" y="0"/>
                      </a:lnTo>
                      <a:lnTo>
                        <a:pt x="42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4" name="Freeform 81">
                  <a:extLst>
                    <a:ext uri="{FF2B5EF4-FFF2-40B4-BE49-F238E27FC236}">
                      <a16:creationId xmlns:a16="http://schemas.microsoft.com/office/drawing/2014/main" id="{1F6E433F-F5E8-B516-ABBE-39E2481DE393}"/>
                    </a:ext>
                  </a:extLst>
                </p:cNvPr>
                <p:cNvSpPr>
                  <a:spLocks/>
                </p:cNvSpPr>
                <p:nvPr/>
              </p:nvSpPr>
              <p:spPr bwMode="auto">
                <a:xfrm>
                  <a:off x="6612032" y="3672052"/>
                  <a:ext cx="256371" cy="298557"/>
                </a:xfrm>
                <a:custGeom>
                  <a:avLst/>
                  <a:gdLst>
                    <a:gd name="T0" fmla="*/ 230 w 237"/>
                    <a:gd name="T1" fmla="*/ 27 h 276"/>
                    <a:gd name="T2" fmla="*/ 222 w 237"/>
                    <a:gd name="T3" fmla="*/ 44 h 276"/>
                    <a:gd name="T4" fmla="*/ 216 w 237"/>
                    <a:gd name="T5" fmla="*/ 73 h 276"/>
                    <a:gd name="T6" fmla="*/ 213 w 237"/>
                    <a:gd name="T7" fmla="*/ 98 h 276"/>
                    <a:gd name="T8" fmla="*/ 208 w 237"/>
                    <a:gd name="T9" fmla="*/ 128 h 276"/>
                    <a:gd name="T10" fmla="*/ 193 w 237"/>
                    <a:gd name="T11" fmla="*/ 149 h 276"/>
                    <a:gd name="T12" fmla="*/ 179 w 237"/>
                    <a:gd name="T13" fmla="*/ 160 h 276"/>
                    <a:gd name="T14" fmla="*/ 167 w 237"/>
                    <a:gd name="T15" fmla="*/ 178 h 276"/>
                    <a:gd name="T16" fmla="*/ 160 w 237"/>
                    <a:gd name="T17" fmla="*/ 200 h 276"/>
                    <a:gd name="T18" fmla="*/ 161 w 237"/>
                    <a:gd name="T19" fmla="*/ 220 h 276"/>
                    <a:gd name="T20" fmla="*/ 150 w 237"/>
                    <a:gd name="T21" fmla="*/ 241 h 276"/>
                    <a:gd name="T22" fmla="*/ 131 w 237"/>
                    <a:gd name="T23" fmla="*/ 253 h 276"/>
                    <a:gd name="T24" fmla="*/ 112 w 237"/>
                    <a:gd name="T25" fmla="*/ 272 h 276"/>
                    <a:gd name="T26" fmla="*/ 103 w 237"/>
                    <a:gd name="T27" fmla="*/ 266 h 276"/>
                    <a:gd name="T28" fmla="*/ 103 w 237"/>
                    <a:gd name="T29" fmla="*/ 254 h 276"/>
                    <a:gd name="T30" fmla="*/ 89 w 237"/>
                    <a:gd name="T31" fmla="*/ 259 h 276"/>
                    <a:gd name="T32" fmla="*/ 81 w 237"/>
                    <a:gd name="T33" fmla="*/ 266 h 276"/>
                    <a:gd name="T34" fmla="*/ 71 w 237"/>
                    <a:gd name="T35" fmla="*/ 270 h 276"/>
                    <a:gd name="T36" fmla="*/ 60 w 237"/>
                    <a:gd name="T37" fmla="*/ 263 h 276"/>
                    <a:gd name="T38" fmla="*/ 48 w 237"/>
                    <a:gd name="T39" fmla="*/ 260 h 276"/>
                    <a:gd name="T40" fmla="*/ 35 w 237"/>
                    <a:gd name="T41" fmla="*/ 269 h 276"/>
                    <a:gd name="T42" fmla="*/ 22 w 237"/>
                    <a:gd name="T43" fmla="*/ 268 h 276"/>
                    <a:gd name="T44" fmla="*/ 9 w 237"/>
                    <a:gd name="T45" fmla="*/ 251 h 276"/>
                    <a:gd name="T46" fmla="*/ 3 w 237"/>
                    <a:gd name="T47" fmla="*/ 234 h 276"/>
                    <a:gd name="T48" fmla="*/ 19 w 237"/>
                    <a:gd name="T49" fmla="*/ 234 h 276"/>
                    <a:gd name="T50" fmla="*/ 23 w 237"/>
                    <a:gd name="T51" fmla="*/ 221 h 276"/>
                    <a:gd name="T52" fmla="*/ 19 w 237"/>
                    <a:gd name="T53" fmla="*/ 212 h 276"/>
                    <a:gd name="T54" fmla="*/ 14 w 237"/>
                    <a:gd name="T55" fmla="*/ 197 h 276"/>
                    <a:gd name="T56" fmla="*/ 23 w 237"/>
                    <a:gd name="T57" fmla="*/ 192 h 276"/>
                    <a:gd name="T58" fmla="*/ 41 w 237"/>
                    <a:gd name="T59" fmla="*/ 183 h 276"/>
                    <a:gd name="T60" fmla="*/ 48 w 237"/>
                    <a:gd name="T61" fmla="*/ 176 h 276"/>
                    <a:gd name="T62" fmla="*/ 55 w 237"/>
                    <a:gd name="T63" fmla="*/ 186 h 276"/>
                    <a:gd name="T64" fmla="*/ 64 w 237"/>
                    <a:gd name="T65" fmla="*/ 192 h 276"/>
                    <a:gd name="T66" fmla="*/ 81 w 237"/>
                    <a:gd name="T67" fmla="*/ 186 h 276"/>
                    <a:gd name="T68" fmla="*/ 86 w 237"/>
                    <a:gd name="T69" fmla="*/ 195 h 276"/>
                    <a:gd name="T70" fmla="*/ 96 w 237"/>
                    <a:gd name="T71" fmla="*/ 192 h 276"/>
                    <a:gd name="T72" fmla="*/ 99 w 237"/>
                    <a:gd name="T73" fmla="*/ 179 h 276"/>
                    <a:gd name="T74" fmla="*/ 104 w 237"/>
                    <a:gd name="T75" fmla="*/ 167 h 276"/>
                    <a:gd name="T76" fmla="*/ 104 w 237"/>
                    <a:gd name="T77" fmla="*/ 155 h 276"/>
                    <a:gd name="T78" fmla="*/ 105 w 237"/>
                    <a:gd name="T79" fmla="*/ 137 h 276"/>
                    <a:gd name="T80" fmla="*/ 95 w 237"/>
                    <a:gd name="T81" fmla="*/ 129 h 276"/>
                    <a:gd name="T82" fmla="*/ 85 w 237"/>
                    <a:gd name="T83" fmla="*/ 122 h 276"/>
                    <a:gd name="T84" fmla="*/ 89 w 237"/>
                    <a:gd name="T85" fmla="*/ 106 h 276"/>
                    <a:gd name="T86" fmla="*/ 103 w 237"/>
                    <a:gd name="T87" fmla="*/ 93 h 276"/>
                    <a:gd name="T88" fmla="*/ 99 w 237"/>
                    <a:gd name="T89" fmla="*/ 81 h 276"/>
                    <a:gd name="T90" fmla="*/ 82 w 237"/>
                    <a:gd name="T91" fmla="*/ 72 h 276"/>
                    <a:gd name="T92" fmla="*/ 71 w 237"/>
                    <a:gd name="T93" fmla="*/ 77 h 276"/>
                    <a:gd name="T94" fmla="*/ 66 w 237"/>
                    <a:gd name="T95" fmla="*/ 74 h 276"/>
                    <a:gd name="T96" fmla="*/ 64 w 237"/>
                    <a:gd name="T97" fmla="*/ 62 h 276"/>
                    <a:gd name="T98" fmla="*/ 67 w 237"/>
                    <a:gd name="T99" fmla="*/ 49 h 276"/>
                    <a:gd name="T100" fmla="*/ 107 w 237"/>
                    <a:gd name="T101" fmla="*/ 49 h 276"/>
                    <a:gd name="T102" fmla="*/ 114 w 237"/>
                    <a:gd name="T103" fmla="*/ 52 h 276"/>
                    <a:gd name="T104" fmla="*/ 125 w 237"/>
                    <a:gd name="T105" fmla="*/ 53 h 276"/>
                    <a:gd name="T106" fmla="*/ 138 w 237"/>
                    <a:gd name="T107" fmla="*/ 55 h 276"/>
                    <a:gd name="T108" fmla="*/ 153 w 237"/>
                    <a:gd name="T109" fmla="*/ 62 h 276"/>
                    <a:gd name="T110" fmla="*/ 156 w 237"/>
                    <a:gd name="T111" fmla="*/ 51 h 276"/>
                    <a:gd name="T112" fmla="*/ 166 w 237"/>
                    <a:gd name="T113" fmla="*/ 31 h 276"/>
                    <a:gd name="T114" fmla="*/ 169 w 237"/>
                    <a:gd name="T115" fmla="*/ 14 h 276"/>
                    <a:gd name="T116" fmla="*/ 183 w 237"/>
                    <a:gd name="T117" fmla="*/ 4 h 276"/>
                    <a:gd name="T118" fmla="*/ 195 w 237"/>
                    <a:gd name="T119" fmla="*/ 2 h 276"/>
                    <a:gd name="T120" fmla="*/ 209 w 237"/>
                    <a:gd name="T121" fmla="*/ 3 h 276"/>
                    <a:gd name="T122" fmla="*/ 220 w 237"/>
                    <a:gd name="T123" fmla="*/ 4 h 276"/>
                    <a:gd name="T124" fmla="*/ 230 w 237"/>
                    <a:gd name="T125" fmla="*/ 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7" h="276">
                      <a:moveTo>
                        <a:pt x="236" y="7"/>
                      </a:moveTo>
                      <a:lnTo>
                        <a:pt x="236" y="8"/>
                      </a:lnTo>
                      <a:lnTo>
                        <a:pt x="237" y="11"/>
                      </a:lnTo>
                      <a:lnTo>
                        <a:pt x="236" y="16"/>
                      </a:lnTo>
                      <a:lnTo>
                        <a:pt x="236" y="17"/>
                      </a:lnTo>
                      <a:lnTo>
                        <a:pt x="236" y="18"/>
                      </a:lnTo>
                      <a:lnTo>
                        <a:pt x="235" y="18"/>
                      </a:lnTo>
                      <a:lnTo>
                        <a:pt x="233" y="20"/>
                      </a:lnTo>
                      <a:lnTo>
                        <a:pt x="232" y="20"/>
                      </a:lnTo>
                      <a:lnTo>
                        <a:pt x="232" y="23"/>
                      </a:lnTo>
                      <a:lnTo>
                        <a:pt x="231" y="24"/>
                      </a:lnTo>
                      <a:lnTo>
                        <a:pt x="231" y="25"/>
                      </a:lnTo>
                      <a:lnTo>
                        <a:pt x="230" y="27"/>
                      </a:lnTo>
                      <a:lnTo>
                        <a:pt x="230" y="28"/>
                      </a:lnTo>
                      <a:lnTo>
                        <a:pt x="230" y="29"/>
                      </a:lnTo>
                      <a:lnTo>
                        <a:pt x="229" y="31"/>
                      </a:lnTo>
                      <a:lnTo>
                        <a:pt x="227" y="35"/>
                      </a:lnTo>
                      <a:lnTo>
                        <a:pt x="227" y="36"/>
                      </a:lnTo>
                      <a:lnTo>
                        <a:pt x="225" y="36"/>
                      </a:lnTo>
                      <a:lnTo>
                        <a:pt x="224" y="37"/>
                      </a:lnTo>
                      <a:lnTo>
                        <a:pt x="223" y="38"/>
                      </a:lnTo>
                      <a:lnTo>
                        <a:pt x="223" y="41"/>
                      </a:lnTo>
                      <a:lnTo>
                        <a:pt x="223" y="42"/>
                      </a:lnTo>
                      <a:lnTo>
                        <a:pt x="222" y="42"/>
                      </a:lnTo>
                      <a:lnTo>
                        <a:pt x="222" y="43"/>
                      </a:lnTo>
                      <a:lnTo>
                        <a:pt x="222" y="44"/>
                      </a:lnTo>
                      <a:lnTo>
                        <a:pt x="221" y="44"/>
                      </a:lnTo>
                      <a:lnTo>
                        <a:pt x="220" y="45"/>
                      </a:lnTo>
                      <a:lnTo>
                        <a:pt x="218" y="49"/>
                      </a:lnTo>
                      <a:lnTo>
                        <a:pt x="218" y="50"/>
                      </a:lnTo>
                      <a:lnTo>
                        <a:pt x="218" y="51"/>
                      </a:lnTo>
                      <a:lnTo>
                        <a:pt x="218" y="55"/>
                      </a:lnTo>
                      <a:lnTo>
                        <a:pt x="218" y="56"/>
                      </a:lnTo>
                      <a:lnTo>
                        <a:pt x="218" y="57"/>
                      </a:lnTo>
                      <a:lnTo>
                        <a:pt x="218" y="58"/>
                      </a:lnTo>
                      <a:lnTo>
                        <a:pt x="218" y="67"/>
                      </a:lnTo>
                      <a:lnTo>
                        <a:pt x="217" y="72"/>
                      </a:lnTo>
                      <a:lnTo>
                        <a:pt x="216" y="72"/>
                      </a:lnTo>
                      <a:lnTo>
                        <a:pt x="216" y="73"/>
                      </a:lnTo>
                      <a:lnTo>
                        <a:pt x="215" y="77"/>
                      </a:lnTo>
                      <a:lnTo>
                        <a:pt x="215" y="79"/>
                      </a:lnTo>
                      <a:lnTo>
                        <a:pt x="215" y="80"/>
                      </a:lnTo>
                      <a:lnTo>
                        <a:pt x="214" y="83"/>
                      </a:lnTo>
                      <a:lnTo>
                        <a:pt x="213" y="83"/>
                      </a:lnTo>
                      <a:lnTo>
                        <a:pt x="213" y="84"/>
                      </a:lnTo>
                      <a:lnTo>
                        <a:pt x="213" y="85"/>
                      </a:lnTo>
                      <a:lnTo>
                        <a:pt x="213" y="87"/>
                      </a:lnTo>
                      <a:lnTo>
                        <a:pt x="213" y="90"/>
                      </a:lnTo>
                      <a:lnTo>
                        <a:pt x="214" y="93"/>
                      </a:lnTo>
                      <a:lnTo>
                        <a:pt x="214" y="94"/>
                      </a:lnTo>
                      <a:lnTo>
                        <a:pt x="213" y="97"/>
                      </a:lnTo>
                      <a:lnTo>
                        <a:pt x="213" y="98"/>
                      </a:lnTo>
                      <a:lnTo>
                        <a:pt x="214" y="99"/>
                      </a:lnTo>
                      <a:lnTo>
                        <a:pt x="214" y="100"/>
                      </a:lnTo>
                      <a:lnTo>
                        <a:pt x="215" y="100"/>
                      </a:lnTo>
                      <a:lnTo>
                        <a:pt x="215" y="101"/>
                      </a:lnTo>
                      <a:lnTo>
                        <a:pt x="215" y="102"/>
                      </a:lnTo>
                      <a:lnTo>
                        <a:pt x="215" y="105"/>
                      </a:lnTo>
                      <a:lnTo>
                        <a:pt x="215" y="106"/>
                      </a:lnTo>
                      <a:lnTo>
                        <a:pt x="211" y="109"/>
                      </a:lnTo>
                      <a:lnTo>
                        <a:pt x="209" y="116"/>
                      </a:lnTo>
                      <a:lnTo>
                        <a:pt x="209" y="118"/>
                      </a:lnTo>
                      <a:lnTo>
                        <a:pt x="208" y="123"/>
                      </a:lnTo>
                      <a:lnTo>
                        <a:pt x="208" y="125"/>
                      </a:lnTo>
                      <a:lnTo>
                        <a:pt x="208" y="128"/>
                      </a:lnTo>
                      <a:lnTo>
                        <a:pt x="209" y="134"/>
                      </a:lnTo>
                      <a:lnTo>
                        <a:pt x="208" y="134"/>
                      </a:lnTo>
                      <a:lnTo>
                        <a:pt x="206" y="136"/>
                      </a:lnTo>
                      <a:lnTo>
                        <a:pt x="206" y="137"/>
                      </a:lnTo>
                      <a:lnTo>
                        <a:pt x="204" y="139"/>
                      </a:lnTo>
                      <a:lnTo>
                        <a:pt x="202" y="141"/>
                      </a:lnTo>
                      <a:lnTo>
                        <a:pt x="197" y="146"/>
                      </a:lnTo>
                      <a:lnTo>
                        <a:pt x="197" y="147"/>
                      </a:lnTo>
                      <a:lnTo>
                        <a:pt x="196" y="148"/>
                      </a:lnTo>
                      <a:lnTo>
                        <a:pt x="195" y="148"/>
                      </a:lnTo>
                      <a:lnTo>
                        <a:pt x="195" y="149"/>
                      </a:lnTo>
                      <a:lnTo>
                        <a:pt x="194" y="149"/>
                      </a:lnTo>
                      <a:lnTo>
                        <a:pt x="193" y="149"/>
                      </a:lnTo>
                      <a:lnTo>
                        <a:pt x="192" y="150"/>
                      </a:lnTo>
                      <a:lnTo>
                        <a:pt x="190" y="150"/>
                      </a:lnTo>
                      <a:lnTo>
                        <a:pt x="188" y="151"/>
                      </a:lnTo>
                      <a:lnTo>
                        <a:pt x="187" y="151"/>
                      </a:lnTo>
                      <a:lnTo>
                        <a:pt x="186" y="151"/>
                      </a:lnTo>
                      <a:lnTo>
                        <a:pt x="185" y="151"/>
                      </a:lnTo>
                      <a:lnTo>
                        <a:pt x="185" y="153"/>
                      </a:lnTo>
                      <a:lnTo>
                        <a:pt x="183" y="154"/>
                      </a:lnTo>
                      <a:lnTo>
                        <a:pt x="182" y="155"/>
                      </a:lnTo>
                      <a:lnTo>
                        <a:pt x="181" y="156"/>
                      </a:lnTo>
                      <a:lnTo>
                        <a:pt x="180" y="157"/>
                      </a:lnTo>
                      <a:lnTo>
                        <a:pt x="179" y="158"/>
                      </a:lnTo>
                      <a:lnTo>
                        <a:pt x="179" y="160"/>
                      </a:lnTo>
                      <a:lnTo>
                        <a:pt x="178" y="161"/>
                      </a:lnTo>
                      <a:lnTo>
                        <a:pt x="176" y="163"/>
                      </a:lnTo>
                      <a:lnTo>
                        <a:pt x="175" y="165"/>
                      </a:lnTo>
                      <a:lnTo>
                        <a:pt x="174" y="167"/>
                      </a:lnTo>
                      <a:lnTo>
                        <a:pt x="173" y="168"/>
                      </a:lnTo>
                      <a:lnTo>
                        <a:pt x="173" y="169"/>
                      </a:lnTo>
                      <a:lnTo>
                        <a:pt x="173" y="170"/>
                      </a:lnTo>
                      <a:lnTo>
                        <a:pt x="173" y="171"/>
                      </a:lnTo>
                      <a:lnTo>
                        <a:pt x="173" y="172"/>
                      </a:lnTo>
                      <a:lnTo>
                        <a:pt x="169" y="176"/>
                      </a:lnTo>
                      <a:lnTo>
                        <a:pt x="169" y="177"/>
                      </a:lnTo>
                      <a:lnTo>
                        <a:pt x="168" y="177"/>
                      </a:lnTo>
                      <a:lnTo>
                        <a:pt x="167" y="178"/>
                      </a:lnTo>
                      <a:lnTo>
                        <a:pt x="166" y="181"/>
                      </a:lnTo>
                      <a:lnTo>
                        <a:pt x="164" y="182"/>
                      </a:lnTo>
                      <a:lnTo>
                        <a:pt x="163" y="183"/>
                      </a:lnTo>
                      <a:lnTo>
                        <a:pt x="161" y="183"/>
                      </a:lnTo>
                      <a:lnTo>
                        <a:pt x="160" y="184"/>
                      </a:lnTo>
                      <a:lnTo>
                        <a:pt x="160" y="185"/>
                      </a:lnTo>
                      <a:lnTo>
                        <a:pt x="159" y="186"/>
                      </a:lnTo>
                      <a:lnTo>
                        <a:pt x="159" y="188"/>
                      </a:lnTo>
                      <a:lnTo>
                        <a:pt x="159" y="189"/>
                      </a:lnTo>
                      <a:lnTo>
                        <a:pt x="159" y="190"/>
                      </a:lnTo>
                      <a:lnTo>
                        <a:pt x="159" y="191"/>
                      </a:lnTo>
                      <a:lnTo>
                        <a:pt x="159" y="192"/>
                      </a:lnTo>
                      <a:lnTo>
                        <a:pt x="160" y="200"/>
                      </a:lnTo>
                      <a:lnTo>
                        <a:pt x="160" y="205"/>
                      </a:lnTo>
                      <a:lnTo>
                        <a:pt x="159" y="207"/>
                      </a:lnTo>
                      <a:lnTo>
                        <a:pt x="159" y="210"/>
                      </a:lnTo>
                      <a:lnTo>
                        <a:pt x="159" y="211"/>
                      </a:lnTo>
                      <a:lnTo>
                        <a:pt x="159" y="212"/>
                      </a:lnTo>
                      <a:lnTo>
                        <a:pt x="159" y="214"/>
                      </a:lnTo>
                      <a:lnTo>
                        <a:pt x="159" y="216"/>
                      </a:lnTo>
                      <a:lnTo>
                        <a:pt x="159" y="217"/>
                      </a:lnTo>
                      <a:lnTo>
                        <a:pt x="160" y="217"/>
                      </a:lnTo>
                      <a:lnTo>
                        <a:pt x="160" y="218"/>
                      </a:lnTo>
                      <a:lnTo>
                        <a:pt x="160" y="219"/>
                      </a:lnTo>
                      <a:lnTo>
                        <a:pt x="160" y="220"/>
                      </a:lnTo>
                      <a:lnTo>
                        <a:pt x="161" y="220"/>
                      </a:lnTo>
                      <a:lnTo>
                        <a:pt x="160" y="221"/>
                      </a:lnTo>
                      <a:lnTo>
                        <a:pt x="160" y="223"/>
                      </a:lnTo>
                      <a:lnTo>
                        <a:pt x="159" y="226"/>
                      </a:lnTo>
                      <a:lnTo>
                        <a:pt x="158" y="227"/>
                      </a:lnTo>
                      <a:lnTo>
                        <a:pt x="157" y="228"/>
                      </a:lnTo>
                      <a:lnTo>
                        <a:pt x="156" y="231"/>
                      </a:lnTo>
                      <a:lnTo>
                        <a:pt x="154" y="234"/>
                      </a:lnTo>
                      <a:lnTo>
                        <a:pt x="153" y="235"/>
                      </a:lnTo>
                      <a:lnTo>
                        <a:pt x="153" y="237"/>
                      </a:lnTo>
                      <a:lnTo>
                        <a:pt x="152" y="238"/>
                      </a:lnTo>
                      <a:lnTo>
                        <a:pt x="152" y="239"/>
                      </a:lnTo>
                      <a:lnTo>
                        <a:pt x="151" y="240"/>
                      </a:lnTo>
                      <a:lnTo>
                        <a:pt x="150" y="241"/>
                      </a:lnTo>
                      <a:lnTo>
                        <a:pt x="149" y="242"/>
                      </a:lnTo>
                      <a:lnTo>
                        <a:pt x="147" y="242"/>
                      </a:lnTo>
                      <a:lnTo>
                        <a:pt x="146" y="242"/>
                      </a:lnTo>
                      <a:lnTo>
                        <a:pt x="145" y="242"/>
                      </a:lnTo>
                      <a:lnTo>
                        <a:pt x="140" y="245"/>
                      </a:lnTo>
                      <a:lnTo>
                        <a:pt x="139" y="245"/>
                      </a:lnTo>
                      <a:lnTo>
                        <a:pt x="138" y="246"/>
                      </a:lnTo>
                      <a:lnTo>
                        <a:pt x="138" y="248"/>
                      </a:lnTo>
                      <a:lnTo>
                        <a:pt x="137" y="249"/>
                      </a:lnTo>
                      <a:lnTo>
                        <a:pt x="137" y="251"/>
                      </a:lnTo>
                      <a:lnTo>
                        <a:pt x="136" y="251"/>
                      </a:lnTo>
                      <a:lnTo>
                        <a:pt x="135" y="251"/>
                      </a:lnTo>
                      <a:lnTo>
                        <a:pt x="131" y="253"/>
                      </a:lnTo>
                      <a:lnTo>
                        <a:pt x="130" y="253"/>
                      </a:lnTo>
                      <a:lnTo>
                        <a:pt x="129" y="254"/>
                      </a:lnTo>
                      <a:lnTo>
                        <a:pt x="128" y="255"/>
                      </a:lnTo>
                      <a:lnTo>
                        <a:pt x="126" y="256"/>
                      </a:lnTo>
                      <a:lnTo>
                        <a:pt x="125" y="259"/>
                      </a:lnTo>
                      <a:lnTo>
                        <a:pt x="124" y="260"/>
                      </a:lnTo>
                      <a:lnTo>
                        <a:pt x="123" y="261"/>
                      </a:lnTo>
                      <a:lnTo>
                        <a:pt x="119" y="263"/>
                      </a:lnTo>
                      <a:lnTo>
                        <a:pt x="117" y="268"/>
                      </a:lnTo>
                      <a:lnTo>
                        <a:pt x="117" y="269"/>
                      </a:lnTo>
                      <a:lnTo>
                        <a:pt x="116" y="269"/>
                      </a:lnTo>
                      <a:lnTo>
                        <a:pt x="115" y="270"/>
                      </a:lnTo>
                      <a:lnTo>
                        <a:pt x="112" y="272"/>
                      </a:lnTo>
                      <a:lnTo>
                        <a:pt x="111" y="272"/>
                      </a:lnTo>
                      <a:lnTo>
                        <a:pt x="110" y="272"/>
                      </a:lnTo>
                      <a:lnTo>
                        <a:pt x="109" y="272"/>
                      </a:lnTo>
                      <a:lnTo>
                        <a:pt x="109" y="270"/>
                      </a:lnTo>
                      <a:lnTo>
                        <a:pt x="108" y="270"/>
                      </a:lnTo>
                      <a:lnTo>
                        <a:pt x="107" y="270"/>
                      </a:lnTo>
                      <a:lnTo>
                        <a:pt x="105" y="270"/>
                      </a:lnTo>
                      <a:lnTo>
                        <a:pt x="104" y="272"/>
                      </a:lnTo>
                      <a:lnTo>
                        <a:pt x="103" y="272"/>
                      </a:lnTo>
                      <a:lnTo>
                        <a:pt x="103" y="270"/>
                      </a:lnTo>
                      <a:lnTo>
                        <a:pt x="103" y="268"/>
                      </a:lnTo>
                      <a:lnTo>
                        <a:pt x="103" y="267"/>
                      </a:lnTo>
                      <a:lnTo>
                        <a:pt x="103" y="266"/>
                      </a:lnTo>
                      <a:lnTo>
                        <a:pt x="103" y="265"/>
                      </a:lnTo>
                      <a:lnTo>
                        <a:pt x="103" y="263"/>
                      </a:lnTo>
                      <a:lnTo>
                        <a:pt x="102" y="263"/>
                      </a:lnTo>
                      <a:lnTo>
                        <a:pt x="102" y="262"/>
                      </a:lnTo>
                      <a:lnTo>
                        <a:pt x="102" y="261"/>
                      </a:lnTo>
                      <a:lnTo>
                        <a:pt x="102" y="260"/>
                      </a:lnTo>
                      <a:lnTo>
                        <a:pt x="103" y="260"/>
                      </a:lnTo>
                      <a:lnTo>
                        <a:pt x="104" y="259"/>
                      </a:lnTo>
                      <a:lnTo>
                        <a:pt x="105" y="258"/>
                      </a:lnTo>
                      <a:lnTo>
                        <a:pt x="105" y="256"/>
                      </a:lnTo>
                      <a:lnTo>
                        <a:pt x="104" y="256"/>
                      </a:lnTo>
                      <a:lnTo>
                        <a:pt x="103" y="255"/>
                      </a:lnTo>
                      <a:lnTo>
                        <a:pt x="103" y="254"/>
                      </a:lnTo>
                      <a:lnTo>
                        <a:pt x="103" y="253"/>
                      </a:lnTo>
                      <a:lnTo>
                        <a:pt x="103" y="252"/>
                      </a:lnTo>
                      <a:lnTo>
                        <a:pt x="102" y="252"/>
                      </a:lnTo>
                      <a:lnTo>
                        <a:pt x="101" y="253"/>
                      </a:lnTo>
                      <a:lnTo>
                        <a:pt x="100" y="253"/>
                      </a:lnTo>
                      <a:lnTo>
                        <a:pt x="99" y="254"/>
                      </a:lnTo>
                      <a:lnTo>
                        <a:pt x="97" y="255"/>
                      </a:lnTo>
                      <a:lnTo>
                        <a:pt x="96" y="255"/>
                      </a:lnTo>
                      <a:lnTo>
                        <a:pt x="95" y="255"/>
                      </a:lnTo>
                      <a:lnTo>
                        <a:pt x="93" y="256"/>
                      </a:lnTo>
                      <a:lnTo>
                        <a:pt x="92" y="256"/>
                      </a:lnTo>
                      <a:lnTo>
                        <a:pt x="90" y="258"/>
                      </a:lnTo>
                      <a:lnTo>
                        <a:pt x="89" y="259"/>
                      </a:lnTo>
                      <a:lnTo>
                        <a:pt x="88" y="259"/>
                      </a:lnTo>
                      <a:lnTo>
                        <a:pt x="87" y="259"/>
                      </a:lnTo>
                      <a:lnTo>
                        <a:pt x="86" y="259"/>
                      </a:lnTo>
                      <a:lnTo>
                        <a:pt x="86" y="258"/>
                      </a:lnTo>
                      <a:lnTo>
                        <a:pt x="85" y="256"/>
                      </a:lnTo>
                      <a:lnTo>
                        <a:pt x="83" y="256"/>
                      </a:lnTo>
                      <a:lnTo>
                        <a:pt x="82" y="258"/>
                      </a:lnTo>
                      <a:lnTo>
                        <a:pt x="81" y="258"/>
                      </a:lnTo>
                      <a:lnTo>
                        <a:pt x="81" y="259"/>
                      </a:lnTo>
                      <a:lnTo>
                        <a:pt x="82" y="261"/>
                      </a:lnTo>
                      <a:lnTo>
                        <a:pt x="82" y="262"/>
                      </a:lnTo>
                      <a:lnTo>
                        <a:pt x="81" y="263"/>
                      </a:lnTo>
                      <a:lnTo>
                        <a:pt x="81" y="266"/>
                      </a:lnTo>
                      <a:lnTo>
                        <a:pt x="80" y="266"/>
                      </a:lnTo>
                      <a:lnTo>
                        <a:pt x="81" y="267"/>
                      </a:lnTo>
                      <a:lnTo>
                        <a:pt x="80" y="267"/>
                      </a:lnTo>
                      <a:lnTo>
                        <a:pt x="79" y="267"/>
                      </a:lnTo>
                      <a:lnTo>
                        <a:pt x="78" y="268"/>
                      </a:lnTo>
                      <a:lnTo>
                        <a:pt x="76" y="268"/>
                      </a:lnTo>
                      <a:lnTo>
                        <a:pt x="75" y="267"/>
                      </a:lnTo>
                      <a:lnTo>
                        <a:pt x="74" y="268"/>
                      </a:lnTo>
                      <a:lnTo>
                        <a:pt x="75" y="268"/>
                      </a:lnTo>
                      <a:lnTo>
                        <a:pt x="74" y="269"/>
                      </a:lnTo>
                      <a:lnTo>
                        <a:pt x="73" y="270"/>
                      </a:lnTo>
                      <a:lnTo>
                        <a:pt x="72" y="272"/>
                      </a:lnTo>
                      <a:lnTo>
                        <a:pt x="71" y="270"/>
                      </a:lnTo>
                      <a:lnTo>
                        <a:pt x="71" y="269"/>
                      </a:lnTo>
                      <a:lnTo>
                        <a:pt x="71" y="268"/>
                      </a:lnTo>
                      <a:lnTo>
                        <a:pt x="69" y="268"/>
                      </a:lnTo>
                      <a:lnTo>
                        <a:pt x="67" y="267"/>
                      </a:lnTo>
                      <a:lnTo>
                        <a:pt x="66" y="266"/>
                      </a:lnTo>
                      <a:lnTo>
                        <a:pt x="65" y="266"/>
                      </a:lnTo>
                      <a:lnTo>
                        <a:pt x="65" y="265"/>
                      </a:lnTo>
                      <a:lnTo>
                        <a:pt x="64" y="263"/>
                      </a:lnTo>
                      <a:lnTo>
                        <a:pt x="64" y="262"/>
                      </a:lnTo>
                      <a:lnTo>
                        <a:pt x="62" y="262"/>
                      </a:lnTo>
                      <a:lnTo>
                        <a:pt x="61" y="262"/>
                      </a:lnTo>
                      <a:lnTo>
                        <a:pt x="61" y="263"/>
                      </a:lnTo>
                      <a:lnTo>
                        <a:pt x="60" y="263"/>
                      </a:lnTo>
                      <a:lnTo>
                        <a:pt x="58" y="261"/>
                      </a:lnTo>
                      <a:lnTo>
                        <a:pt x="57" y="260"/>
                      </a:lnTo>
                      <a:lnTo>
                        <a:pt x="55" y="259"/>
                      </a:lnTo>
                      <a:lnTo>
                        <a:pt x="55" y="258"/>
                      </a:lnTo>
                      <a:lnTo>
                        <a:pt x="54" y="256"/>
                      </a:lnTo>
                      <a:lnTo>
                        <a:pt x="53" y="256"/>
                      </a:lnTo>
                      <a:lnTo>
                        <a:pt x="52" y="256"/>
                      </a:lnTo>
                      <a:lnTo>
                        <a:pt x="51" y="256"/>
                      </a:lnTo>
                      <a:lnTo>
                        <a:pt x="51" y="258"/>
                      </a:lnTo>
                      <a:lnTo>
                        <a:pt x="50" y="258"/>
                      </a:lnTo>
                      <a:lnTo>
                        <a:pt x="50" y="259"/>
                      </a:lnTo>
                      <a:lnTo>
                        <a:pt x="48" y="259"/>
                      </a:lnTo>
                      <a:lnTo>
                        <a:pt x="48" y="260"/>
                      </a:lnTo>
                      <a:lnTo>
                        <a:pt x="47" y="261"/>
                      </a:lnTo>
                      <a:lnTo>
                        <a:pt x="46" y="261"/>
                      </a:lnTo>
                      <a:lnTo>
                        <a:pt x="43" y="262"/>
                      </a:lnTo>
                      <a:lnTo>
                        <a:pt x="41" y="263"/>
                      </a:lnTo>
                      <a:lnTo>
                        <a:pt x="40" y="263"/>
                      </a:lnTo>
                      <a:lnTo>
                        <a:pt x="39" y="263"/>
                      </a:lnTo>
                      <a:lnTo>
                        <a:pt x="39" y="265"/>
                      </a:lnTo>
                      <a:lnTo>
                        <a:pt x="39" y="266"/>
                      </a:lnTo>
                      <a:lnTo>
                        <a:pt x="38" y="268"/>
                      </a:lnTo>
                      <a:lnTo>
                        <a:pt x="37" y="268"/>
                      </a:lnTo>
                      <a:lnTo>
                        <a:pt x="36" y="268"/>
                      </a:lnTo>
                      <a:lnTo>
                        <a:pt x="36" y="269"/>
                      </a:lnTo>
                      <a:lnTo>
                        <a:pt x="35" y="269"/>
                      </a:lnTo>
                      <a:lnTo>
                        <a:pt x="35" y="268"/>
                      </a:lnTo>
                      <a:lnTo>
                        <a:pt x="33" y="268"/>
                      </a:lnTo>
                      <a:lnTo>
                        <a:pt x="32" y="272"/>
                      </a:lnTo>
                      <a:lnTo>
                        <a:pt x="31" y="273"/>
                      </a:lnTo>
                      <a:lnTo>
                        <a:pt x="28" y="276"/>
                      </a:lnTo>
                      <a:lnTo>
                        <a:pt x="28" y="275"/>
                      </a:lnTo>
                      <a:lnTo>
                        <a:pt x="26" y="275"/>
                      </a:lnTo>
                      <a:lnTo>
                        <a:pt x="26" y="274"/>
                      </a:lnTo>
                      <a:lnTo>
                        <a:pt x="25" y="273"/>
                      </a:lnTo>
                      <a:lnTo>
                        <a:pt x="24" y="272"/>
                      </a:lnTo>
                      <a:lnTo>
                        <a:pt x="24" y="270"/>
                      </a:lnTo>
                      <a:lnTo>
                        <a:pt x="22" y="269"/>
                      </a:lnTo>
                      <a:lnTo>
                        <a:pt x="22" y="268"/>
                      </a:lnTo>
                      <a:lnTo>
                        <a:pt x="23" y="269"/>
                      </a:lnTo>
                      <a:lnTo>
                        <a:pt x="23" y="268"/>
                      </a:lnTo>
                      <a:lnTo>
                        <a:pt x="22" y="267"/>
                      </a:lnTo>
                      <a:lnTo>
                        <a:pt x="21" y="266"/>
                      </a:lnTo>
                      <a:lnTo>
                        <a:pt x="21" y="265"/>
                      </a:lnTo>
                      <a:lnTo>
                        <a:pt x="22" y="265"/>
                      </a:lnTo>
                      <a:lnTo>
                        <a:pt x="22" y="263"/>
                      </a:lnTo>
                      <a:lnTo>
                        <a:pt x="22" y="262"/>
                      </a:lnTo>
                      <a:lnTo>
                        <a:pt x="18" y="259"/>
                      </a:lnTo>
                      <a:lnTo>
                        <a:pt x="15" y="255"/>
                      </a:lnTo>
                      <a:lnTo>
                        <a:pt x="11" y="253"/>
                      </a:lnTo>
                      <a:lnTo>
                        <a:pt x="10" y="252"/>
                      </a:lnTo>
                      <a:lnTo>
                        <a:pt x="9" y="251"/>
                      </a:lnTo>
                      <a:lnTo>
                        <a:pt x="8" y="251"/>
                      </a:lnTo>
                      <a:lnTo>
                        <a:pt x="8" y="249"/>
                      </a:lnTo>
                      <a:lnTo>
                        <a:pt x="7" y="248"/>
                      </a:lnTo>
                      <a:lnTo>
                        <a:pt x="8" y="248"/>
                      </a:lnTo>
                      <a:lnTo>
                        <a:pt x="7" y="248"/>
                      </a:lnTo>
                      <a:lnTo>
                        <a:pt x="7" y="247"/>
                      </a:lnTo>
                      <a:lnTo>
                        <a:pt x="4" y="245"/>
                      </a:lnTo>
                      <a:lnTo>
                        <a:pt x="1" y="244"/>
                      </a:lnTo>
                      <a:lnTo>
                        <a:pt x="0" y="242"/>
                      </a:lnTo>
                      <a:lnTo>
                        <a:pt x="0" y="241"/>
                      </a:lnTo>
                      <a:lnTo>
                        <a:pt x="2" y="235"/>
                      </a:lnTo>
                      <a:lnTo>
                        <a:pt x="2" y="234"/>
                      </a:lnTo>
                      <a:lnTo>
                        <a:pt x="3" y="234"/>
                      </a:lnTo>
                      <a:lnTo>
                        <a:pt x="4" y="233"/>
                      </a:lnTo>
                      <a:lnTo>
                        <a:pt x="5" y="232"/>
                      </a:lnTo>
                      <a:lnTo>
                        <a:pt x="7" y="232"/>
                      </a:lnTo>
                      <a:lnTo>
                        <a:pt x="8" y="232"/>
                      </a:lnTo>
                      <a:lnTo>
                        <a:pt x="9" y="231"/>
                      </a:lnTo>
                      <a:lnTo>
                        <a:pt x="9" y="230"/>
                      </a:lnTo>
                      <a:lnTo>
                        <a:pt x="10" y="230"/>
                      </a:lnTo>
                      <a:lnTo>
                        <a:pt x="11" y="228"/>
                      </a:lnTo>
                      <a:lnTo>
                        <a:pt x="12" y="228"/>
                      </a:lnTo>
                      <a:lnTo>
                        <a:pt x="14" y="230"/>
                      </a:lnTo>
                      <a:lnTo>
                        <a:pt x="16" y="233"/>
                      </a:lnTo>
                      <a:lnTo>
                        <a:pt x="17" y="234"/>
                      </a:lnTo>
                      <a:lnTo>
                        <a:pt x="19" y="234"/>
                      </a:lnTo>
                      <a:lnTo>
                        <a:pt x="22" y="234"/>
                      </a:lnTo>
                      <a:lnTo>
                        <a:pt x="23" y="234"/>
                      </a:lnTo>
                      <a:lnTo>
                        <a:pt x="24" y="233"/>
                      </a:lnTo>
                      <a:lnTo>
                        <a:pt x="24" y="232"/>
                      </a:lnTo>
                      <a:lnTo>
                        <a:pt x="23" y="232"/>
                      </a:lnTo>
                      <a:lnTo>
                        <a:pt x="22" y="231"/>
                      </a:lnTo>
                      <a:lnTo>
                        <a:pt x="22" y="230"/>
                      </a:lnTo>
                      <a:lnTo>
                        <a:pt x="24" y="225"/>
                      </a:lnTo>
                      <a:lnTo>
                        <a:pt x="25" y="224"/>
                      </a:lnTo>
                      <a:lnTo>
                        <a:pt x="25" y="223"/>
                      </a:lnTo>
                      <a:lnTo>
                        <a:pt x="25" y="221"/>
                      </a:lnTo>
                      <a:lnTo>
                        <a:pt x="24" y="221"/>
                      </a:lnTo>
                      <a:lnTo>
                        <a:pt x="23" y="221"/>
                      </a:lnTo>
                      <a:lnTo>
                        <a:pt x="22" y="220"/>
                      </a:lnTo>
                      <a:lnTo>
                        <a:pt x="21" y="219"/>
                      </a:lnTo>
                      <a:lnTo>
                        <a:pt x="19" y="219"/>
                      </a:lnTo>
                      <a:lnTo>
                        <a:pt x="18" y="218"/>
                      </a:lnTo>
                      <a:lnTo>
                        <a:pt x="17" y="218"/>
                      </a:lnTo>
                      <a:lnTo>
                        <a:pt x="17" y="216"/>
                      </a:lnTo>
                      <a:lnTo>
                        <a:pt x="17" y="214"/>
                      </a:lnTo>
                      <a:lnTo>
                        <a:pt x="18" y="214"/>
                      </a:lnTo>
                      <a:lnTo>
                        <a:pt x="18" y="213"/>
                      </a:lnTo>
                      <a:lnTo>
                        <a:pt x="19" y="213"/>
                      </a:lnTo>
                      <a:lnTo>
                        <a:pt x="21" y="213"/>
                      </a:lnTo>
                      <a:lnTo>
                        <a:pt x="21" y="212"/>
                      </a:lnTo>
                      <a:lnTo>
                        <a:pt x="19" y="212"/>
                      </a:lnTo>
                      <a:lnTo>
                        <a:pt x="17" y="210"/>
                      </a:lnTo>
                      <a:lnTo>
                        <a:pt x="16" y="207"/>
                      </a:lnTo>
                      <a:lnTo>
                        <a:pt x="15" y="207"/>
                      </a:lnTo>
                      <a:lnTo>
                        <a:pt x="14" y="207"/>
                      </a:lnTo>
                      <a:lnTo>
                        <a:pt x="12" y="209"/>
                      </a:lnTo>
                      <a:lnTo>
                        <a:pt x="12" y="207"/>
                      </a:lnTo>
                      <a:lnTo>
                        <a:pt x="12" y="206"/>
                      </a:lnTo>
                      <a:lnTo>
                        <a:pt x="15" y="203"/>
                      </a:lnTo>
                      <a:lnTo>
                        <a:pt x="15" y="202"/>
                      </a:lnTo>
                      <a:lnTo>
                        <a:pt x="15" y="200"/>
                      </a:lnTo>
                      <a:lnTo>
                        <a:pt x="15" y="199"/>
                      </a:lnTo>
                      <a:lnTo>
                        <a:pt x="15" y="198"/>
                      </a:lnTo>
                      <a:lnTo>
                        <a:pt x="14" y="197"/>
                      </a:lnTo>
                      <a:lnTo>
                        <a:pt x="14" y="196"/>
                      </a:lnTo>
                      <a:lnTo>
                        <a:pt x="14" y="195"/>
                      </a:lnTo>
                      <a:lnTo>
                        <a:pt x="14" y="193"/>
                      </a:lnTo>
                      <a:lnTo>
                        <a:pt x="14" y="192"/>
                      </a:lnTo>
                      <a:lnTo>
                        <a:pt x="14" y="191"/>
                      </a:lnTo>
                      <a:lnTo>
                        <a:pt x="15" y="191"/>
                      </a:lnTo>
                      <a:lnTo>
                        <a:pt x="16" y="192"/>
                      </a:lnTo>
                      <a:lnTo>
                        <a:pt x="17" y="192"/>
                      </a:lnTo>
                      <a:lnTo>
                        <a:pt x="18" y="193"/>
                      </a:lnTo>
                      <a:lnTo>
                        <a:pt x="19" y="193"/>
                      </a:lnTo>
                      <a:lnTo>
                        <a:pt x="21" y="192"/>
                      </a:lnTo>
                      <a:lnTo>
                        <a:pt x="22" y="192"/>
                      </a:lnTo>
                      <a:lnTo>
                        <a:pt x="23" y="192"/>
                      </a:lnTo>
                      <a:lnTo>
                        <a:pt x="24" y="192"/>
                      </a:lnTo>
                      <a:lnTo>
                        <a:pt x="25" y="191"/>
                      </a:lnTo>
                      <a:lnTo>
                        <a:pt x="26" y="192"/>
                      </a:lnTo>
                      <a:lnTo>
                        <a:pt x="28" y="193"/>
                      </a:lnTo>
                      <a:lnTo>
                        <a:pt x="29" y="193"/>
                      </a:lnTo>
                      <a:lnTo>
                        <a:pt x="41" y="191"/>
                      </a:lnTo>
                      <a:lnTo>
                        <a:pt x="41" y="190"/>
                      </a:lnTo>
                      <a:lnTo>
                        <a:pt x="41" y="189"/>
                      </a:lnTo>
                      <a:lnTo>
                        <a:pt x="41" y="188"/>
                      </a:lnTo>
                      <a:lnTo>
                        <a:pt x="41" y="186"/>
                      </a:lnTo>
                      <a:lnTo>
                        <a:pt x="41" y="185"/>
                      </a:lnTo>
                      <a:lnTo>
                        <a:pt x="43" y="184"/>
                      </a:lnTo>
                      <a:lnTo>
                        <a:pt x="41" y="183"/>
                      </a:lnTo>
                      <a:lnTo>
                        <a:pt x="40" y="182"/>
                      </a:lnTo>
                      <a:lnTo>
                        <a:pt x="40" y="181"/>
                      </a:lnTo>
                      <a:lnTo>
                        <a:pt x="40" y="177"/>
                      </a:lnTo>
                      <a:lnTo>
                        <a:pt x="41" y="177"/>
                      </a:lnTo>
                      <a:lnTo>
                        <a:pt x="41" y="178"/>
                      </a:lnTo>
                      <a:lnTo>
                        <a:pt x="43" y="178"/>
                      </a:lnTo>
                      <a:lnTo>
                        <a:pt x="43" y="177"/>
                      </a:lnTo>
                      <a:lnTo>
                        <a:pt x="44" y="177"/>
                      </a:lnTo>
                      <a:lnTo>
                        <a:pt x="44" y="176"/>
                      </a:lnTo>
                      <a:lnTo>
                        <a:pt x="45" y="176"/>
                      </a:lnTo>
                      <a:lnTo>
                        <a:pt x="45" y="175"/>
                      </a:lnTo>
                      <a:lnTo>
                        <a:pt x="47" y="175"/>
                      </a:lnTo>
                      <a:lnTo>
                        <a:pt x="48" y="176"/>
                      </a:lnTo>
                      <a:lnTo>
                        <a:pt x="51" y="177"/>
                      </a:lnTo>
                      <a:lnTo>
                        <a:pt x="52" y="178"/>
                      </a:lnTo>
                      <a:lnTo>
                        <a:pt x="53" y="179"/>
                      </a:lnTo>
                      <a:lnTo>
                        <a:pt x="53" y="181"/>
                      </a:lnTo>
                      <a:lnTo>
                        <a:pt x="53" y="182"/>
                      </a:lnTo>
                      <a:lnTo>
                        <a:pt x="54" y="182"/>
                      </a:lnTo>
                      <a:lnTo>
                        <a:pt x="54" y="183"/>
                      </a:lnTo>
                      <a:lnTo>
                        <a:pt x="54" y="184"/>
                      </a:lnTo>
                      <a:lnTo>
                        <a:pt x="55" y="184"/>
                      </a:lnTo>
                      <a:lnTo>
                        <a:pt x="55" y="185"/>
                      </a:lnTo>
                      <a:lnTo>
                        <a:pt x="54" y="185"/>
                      </a:lnTo>
                      <a:lnTo>
                        <a:pt x="55" y="185"/>
                      </a:lnTo>
                      <a:lnTo>
                        <a:pt x="55" y="186"/>
                      </a:lnTo>
                      <a:lnTo>
                        <a:pt x="57" y="186"/>
                      </a:lnTo>
                      <a:lnTo>
                        <a:pt x="58" y="188"/>
                      </a:lnTo>
                      <a:lnTo>
                        <a:pt x="58" y="189"/>
                      </a:lnTo>
                      <a:lnTo>
                        <a:pt x="59" y="189"/>
                      </a:lnTo>
                      <a:lnTo>
                        <a:pt x="59" y="190"/>
                      </a:lnTo>
                      <a:lnTo>
                        <a:pt x="59" y="191"/>
                      </a:lnTo>
                      <a:lnTo>
                        <a:pt x="58" y="191"/>
                      </a:lnTo>
                      <a:lnTo>
                        <a:pt x="58" y="192"/>
                      </a:lnTo>
                      <a:lnTo>
                        <a:pt x="59" y="192"/>
                      </a:lnTo>
                      <a:lnTo>
                        <a:pt x="59" y="191"/>
                      </a:lnTo>
                      <a:lnTo>
                        <a:pt x="60" y="191"/>
                      </a:lnTo>
                      <a:lnTo>
                        <a:pt x="62" y="192"/>
                      </a:lnTo>
                      <a:lnTo>
                        <a:pt x="64" y="192"/>
                      </a:lnTo>
                      <a:lnTo>
                        <a:pt x="65" y="192"/>
                      </a:lnTo>
                      <a:lnTo>
                        <a:pt x="71" y="195"/>
                      </a:lnTo>
                      <a:lnTo>
                        <a:pt x="72" y="193"/>
                      </a:lnTo>
                      <a:lnTo>
                        <a:pt x="72" y="195"/>
                      </a:lnTo>
                      <a:lnTo>
                        <a:pt x="73" y="193"/>
                      </a:lnTo>
                      <a:lnTo>
                        <a:pt x="73" y="195"/>
                      </a:lnTo>
                      <a:lnTo>
                        <a:pt x="74" y="193"/>
                      </a:lnTo>
                      <a:lnTo>
                        <a:pt x="75" y="192"/>
                      </a:lnTo>
                      <a:lnTo>
                        <a:pt x="76" y="191"/>
                      </a:lnTo>
                      <a:lnTo>
                        <a:pt x="78" y="191"/>
                      </a:lnTo>
                      <a:lnTo>
                        <a:pt x="78" y="190"/>
                      </a:lnTo>
                      <a:lnTo>
                        <a:pt x="78" y="189"/>
                      </a:lnTo>
                      <a:lnTo>
                        <a:pt x="81" y="186"/>
                      </a:lnTo>
                      <a:lnTo>
                        <a:pt x="81" y="185"/>
                      </a:lnTo>
                      <a:lnTo>
                        <a:pt x="82" y="184"/>
                      </a:lnTo>
                      <a:lnTo>
                        <a:pt x="83" y="184"/>
                      </a:lnTo>
                      <a:lnTo>
                        <a:pt x="83" y="185"/>
                      </a:lnTo>
                      <a:lnTo>
                        <a:pt x="83" y="186"/>
                      </a:lnTo>
                      <a:lnTo>
                        <a:pt x="85" y="189"/>
                      </a:lnTo>
                      <a:lnTo>
                        <a:pt x="86" y="190"/>
                      </a:lnTo>
                      <a:lnTo>
                        <a:pt x="86" y="191"/>
                      </a:lnTo>
                      <a:lnTo>
                        <a:pt x="87" y="191"/>
                      </a:lnTo>
                      <a:lnTo>
                        <a:pt x="87" y="192"/>
                      </a:lnTo>
                      <a:lnTo>
                        <a:pt x="87" y="193"/>
                      </a:lnTo>
                      <a:lnTo>
                        <a:pt x="86" y="193"/>
                      </a:lnTo>
                      <a:lnTo>
                        <a:pt x="86" y="195"/>
                      </a:lnTo>
                      <a:lnTo>
                        <a:pt x="86" y="196"/>
                      </a:lnTo>
                      <a:lnTo>
                        <a:pt x="87" y="196"/>
                      </a:lnTo>
                      <a:lnTo>
                        <a:pt x="88" y="196"/>
                      </a:lnTo>
                      <a:lnTo>
                        <a:pt x="89" y="196"/>
                      </a:lnTo>
                      <a:lnTo>
                        <a:pt x="90" y="196"/>
                      </a:lnTo>
                      <a:lnTo>
                        <a:pt x="92" y="196"/>
                      </a:lnTo>
                      <a:lnTo>
                        <a:pt x="93" y="196"/>
                      </a:lnTo>
                      <a:lnTo>
                        <a:pt x="94" y="196"/>
                      </a:lnTo>
                      <a:lnTo>
                        <a:pt x="94" y="195"/>
                      </a:lnTo>
                      <a:lnTo>
                        <a:pt x="94" y="193"/>
                      </a:lnTo>
                      <a:lnTo>
                        <a:pt x="95" y="193"/>
                      </a:lnTo>
                      <a:lnTo>
                        <a:pt x="95" y="192"/>
                      </a:lnTo>
                      <a:lnTo>
                        <a:pt x="96" y="192"/>
                      </a:lnTo>
                      <a:lnTo>
                        <a:pt x="97" y="191"/>
                      </a:lnTo>
                      <a:lnTo>
                        <a:pt x="95" y="189"/>
                      </a:lnTo>
                      <a:lnTo>
                        <a:pt x="95" y="188"/>
                      </a:lnTo>
                      <a:lnTo>
                        <a:pt x="96" y="186"/>
                      </a:lnTo>
                      <a:lnTo>
                        <a:pt x="97" y="186"/>
                      </a:lnTo>
                      <a:lnTo>
                        <a:pt x="96" y="185"/>
                      </a:lnTo>
                      <a:lnTo>
                        <a:pt x="97" y="185"/>
                      </a:lnTo>
                      <a:lnTo>
                        <a:pt x="97" y="184"/>
                      </a:lnTo>
                      <a:lnTo>
                        <a:pt x="97" y="183"/>
                      </a:lnTo>
                      <a:lnTo>
                        <a:pt x="99" y="182"/>
                      </a:lnTo>
                      <a:lnTo>
                        <a:pt x="97" y="181"/>
                      </a:lnTo>
                      <a:lnTo>
                        <a:pt x="97" y="179"/>
                      </a:lnTo>
                      <a:lnTo>
                        <a:pt x="99" y="179"/>
                      </a:lnTo>
                      <a:lnTo>
                        <a:pt x="102" y="178"/>
                      </a:lnTo>
                      <a:lnTo>
                        <a:pt x="103" y="177"/>
                      </a:lnTo>
                      <a:lnTo>
                        <a:pt x="103" y="176"/>
                      </a:lnTo>
                      <a:lnTo>
                        <a:pt x="103" y="175"/>
                      </a:lnTo>
                      <a:lnTo>
                        <a:pt x="103" y="172"/>
                      </a:lnTo>
                      <a:lnTo>
                        <a:pt x="103" y="171"/>
                      </a:lnTo>
                      <a:lnTo>
                        <a:pt x="104" y="170"/>
                      </a:lnTo>
                      <a:lnTo>
                        <a:pt x="103" y="170"/>
                      </a:lnTo>
                      <a:lnTo>
                        <a:pt x="102" y="169"/>
                      </a:lnTo>
                      <a:lnTo>
                        <a:pt x="102" y="168"/>
                      </a:lnTo>
                      <a:lnTo>
                        <a:pt x="103" y="168"/>
                      </a:lnTo>
                      <a:lnTo>
                        <a:pt x="103" y="167"/>
                      </a:lnTo>
                      <a:lnTo>
                        <a:pt x="104" y="167"/>
                      </a:lnTo>
                      <a:lnTo>
                        <a:pt x="104" y="165"/>
                      </a:lnTo>
                      <a:lnTo>
                        <a:pt x="104" y="164"/>
                      </a:lnTo>
                      <a:lnTo>
                        <a:pt x="104" y="163"/>
                      </a:lnTo>
                      <a:lnTo>
                        <a:pt x="104" y="162"/>
                      </a:lnTo>
                      <a:lnTo>
                        <a:pt x="105" y="162"/>
                      </a:lnTo>
                      <a:lnTo>
                        <a:pt x="105" y="161"/>
                      </a:lnTo>
                      <a:lnTo>
                        <a:pt x="104" y="161"/>
                      </a:lnTo>
                      <a:lnTo>
                        <a:pt x="103" y="160"/>
                      </a:lnTo>
                      <a:lnTo>
                        <a:pt x="103" y="158"/>
                      </a:lnTo>
                      <a:lnTo>
                        <a:pt x="104" y="158"/>
                      </a:lnTo>
                      <a:lnTo>
                        <a:pt x="104" y="157"/>
                      </a:lnTo>
                      <a:lnTo>
                        <a:pt x="104" y="156"/>
                      </a:lnTo>
                      <a:lnTo>
                        <a:pt x="104" y="155"/>
                      </a:lnTo>
                      <a:lnTo>
                        <a:pt x="103" y="154"/>
                      </a:lnTo>
                      <a:lnTo>
                        <a:pt x="104" y="153"/>
                      </a:lnTo>
                      <a:lnTo>
                        <a:pt x="103" y="153"/>
                      </a:lnTo>
                      <a:lnTo>
                        <a:pt x="102" y="149"/>
                      </a:lnTo>
                      <a:lnTo>
                        <a:pt x="103" y="148"/>
                      </a:lnTo>
                      <a:lnTo>
                        <a:pt x="103" y="147"/>
                      </a:lnTo>
                      <a:lnTo>
                        <a:pt x="103" y="146"/>
                      </a:lnTo>
                      <a:lnTo>
                        <a:pt x="104" y="144"/>
                      </a:lnTo>
                      <a:lnTo>
                        <a:pt x="104" y="143"/>
                      </a:lnTo>
                      <a:lnTo>
                        <a:pt x="104" y="142"/>
                      </a:lnTo>
                      <a:lnTo>
                        <a:pt x="104" y="141"/>
                      </a:lnTo>
                      <a:lnTo>
                        <a:pt x="105" y="139"/>
                      </a:lnTo>
                      <a:lnTo>
                        <a:pt x="105" y="137"/>
                      </a:lnTo>
                      <a:lnTo>
                        <a:pt x="105" y="136"/>
                      </a:lnTo>
                      <a:lnTo>
                        <a:pt x="104" y="135"/>
                      </a:lnTo>
                      <a:lnTo>
                        <a:pt x="104" y="134"/>
                      </a:lnTo>
                      <a:lnTo>
                        <a:pt x="103" y="134"/>
                      </a:lnTo>
                      <a:lnTo>
                        <a:pt x="102" y="133"/>
                      </a:lnTo>
                      <a:lnTo>
                        <a:pt x="101" y="132"/>
                      </a:lnTo>
                      <a:lnTo>
                        <a:pt x="100" y="132"/>
                      </a:lnTo>
                      <a:lnTo>
                        <a:pt x="99" y="132"/>
                      </a:lnTo>
                      <a:lnTo>
                        <a:pt x="97" y="132"/>
                      </a:lnTo>
                      <a:lnTo>
                        <a:pt x="96" y="132"/>
                      </a:lnTo>
                      <a:lnTo>
                        <a:pt x="95" y="132"/>
                      </a:lnTo>
                      <a:lnTo>
                        <a:pt x="95" y="130"/>
                      </a:lnTo>
                      <a:lnTo>
                        <a:pt x="95" y="129"/>
                      </a:lnTo>
                      <a:lnTo>
                        <a:pt x="94" y="128"/>
                      </a:lnTo>
                      <a:lnTo>
                        <a:pt x="94" y="127"/>
                      </a:lnTo>
                      <a:lnTo>
                        <a:pt x="93" y="126"/>
                      </a:lnTo>
                      <a:lnTo>
                        <a:pt x="92" y="126"/>
                      </a:lnTo>
                      <a:lnTo>
                        <a:pt x="90" y="126"/>
                      </a:lnTo>
                      <a:lnTo>
                        <a:pt x="89" y="126"/>
                      </a:lnTo>
                      <a:lnTo>
                        <a:pt x="89" y="125"/>
                      </a:lnTo>
                      <a:lnTo>
                        <a:pt x="88" y="125"/>
                      </a:lnTo>
                      <a:lnTo>
                        <a:pt x="87" y="125"/>
                      </a:lnTo>
                      <a:lnTo>
                        <a:pt x="87" y="126"/>
                      </a:lnTo>
                      <a:lnTo>
                        <a:pt x="86" y="126"/>
                      </a:lnTo>
                      <a:lnTo>
                        <a:pt x="85" y="123"/>
                      </a:lnTo>
                      <a:lnTo>
                        <a:pt x="85" y="122"/>
                      </a:lnTo>
                      <a:lnTo>
                        <a:pt x="87" y="120"/>
                      </a:lnTo>
                      <a:lnTo>
                        <a:pt x="87" y="119"/>
                      </a:lnTo>
                      <a:lnTo>
                        <a:pt x="87" y="118"/>
                      </a:lnTo>
                      <a:lnTo>
                        <a:pt x="88" y="118"/>
                      </a:lnTo>
                      <a:lnTo>
                        <a:pt x="88" y="116"/>
                      </a:lnTo>
                      <a:lnTo>
                        <a:pt x="87" y="116"/>
                      </a:lnTo>
                      <a:lnTo>
                        <a:pt x="87" y="114"/>
                      </a:lnTo>
                      <a:lnTo>
                        <a:pt x="86" y="113"/>
                      </a:lnTo>
                      <a:lnTo>
                        <a:pt x="86" y="112"/>
                      </a:lnTo>
                      <a:lnTo>
                        <a:pt x="86" y="111"/>
                      </a:lnTo>
                      <a:lnTo>
                        <a:pt x="87" y="109"/>
                      </a:lnTo>
                      <a:lnTo>
                        <a:pt x="88" y="106"/>
                      </a:lnTo>
                      <a:lnTo>
                        <a:pt x="89" y="106"/>
                      </a:lnTo>
                      <a:lnTo>
                        <a:pt x="92" y="105"/>
                      </a:lnTo>
                      <a:lnTo>
                        <a:pt x="92" y="104"/>
                      </a:lnTo>
                      <a:lnTo>
                        <a:pt x="92" y="102"/>
                      </a:lnTo>
                      <a:lnTo>
                        <a:pt x="92" y="101"/>
                      </a:lnTo>
                      <a:lnTo>
                        <a:pt x="93" y="100"/>
                      </a:lnTo>
                      <a:lnTo>
                        <a:pt x="94" y="100"/>
                      </a:lnTo>
                      <a:lnTo>
                        <a:pt x="95" y="100"/>
                      </a:lnTo>
                      <a:lnTo>
                        <a:pt x="97" y="100"/>
                      </a:lnTo>
                      <a:lnTo>
                        <a:pt x="100" y="98"/>
                      </a:lnTo>
                      <a:lnTo>
                        <a:pt x="101" y="97"/>
                      </a:lnTo>
                      <a:lnTo>
                        <a:pt x="101" y="95"/>
                      </a:lnTo>
                      <a:lnTo>
                        <a:pt x="101" y="94"/>
                      </a:lnTo>
                      <a:lnTo>
                        <a:pt x="103" y="93"/>
                      </a:lnTo>
                      <a:lnTo>
                        <a:pt x="104" y="92"/>
                      </a:lnTo>
                      <a:lnTo>
                        <a:pt x="103" y="90"/>
                      </a:lnTo>
                      <a:lnTo>
                        <a:pt x="104" y="90"/>
                      </a:lnTo>
                      <a:lnTo>
                        <a:pt x="104" y="88"/>
                      </a:lnTo>
                      <a:lnTo>
                        <a:pt x="103" y="88"/>
                      </a:lnTo>
                      <a:lnTo>
                        <a:pt x="103" y="87"/>
                      </a:lnTo>
                      <a:lnTo>
                        <a:pt x="102" y="87"/>
                      </a:lnTo>
                      <a:lnTo>
                        <a:pt x="102" y="86"/>
                      </a:lnTo>
                      <a:lnTo>
                        <a:pt x="102" y="85"/>
                      </a:lnTo>
                      <a:lnTo>
                        <a:pt x="101" y="84"/>
                      </a:lnTo>
                      <a:lnTo>
                        <a:pt x="101" y="83"/>
                      </a:lnTo>
                      <a:lnTo>
                        <a:pt x="100" y="83"/>
                      </a:lnTo>
                      <a:lnTo>
                        <a:pt x="99" y="81"/>
                      </a:lnTo>
                      <a:lnTo>
                        <a:pt x="99" y="79"/>
                      </a:lnTo>
                      <a:lnTo>
                        <a:pt x="99" y="78"/>
                      </a:lnTo>
                      <a:lnTo>
                        <a:pt x="97" y="76"/>
                      </a:lnTo>
                      <a:lnTo>
                        <a:pt x="97" y="74"/>
                      </a:lnTo>
                      <a:lnTo>
                        <a:pt x="96" y="74"/>
                      </a:lnTo>
                      <a:lnTo>
                        <a:pt x="95" y="73"/>
                      </a:lnTo>
                      <a:lnTo>
                        <a:pt x="94" y="73"/>
                      </a:lnTo>
                      <a:lnTo>
                        <a:pt x="93" y="73"/>
                      </a:lnTo>
                      <a:lnTo>
                        <a:pt x="92" y="74"/>
                      </a:lnTo>
                      <a:lnTo>
                        <a:pt x="90" y="73"/>
                      </a:lnTo>
                      <a:lnTo>
                        <a:pt x="89" y="73"/>
                      </a:lnTo>
                      <a:lnTo>
                        <a:pt x="83" y="72"/>
                      </a:lnTo>
                      <a:lnTo>
                        <a:pt x="82" y="72"/>
                      </a:lnTo>
                      <a:lnTo>
                        <a:pt x="82" y="73"/>
                      </a:lnTo>
                      <a:lnTo>
                        <a:pt x="82" y="74"/>
                      </a:lnTo>
                      <a:lnTo>
                        <a:pt x="81" y="74"/>
                      </a:lnTo>
                      <a:lnTo>
                        <a:pt x="80" y="74"/>
                      </a:lnTo>
                      <a:lnTo>
                        <a:pt x="79" y="74"/>
                      </a:lnTo>
                      <a:lnTo>
                        <a:pt x="78" y="74"/>
                      </a:lnTo>
                      <a:lnTo>
                        <a:pt x="78" y="76"/>
                      </a:lnTo>
                      <a:lnTo>
                        <a:pt x="76" y="76"/>
                      </a:lnTo>
                      <a:lnTo>
                        <a:pt x="75" y="77"/>
                      </a:lnTo>
                      <a:lnTo>
                        <a:pt x="74" y="77"/>
                      </a:lnTo>
                      <a:lnTo>
                        <a:pt x="73" y="77"/>
                      </a:lnTo>
                      <a:lnTo>
                        <a:pt x="72" y="77"/>
                      </a:lnTo>
                      <a:lnTo>
                        <a:pt x="71" y="77"/>
                      </a:lnTo>
                      <a:lnTo>
                        <a:pt x="69" y="77"/>
                      </a:lnTo>
                      <a:lnTo>
                        <a:pt x="68" y="78"/>
                      </a:lnTo>
                      <a:lnTo>
                        <a:pt x="67" y="79"/>
                      </a:lnTo>
                      <a:lnTo>
                        <a:pt x="66" y="79"/>
                      </a:lnTo>
                      <a:lnTo>
                        <a:pt x="65" y="79"/>
                      </a:lnTo>
                      <a:lnTo>
                        <a:pt x="64" y="79"/>
                      </a:lnTo>
                      <a:lnTo>
                        <a:pt x="64" y="78"/>
                      </a:lnTo>
                      <a:lnTo>
                        <a:pt x="62" y="78"/>
                      </a:lnTo>
                      <a:lnTo>
                        <a:pt x="64" y="78"/>
                      </a:lnTo>
                      <a:lnTo>
                        <a:pt x="64" y="77"/>
                      </a:lnTo>
                      <a:lnTo>
                        <a:pt x="65" y="77"/>
                      </a:lnTo>
                      <a:lnTo>
                        <a:pt x="66" y="76"/>
                      </a:lnTo>
                      <a:lnTo>
                        <a:pt x="66" y="74"/>
                      </a:lnTo>
                      <a:lnTo>
                        <a:pt x="66" y="73"/>
                      </a:lnTo>
                      <a:lnTo>
                        <a:pt x="66" y="72"/>
                      </a:lnTo>
                      <a:lnTo>
                        <a:pt x="65" y="72"/>
                      </a:lnTo>
                      <a:lnTo>
                        <a:pt x="65" y="71"/>
                      </a:lnTo>
                      <a:lnTo>
                        <a:pt x="64" y="70"/>
                      </a:lnTo>
                      <a:lnTo>
                        <a:pt x="64" y="69"/>
                      </a:lnTo>
                      <a:lnTo>
                        <a:pt x="62" y="69"/>
                      </a:lnTo>
                      <a:lnTo>
                        <a:pt x="62" y="67"/>
                      </a:lnTo>
                      <a:lnTo>
                        <a:pt x="62" y="66"/>
                      </a:lnTo>
                      <a:lnTo>
                        <a:pt x="62" y="64"/>
                      </a:lnTo>
                      <a:lnTo>
                        <a:pt x="62" y="63"/>
                      </a:lnTo>
                      <a:lnTo>
                        <a:pt x="62" y="62"/>
                      </a:lnTo>
                      <a:lnTo>
                        <a:pt x="64" y="62"/>
                      </a:lnTo>
                      <a:lnTo>
                        <a:pt x="64" y="60"/>
                      </a:lnTo>
                      <a:lnTo>
                        <a:pt x="64" y="59"/>
                      </a:lnTo>
                      <a:lnTo>
                        <a:pt x="64" y="58"/>
                      </a:lnTo>
                      <a:lnTo>
                        <a:pt x="62" y="58"/>
                      </a:lnTo>
                      <a:lnTo>
                        <a:pt x="64" y="57"/>
                      </a:lnTo>
                      <a:lnTo>
                        <a:pt x="64" y="56"/>
                      </a:lnTo>
                      <a:lnTo>
                        <a:pt x="65" y="56"/>
                      </a:lnTo>
                      <a:lnTo>
                        <a:pt x="65" y="55"/>
                      </a:lnTo>
                      <a:lnTo>
                        <a:pt x="66" y="53"/>
                      </a:lnTo>
                      <a:lnTo>
                        <a:pt x="67" y="53"/>
                      </a:lnTo>
                      <a:lnTo>
                        <a:pt x="67" y="52"/>
                      </a:lnTo>
                      <a:lnTo>
                        <a:pt x="67" y="51"/>
                      </a:lnTo>
                      <a:lnTo>
                        <a:pt x="67" y="49"/>
                      </a:lnTo>
                      <a:lnTo>
                        <a:pt x="73" y="50"/>
                      </a:lnTo>
                      <a:lnTo>
                        <a:pt x="78" y="50"/>
                      </a:lnTo>
                      <a:lnTo>
                        <a:pt x="79" y="50"/>
                      </a:lnTo>
                      <a:lnTo>
                        <a:pt x="83" y="50"/>
                      </a:lnTo>
                      <a:lnTo>
                        <a:pt x="89" y="50"/>
                      </a:lnTo>
                      <a:lnTo>
                        <a:pt x="95" y="50"/>
                      </a:lnTo>
                      <a:lnTo>
                        <a:pt x="99" y="50"/>
                      </a:lnTo>
                      <a:lnTo>
                        <a:pt x="100" y="49"/>
                      </a:lnTo>
                      <a:lnTo>
                        <a:pt x="102" y="49"/>
                      </a:lnTo>
                      <a:lnTo>
                        <a:pt x="102" y="50"/>
                      </a:lnTo>
                      <a:lnTo>
                        <a:pt x="103" y="50"/>
                      </a:lnTo>
                      <a:lnTo>
                        <a:pt x="104" y="50"/>
                      </a:lnTo>
                      <a:lnTo>
                        <a:pt x="107" y="49"/>
                      </a:lnTo>
                      <a:lnTo>
                        <a:pt x="107" y="48"/>
                      </a:lnTo>
                      <a:lnTo>
                        <a:pt x="108" y="48"/>
                      </a:lnTo>
                      <a:lnTo>
                        <a:pt x="109" y="49"/>
                      </a:lnTo>
                      <a:lnTo>
                        <a:pt x="110" y="49"/>
                      </a:lnTo>
                      <a:lnTo>
                        <a:pt x="110" y="50"/>
                      </a:lnTo>
                      <a:lnTo>
                        <a:pt x="111" y="50"/>
                      </a:lnTo>
                      <a:lnTo>
                        <a:pt x="111" y="51"/>
                      </a:lnTo>
                      <a:lnTo>
                        <a:pt x="112" y="51"/>
                      </a:lnTo>
                      <a:lnTo>
                        <a:pt x="112" y="50"/>
                      </a:lnTo>
                      <a:lnTo>
                        <a:pt x="114" y="51"/>
                      </a:lnTo>
                      <a:lnTo>
                        <a:pt x="112" y="51"/>
                      </a:lnTo>
                      <a:lnTo>
                        <a:pt x="114" y="51"/>
                      </a:lnTo>
                      <a:lnTo>
                        <a:pt x="114" y="52"/>
                      </a:lnTo>
                      <a:lnTo>
                        <a:pt x="116" y="52"/>
                      </a:lnTo>
                      <a:lnTo>
                        <a:pt x="116" y="51"/>
                      </a:lnTo>
                      <a:lnTo>
                        <a:pt x="117" y="51"/>
                      </a:lnTo>
                      <a:lnTo>
                        <a:pt x="117" y="52"/>
                      </a:lnTo>
                      <a:lnTo>
                        <a:pt x="118" y="52"/>
                      </a:lnTo>
                      <a:lnTo>
                        <a:pt x="118" y="53"/>
                      </a:lnTo>
                      <a:lnTo>
                        <a:pt x="119" y="55"/>
                      </a:lnTo>
                      <a:lnTo>
                        <a:pt x="119" y="53"/>
                      </a:lnTo>
                      <a:lnTo>
                        <a:pt x="121" y="53"/>
                      </a:lnTo>
                      <a:lnTo>
                        <a:pt x="122" y="55"/>
                      </a:lnTo>
                      <a:lnTo>
                        <a:pt x="123" y="55"/>
                      </a:lnTo>
                      <a:lnTo>
                        <a:pt x="124" y="55"/>
                      </a:lnTo>
                      <a:lnTo>
                        <a:pt x="125" y="53"/>
                      </a:lnTo>
                      <a:lnTo>
                        <a:pt x="126" y="52"/>
                      </a:lnTo>
                      <a:lnTo>
                        <a:pt x="126" y="53"/>
                      </a:lnTo>
                      <a:lnTo>
                        <a:pt x="128" y="53"/>
                      </a:lnTo>
                      <a:lnTo>
                        <a:pt x="129" y="53"/>
                      </a:lnTo>
                      <a:lnTo>
                        <a:pt x="129" y="55"/>
                      </a:lnTo>
                      <a:lnTo>
                        <a:pt x="130" y="55"/>
                      </a:lnTo>
                      <a:lnTo>
                        <a:pt x="131" y="55"/>
                      </a:lnTo>
                      <a:lnTo>
                        <a:pt x="131" y="56"/>
                      </a:lnTo>
                      <a:lnTo>
                        <a:pt x="132" y="57"/>
                      </a:lnTo>
                      <a:lnTo>
                        <a:pt x="133" y="56"/>
                      </a:lnTo>
                      <a:lnTo>
                        <a:pt x="135" y="55"/>
                      </a:lnTo>
                      <a:lnTo>
                        <a:pt x="137" y="55"/>
                      </a:lnTo>
                      <a:lnTo>
                        <a:pt x="138" y="55"/>
                      </a:lnTo>
                      <a:lnTo>
                        <a:pt x="140" y="56"/>
                      </a:lnTo>
                      <a:lnTo>
                        <a:pt x="144" y="56"/>
                      </a:lnTo>
                      <a:lnTo>
                        <a:pt x="144" y="57"/>
                      </a:lnTo>
                      <a:lnTo>
                        <a:pt x="145" y="57"/>
                      </a:lnTo>
                      <a:lnTo>
                        <a:pt x="146" y="58"/>
                      </a:lnTo>
                      <a:lnTo>
                        <a:pt x="147" y="58"/>
                      </a:lnTo>
                      <a:lnTo>
                        <a:pt x="147" y="59"/>
                      </a:lnTo>
                      <a:lnTo>
                        <a:pt x="149" y="59"/>
                      </a:lnTo>
                      <a:lnTo>
                        <a:pt x="150" y="59"/>
                      </a:lnTo>
                      <a:lnTo>
                        <a:pt x="150" y="60"/>
                      </a:lnTo>
                      <a:lnTo>
                        <a:pt x="151" y="60"/>
                      </a:lnTo>
                      <a:lnTo>
                        <a:pt x="152" y="62"/>
                      </a:lnTo>
                      <a:lnTo>
                        <a:pt x="153" y="62"/>
                      </a:lnTo>
                      <a:lnTo>
                        <a:pt x="153" y="63"/>
                      </a:lnTo>
                      <a:lnTo>
                        <a:pt x="154" y="63"/>
                      </a:lnTo>
                      <a:lnTo>
                        <a:pt x="156" y="65"/>
                      </a:lnTo>
                      <a:lnTo>
                        <a:pt x="157" y="63"/>
                      </a:lnTo>
                      <a:lnTo>
                        <a:pt x="158" y="63"/>
                      </a:lnTo>
                      <a:lnTo>
                        <a:pt x="157" y="59"/>
                      </a:lnTo>
                      <a:lnTo>
                        <a:pt x="156" y="56"/>
                      </a:lnTo>
                      <a:lnTo>
                        <a:pt x="156" y="55"/>
                      </a:lnTo>
                      <a:lnTo>
                        <a:pt x="154" y="55"/>
                      </a:lnTo>
                      <a:lnTo>
                        <a:pt x="154" y="53"/>
                      </a:lnTo>
                      <a:lnTo>
                        <a:pt x="156" y="53"/>
                      </a:lnTo>
                      <a:lnTo>
                        <a:pt x="156" y="52"/>
                      </a:lnTo>
                      <a:lnTo>
                        <a:pt x="156" y="51"/>
                      </a:lnTo>
                      <a:lnTo>
                        <a:pt x="156" y="50"/>
                      </a:lnTo>
                      <a:lnTo>
                        <a:pt x="156" y="49"/>
                      </a:lnTo>
                      <a:lnTo>
                        <a:pt x="157" y="48"/>
                      </a:lnTo>
                      <a:lnTo>
                        <a:pt x="158" y="48"/>
                      </a:lnTo>
                      <a:lnTo>
                        <a:pt x="158" y="49"/>
                      </a:lnTo>
                      <a:lnTo>
                        <a:pt x="159" y="48"/>
                      </a:lnTo>
                      <a:lnTo>
                        <a:pt x="159" y="46"/>
                      </a:lnTo>
                      <a:lnTo>
                        <a:pt x="160" y="43"/>
                      </a:lnTo>
                      <a:lnTo>
                        <a:pt x="163" y="41"/>
                      </a:lnTo>
                      <a:lnTo>
                        <a:pt x="164" y="38"/>
                      </a:lnTo>
                      <a:lnTo>
                        <a:pt x="165" y="35"/>
                      </a:lnTo>
                      <a:lnTo>
                        <a:pt x="166" y="32"/>
                      </a:lnTo>
                      <a:lnTo>
                        <a:pt x="166" y="31"/>
                      </a:lnTo>
                      <a:lnTo>
                        <a:pt x="167" y="29"/>
                      </a:lnTo>
                      <a:lnTo>
                        <a:pt x="168" y="28"/>
                      </a:lnTo>
                      <a:lnTo>
                        <a:pt x="168" y="27"/>
                      </a:lnTo>
                      <a:lnTo>
                        <a:pt x="167" y="25"/>
                      </a:lnTo>
                      <a:lnTo>
                        <a:pt x="167" y="24"/>
                      </a:lnTo>
                      <a:lnTo>
                        <a:pt x="168" y="22"/>
                      </a:lnTo>
                      <a:lnTo>
                        <a:pt x="168" y="21"/>
                      </a:lnTo>
                      <a:lnTo>
                        <a:pt x="168" y="20"/>
                      </a:lnTo>
                      <a:lnTo>
                        <a:pt x="167" y="18"/>
                      </a:lnTo>
                      <a:lnTo>
                        <a:pt x="167" y="17"/>
                      </a:lnTo>
                      <a:lnTo>
                        <a:pt x="168" y="17"/>
                      </a:lnTo>
                      <a:lnTo>
                        <a:pt x="169" y="15"/>
                      </a:lnTo>
                      <a:lnTo>
                        <a:pt x="169" y="14"/>
                      </a:lnTo>
                      <a:lnTo>
                        <a:pt x="169" y="11"/>
                      </a:lnTo>
                      <a:lnTo>
                        <a:pt x="171" y="9"/>
                      </a:lnTo>
                      <a:lnTo>
                        <a:pt x="171" y="8"/>
                      </a:lnTo>
                      <a:lnTo>
                        <a:pt x="172" y="7"/>
                      </a:lnTo>
                      <a:lnTo>
                        <a:pt x="173" y="6"/>
                      </a:lnTo>
                      <a:lnTo>
                        <a:pt x="174" y="6"/>
                      </a:lnTo>
                      <a:lnTo>
                        <a:pt x="175" y="6"/>
                      </a:lnTo>
                      <a:lnTo>
                        <a:pt x="179" y="6"/>
                      </a:lnTo>
                      <a:lnTo>
                        <a:pt x="180" y="6"/>
                      </a:lnTo>
                      <a:lnTo>
                        <a:pt x="180" y="4"/>
                      </a:lnTo>
                      <a:lnTo>
                        <a:pt x="181" y="4"/>
                      </a:lnTo>
                      <a:lnTo>
                        <a:pt x="182" y="4"/>
                      </a:lnTo>
                      <a:lnTo>
                        <a:pt x="183" y="4"/>
                      </a:lnTo>
                      <a:lnTo>
                        <a:pt x="183" y="6"/>
                      </a:lnTo>
                      <a:lnTo>
                        <a:pt x="185" y="6"/>
                      </a:lnTo>
                      <a:lnTo>
                        <a:pt x="186" y="4"/>
                      </a:lnTo>
                      <a:lnTo>
                        <a:pt x="187" y="4"/>
                      </a:lnTo>
                      <a:lnTo>
                        <a:pt x="188" y="4"/>
                      </a:lnTo>
                      <a:lnTo>
                        <a:pt x="189" y="4"/>
                      </a:lnTo>
                      <a:lnTo>
                        <a:pt x="190" y="4"/>
                      </a:lnTo>
                      <a:lnTo>
                        <a:pt x="192" y="3"/>
                      </a:lnTo>
                      <a:lnTo>
                        <a:pt x="192" y="2"/>
                      </a:lnTo>
                      <a:lnTo>
                        <a:pt x="193" y="2"/>
                      </a:lnTo>
                      <a:lnTo>
                        <a:pt x="194" y="3"/>
                      </a:lnTo>
                      <a:lnTo>
                        <a:pt x="195" y="3"/>
                      </a:lnTo>
                      <a:lnTo>
                        <a:pt x="195" y="2"/>
                      </a:lnTo>
                      <a:lnTo>
                        <a:pt x="196" y="1"/>
                      </a:lnTo>
                      <a:lnTo>
                        <a:pt x="197" y="1"/>
                      </a:lnTo>
                      <a:lnTo>
                        <a:pt x="199" y="0"/>
                      </a:lnTo>
                      <a:lnTo>
                        <a:pt x="200" y="0"/>
                      </a:lnTo>
                      <a:lnTo>
                        <a:pt x="200" y="1"/>
                      </a:lnTo>
                      <a:lnTo>
                        <a:pt x="201" y="1"/>
                      </a:lnTo>
                      <a:lnTo>
                        <a:pt x="202" y="2"/>
                      </a:lnTo>
                      <a:lnTo>
                        <a:pt x="203" y="2"/>
                      </a:lnTo>
                      <a:lnTo>
                        <a:pt x="204" y="2"/>
                      </a:lnTo>
                      <a:lnTo>
                        <a:pt x="207" y="2"/>
                      </a:lnTo>
                      <a:lnTo>
                        <a:pt x="208" y="2"/>
                      </a:lnTo>
                      <a:lnTo>
                        <a:pt x="208" y="3"/>
                      </a:lnTo>
                      <a:lnTo>
                        <a:pt x="209" y="3"/>
                      </a:lnTo>
                      <a:lnTo>
                        <a:pt x="209" y="2"/>
                      </a:lnTo>
                      <a:lnTo>
                        <a:pt x="210" y="3"/>
                      </a:lnTo>
                      <a:lnTo>
                        <a:pt x="210" y="4"/>
                      </a:lnTo>
                      <a:lnTo>
                        <a:pt x="211" y="4"/>
                      </a:lnTo>
                      <a:lnTo>
                        <a:pt x="211" y="6"/>
                      </a:lnTo>
                      <a:lnTo>
                        <a:pt x="213" y="6"/>
                      </a:lnTo>
                      <a:lnTo>
                        <a:pt x="214" y="4"/>
                      </a:lnTo>
                      <a:lnTo>
                        <a:pt x="215" y="6"/>
                      </a:lnTo>
                      <a:lnTo>
                        <a:pt x="216" y="6"/>
                      </a:lnTo>
                      <a:lnTo>
                        <a:pt x="216" y="4"/>
                      </a:lnTo>
                      <a:lnTo>
                        <a:pt x="217" y="4"/>
                      </a:lnTo>
                      <a:lnTo>
                        <a:pt x="218" y="4"/>
                      </a:lnTo>
                      <a:lnTo>
                        <a:pt x="220" y="4"/>
                      </a:lnTo>
                      <a:lnTo>
                        <a:pt x="221" y="6"/>
                      </a:lnTo>
                      <a:lnTo>
                        <a:pt x="221" y="7"/>
                      </a:lnTo>
                      <a:lnTo>
                        <a:pt x="222" y="7"/>
                      </a:lnTo>
                      <a:lnTo>
                        <a:pt x="223" y="7"/>
                      </a:lnTo>
                      <a:lnTo>
                        <a:pt x="223" y="6"/>
                      </a:lnTo>
                      <a:lnTo>
                        <a:pt x="224" y="4"/>
                      </a:lnTo>
                      <a:lnTo>
                        <a:pt x="225" y="4"/>
                      </a:lnTo>
                      <a:lnTo>
                        <a:pt x="228" y="3"/>
                      </a:lnTo>
                      <a:lnTo>
                        <a:pt x="228" y="4"/>
                      </a:lnTo>
                      <a:lnTo>
                        <a:pt x="229" y="4"/>
                      </a:lnTo>
                      <a:lnTo>
                        <a:pt x="229" y="3"/>
                      </a:lnTo>
                      <a:lnTo>
                        <a:pt x="230" y="3"/>
                      </a:lnTo>
                      <a:lnTo>
                        <a:pt x="230" y="2"/>
                      </a:lnTo>
                      <a:lnTo>
                        <a:pt x="231" y="2"/>
                      </a:lnTo>
                      <a:lnTo>
                        <a:pt x="232" y="3"/>
                      </a:lnTo>
                      <a:lnTo>
                        <a:pt x="233" y="6"/>
                      </a:lnTo>
                      <a:lnTo>
                        <a:pt x="235" y="7"/>
                      </a:lnTo>
                      <a:lnTo>
                        <a:pt x="236" y="7"/>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5" name="Freeform 82">
                  <a:extLst>
                    <a:ext uri="{FF2B5EF4-FFF2-40B4-BE49-F238E27FC236}">
                      <a16:creationId xmlns:a16="http://schemas.microsoft.com/office/drawing/2014/main" id="{15EC2629-739C-953E-6316-3A04C7B529B2}"/>
                    </a:ext>
                  </a:extLst>
                </p:cNvPr>
                <p:cNvSpPr>
                  <a:spLocks noEditPoints="1"/>
                </p:cNvSpPr>
                <p:nvPr/>
              </p:nvSpPr>
              <p:spPr bwMode="auto">
                <a:xfrm>
                  <a:off x="7706745" y="4189120"/>
                  <a:ext cx="44352" cy="36779"/>
                </a:xfrm>
                <a:custGeom>
                  <a:avLst/>
                  <a:gdLst>
                    <a:gd name="T0" fmla="*/ 19 w 41"/>
                    <a:gd name="T1" fmla="*/ 33 h 34"/>
                    <a:gd name="T2" fmla="*/ 14 w 41"/>
                    <a:gd name="T3" fmla="*/ 33 h 34"/>
                    <a:gd name="T4" fmla="*/ 14 w 41"/>
                    <a:gd name="T5" fmla="*/ 33 h 34"/>
                    <a:gd name="T6" fmla="*/ 14 w 41"/>
                    <a:gd name="T7" fmla="*/ 31 h 34"/>
                    <a:gd name="T8" fmla="*/ 13 w 41"/>
                    <a:gd name="T9" fmla="*/ 31 h 34"/>
                    <a:gd name="T10" fmla="*/ 13 w 41"/>
                    <a:gd name="T11" fmla="*/ 30 h 34"/>
                    <a:gd name="T12" fmla="*/ 13 w 41"/>
                    <a:gd name="T13" fmla="*/ 29 h 34"/>
                    <a:gd name="T14" fmla="*/ 14 w 41"/>
                    <a:gd name="T15" fmla="*/ 29 h 34"/>
                    <a:gd name="T16" fmla="*/ 15 w 41"/>
                    <a:gd name="T17" fmla="*/ 29 h 34"/>
                    <a:gd name="T18" fmla="*/ 17 w 41"/>
                    <a:gd name="T19" fmla="*/ 31 h 34"/>
                    <a:gd name="T20" fmla="*/ 20 w 41"/>
                    <a:gd name="T21" fmla="*/ 33 h 34"/>
                    <a:gd name="T22" fmla="*/ 20 w 41"/>
                    <a:gd name="T23" fmla="*/ 33 h 34"/>
                    <a:gd name="T24" fmla="*/ 40 w 41"/>
                    <a:gd name="T25" fmla="*/ 24 h 34"/>
                    <a:gd name="T26" fmla="*/ 41 w 41"/>
                    <a:gd name="T27" fmla="*/ 29 h 34"/>
                    <a:gd name="T28" fmla="*/ 41 w 41"/>
                    <a:gd name="T29" fmla="*/ 34 h 34"/>
                    <a:gd name="T30" fmla="*/ 40 w 41"/>
                    <a:gd name="T31" fmla="*/ 34 h 34"/>
                    <a:gd name="T32" fmla="*/ 40 w 41"/>
                    <a:gd name="T33" fmla="*/ 33 h 34"/>
                    <a:gd name="T34" fmla="*/ 40 w 41"/>
                    <a:gd name="T35" fmla="*/ 33 h 34"/>
                    <a:gd name="T36" fmla="*/ 37 w 41"/>
                    <a:gd name="T37" fmla="*/ 30 h 34"/>
                    <a:gd name="T38" fmla="*/ 36 w 41"/>
                    <a:gd name="T39" fmla="*/ 29 h 34"/>
                    <a:gd name="T40" fmla="*/ 35 w 41"/>
                    <a:gd name="T41" fmla="*/ 29 h 34"/>
                    <a:gd name="T42" fmla="*/ 33 w 41"/>
                    <a:gd name="T43" fmla="*/ 28 h 34"/>
                    <a:gd name="T44" fmla="*/ 30 w 41"/>
                    <a:gd name="T45" fmla="*/ 27 h 34"/>
                    <a:gd name="T46" fmla="*/ 31 w 41"/>
                    <a:gd name="T47" fmla="*/ 27 h 34"/>
                    <a:gd name="T48" fmla="*/ 33 w 41"/>
                    <a:gd name="T49" fmla="*/ 27 h 34"/>
                    <a:gd name="T50" fmla="*/ 35 w 41"/>
                    <a:gd name="T51" fmla="*/ 27 h 34"/>
                    <a:gd name="T52" fmla="*/ 35 w 41"/>
                    <a:gd name="T53" fmla="*/ 27 h 34"/>
                    <a:gd name="T54" fmla="*/ 36 w 41"/>
                    <a:gd name="T55" fmla="*/ 27 h 34"/>
                    <a:gd name="T56" fmla="*/ 37 w 41"/>
                    <a:gd name="T57" fmla="*/ 26 h 34"/>
                    <a:gd name="T58" fmla="*/ 37 w 41"/>
                    <a:gd name="T59" fmla="*/ 24 h 34"/>
                    <a:gd name="T60" fmla="*/ 38 w 41"/>
                    <a:gd name="T61" fmla="*/ 23 h 34"/>
                    <a:gd name="T62" fmla="*/ 38 w 41"/>
                    <a:gd name="T63" fmla="*/ 23 h 34"/>
                    <a:gd name="T64" fmla="*/ 38 w 41"/>
                    <a:gd name="T65" fmla="*/ 23 h 34"/>
                    <a:gd name="T66" fmla="*/ 40 w 41"/>
                    <a:gd name="T67" fmla="*/ 24 h 34"/>
                    <a:gd name="T68" fmla="*/ 7 w 41"/>
                    <a:gd name="T69" fmla="*/ 19 h 34"/>
                    <a:gd name="T70" fmla="*/ 7 w 41"/>
                    <a:gd name="T71" fmla="*/ 19 h 34"/>
                    <a:gd name="T72" fmla="*/ 6 w 41"/>
                    <a:gd name="T73" fmla="*/ 19 h 34"/>
                    <a:gd name="T74" fmla="*/ 3 w 41"/>
                    <a:gd name="T75" fmla="*/ 16 h 34"/>
                    <a:gd name="T76" fmla="*/ 2 w 41"/>
                    <a:gd name="T77" fmla="*/ 16 h 34"/>
                    <a:gd name="T78" fmla="*/ 1 w 41"/>
                    <a:gd name="T79" fmla="*/ 15 h 34"/>
                    <a:gd name="T80" fmla="*/ 1 w 41"/>
                    <a:gd name="T81" fmla="*/ 15 h 34"/>
                    <a:gd name="T82" fmla="*/ 1 w 41"/>
                    <a:gd name="T83" fmla="*/ 14 h 34"/>
                    <a:gd name="T84" fmla="*/ 0 w 41"/>
                    <a:gd name="T85" fmla="*/ 13 h 34"/>
                    <a:gd name="T86" fmla="*/ 0 w 41"/>
                    <a:gd name="T87" fmla="*/ 12 h 34"/>
                    <a:gd name="T88" fmla="*/ 0 w 41"/>
                    <a:gd name="T89" fmla="*/ 10 h 34"/>
                    <a:gd name="T90" fmla="*/ 0 w 41"/>
                    <a:gd name="T91" fmla="*/ 9 h 34"/>
                    <a:gd name="T92" fmla="*/ 1 w 41"/>
                    <a:gd name="T93" fmla="*/ 3 h 34"/>
                    <a:gd name="T94" fmla="*/ 1 w 41"/>
                    <a:gd name="T95" fmla="*/ 3 h 34"/>
                    <a:gd name="T96" fmla="*/ 1 w 41"/>
                    <a:gd name="T97" fmla="*/ 1 h 34"/>
                    <a:gd name="T98" fmla="*/ 2 w 41"/>
                    <a:gd name="T99" fmla="*/ 1 h 34"/>
                    <a:gd name="T100" fmla="*/ 5 w 41"/>
                    <a:gd name="T101" fmla="*/ 0 h 34"/>
                    <a:gd name="T102" fmla="*/ 5 w 41"/>
                    <a:gd name="T103" fmla="*/ 1 h 34"/>
                    <a:gd name="T104" fmla="*/ 6 w 41"/>
                    <a:gd name="T105" fmla="*/ 2 h 34"/>
                    <a:gd name="T106" fmla="*/ 5 w 41"/>
                    <a:gd name="T107" fmla="*/ 9 h 34"/>
                    <a:gd name="T108" fmla="*/ 7 w 41"/>
                    <a:gd name="T109" fmla="*/ 13 h 34"/>
                    <a:gd name="T110" fmla="*/ 7 w 41"/>
                    <a:gd name="T111" fmla="*/ 14 h 34"/>
                    <a:gd name="T112" fmla="*/ 7 w 41"/>
                    <a:gd name="T113" fmla="*/ 14 h 34"/>
                    <a:gd name="T114" fmla="*/ 7 w 41"/>
                    <a:gd name="T115" fmla="*/ 15 h 34"/>
                    <a:gd name="T116" fmla="*/ 8 w 41"/>
                    <a:gd name="T117" fmla="*/ 15 h 34"/>
                    <a:gd name="T118" fmla="*/ 8 w 41"/>
                    <a:gd name="T119" fmla="*/ 17 h 34"/>
                    <a:gd name="T120" fmla="*/ 8 w 41"/>
                    <a:gd name="T121" fmla="*/ 17 h 34"/>
                    <a:gd name="T122" fmla="*/ 8 w 41"/>
                    <a:gd name="T123" fmla="*/ 19 h 34"/>
                    <a:gd name="T124" fmla="*/ 8 w 41"/>
                    <a:gd name="T125"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 h="34">
                      <a:moveTo>
                        <a:pt x="19" y="33"/>
                      </a:moveTo>
                      <a:lnTo>
                        <a:pt x="19" y="33"/>
                      </a:lnTo>
                      <a:lnTo>
                        <a:pt x="16" y="33"/>
                      </a:lnTo>
                      <a:lnTo>
                        <a:pt x="14" y="33"/>
                      </a:lnTo>
                      <a:lnTo>
                        <a:pt x="14" y="33"/>
                      </a:lnTo>
                      <a:lnTo>
                        <a:pt x="14" y="33"/>
                      </a:lnTo>
                      <a:lnTo>
                        <a:pt x="14" y="31"/>
                      </a:lnTo>
                      <a:lnTo>
                        <a:pt x="14" y="31"/>
                      </a:lnTo>
                      <a:lnTo>
                        <a:pt x="13" y="31"/>
                      </a:lnTo>
                      <a:lnTo>
                        <a:pt x="13" y="31"/>
                      </a:lnTo>
                      <a:lnTo>
                        <a:pt x="13" y="30"/>
                      </a:lnTo>
                      <a:lnTo>
                        <a:pt x="13" y="30"/>
                      </a:lnTo>
                      <a:lnTo>
                        <a:pt x="13" y="29"/>
                      </a:lnTo>
                      <a:lnTo>
                        <a:pt x="13" y="29"/>
                      </a:lnTo>
                      <a:lnTo>
                        <a:pt x="13" y="29"/>
                      </a:lnTo>
                      <a:lnTo>
                        <a:pt x="14" y="29"/>
                      </a:lnTo>
                      <a:lnTo>
                        <a:pt x="15" y="29"/>
                      </a:lnTo>
                      <a:lnTo>
                        <a:pt x="15" y="29"/>
                      </a:lnTo>
                      <a:lnTo>
                        <a:pt x="17" y="30"/>
                      </a:lnTo>
                      <a:lnTo>
                        <a:pt x="17" y="31"/>
                      </a:lnTo>
                      <a:lnTo>
                        <a:pt x="17" y="31"/>
                      </a:lnTo>
                      <a:lnTo>
                        <a:pt x="20" y="33"/>
                      </a:lnTo>
                      <a:lnTo>
                        <a:pt x="20" y="33"/>
                      </a:lnTo>
                      <a:lnTo>
                        <a:pt x="20" y="33"/>
                      </a:lnTo>
                      <a:lnTo>
                        <a:pt x="19" y="33"/>
                      </a:lnTo>
                      <a:close/>
                      <a:moveTo>
                        <a:pt x="40" y="24"/>
                      </a:moveTo>
                      <a:lnTo>
                        <a:pt x="41" y="28"/>
                      </a:lnTo>
                      <a:lnTo>
                        <a:pt x="41" y="29"/>
                      </a:lnTo>
                      <a:lnTo>
                        <a:pt x="41" y="33"/>
                      </a:lnTo>
                      <a:lnTo>
                        <a:pt x="41" y="34"/>
                      </a:lnTo>
                      <a:lnTo>
                        <a:pt x="41" y="34"/>
                      </a:lnTo>
                      <a:lnTo>
                        <a:pt x="40" y="34"/>
                      </a:lnTo>
                      <a:lnTo>
                        <a:pt x="40" y="33"/>
                      </a:lnTo>
                      <a:lnTo>
                        <a:pt x="40" y="33"/>
                      </a:lnTo>
                      <a:lnTo>
                        <a:pt x="40" y="33"/>
                      </a:lnTo>
                      <a:lnTo>
                        <a:pt x="40" y="33"/>
                      </a:lnTo>
                      <a:lnTo>
                        <a:pt x="40" y="31"/>
                      </a:lnTo>
                      <a:lnTo>
                        <a:pt x="37" y="30"/>
                      </a:lnTo>
                      <a:lnTo>
                        <a:pt x="36" y="30"/>
                      </a:lnTo>
                      <a:lnTo>
                        <a:pt x="36" y="29"/>
                      </a:lnTo>
                      <a:lnTo>
                        <a:pt x="36" y="29"/>
                      </a:lnTo>
                      <a:lnTo>
                        <a:pt x="35" y="29"/>
                      </a:lnTo>
                      <a:lnTo>
                        <a:pt x="33" y="28"/>
                      </a:lnTo>
                      <a:lnTo>
                        <a:pt x="33" y="28"/>
                      </a:lnTo>
                      <a:lnTo>
                        <a:pt x="31" y="27"/>
                      </a:lnTo>
                      <a:lnTo>
                        <a:pt x="30" y="27"/>
                      </a:lnTo>
                      <a:lnTo>
                        <a:pt x="31" y="27"/>
                      </a:lnTo>
                      <a:lnTo>
                        <a:pt x="31" y="27"/>
                      </a:lnTo>
                      <a:lnTo>
                        <a:pt x="33" y="27"/>
                      </a:lnTo>
                      <a:lnTo>
                        <a:pt x="33" y="27"/>
                      </a:lnTo>
                      <a:lnTo>
                        <a:pt x="34" y="27"/>
                      </a:lnTo>
                      <a:lnTo>
                        <a:pt x="35" y="27"/>
                      </a:lnTo>
                      <a:lnTo>
                        <a:pt x="35" y="27"/>
                      </a:lnTo>
                      <a:lnTo>
                        <a:pt x="35" y="27"/>
                      </a:lnTo>
                      <a:lnTo>
                        <a:pt x="35" y="27"/>
                      </a:lnTo>
                      <a:lnTo>
                        <a:pt x="36" y="27"/>
                      </a:lnTo>
                      <a:lnTo>
                        <a:pt x="37" y="27"/>
                      </a:lnTo>
                      <a:lnTo>
                        <a:pt x="37" y="26"/>
                      </a:lnTo>
                      <a:lnTo>
                        <a:pt x="37" y="24"/>
                      </a:lnTo>
                      <a:lnTo>
                        <a:pt x="37" y="24"/>
                      </a:lnTo>
                      <a:lnTo>
                        <a:pt x="38" y="23"/>
                      </a:lnTo>
                      <a:lnTo>
                        <a:pt x="38" y="23"/>
                      </a:lnTo>
                      <a:lnTo>
                        <a:pt x="38" y="23"/>
                      </a:lnTo>
                      <a:lnTo>
                        <a:pt x="38" y="23"/>
                      </a:lnTo>
                      <a:lnTo>
                        <a:pt x="38" y="23"/>
                      </a:lnTo>
                      <a:lnTo>
                        <a:pt x="38" y="23"/>
                      </a:lnTo>
                      <a:lnTo>
                        <a:pt x="40" y="23"/>
                      </a:lnTo>
                      <a:lnTo>
                        <a:pt x="40" y="24"/>
                      </a:lnTo>
                      <a:lnTo>
                        <a:pt x="40" y="24"/>
                      </a:lnTo>
                      <a:close/>
                      <a:moveTo>
                        <a:pt x="7" y="19"/>
                      </a:moveTo>
                      <a:lnTo>
                        <a:pt x="7" y="19"/>
                      </a:lnTo>
                      <a:lnTo>
                        <a:pt x="7" y="19"/>
                      </a:lnTo>
                      <a:lnTo>
                        <a:pt x="6" y="19"/>
                      </a:lnTo>
                      <a:lnTo>
                        <a:pt x="6" y="19"/>
                      </a:lnTo>
                      <a:lnTo>
                        <a:pt x="5" y="16"/>
                      </a:lnTo>
                      <a:lnTo>
                        <a:pt x="3" y="16"/>
                      </a:lnTo>
                      <a:lnTo>
                        <a:pt x="2" y="16"/>
                      </a:lnTo>
                      <a:lnTo>
                        <a:pt x="2" y="16"/>
                      </a:lnTo>
                      <a:lnTo>
                        <a:pt x="2" y="16"/>
                      </a:lnTo>
                      <a:lnTo>
                        <a:pt x="1" y="15"/>
                      </a:lnTo>
                      <a:lnTo>
                        <a:pt x="1" y="15"/>
                      </a:lnTo>
                      <a:lnTo>
                        <a:pt x="1" y="15"/>
                      </a:lnTo>
                      <a:lnTo>
                        <a:pt x="1" y="15"/>
                      </a:lnTo>
                      <a:lnTo>
                        <a:pt x="1" y="14"/>
                      </a:lnTo>
                      <a:lnTo>
                        <a:pt x="0" y="14"/>
                      </a:lnTo>
                      <a:lnTo>
                        <a:pt x="0" y="13"/>
                      </a:lnTo>
                      <a:lnTo>
                        <a:pt x="0" y="12"/>
                      </a:lnTo>
                      <a:lnTo>
                        <a:pt x="0" y="12"/>
                      </a:lnTo>
                      <a:lnTo>
                        <a:pt x="0" y="12"/>
                      </a:lnTo>
                      <a:lnTo>
                        <a:pt x="0" y="10"/>
                      </a:lnTo>
                      <a:lnTo>
                        <a:pt x="0" y="10"/>
                      </a:lnTo>
                      <a:lnTo>
                        <a:pt x="0" y="9"/>
                      </a:lnTo>
                      <a:lnTo>
                        <a:pt x="0" y="9"/>
                      </a:lnTo>
                      <a:lnTo>
                        <a:pt x="1" y="3"/>
                      </a:lnTo>
                      <a:lnTo>
                        <a:pt x="1" y="3"/>
                      </a:lnTo>
                      <a:lnTo>
                        <a:pt x="1" y="3"/>
                      </a:lnTo>
                      <a:lnTo>
                        <a:pt x="1" y="2"/>
                      </a:lnTo>
                      <a:lnTo>
                        <a:pt x="1" y="1"/>
                      </a:lnTo>
                      <a:lnTo>
                        <a:pt x="1" y="1"/>
                      </a:lnTo>
                      <a:lnTo>
                        <a:pt x="2" y="1"/>
                      </a:lnTo>
                      <a:lnTo>
                        <a:pt x="3" y="1"/>
                      </a:lnTo>
                      <a:lnTo>
                        <a:pt x="5" y="0"/>
                      </a:lnTo>
                      <a:lnTo>
                        <a:pt x="5" y="1"/>
                      </a:lnTo>
                      <a:lnTo>
                        <a:pt x="5" y="1"/>
                      </a:lnTo>
                      <a:lnTo>
                        <a:pt x="6" y="2"/>
                      </a:lnTo>
                      <a:lnTo>
                        <a:pt x="6" y="2"/>
                      </a:lnTo>
                      <a:lnTo>
                        <a:pt x="5" y="8"/>
                      </a:lnTo>
                      <a:lnTo>
                        <a:pt x="5" y="9"/>
                      </a:lnTo>
                      <a:lnTo>
                        <a:pt x="6" y="12"/>
                      </a:lnTo>
                      <a:lnTo>
                        <a:pt x="7" y="13"/>
                      </a:lnTo>
                      <a:lnTo>
                        <a:pt x="7" y="13"/>
                      </a:lnTo>
                      <a:lnTo>
                        <a:pt x="7" y="14"/>
                      </a:lnTo>
                      <a:lnTo>
                        <a:pt x="7" y="14"/>
                      </a:lnTo>
                      <a:lnTo>
                        <a:pt x="7" y="14"/>
                      </a:lnTo>
                      <a:lnTo>
                        <a:pt x="7" y="15"/>
                      </a:lnTo>
                      <a:lnTo>
                        <a:pt x="7" y="15"/>
                      </a:lnTo>
                      <a:lnTo>
                        <a:pt x="7" y="15"/>
                      </a:lnTo>
                      <a:lnTo>
                        <a:pt x="8" y="15"/>
                      </a:lnTo>
                      <a:lnTo>
                        <a:pt x="8" y="16"/>
                      </a:lnTo>
                      <a:lnTo>
                        <a:pt x="8" y="17"/>
                      </a:lnTo>
                      <a:lnTo>
                        <a:pt x="8" y="17"/>
                      </a:lnTo>
                      <a:lnTo>
                        <a:pt x="8" y="17"/>
                      </a:lnTo>
                      <a:lnTo>
                        <a:pt x="8" y="19"/>
                      </a:lnTo>
                      <a:lnTo>
                        <a:pt x="8" y="19"/>
                      </a:lnTo>
                      <a:lnTo>
                        <a:pt x="8" y="19"/>
                      </a:lnTo>
                      <a:lnTo>
                        <a:pt x="8" y="19"/>
                      </a:lnTo>
                      <a:lnTo>
                        <a:pt x="7" y="19"/>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6" name="Freeform 84">
                  <a:extLst>
                    <a:ext uri="{FF2B5EF4-FFF2-40B4-BE49-F238E27FC236}">
                      <a16:creationId xmlns:a16="http://schemas.microsoft.com/office/drawing/2014/main" id="{C3EFE2F6-50D4-150B-9ECE-DB8A1FCBCD2A}"/>
                    </a:ext>
                  </a:extLst>
                </p:cNvPr>
                <p:cNvSpPr>
                  <a:spLocks/>
                </p:cNvSpPr>
                <p:nvPr/>
              </p:nvSpPr>
              <p:spPr bwMode="auto">
                <a:xfrm>
                  <a:off x="7662395" y="3362677"/>
                  <a:ext cx="58413" cy="61659"/>
                </a:xfrm>
                <a:custGeom>
                  <a:avLst/>
                  <a:gdLst>
                    <a:gd name="T0" fmla="*/ 37 w 54"/>
                    <a:gd name="T1" fmla="*/ 55 h 57"/>
                    <a:gd name="T2" fmla="*/ 35 w 54"/>
                    <a:gd name="T3" fmla="*/ 56 h 57"/>
                    <a:gd name="T4" fmla="*/ 32 w 54"/>
                    <a:gd name="T5" fmla="*/ 55 h 57"/>
                    <a:gd name="T6" fmla="*/ 28 w 54"/>
                    <a:gd name="T7" fmla="*/ 52 h 57"/>
                    <a:gd name="T8" fmla="*/ 21 w 54"/>
                    <a:gd name="T9" fmla="*/ 55 h 57"/>
                    <a:gd name="T10" fmla="*/ 19 w 54"/>
                    <a:gd name="T11" fmla="*/ 55 h 57"/>
                    <a:gd name="T12" fmla="*/ 17 w 54"/>
                    <a:gd name="T13" fmla="*/ 55 h 57"/>
                    <a:gd name="T14" fmla="*/ 13 w 54"/>
                    <a:gd name="T15" fmla="*/ 55 h 57"/>
                    <a:gd name="T16" fmla="*/ 8 w 54"/>
                    <a:gd name="T17" fmla="*/ 57 h 57"/>
                    <a:gd name="T18" fmla="*/ 6 w 54"/>
                    <a:gd name="T19" fmla="*/ 57 h 57"/>
                    <a:gd name="T20" fmla="*/ 5 w 54"/>
                    <a:gd name="T21" fmla="*/ 56 h 57"/>
                    <a:gd name="T22" fmla="*/ 0 w 54"/>
                    <a:gd name="T23" fmla="*/ 55 h 57"/>
                    <a:gd name="T24" fmla="*/ 3 w 54"/>
                    <a:gd name="T25" fmla="*/ 50 h 57"/>
                    <a:gd name="T26" fmla="*/ 1 w 54"/>
                    <a:gd name="T27" fmla="*/ 45 h 57"/>
                    <a:gd name="T28" fmla="*/ 0 w 54"/>
                    <a:gd name="T29" fmla="*/ 37 h 57"/>
                    <a:gd name="T30" fmla="*/ 3 w 54"/>
                    <a:gd name="T31" fmla="*/ 30 h 57"/>
                    <a:gd name="T32" fmla="*/ 5 w 54"/>
                    <a:gd name="T33" fmla="*/ 29 h 57"/>
                    <a:gd name="T34" fmla="*/ 6 w 54"/>
                    <a:gd name="T35" fmla="*/ 28 h 57"/>
                    <a:gd name="T36" fmla="*/ 12 w 54"/>
                    <a:gd name="T37" fmla="*/ 20 h 57"/>
                    <a:gd name="T38" fmla="*/ 18 w 54"/>
                    <a:gd name="T39" fmla="*/ 12 h 57"/>
                    <a:gd name="T40" fmla="*/ 22 w 54"/>
                    <a:gd name="T41" fmla="*/ 6 h 57"/>
                    <a:gd name="T42" fmla="*/ 30 w 54"/>
                    <a:gd name="T43" fmla="*/ 10 h 57"/>
                    <a:gd name="T44" fmla="*/ 33 w 54"/>
                    <a:gd name="T45" fmla="*/ 9 h 57"/>
                    <a:gd name="T46" fmla="*/ 34 w 54"/>
                    <a:gd name="T47" fmla="*/ 7 h 57"/>
                    <a:gd name="T48" fmla="*/ 36 w 54"/>
                    <a:gd name="T49" fmla="*/ 2 h 57"/>
                    <a:gd name="T50" fmla="*/ 44 w 54"/>
                    <a:gd name="T51" fmla="*/ 0 h 57"/>
                    <a:gd name="T52" fmla="*/ 46 w 54"/>
                    <a:gd name="T53" fmla="*/ 2 h 57"/>
                    <a:gd name="T54" fmla="*/ 50 w 54"/>
                    <a:gd name="T55" fmla="*/ 7 h 57"/>
                    <a:gd name="T56" fmla="*/ 51 w 54"/>
                    <a:gd name="T57" fmla="*/ 9 h 57"/>
                    <a:gd name="T58" fmla="*/ 51 w 54"/>
                    <a:gd name="T59" fmla="*/ 10 h 57"/>
                    <a:gd name="T60" fmla="*/ 54 w 54"/>
                    <a:gd name="T61" fmla="*/ 15 h 57"/>
                    <a:gd name="T62" fmla="*/ 54 w 54"/>
                    <a:gd name="T63" fmla="*/ 21 h 57"/>
                    <a:gd name="T64" fmla="*/ 51 w 54"/>
                    <a:gd name="T65" fmla="*/ 23 h 57"/>
                    <a:gd name="T66" fmla="*/ 47 w 54"/>
                    <a:gd name="T67" fmla="*/ 24 h 57"/>
                    <a:gd name="T68" fmla="*/ 43 w 54"/>
                    <a:gd name="T69" fmla="*/ 28 h 57"/>
                    <a:gd name="T70" fmla="*/ 42 w 54"/>
                    <a:gd name="T71" fmla="*/ 28 h 57"/>
                    <a:gd name="T72" fmla="*/ 40 w 54"/>
                    <a:gd name="T73" fmla="*/ 29 h 57"/>
                    <a:gd name="T74" fmla="*/ 37 w 54"/>
                    <a:gd name="T75" fmla="*/ 29 h 57"/>
                    <a:gd name="T76" fmla="*/ 32 w 54"/>
                    <a:gd name="T77" fmla="*/ 33 h 57"/>
                    <a:gd name="T78" fmla="*/ 28 w 54"/>
                    <a:gd name="T79" fmla="*/ 37 h 57"/>
                    <a:gd name="T80" fmla="*/ 26 w 54"/>
                    <a:gd name="T81" fmla="*/ 37 h 57"/>
                    <a:gd name="T82" fmla="*/ 25 w 54"/>
                    <a:gd name="T83" fmla="*/ 36 h 57"/>
                    <a:gd name="T84" fmla="*/ 25 w 54"/>
                    <a:gd name="T85" fmla="*/ 37 h 57"/>
                    <a:gd name="T86" fmla="*/ 26 w 54"/>
                    <a:gd name="T87" fmla="*/ 40 h 57"/>
                    <a:gd name="T88" fmla="*/ 28 w 54"/>
                    <a:gd name="T89" fmla="*/ 40 h 57"/>
                    <a:gd name="T90" fmla="*/ 29 w 54"/>
                    <a:gd name="T91" fmla="*/ 40 h 57"/>
                    <a:gd name="T92" fmla="*/ 29 w 54"/>
                    <a:gd name="T93" fmla="*/ 38 h 57"/>
                    <a:gd name="T94" fmla="*/ 32 w 54"/>
                    <a:gd name="T95" fmla="*/ 37 h 57"/>
                    <a:gd name="T96" fmla="*/ 35 w 54"/>
                    <a:gd name="T97" fmla="*/ 36 h 57"/>
                    <a:gd name="T98" fmla="*/ 36 w 54"/>
                    <a:gd name="T99" fmla="*/ 36 h 57"/>
                    <a:gd name="T100" fmla="*/ 43 w 54"/>
                    <a:gd name="T101" fmla="*/ 36 h 57"/>
                    <a:gd name="T102" fmla="*/ 44 w 54"/>
                    <a:gd name="T103" fmla="*/ 35 h 57"/>
                    <a:gd name="T104" fmla="*/ 46 w 54"/>
                    <a:gd name="T105" fmla="*/ 3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 h="57">
                      <a:moveTo>
                        <a:pt x="48" y="40"/>
                      </a:moveTo>
                      <a:lnTo>
                        <a:pt x="46" y="42"/>
                      </a:lnTo>
                      <a:lnTo>
                        <a:pt x="37" y="55"/>
                      </a:lnTo>
                      <a:lnTo>
                        <a:pt x="37" y="55"/>
                      </a:lnTo>
                      <a:lnTo>
                        <a:pt x="36" y="55"/>
                      </a:lnTo>
                      <a:lnTo>
                        <a:pt x="36" y="56"/>
                      </a:lnTo>
                      <a:lnTo>
                        <a:pt x="36" y="56"/>
                      </a:lnTo>
                      <a:lnTo>
                        <a:pt x="35" y="56"/>
                      </a:lnTo>
                      <a:lnTo>
                        <a:pt x="35" y="56"/>
                      </a:lnTo>
                      <a:lnTo>
                        <a:pt x="33" y="55"/>
                      </a:lnTo>
                      <a:lnTo>
                        <a:pt x="33" y="55"/>
                      </a:lnTo>
                      <a:lnTo>
                        <a:pt x="32" y="55"/>
                      </a:lnTo>
                      <a:lnTo>
                        <a:pt x="32" y="52"/>
                      </a:lnTo>
                      <a:lnTo>
                        <a:pt x="30" y="52"/>
                      </a:lnTo>
                      <a:lnTo>
                        <a:pt x="30" y="52"/>
                      </a:lnTo>
                      <a:lnTo>
                        <a:pt x="28" y="52"/>
                      </a:lnTo>
                      <a:lnTo>
                        <a:pt x="27" y="52"/>
                      </a:lnTo>
                      <a:lnTo>
                        <a:pt x="26" y="52"/>
                      </a:lnTo>
                      <a:lnTo>
                        <a:pt x="24" y="52"/>
                      </a:lnTo>
                      <a:lnTo>
                        <a:pt x="21" y="55"/>
                      </a:lnTo>
                      <a:lnTo>
                        <a:pt x="20" y="55"/>
                      </a:lnTo>
                      <a:lnTo>
                        <a:pt x="20" y="55"/>
                      </a:lnTo>
                      <a:lnTo>
                        <a:pt x="20" y="55"/>
                      </a:lnTo>
                      <a:lnTo>
                        <a:pt x="19" y="55"/>
                      </a:lnTo>
                      <a:lnTo>
                        <a:pt x="18" y="55"/>
                      </a:lnTo>
                      <a:lnTo>
                        <a:pt x="18" y="55"/>
                      </a:lnTo>
                      <a:lnTo>
                        <a:pt x="17" y="55"/>
                      </a:lnTo>
                      <a:lnTo>
                        <a:pt x="17" y="55"/>
                      </a:lnTo>
                      <a:lnTo>
                        <a:pt x="15" y="55"/>
                      </a:lnTo>
                      <a:lnTo>
                        <a:pt x="15" y="55"/>
                      </a:lnTo>
                      <a:lnTo>
                        <a:pt x="14" y="55"/>
                      </a:lnTo>
                      <a:lnTo>
                        <a:pt x="13" y="55"/>
                      </a:lnTo>
                      <a:lnTo>
                        <a:pt x="11" y="55"/>
                      </a:lnTo>
                      <a:lnTo>
                        <a:pt x="11" y="56"/>
                      </a:lnTo>
                      <a:lnTo>
                        <a:pt x="10" y="56"/>
                      </a:lnTo>
                      <a:lnTo>
                        <a:pt x="8" y="57"/>
                      </a:lnTo>
                      <a:lnTo>
                        <a:pt x="6" y="57"/>
                      </a:lnTo>
                      <a:lnTo>
                        <a:pt x="6" y="57"/>
                      </a:lnTo>
                      <a:lnTo>
                        <a:pt x="6" y="57"/>
                      </a:lnTo>
                      <a:lnTo>
                        <a:pt x="6" y="57"/>
                      </a:lnTo>
                      <a:lnTo>
                        <a:pt x="6" y="57"/>
                      </a:lnTo>
                      <a:lnTo>
                        <a:pt x="6" y="57"/>
                      </a:lnTo>
                      <a:lnTo>
                        <a:pt x="6" y="57"/>
                      </a:lnTo>
                      <a:lnTo>
                        <a:pt x="5" y="56"/>
                      </a:lnTo>
                      <a:lnTo>
                        <a:pt x="1" y="56"/>
                      </a:lnTo>
                      <a:lnTo>
                        <a:pt x="1" y="56"/>
                      </a:lnTo>
                      <a:lnTo>
                        <a:pt x="0" y="55"/>
                      </a:lnTo>
                      <a:lnTo>
                        <a:pt x="0" y="55"/>
                      </a:lnTo>
                      <a:lnTo>
                        <a:pt x="1" y="54"/>
                      </a:lnTo>
                      <a:lnTo>
                        <a:pt x="1" y="52"/>
                      </a:lnTo>
                      <a:lnTo>
                        <a:pt x="1" y="51"/>
                      </a:lnTo>
                      <a:lnTo>
                        <a:pt x="3" y="50"/>
                      </a:lnTo>
                      <a:lnTo>
                        <a:pt x="4" y="49"/>
                      </a:lnTo>
                      <a:lnTo>
                        <a:pt x="5" y="48"/>
                      </a:lnTo>
                      <a:lnTo>
                        <a:pt x="4" y="48"/>
                      </a:lnTo>
                      <a:lnTo>
                        <a:pt x="1" y="45"/>
                      </a:lnTo>
                      <a:lnTo>
                        <a:pt x="1" y="45"/>
                      </a:lnTo>
                      <a:lnTo>
                        <a:pt x="1" y="43"/>
                      </a:lnTo>
                      <a:lnTo>
                        <a:pt x="0" y="40"/>
                      </a:lnTo>
                      <a:lnTo>
                        <a:pt x="0" y="37"/>
                      </a:lnTo>
                      <a:lnTo>
                        <a:pt x="1" y="35"/>
                      </a:lnTo>
                      <a:lnTo>
                        <a:pt x="1" y="31"/>
                      </a:lnTo>
                      <a:lnTo>
                        <a:pt x="3" y="31"/>
                      </a:lnTo>
                      <a:lnTo>
                        <a:pt x="3" y="30"/>
                      </a:lnTo>
                      <a:lnTo>
                        <a:pt x="4" y="30"/>
                      </a:lnTo>
                      <a:lnTo>
                        <a:pt x="4" y="29"/>
                      </a:lnTo>
                      <a:lnTo>
                        <a:pt x="5" y="29"/>
                      </a:lnTo>
                      <a:lnTo>
                        <a:pt x="5" y="29"/>
                      </a:lnTo>
                      <a:lnTo>
                        <a:pt x="5" y="29"/>
                      </a:lnTo>
                      <a:lnTo>
                        <a:pt x="5" y="29"/>
                      </a:lnTo>
                      <a:lnTo>
                        <a:pt x="6" y="28"/>
                      </a:lnTo>
                      <a:lnTo>
                        <a:pt x="6" y="28"/>
                      </a:lnTo>
                      <a:lnTo>
                        <a:pt x="7" y="27"/>
                      </a:lnTo>
                      <a:lnTo>
                        <a:pt x="10" y="22"/>
                      </a:lnTo>
                      <a:lnTo>
                        <a:pt x="12" y="20"/>
                      </a:lnTo>
                      <a:lnTo>
                        <a:pt x="12" y="20"/>
                      </a:lnTo>
                      <a:lnTo>
                        <a:pt x="13" y="20"/>
                      </a:lnTo>
                      <a:lnTo>
                        <a:pt x="13" y="19"/>
                      </a:lnTo>
                      <a:lnTo>
                        <a:pt x="13" y="17"/>
                      </a:lnTo>
                      <a:lnTo>
                        <a:pt x="18" y="12"/>
                      </a:lnTo>
                      <a:lnTo>
                        <a:pt x="19" y="10"/>
                      </a:lnTo>
                      <a:lnTo>
                        <a:pt x="20" y="7"/>
                      </a:lnTo>
                      <a:lnTo>
                        <a:pt x="22" y="6"/>
                      </a:lnTo>
                      <a:lnTo>
                        <a:pt x="22" y="6"/>
                      </a:lnTo>
                      <a:lnTo>
                        <a:pt x="24" y="6"/>
                      </a:lnTo>
                      <a:lnTo>
                        <a:pt x="25" y="7"/>
                      </a:lnTo>
                      <a:lnTo>
                        <a:pt x="30" y="10"/>
                      </a:lnTo>
                      <a:lnTo>
                        <a:pt x="30" y="10"/>
                      </a:lnTo>
                      <a:lnTo>
                        <a:pt x="30" y="10"/>
                      </a:lnTo>
                      <a:lnTo>
                        <a:pt x="32" y="10"/>
                      </a:lnTo>
                      <a:lnTo>
                        <a:pt x="32" y="9"/>
                      </a:lnTo>
                      <a:lnTo>
                        <a:pt x="33" y="9"/>
                      </a:lnTo>
                      <a:lnTo>
                        <a:pt x="33" y="9"/>
                      </a:lnTo>
                      <a:lnTo>
                        <a:pt x="34" y="9"/>
                      </a:lnTo>
                      <a:lnTo>
                        <a:pt x="34" y="8"/>
                      </a:lnTo>
                      <a:lnTo>
                        <a:pt x="34" y="7"/>
                      </a:lnTo>
                      <a:lnTo>
                        <a:pt x="34" y="6"/>
                      </a:lnTo>
                      <a:lnTo>
                        <a:pt x="35" y="5"/>
                      </a:lnTo>
                      <a:lnTo>
                        <a:pt x="35" y="2"/>
                      </a:lnTo>
                      <a:lnTo>
                        <a:pt x="36" y="2"/>
                      </a:lnTo>
                      <a:lnTo>
                        <a:pt x="36" y="2"/>
                      </a:lnTo>
                      <a:lnTo>
                        <a:pt x="36" y="2"/>
                      </a:lnTo>
                      <a:lnTo>
                        <a:pt x="37" y="2"/>
                      </a:lnTo>
                      <a:lnTo>
                        <a:pt x="44" y="0"/>
                      </a:lnTo>
                      <a:lnTo>
                        <a:pt x="44" y="0"/>
                      </a:lnTo>
                      <a:lnTo>
                        <a:pt x="44" y="1"/>
                      </a:lnTo>
                      <a:lnTo>
                        <a:pt x="46" y="1"/>
                      </a:lnTo>
                      <a:lnTo>
                        <a:pt x="46" y="2"/>
                      </a:lnTo>
                      <a:lnTo>
                        <a:pt x="49" y="6"/>
                      </a:lnTo>
                      <a:lnTo>
                        <a:pt x="49" y="7"/>
                      </a:lnTo>
                      <a:lnTo>
                        <a:pt x="50" y="7"/>
                      </a:lnTo>
                      <a:lnTo>
                        <a:pt x="50" y="7"/>
                      </a:lnTo>
                      <a:lnTo>
                        <a:pt x="50" y="7"/>
                      </a:lnTo>
                      <a:lnTo>
                        <a:pt x="50" y="8"/>
                      </a:lnTo>
                      <a:lnTo>
                        <a:pt x="50" y="8"/>
                      </a:lnTo>
                      <a:lnTo>
                        <a:pt x="51" y="9"/>
                      </a:lnTo>
                      <a:lnTo>
                        <a:pt x="51" y="9"/>
                      </a:lnTo>
                      <a:lnTo>
                        <a:pt x="51" y="10"/>
                      </a:lnTo>
                      <a:lnTo>
                        <a:pt x="51" y="10"/>
                      </a:lnTo>
                      <a:lnTo>
                        <a:pt x="51" y="10"/>
                      </a:lnTo>
                      <a:lnTo>
                        <a:pt x="51" y="12"/>
                      </a:lnTo>
                      <a:lnTo>
                        <a:pt x="51" y="13"/>
                      </a:lnTo>
                      <a:lnTo>
                        <a:pt x="53" y="13"/>
                      </a:lnTo>
                      <a:lnTo>
                        <a:pt x="54" y="15"/>
                      </a:lnTo>
                      <a:lnTo>
                        <a:pt x="54" y="15"/>
                      </a:lnTo>
                      <a:lnTo>
                        <a:pt x="54" y="17"/>
                      </a:lnTo>
                      <a:lnTo>
                        <a:pt x="54" y="20"/>
                      </a:lnTo>
                      <a:lnTo>
                        <a:pt x="54" y="21"/>
                      </a:lnTo>
                      <a:lnTo>
                        <a:pt x="53" y="22"/>
                      </a:lnTo>
                      <a:lnTo>
                        <a:pt x="53" y="22"/>
                      </a:lnTo>
                      <a:lnTo>
                        <a:pt x="51" y="23"/>
                      </a:lnTo>
                      <a:lnTo>
                        <a:pt x="51" y="23"/>
                      </a:lnTo>
                      <a:lnTo>
                        <a:pt x="50" y="23"/>
                      </a:lnTo>
                      <a:lnTo>
                        <a:pt x="49" y="23"/>
                      </a:lnTo>
                      <a:lnTo>
                        <a:pt x="49" y="24"/>
                      </a:lnTo>
                      <a:lnTo>
                        <a:pt x="47" y="24"/>
                      </a:lnTo>
                      <a:lnTo>
                        <a:pt x="47" y="24"/>
                      </a:lnTo>
                      <a:lnTo>
                        <a:pt x="46" y="24"/>
                      </a:lnTo>
                      <a:lnTo>
                        <a:pt x="43" y="28"/>
                      </a:lnTo>
                      <a:lnTo>
                        <a:pt x="43" y="28"/>
                      </a:lnTo>
                      <a:lnTo>
                        <a:pt x="43" y="28"/>
                      </a:lnTo>
                      <a:lnTo>
                        <a:pt x="42" y="28"/>
                      </a:lnTo>
                      <a:lnTo>
                        <a:pt x="42" y="28"/>
                      </a:lnTo>
                      <a:lnTo>
                        <a:pt x="42" y="28"/>
                      </a:lnTo>
                      <a:lnTo>
                        <a:pt x="42" y="29"/>
                      </a:lnTo>
                      <a:lnTo>
                        <a:pt x="42" y="29"/>
                      </a:lnTo>
                      <a:lnTo>
                        <a:pt x="41" y="29"/>
                      </a:lnTo>
                      <a:lnTo>
                        <a:pt x="40" y="29"/>
                      </a:lnTo>
                      <a:lnTo>
                        <a:pt x="39" y="29"/>
                      </a:lnTo>
                      <a:lnTo>
                        <a:pt x="39" y="30"/>
                      </a:lnTo>
                      <a:lnTo>
                        <a:pt x="39" y="30"/>
                      </a:lnTo>
                      <a:lnTo>
                        <a:pt x="37" y="29"/>
                      </a:lnTo>
                      <a:lnTo>
                        <a:pt x="36" y="30"/>
                      </a:lnTo>
                      <a:lnTo>
                        <a:pt x="34" y="30"/>
                      </a:lnTo>
                      <a:lnTo>
                        <a:pt x="33" y="31"/>
                      </a:lnTo>
                      <a:lnTo>
                        <a:pt x="32" y="33"/>
                      </a:lnTo>
                      <a:lnTo>
                        <a:pt x="30" y="36"/>
                      </a:lnTo>
                      <a:lnTo>
                        <a:pt x="29" y="36"/>
                      </a:lnTo>
                      <a:lnTo>
                        <a:pt x="29" y="36"/>
                      </a:lnTo>
                      <a:lnTo>
                        <a:pt x="28" y="37"/>
                      </a:lnTo>
                      <a:lnTo>
                        <a:pt x="28" y="37"/>
                      </a:lnTo>
                      <a:lnTo>
                        <a:pt x="27" y="37"/>
                      </a:lnTo>
                      <a:lnTo>
                        <a:pt x="27" y="37"/>
                      </a:lnTo>
                      <a:lnTo>
                        <a:pt x="26" y="37"/>
                      </a:lnTo>
                      <a:lnTo>
                        <a:pt x="26" y="36"/>
                      </a:lnTo>
                      <a:lnTo>
                        <a:pt x="26" y="36"/>
                      </a:lnTo>
                      <a:lnTo>
                        <a:pt x="26" y="36"/>
                      </a:lnTo>
                      <a:lnTo>
                        <a:pt x="25" y="36"/>
                      </a:lnTo>
                      <a:lnTo>
                        <a:pt x="25" y="36"/>
                      </a:lnTo>
                      <a:lnTo>
                        <a:pt x="25" y="36"/>
                      </a:lnTo>
                      <a:lnTo>
                        <a:pt x="25" y="36"/>
                      </a:lnTo>
                      <a:lnTo>
                        <a:pt x="25" y="37"/>
                      </a:lnTo>
                      <a:lnTo>
                        <a:pt x="25" y="37"/>
                      </a:lnTo>
                      <a:lnTo>
                        <a:pt x="25" y="38"/>
                      </a:lnTo>
                      <a:lnTo>
                        <a:pt x="26" y="38"/>
                      </a:lnTo>
                      <a:lnTo>
                        <a:pt x="26" y="40"/>
                      </a:lnTo>
                      <a:lnTo>
                        <a:pt x="27" y="40"/>
                      </a:lnTo>
                      <a:lnTo>
                        <a:pt x="27" y="40"/>
                      </a:lnTo>
                      <a:lnTo>
                        <a:pt x="28" y="40"/>
                      </a:lnTo>
                      <a:lnTo>
                        <a:pt x="28" y="40"/>
                      </a:lnTo>
                      <a:lnTo>
                        <a:pt x="28" y="40"/>
                      </a:lnTo>
                      <a:lnTo>
                        <a:pt x="29" y="40"/>
                      </a:lnTo>
                      <a:lnTo>
                        <a:pt x="29" y="40"/>
                      </a:lnTo>
                      <a:lnTo>
                        <a:pt x="29" y="40"/>
                      </a:lnTo>
                      <a:lnTo>
                        <a:pt x="29" y="40"/>
                      </a:lnTo>
                      <a:lnTo>
                        <a:pt x="30" y="38"/>
                      </a:lnTo>
                      <a:lnTo>
                        <a:pt x="29" y="38"/>
                      </a:lnTo>
                      <a:lnTo>
                        <a:pt x="29" y="38"/>
                      </a:lnTo>
                      <a:lnTo>
                        <a:pt x="29" y="38"/>
                      </a:lnTo>
                      <a:lnTo>
                        <a:pt x="29" y="37"/>
                      </a:lnTo>
                      <a:lnTo>
                        <a:pt x="30" y="37"/>
                      </a:lnTo>
                      <a:lnTo>
                        <a:pt x="32" y="37"/>
                      </a:lnTo>
                      <a:lnTo>
                        <a:pt x="34" y="36"/>
                      </a:lnTo>
                      <a:lnTo>
                        <a:pt x="35" y="36"/>
                      </a:lnTo>
                      <a:lnTo>
                        <a:pt x="35" y="36"/>
                      </a:lnTo>
                      <a:lnTo>
                        <a:pt x="35" y="36"/>
                      </a:lnTo>
                      <a:lnTo>
                        <a:pt x="35" y="36"/>
                      </a:lnTo>
                      <a:lnTo>
                        <a:pt x="36" y="36"/>
                      </a:lnTo>
                      <a:lnTo>
                        <a:pt x="36" y="36"/>
                      </a:lnTo>
                      <a:lnTo>
                        <a:pt x="36" y="36"/>
                      </a:lnTo>
                      <a:lnTo>
                        <a:pt x="41" y="36"/>
                      </a:lnTo>
                      <a:lnTo>
                        <a:pt x="42" y="36"/>
                      </a:lnTo>
                      <a:lnTo>
                        <a:pt x="42" y="36"/>
                      </a:lnTo>
                      <a:lnTo>
                        <a:pt x="43" y="36"/>
                      </a:lnTo>
                      <a:lnTo>
                        <a:pt x="44" y="36"/>
                      </a:lnTo>
                      <a:lnTo>
                        <a:pt x="44" y="36"/>
                      </a:lnTo>
                      <a:lnTo>
                        <a:pt x="44" y="35"/>
                      </a:lnTo>
                      <a:lnTo>
                        <a:pt x="44" y="35"/>
                      </a:lnTo>
                      <a:lnTo>
                        <a:pt x="46" y="36"/>
                      </a:lnTo>
                      <a:lnTo>
                        <a:pt x="46" y="37"/>
                      </a:lnTo>
                      <a:lnTo>
                        <a:pt x="46" y="37"/>
                      </a:lnTo>
                      <a:lnTo>
                        <a:pt x="46" y="38"/>
                      </a:lnTo>
                      <a:lnTo>
                        <a:pt x="47" y="38"/>
                      </a:lnTo>
                      <a:lnTo>
                        <a:pt x="47" y="38"/>
                      </a:lnTo>
                      <a:lnTo>
                        <a:pt x="48" y="4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7" name="Freeform 87">
                  <a:extLst>
                    <a:ext uri="{FF2B5EF4-FFF2-40B4-BE49-F238E27FC236}">
                      <a16:creationId xmlns:a16="http://schemas.microsoft.com/office/drawing/2014/main" id="{E4FA3963-9C52-F05D-65BF-1857D7E8E310}"/>
                    </a:ext>
                  </a:extLst>
                </p:cNvPr>
                <p:cNvSpPr>
                  <a:spLocks noEditPoints="1"/>
                </p:cNvSpPr>
                <p:nvPr/>
              </p:nvSpPr>
              <p:spPr bwMode="auto">
                <a:xfrm>
                  <a:off x="7480663" y="3172294"/>
                  <a:ext cx="229328" cy="201202"/>
                </a:xfrm>
                <a:custGeom>
                  <a:avLst/>
                  <a:gdLst>
                    <a:gd name="T0" fmla="*/ 118 w 212"/>
                    <a:gd name="T1" fmla="*/ 73 h 186"/>
                    <a:gd name="T2" fmla="*/ 122 w 212"/>
                    <a:gd name="T3" fmla="*/ 77 h 186"/>
                    <a:gd name="T4" fmla="*/ 125 w 212"/>
                    <a:gd name="T5" fmla="*/ 80 h 186"/>
                    <a:gd name="T6" fmla="*/ 111 w 212"/>
                    <a:gd name="T7" fmla="*/ 77 h 186"/>
                    <a:gd name="T8" fmla="*/ 112 w 212"/>
                    <a:gd name="T9" fmla="*/ 76 h 186"/>
                    <a:gd name="T10" fmla="*/ 114 w 212"/>
                    <a:gd name="T11" fmla="*/ 71 h 186"/>
                    <a:gd name="T12" fmla="*/ 115 w 212"/>
                    <a:gd name="T13" fmla="*/ 64 h 186"/>
                    <a:gd name="T14" fmla="*/ 81 w 212"/>
                    <a:gd name="T15" fmla="*/ 23 h 186"/>
                    <a:gd name="T16" fmla="*/ 84 w 212"/>
                    <a:gd name="T17" fmla="*/ 35 h 186"/>
                    <a:gd name="T18" fmla="*/ 87 w 212"/>
                    <a:gd name="T19" fmla="*/ 48 h 186"/>
                    <a:gd name="T20" fmla="*/ 88 w 212"/>
                    <a:gd name="T21" fmla="*/ 57 h 186"/>
                    <a:gd name="T22" fmla="*/ 96 w 212"/>
                    <a:gd name="T23" fmla="*/ 76 h 186"/>
                    <a:gd name="T24" fmla="*/ 97 w 212"/>
                    <a:gd name="T25" fmla="*/ 83 h 186"/>
                    <a:gd name="T26" fmla="*/ 104 w 212"/>
                    <a:gd name="T27" fmla="*/ 97 h 186"/>
                    <a:gd name="T28" fmla="*/ 108 w 212"/>
                    <a:gd name="T29" fmla="*/ 91 h 186"/>
                    <a:gd name="T30" fmla="*/ 108 w 212"/>
                    <a:gd name="T31" fmla="*/ 84 h 186"/>
                    <a:gd name="T32" fmla="*/ 115 w 212"/>
                    <a:gd name="T33" fmla="*/ 91 h 186"/>
                    <a:gd name="T34" fmla="*/ 118 w 212"/>
                    <a:gd name="T35" fmla="*/ 99 h 186"/>
                    <a:gd name="T36" fmla="*/ 128 w 212"/>
                    <a:gd name="T37" fmla="*/ 100 h 186"/>
                    <a:gd name="T38" fmla="*/ 133 w 212"/>
                    <a:gd name="T39" fmla="*/ 101 h 186"/>
                    <a:gd name="T40" fmla="*/ 138 w 212"/>
                    <a:gd name="T41" fmla="*/ 109 h 186"/>
                    <a:gd name="T42" fmla="*/ 151 w 212"/>
                    <a:gd name="T43" fmla="*/ 112 h 186"/>
                    <a:gd name="T44" fmla="*/ 157 w 212"/>
                    <a:gd name="T45" fmla="*/ 121 h 186"/>
                    <a:gd name="T46" fmla="*/ 164 w 212"/>
                    <a:gd name="T47" fmla="*/ 130 h 186"/>
                    <a:gd name="T48" fmla="*/ 172 w 212"/>
                    <a:gd name="T49" fmla="*/ 136 h 186"/>
                    <a:gd name="T50" fmla="*/ 179 w 212"/>
                    <a:gd name="T51" fmla="*/ 142 h 186"/>
                    <a:gd name="T52" fmla="*/ 183 w 212"/>
                    <a:gd name="T53" fmla="*/ 148 h 186"/>
                    <a:gd name="T54" fmla="*/ 187 w 212"/>
                    <a:gd name="T55" fmla="*/ 150 h 186"/>
                    <a:gd name="T56" fmla="*/ 193 w 212"/>
                    <a:gd name="T57" fmla="*/ 158 h 186"/>
                    <a:gd name="T58" fmla="*/ 201 w 212"/>
                    <a:gd name="T59" fmla="*/ 168 h 186"/>
                    <a:gd name="T60" fmla="*/ 205 w 212"/>
                    <a:gd name="T61" fmla="*/ 172 h 186"/>
                    <a:gd name="T62" fmla="*/ 210 w 212"/>
                    <a:gd name="T63" fmla="*/ 171 h 186"/>
                    <a:gd name="T64" fmla="*/ 202 w 212"/>
                    <a:gd name="T65" fmla="*/ 183 h 186"/>
                    <a:gd name="T66" fmla="*/ 188 w 212"/>
                    <a:gd name="T67" fmla="*/ 183 h 186"/>
                    <a:gd name="T68" fmla="*/ 169 w 212"/>
                    <a:gd name="T69" fmla="*/ 161 h 186"/>
                    <a:gd name="T70" fmla="*/ 143 w 212"/>
                    <a:gd name="T71" fmla="*/ 134 h 186"/>
                    <a:gd name="T72" fmla="*/ 119 w 212"/>
                    <a:gd name="T73" fmla="*/ 119 h 186"/>
                    <a:gd name="T74" fmla="*/ 107 w 212"/>
                    <a:gd name="T75" fmla="*/ 116 h 186"/>
                    <a:gd name="T76" fmla="*/ 96 w 212"/>
                    <a:gd name="T77" fmla="*/ 116 h 186"/>
                    <a:gd name="T78" fmla="*/ 84 w 212"/>
                    <a:gd name="T79" fmla="*/ 112 h 186"/>
                    <a:gd name="T80" fmla="*/ 74 w 212"/>
                    <a:gd name="T81" fmla="*/ 118 h 186"/>
                    <a:gd name="T82" fmla="*/ 60 w 212"/>
                    <a:gd name="T83" fmla="*/ 116 h 186"/>
                    <a:gd name="T84" fmla="*/ 55 w 212"/>
                    <a:gd name="T85" fmla="*/ 109 h 186"/>
                    <a:gd name="T86" fmla="*/ 45 w 212"/>
                    <a:gd name="T87" fmla="*/ 107 h 186"/>
                    <a:gd name="T88" fmla="*/ 32 w 212"/>
                    <a:gd name="T89" fmla="*/ 126 h 186"/>
                    <a:gd name="T90" fmla="*/ 24 w 212"/>
                    <a:gd name="T91" fmla="*/ 118 h 186"/>
                    <a:gd name="T92" fmla="*/ 16 w 212"/>
                    <a:gd name="T93" fmla="*/ 122 h 186"/>
                    <a:gd name="T94" fmla="*/ 3 w 212"/>
                    <a:gd name="T95" fmla="*/ 123 h 186"/>
                    <a:gd name="T96" fmla="*/ 3 w 212"/>
                    <a:gd name="T97" fmla="*/ 91 h 186"/>
                    <a:gd name="T98" fmla="*/ 13 w 212"/>
                    <a:gd name="T99" fmla="*/ 63 h 186"/>
                    <a:gd name="T100" fmla="*/ 15 w 212"/>
                    <a:gd name="T101" fmla="*/ 50 h 186"/>
                    <a:gd name="T102" fmla="*/ 18 w 212"/>
                    <a:gd name="T103" fmla="*/ 39 h 186"/>
                    <a:gd name="T104" fmla="*/ 19 w 212"/>
                    <a:gd name="T105" fmla="*/ 31 h 186"/>
                    <a:gd name="T106" fmla="*/ 33 w 212"/>
                    <a:gd name="T107" fmla="*/ 29 h 186"/>
                    <a:gd name="T108" fmla="*/ 45 w 212"/>
                    <a:gd name="T109" fmla="*/ 19 h 186"/>
                    <a:gd name="T110" fmla="*/ 54 w 212"/>
                    <a:gd name="T111" fmla="*/ 15 h 186"/>
                    <a:gd name="T112" fmla="*/ 64 w 212"/>
                    <a:gd name="T113" fmla="*/ 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2" h="186">
                      <a:moveTo>
                        <a:pt x="115" y="71"/>
                      </a:moveTo>
                      <a:lnTo>
                        <a:pt x="116" y="71"/>
                      </a:lnTo>
                      <a:lnTo>
                        <a:pt x="116" y="72"/>
                      </a:lnTo>
                      <a:lnTo>
                        <a:pt x="117" y="72"/>
                      </a:lnTo>
                      <a:lnTo>
                        <a:pt x="117" y="73"/>
                      </a:lnTo>
                      <a:lnTo>
                        <a:pt x="116" y="73"/>
                      </a:lnTo>
                      <a:lnTo>
                        <a:pt x="116" y="74"/>
                      </a:lnTo>
                      <a:lnTo>
                        <a:pt x="117" y="74"/>
                      </a:lnTo>
                      <a:lnTo>
                        <a:pt x="117" y="73"/>
                      </a:lnTo>
                      <a:lnTo>
                        <a:pt x="118" y="73"/>
                      </a:lnTo>
                      <a:lnTo>
                        <a:pt x="118" y="74"/>
                      </a:lnTo>
                      <a:lnTo>
                        <a:pt x="118" y="77"/>
                      </a:lnTo>
                      <a:lnTo>
                        <a:pt x="118" y="78"/>
                      </a:lnTo>
                      <a:lnTo>
                        <a:pt x="118" y="79"/>
                      </a:lnTo>
                      <a:lnTo>
                        <a:pt x="119" y="79"/>
                      </a:lnTo>
                      <a:lnTo>
                        <a:pt x="121" y="79"/>
                      </a:lnTo>
                      <a:lnTo>
                        <a:pt x="122" y="78"/>
                      </a:lnTo>
                      <a:lnTo>
                        <a:pt x="121" y="78"/>
                      </a:lnTo>
                      <a:lnTo>
                        <a:pt x="121" y="77"/>
                      </a:lnTo>
                      <a:lnTo>
                        <a:pt x="122" y="77"/>
                      </a:lnTo>
                      <a:lnTo>
                        <a:pt x="123" y="77"/>
                      </a:lnTo>
                      <a:lnTo>
                        <a:pt x="124" y="77"/>
                      </a:lnTo>
                      <a:lnTo>
                        <a:pt x="124" y="78"/>
                      </a:lnTo>
                      <a:lnTo>
                        <a:pt x="125" y="78"/>
                      </a:lnTo>
                      <a:lnTo>
                        <a:pt x="125" y="79"/>
                      </a:lnTo>
                      <a:lnTo>
                        <a:pt x="126" y="79"/>
                      </a:lnTo>
                      <a:lnTo>
                        <a:pt x="126" y="80"/>
                      </a:lnTo>
                      <a:lnTo>
                        <a:pt x="126" y="81"/>
                      </a:lnTo>
                      <a:lnTo>
                        <a:pt x="125" y="81"/>
                      </a:lnTo>
                      <a:lnTo>
                        <a:pt x="125" y="80"/>
                      </a:lnTo>
                      <a:lnTo>
                        <a:pt x="123" y="81"/>
                      </a:lnTo>
                      <a:lnTo>
                        <a:pt x="122" y="81"/>
                      </a:lnTo>
                      <a:lnTo>
                        <a:pt x="121" y="80"/>
                      </a:lnTo>
                      <a:lnTo>
                        <a:pt x="118" y="80"/>
                      </a:lnTo>
                      <a:lnTo>
                        <a:pt x="117" y="80"/>
                      </a:lnTo>
                      <a:lnTo>
                        <a:pt x="116" y="80"/>
                      </a:lnTo>
                      <a:lnTo>
                        <a:pt x="114" y="80"/>
                      </a:lnTo>
                      <a:lnTo>
                        <a:pt x="112" y="80"/>
                      </a:lnTo>
                      <a:lnTo>
                        <a:pt x="112" y="79"/>
                      </a:lnTo>
                      <a:lnTo>
                        <a:pt x="111" y="77"/>
                      </a:lnTo>
                      <a:lnTo>
                        <a:pt x="112" y="77"/>
                      </a:lnTo>
                      <a:lnTo>
                        <a:pt x="112" y="78"/>
                      </a:lnTo>
                      <a:lnTo>
                        <a:pt x="114" y="78"/>
                      </a:lnTo>
                      <a:lnTo>
                        <a:pt x="114" y="79"/>
                      </a:lnTo>
                      <a:lnTo>
                        <a:pt x="115" y="79"/>
                      </a:lnTo>
                      <a:lnTo>
                        <a:pt x="116" y="78"/>
                      </a:lnTo>
                      <a:lnTo>
                        <a:pt x="116" y="77"/>
                      </a:lnTo>
                      <a:lnTo>
                        <a:pt x="115" y="77"/>
                      </a:lnTo>
                      <a:lnTo>
                        <a:pt x="114" y="76"/>
                      </a:lnTo>
                      <a:lnTo>
                        <a:pt x="112" y="76"/>
                      </a:lnTo>
                      <a:lnTo>
                        <a:pt x="111" y="76"/>
                      </a:lnTo>
                      <a:lnTo>
                        <a:pt x="111" y="74"/>
                      </a:lnTo>
                      <a:lnTo>
                        <a:pt x="112" y="74"/>
                      </a:lnTo>
                      <a:lnTo>
                        <a:pt x="114" y="74"/>
                      </a:lnTo>
                      <a:lnTo>
                        <a:pt x="112" y="73"/>
                      </a:lnTo>
                      <a:lnTo>
                        <a:pt x="114" y="73"/>
                      </a:lnTo>
                      <a:lnTo>
                        <a:pt x="115" y="73"/>
                      </a:lnTo>
                      <a:lnTo>
                        <a:pt x="115" y="72"/>
                      </a:lnTo>
                      <a:lnTo>
                        <a:pt x="115" y="71"/>
                      </a:lnTo>
                      <a:lnTo>
                        <a:pt x="114" y="71"/>
                      </a:lnTo>
                      <a:lnTo>
                        <a:pt x="112" y="71"/>
                      </a:lnTo>
                      <a:lnTo>
                        <a:pt x="114" y="71"/>
                      </a:lnTo>
                      <a:lnTo>
                        <a:pt x="115" y="71"/>
                      </a:lnTo>
                      <a:close/>
                      <a:moveTo>
                        <a:pt x="117" y="67"/>
                      </a:moveTo>
                      <a:lnTo>
                        <a:pt x="116" y="67"/>
                      </a:lnTo>
                      <a:lnTo>
                        <a:pt x="115" y="67"/>
                      </a:lnTo>
                      <a:lnTo>
                        <a:pt x="114" y="66"/>
                      </a:lnTo>
                      <a:lnTo>
                        <a:pt x="114" y="65"/>
                      </a:lnTo>
                      <a:lnTo>
                        <a:pt x="115" y="65"/>
                      </a:lnTo>
                      <a:lnTo>
                        <a:pt x="115" y="64"/>
                      </a:lnTo>
                      <a:lnTo>
                        <a:pt x="116" y="64"/>
                      </a:lnTo>
                      <a:lnTo>
                        <a:pt x="117" y="64"/>
                      </a:lnTo>
                      <a:lnTo>
                        <a:pt x="117" y="65"/>
                      </a:lnTo>
                      <a:lnTo>
                        <a:pt x="116" y="66"/>
                      </a:lnTo>
                      <a:lnTo>
                        <a:pt x="117" y="66"/>
                      </a:lnTo>
                      <a:lnTo>
                        <a:pt x="117" y="67"/>
                      </a:lnTo>
                      <a:close/>
                      <a:moveTo>
                        <a:pt x="75" y="12"/>
                      </a:moveTo>
                      <a:lnTo>
                        <a:pt x="77" y="16"/>
                      </a:lnTo>
                      <a:lnTo>
                        <a:pt x="80" y="21"/>
                      </a:lnTo>
                      <a:lnTo>
                        <a:pt x="81" y="23"/>
                      </a:lnTo>
                      <a:lnTo>
                        <a:pt x="81" y="24"/>
                      </a:lnTo>
                      <a:lnTo>
                        <a:pt x="81" y="25"/>
                      </a:lnTo>
                      <a:lnTo>
                        <a:pt x="81" y="27"/>
                      </a:lnTo>
                      <a:lnTo>
                        <a:pt x="82" y="27"/>
                      </a:lnTo>
                      <a:lnTo>
                        <a:pt x="82" y="28"/>
                      </a:lnTo>
                      <a:lnTo>
                        <a:pt x="82" y="29"/>
                      </a:lnTo>
                      <a:lnTo>
                        <a:pt x="83" y="30"/>
                      </a:lnTo>
                      <a:lnTo>
                        <a:pt x="83" y="32"/>
                      </a:lnTo>
                      <a:lnTo>
                        <a:pt x="83" y="34"/>
                      </a:lnTo>
                      <a:lnTo>
                        <a:pt x="84" y="35"/>
                      </a:lnTo>
                      <a:lnTo>
                        <a:pt x="84" y="36"/>
                      </a:lnTo>
                      <a:lnTo>
                        <a:pt x="84" y="37"/>
                      </a:lnTo>
                      <a:lnTo>
                        <a:pt x="84" y="38"/>
                      </a:lnTo>
                      <a:lnTo>
                        <a:pt x="86" y="41"/>
                      </a:lnTo>
                      <a:lnTo>
                        <a:pt x="87" y="43"/>
                      </a:lnTo>
                      <a:lnTo>
                        <a:pt x="86" y="43"/>
                      </a:lnTo>
                      <a:lnTo>
                        <a:pt x="87" y="44"/>
                      </a:lnTo>
                      <a:lnTo>
                        <a:pt x="87" y="45"/>
                      </a:lnTo>
                      <a:lnTo>
                        <a:pt x="87" y="46"/>
                      </a:lnTo>
                      <a:lnTo>
                        <a:pt x="87" y="48"/>
                      </a:lnTo>
                      <a:lnTo>
                        <a:pt x="87" y="49"/>
                      </a:lnTo>
                      <a:lnTo>
                        <a:pt x="87" y="50"/>
                      </a:lnTo>
                      <a:lnTo>
                        <a:pt x="88" y="50"/>
                      </a:lnTo>
                      <a:lnTo>
                        <a:pt x="87" y="51"/>
                      </a:lnTo>
                      <a:lnTo>
                        <a:pt x="88" y="51"/>
                      </a:lnTo>
                      <a:lnTo>
                        <a:pt x="88" y="52"/>
                      </a:lnTo>
                      <a:lnTo>
                        <a:pt x="88" y="53"/>
                      </a:lnTo>
                      <a:lnTo>
                        <a:pt x="88" y="55"/>
                      </a:lnTo>
                      <a:lnTo>
                        <a:pt x="88" y="56"/>
                      </a:lnTo>
                      <a:lnTo>
                        <a:pt x="88" y="57"/>
                      </a:lnTo>
                      <a:lnTo>
                        <a:pt x="89" y="62"/>
                      </a:lnTo>
                      <a:lnTo>
                        <a:pt x="89" y="63"/>
                      </a:lnTo>
                      <a:lnTo>
                        <a:pt x="90" y="65"/>
                      </a:lnTo>
                      <a:lnTo>
                        <a:pt x="91" y="70"/>
                      </a:lnTo>
                      <a:lnTo>
                        <a:pt x="91" y="71"/>
                      </a:lnTo>
                      <a:lnTo>
                        <a:pt x="94" y="72"/>
                      </a:lnTo>
                      <a:lnTo>
                        <a:pt x="95" y="73"/>
                      </a:lnTo>
                      <a:lnTo>
                        <a:pt x="96" y="73"/>
                      </a:lnTo>
                      <a:lnTo>
                        <a:pt x="95" y="74"/>
                      </a:lnTo>
                      <a:lnTo>
                        <a:pt x="96" y="76"/>
                      </a:lnTo>
                      <a:lnTo>
                        <a:pt x="96" y="77"/>
                      </a:lnTo>
                      <a:lnTo>
                        <a:pt x="97" y="78"/>
                      </a:lnTo>
                      <a:lnTo>
                        <a:pt x="96" y="78"/>
                      </a:lnTo>
                      <a:lnTo>
                        <a:pt x="96" y="79"/>
                      </a:lnTo>
                      <a:lnTo>
                        <a:pt x="97" y="79"/>
                      </a:lnTo>
                      <a:lnTo>
                        <a:pt x="96" y="80"/>
                      </a:lnTo>
                      <a:lnTo>
                        <a:pt x="95" y="80"/>
                      </a:lnTo>
                      <a:lnTo>
                        <a:pt x="96" y="81"/>
                      </a:lnTo>
                      <a:lnTo>
                        <a:pt x="96" y="83"/>
                      </a:lnTo>
                      <a:lnTo>
                        <a:pt x="97" y="83"/>
                      </a:lnTo>
                      <a:lnTo>
                        <a:pt x="98" y="83"/>
                      </a:lnTo>
                      <a:lnTo>
                        <a:pt x="100" y="83"/>
                      </a:lnTo>
                      <a:lnTo>
                        <a:pt x="101" y="83"/>
                      </a:lnTo>
                      <a:lnTo>
                        <a:pt x="101" y="84"/>
                      </a:lnTo>
                      <a:lnTo>
                        <a:pt x="103" y="88"/>
                      </a:lnTo>
                      <a:lnTo>
                        <a:pt x="103" y="90"/>
                      </a:lnTo>
                      <a:lnTo>
                        <a:pt x="104" y="91"/>
                      </a:lnTo>
                      <a:lnTo>
                        <a:pt x="104" y="93"/>
                      </a:lnTo>
                      <a:lnTo>
                        <a:pt x="104" y="95"/>
                      </a:lnTo>
                      <a:lnTo>
                        <a:pt x="104" y="97"/>
                      </a:lnTo>
                      <a:lnTo>
                        <a:pt x="105" y="97"/>
                      </a:lnTo>
                      <a:lnTo>
                        <a:pt x="105" y="98"/>
                      </a:lnTo>
                      <a:lnTo>
                        <a:pt x="107" y="98"/>
                      </a:lnTo>
                      <a:lnTo>
                        <a:pt x="108" y="98"/>
                      </a:lnTo>
                      <a:lnTo>
                        <a:pt x="108" y="97"/>
                      </a:lnTo>
                      <a:lnTo>
                        <a:pt x="108" y="95"/>
                      </a:lnTo>
                      <a:lnTo>
                        <a:pt x="109" y="94"/>
                      </a:lnTo>
                      <a:lnTo>
                        <a:pt x="109" y="93"/>
                      </a:lnTo>
                      <a:lnTo>
                        <a:pt x="108" y="92"/>
                      </a:lnTo>
                      <a:lnTo>
                        <a:pt x="108" y="91"/>
                      </a:lnTo>
                      <a:lnTo>
                        <a:pt x="107" y="91"/>
                      </a:lnTo>
                      <a:lnTo>
                        <a:pt x="107" y="92"/>
                      </a:lnTo>
                      <a:lnTo>
                        <a:pt x="107" y="91"/>
                      </a:lnTo>
                      <a:lnTo>
                        <a:pt x="107" y="90"/>
                      </a:lnTo>
                      <a:lnTo>
                        <a:pt x="107" y="88"/>
                      </a:lnTo>
                      <a:lnTo>
                        <a:pt x="107" y="87"/>
                      </a:lnTo>
                      <a:lnTo>
                        <a:pt x="107" y="86"/>
                      </a:lnTo>
                      <a:lnTo>
                        <a:pt x="107" y="85"/>
                      </a:lnTo>
                      <a:lnTo>
                        <a:pt x="108" y="85"/>
                      </a:lnTo>
                      <a:lnTo>
                        <a:pt x="108" y="84"/>
                      </a:lnTo>
                      <a:lnTo>
                        <a:pt x="109" y="84"/>
                      </a:lnTo>
                      <a:lnTo>
                        <a:pt x="109" y="85"/>
                      </a:lnTo>
                      <a:lnTo>
                        <a:pt x="109" y="84"/>
                      </a:lnTo>
                      <a:lnTo>
                        <a:pt x="110" y="84"/>
                      </a:lnTo>
                      <a:lnTo>
                        <a:pt x="110" y="85"/>
                      </a:lnTo>
                      <a:lnTo>
                        <a:pt x="114" y="87"/>
                      </a:lnTo>
                      <a:lnTo>
                        <a:pt x="115" y="88"/>
                      </a:lnTo>
                      <a:lnTo>
                        <a:pt x="116" y="88"/>
                      </a:lnTo>
                      <a:lnTo>
                        <a:pt x="116" y="90"/>
                      </a:lnTo>
                      <a:lnTo>
                        <a:pt x="115" y="91"/>
                      </a:lnTo>
                      <a:lnTo>
                        <a:pt x="115" y="92"/>
                      </a:lnTo>
                      <a:lnTo>
                        <a:pt x="115" y="93"/>
                      </a:lnTo>
                      <a:lnTo>
                        <a:pt x="115" y="94"/>
                      </a:lnTo>
                      <a:lnTo>
                        <a:pt x="116" y="94"/>
                      </a:lnTo>
                      <a:lnTo>
                        <a:pt x="116" y="95"/>
                      </a:lnTo>
                      <a:lnTo>
                        <a:pt x="117" y="97"/>
                      </a:lnTo>
                      <a:lnTo>
                        <a:pt x="116" y="98"/>
                      </a:lnTo>
                      <a:lnTo>
                        <a:pt x="117" y="98"/>
                      </a:lnTo>
                      <a:lnTo>
                        <a:pt x="118" y="98"/>
                      </a:lnTo>
                      <a:lnTo>
                        <a:pt x="118" y="99"/>
                      </a:lnTo>
                      <a:lnTo>
                        <a:pt x="118" y="100"/>
                      </a:lnTo>
                      <a:lnTo>
                        <a:pt x="119" y="101"/>
                      </a:lnTo>
                      <a:lnTo>
                        <a:pt x="122" y="102"/>
                      </a:lnTo>
                      <a:lnTo>
                        <a:pt x="123" y="102"/>
                      </a:lnTo>
                      <a:lnTo>
                        <a:pt x="124" y="102"/>
                      </a:lnTo>
                      <a:lnTo>
                        <a:pt x="125" y="101"/>
                      </a:lnTo>
                      <a:lnTo>
                        <a:pt x="125" y="100"/>
                      </a:lnTo>
                      <a:lnTo>
                        <a:pt x="126" y="101"/>
                      </a:lnTo>
                      <a:lnTo>
                        <a:pt x="126" y="100"/>
                      </a:lnTo>
                      <a:lnTo>
                        <a:pt x="128" y="100"/>
                      </a:lnTo>
                      <a:lnTo>
                        <a:pt x="129" y="100"/>
                      </a:lnTo>
                      <a:lnTo>
                        <a:pt x="128" y="100"/>
                      </a:lnTo>
                      <a:lnTo>
                        <a:pt x="128" y="101"/>
                      </a:lnTo>
                      <a:lnTo>
                        <a:pt x="129" y="101"/>
                      </a:lnTo>
                      <a:lnTo>
                        <a:pt x="130" y="101"/>
                      </a:lnTo>
                      <a:lnTo>
                        <a:pt x="130" y="100"/>
                      </a:lnTo>
                      <a:lnTo>
                        <a:pt x="131" y="100"/>
                      </a:lnTo>
                      <a:lnTo>
                        <a:pt x="131" y="101"/>
                      </a:lnTo>
                      <a:lnTo>
                        <a:pt x="132" y="101"/>
                      </a:lnTo>
                      <a:lnTo>
                        <a:pt x="133" y="101"/>
                      </a:lnTo>
                      <a:lnTo>
                        <a:pt x="133" y="102"/>
                      </a:lnTo>
                      <a:lnTo>
                        <a:pt x="133" y="104"/>
                      </a:lnTo>
                      <a:lnTo>
                        <a:pt x="134" y="104"/>
                      </a:lnTo>
                      <a:lnTo>
                        <a:pt x="136" y="104"/>
                      </a:lnTo>
                      <a:lnTo>
                        <a:pt x="134" y="104"/>
                      </a:lnTo>
                      <a:lnTo>
                        <a:pt x="136" y="106"/>
                      </a:lnTo>
                      <a:lnTo>
                        <a:pt x="137" y="106"/>
                      </a:lnTo>
                      <a:lnTo>
                        <a:pt x="137" y="107"/>
                      </a:lnTo>
                      <a:lnTo>
                        <a:pt x="137" y="108"/>
                      </a:lnTo>
                      <a:lnTo>
                        <a:pt x="138" y="109"/>
                      </a:lnTo>
                      <a:lnTo>
                        <a:pt x="138" y="111"/>
                      </a:lnTo>
                      <a:lnTo>
                        <a:pt x="138" y="109"/>
                      </a:lnTo>
                      <a:lnTo>
                        <a:pt x="139" y="109"/>
                      </a:lnTo>
                      <a:lnTo>
                        <a:pt x="140" y="109"/>
                      </a:lnTo>
                      <a:lnTo>
                        <a:pt x="141" y="109"/>
                      </a:lnTo>
                      <a:lnTo>
                        <a:pt x="143" y="111"/>
                      </a:lnTo>
                      <a:lnTo>
                        <a:pt x="144" y="111"/>
                      </a:lnTo>
                      <a:lnTo>
                        <a:pt x="146" y="111"/>
                      </a:lnTo>
                      <a:lnTo>
                        <a:pt x="150" y="112"/>
                      </a:lnTo>
                      <a:lnTo>
                        <a:pt x="151" y="112"/>
                      </a:lnTo>
                      <a:lnTo>
                        <a:pt x="151" y="113"/>
                      </a:lnTo>
                      <a:lnTo>
                        <a:pt x="151" y="114"/>
                      </a:lnTo>
                      <a:lnTo>
                        <a:pt x="152" y="114"/>
                      </a:lnTo>
                      <a:lnTo>
                        <a:pt x="153" y="115"/>
                      </a:lnTo>
                      <a:lnTo>
                        <a:pt x="154" y="116"/>
                      </a:lnTo>
                      <a:lnTo>
                        <a:pt x="154" y="118"/>
                      </a:lnTo>
                      <a:lnTo>
                        <a:pt x="155" y="119"/>
                      </a:lnTo>
                      <a:lnTo>
                        <a:pt x="155" y="120"/>
                      </a:lnTo>
                      <a:lnTo>
                        <a:pt x="157" y="120"/>
                      </a:lnTo>
                      <a:lnTo>
                        <a:pt x="157" y="121"/>
                      </a:lnTo>
                      <a:lnTo>
                        <a:pt x="158" y="121"/>
                      </a:lnTo>
                      <a:lnTo>
                        <a:pt x="158" y="122"/>
                      </a:lnTo>
                      <a:lnTo>
                        <a:pt x="158" y="123"/>
                      </a:lnTo>
                      <a:lnTo>
                        <a:pt x="159" y="123"/>
                      </a:lnTo>
                      <a:lnTo>
                        <a:pt x="160" y="126"/>
                      </a:lnTo>
                      <a:lnTo>
                        <a:pt x="161" y="126"/>
                      </a:lnTo>
                      <a:lnTo>
                        <a:pt x="161" y="127"/>
                      </a:lnTo>
                      <a:lnTo>
                        <a:pt x="162" y="128"/>
                      </a:lnTo>
                      <a:lnTo>
                        <a:pt x="162" y="129"/>
                      </a:lnTo>
                      <a:lnTo>
                        <a:pt x="164" y="130"/>
                      </a:lnTo>
                      <a:lnTo>
                        <a:pt x="165" y="130"/>
                      </a:lnTo>
                      <a:lnTo>
                        <a:pt x="165" y="132"/>
                      </a:lnTo>
                      <a:lnTo>
                        <a:pt x="166" y="133"/>
                      </a:lnTo>
                      <a:lnTo>
                        <a:pt x="166" y="135"/>
                      </a:lnTo>
                      <a:lnTo>
                        <a:pt x="167" y="135"/>
                      </a:lnTo>
                      <a:lnTo>
                        <a:pt x="168" y="136"/>
                      </a:lnTo>
                      <a:lnTo>
                        <a:pt x="169" y="136"/>
                      </a:lnTo>
                      <a:lnTo>
                        <a:pt x="169" y="135"/>
                      </a:lnTo>
                      <a:lnTo>
                        <a:pt x="171" y="135"/>
                      </a:lnTo>
                      <a:lnTo>
                        <a:pt x="172" y="136"/>
                      </a:lnTo>
                      <a:lnTo>
                        <a:pt x="172" y="137"/>
                      </a:lnTo>
                      <a:lnTo>
                        <a:pt x="173" y="137"/>
                      </a:lnTo>
                      <a:lnTo>
                        <a:pt x="174" y="137"/>
                      </a:lnTo>
                      <a:lnTo>
                        <a:pt x="175" y="139"/>
                      </a:lnTo>
                      <a:lnTo>
                        <a:pt x="176" y="139"/>
                      </a:lnTo>
                      <a:lnTo>
                        <a:pt x="176" y="140"/>
                      </a:lnTo>
                      <a:lnTo>
                        <a:pt x="176" y="141"/>
                      </a:lnTo>
                      <a:lnTo>
                        <a:pt x="178" y="141"/>
                      </a:lnTo>
                      <a:lnTo>
                        <a:pt x="178" y="142"/>
                      </a:lnTo>
                      <a:lnTo>
                        <a:pt x="179" y="142"/>
                      </a:lnTo>
                      <a:lnTo>
                        <a:pt x="179" y="143"/>
                      </a:lnTo>
                      <a:lnTo>
                        <a:pt x="180" y="143"/>
                      </a:lnTo>
                      <a:lnTo>
                        <a:pt x="180" y="144"/>
                      </a:lnTo>
                      <a:lnTo>
                        <a:pt x="180" y="146"/>
                      </a:lnTo>
                      <a:lnTo>
                        <a:pt x="181" y="144"/>
                      </a:lnTo>
                      <a:lnTo>
                        <a:pt x="182" y="146"/>
                      </a:lnTo>
                      <a:lnTo>
                        <a:pt x="182" y="147"/>
                      </a:lnTo>
                      <a:lnTo>
                        <a:pt x="183" y="148"/>
                      </a:lnTo>
                      <a:lnTo>
                        <a:pt x="185" y="148"/>
                      </a:lnTo>
                      <a:lnTo>
                        <a:pt x="183" y="148"/>
                      </a:lnTo>
                      <a:lnTo>
                        <a:pt x="183" y="147"/>
                      </a:lnTo>
                      <a:lnTo>
                        <a:pt x="183" y="146"/>
                      </a:lnTo>
                      <a:lnTo>
                        <a:pt x="183" y="144"/>
                      </a:lnTo>
                      <a:lnTo>
                        <a:pt x="182" y="144"/>
                      </a:lnTo>
                      <a:lnTo>
                        <a:pt x="183" y="146"/>
                      </a:lnTo>
                      <a:lnTo>
                        <a:pt x="185" y="147"/>
                      </a:lnTo>
                      <a:lnTo>
                        <a:pt x="186" y="147"/>
                      </a:lnTo>
                      <a:lnTo>
                        <a:pt x="186" y="148"/>
                      </a:lnTo>
                      <a:lnTo>
                        <a:pt x="186" y="149"/>
                      </a:lnTo>
                      <a:lnTo>
                        <a:pt x="187" y="150"/>
                      </a:lnTo>
                      <a:lnTo>
                        <a:pt x="187" y="151"/>
                      </a:lnTo>
                      <a:lnTo>
                        <a:pt x="188" y="153"/>
                      </a:lnTo>
                      <a:lnTo>
                        <a:pt x="188" y="156"/>
                      </a:lnTo>
                      <a:lnTo>
                        <a:pt x="188" y="157"/>
                      </a:lnTo>
                      <a:lnTo>
                        <a:pt x="189" y="158"/>
                      </a:lnTo>
                      <a:lnTo>
                        <a:pt x="189" y="160"/>
                      </a:lnTo>
                      <a:lnTo>
                        <a:pt x="190" y="160"/>
                      </a:lnTo>
                      <a:lnTo>
                        <a:pt x="192" y="160"/>
                      </a:lnTo>
                      <a:lnTo>
                        <a:pt x="193" y="160"/>
                      </a:lnTo>
                      <a:lnTo>
                        <a:pt x="193" y="158"/>
                      </a:lnTo>
                      <a:lnTo>
                        <a:pt x="194" y="158"/>
                      </a:lnTo>
                      <a:lnTo>
                        <a:pt x="194" y="160"/>
                      </a:lnTo>
                      <a:lnTo>
                        <a:pt x="195" y="160"/>
                      </a:lnTo>
                      <a:lnTo>
                        <a:pt x="195" y="161"/>
                      </a:lnTo>
                      <a:lnTo>
                        <a:pt x="196" y="162"/>
                      </a:lnTo>
                      <a:lnTo>
                        <a:pt x="197" y="164"/>
                      </a:lnTo>
                      <a:lnTo>
                        <a:pt x="198" y="164"/>
                      </a:lnTo>
                      <a:lnTo>
                        <a:pt x="200" y="164"/>
                      </a:lnTo>
                      <a:lnTo>
                        <a:pt x="200" y="165"/>
                      </a:lnTo>
                      <a:lnTo>
                        <a:pt x="201" y="168"/>
                      </a:lnTo>
                      <a:lnTo>
                        <a:pt x="201" y="169"/>
                      </a:lnTo>
                      <a:lnTo>
                        <a:pt x="201" y="170"/>
                      </a:lnTo>
                      <a:lnTo>
                        <a:pt x="202" y="171"/>
                      </a:lnTo>
                      <a:lnTo>
                        <a:pt x="203" y="171"/>
                      </a:lnTo>
                      <a:lnTo>
                        <a:pt x="203" y="170"/>
                      </a:lnTo>
                      <a:lnTo>
                        <a:pt x="203" y="171"/>
                      </a:lnTo>
                      <a:lnTo>
                        <a:pt x="204" y="172"/>
                      </a:lnTo>
                      <a:lnTo>
                        <a:pt x="205" y="172"/>
                      </a:lnTo>
                      <a:lnTo>
                        <a:pt x="207" y="172"/>
                      </a:lnTo>
                      <a:lnTo>
                        <a:pt x="205" y="172"/>
                      </a:lnTo>
                      <a:lnTo>
                        <a:pt x="207" y="174"/>
                      </a:lnTo>
                      <a:lnTo>
                        <a:pt x="207" y="172"/>
                      </a:lnTo>
                      <a:lnTo>
                        <a:pt x="208" y="172"/>
                      </a:lnTo>
                      <a:lnTo>
                        <a:pt x="208" y="171"/>
                      </a:lnTo>
                      <a:lnTo>
                        <a:pt x="209" y="170"/>
                      </a:lnTo>
                      <a:lnTo>
                        <a:pt x="208" y="170"/>
                      </a:lnTo>
                      <a:lnTo>
                        <a:pt x="209" y="169"/>
                      </a:lnTo>
                      <a:lnTo>
                        <a:pt x="209" y="170"/>
                      </a:lnTo>
                      <a:lnTo>
                        <a:pt x="210" y="170"/>
                      </a:lnTo>
                      <a:lnTo>
                        <a:pt x="210" y="171"/>
                      </a:lnTo>
                      <a:lnTo>
                        <a:pt x="211" y="171"/>
                      </a:lnTo>
                      <a:lnTo>
                        <a:pt x="211" y="172"/>
                      </a:lnTo>
                      <a:lnTo>
                        <a:pt x="211" y="174"/>
                      </a:lnTo>
                      <a:lnTo>
                        <a:pt x="212" y="176"/>
                      </a:lnTo>
                      <a:lnTo>
                        <a:pt x="205" y="178"/>
                      </a:lnTo>
                      <a:lnTo>
                        <a:pt x="204" y="178"/>
                      </a:lnTo>
                      <a:lnTo>
                        <a:pt x="203" y="178"/>
                      </a:lnTo>
                      <a:lnTo>
                        <a:pt x="203" y="181"/>
                      </a:lnTo>
                      <a:lnTo>
                        <a:pt x="202" y="182"/>
                      </a:lnTo>
                      <a:lnTo>
                        <a:pt x="202" y="183"/>
                      </a:lnTo>
                      <a:lnTo>
                        <a:pt x="202" y="184"/>
                      </a:lnTo>
                      <a:lnTo>
                        <a:pt x="202" y="185"/>
                      </a:lnTo>
                      <a:lnTo>
                        <a:pt x="201" y="185"/>
                      </a:lnTo>
                      <a:lnTo>
                        <a:pt x="200" y="185"/>
                      </a:lnTo>
                      <a:lnTo>
                        <a:pt x="200" y="186"/>
                      </a:lnTo>
                      <a:lnTo>
                        <a:pt x="198" y="186"/>
                      </a:lnTo>
                      <a:lnTo>
                        <a:pt x="193" y="183"/>
                      </a:lnTo>
                      <a:lnTo>
                        <a:pt x="192" y="182"/>
                      </a:lnTo>
                      <a:lnTo>
                        <a:pt x="190" y="182"/>
                      </a:lnTo>
                      <a:lnTo>
                        <a:pt x="188" y="183"/>
                      </a:lnTo>
                      <a:lnTo>
                        <a:pt x="187" y="182"/>
                      </a:lnTo>
                      <a:lnTo>
                        <a:pt x="185" y="178"/>
                      </a:lnTo>
                      <a:lnTo>
                        <a:pt x="182" y="175"/>
                      </a:lnTo>
                      <a:lnTo>
                        <a:pt x="181" y="174"/>
                      </a:lnTo>
                      <a:lnTo>
                        <a:pt x="179" y="172"/>
                      </a:lnTo>
                      <a:lnTo>
                        <a:pt x="178" y="171"/>
                      </a:lnTo>
                      <a:lnTo>
                        <a:pt x="175" y="170"/>
                      </a:lnTo>
                      <a:lnTo>
                        <a:pt x="173" y="168"/>
                      </a:lnTo>
                      <a:lnTo>
                        <a:pt x="171" y="162"/>
                      </a:lnTo>
                      <a:lnTo>
                        <a:pt x="169" y="161"/>
                      </a:lnTo>
                      <a:lnTo>
                        <a:pt x="168" y="160"/>
                      </a:lnTo>
                      <a:lnTo>
                        <a:pt x="167" y="157"/>
                      </a:lnTo>
                      <a:lnTo>
                        <a:pt x="165" y="156"/>
                      </a:lnTo>
                      <a:lnTo>
                        <a:pt x="161" y="153"/>
                      </a:lnTo>
                      <a:lnTo>
                        <a:pt x="157" y="149"/>
                      </a:lnTo>
                      <a:lnTo>
                        <a:pt x="152" y="147"/>
                      </a:lnTo>
                      <a:lnTo>
                        <a:pt x="151" y="146"/>
                      </a:lnTo>
                      <a:lnTo>
                        <a:pt x="148" y="142"/>
                      </a:lnTo>
                      <a:lnTo>
                        <a:pt x="146" y="137"/>
                      </a:lnTo>
                      <a:lnTo>
                        <a:pt x="143" y="134"/>
                      </a:lnTo>
                      <a:lnTo>
                        <a:pt x="139" y="129"/>
                      </a:lnTo>
                      <a:lnTo>
                        <a:pt x="138" y="128"/>
                      </a:lnTo>
                      <a:lnTo>
                        <a:pt x="136" y="127"/>
                      </a:lnTo>
                      <a:lnTo>
                        <a:pt x="132" y="127"/>
                      </a:lnTo>
                      <a:lnTo>
                        <a:pt x="129" y="125"/>
                      </a:lnTo>
                      <a:lnTo>
                        <a:pt x="126" y="123"/>
                      </a:lnTo>
                      <a:lnTo>
                        <a:pt x="124" y="122"/>
                      </a:lnTo>
                      <a:lnTo>
                        <a:pt x="122" y="120"/>
                      </a:lnTo>
                      <a:lnTo>
                        <a:pt x="121" y="119"/>
                      </a:lnTo>
                      <a:lnTo>
                        <a:pt x="119" y="119"/>
                      </a:lnTo>
                      <a:lnTo>
                        <a:pt x="117" y="118"/>
                      </a:lnTo>
                      <a:lnTo>
                        <a:pt x="116" y="118"/>
                      </a:lnTo>
                      <a:lnTo>
                        <a:pt x="115" y="118"/>
                      </a:lnTo>
                      <a:lnTo>
                        <a:pt x="114" y="118"/>
                      </a:lnTo>
                      <a:lnTo>
                        <a:pt x="112" y="118"/>
                      </a:lnTo>
                      <a:lnTo>
                        <a:pt x="111" y="119"/>
                      </a:lnTo>
                      <a:lnTo>
                        <a:pt x="110" y="119"/>
                      </a:lnTo>
                      <a:lnTo>
                        <a:pt x="109" y="119"/>
                      </a:lnTo>
                      <a:lnTo>
                        <a:pt x="108" y="118"/>
                      </a:lnTo>
                      <a:lnTo>
                        <a:pt x="107" y="116"/>
                      </a:lnTo>
                      <a:lnTo>
                        <a:pt x="105" y="116"/>
                      </a:lnTo>
                      <a:lnTo>
                        <a:pt x="104" y="116"/>
                      </a:lnTo>
                      <a:lnTo>
                        <a:pt x="103" y="116"/>
                      </a:lnTo>
                      <a:lnTo>
                        <a:pt x="102" y="116"/>
                      </a:lnTo>
                      <a:lnTo>
                        <a:pt x="101" y="116"/>
                      </a:lnTo>
                      <a:lnTo>
                        <a:pt x="100" y="115"/>
                      </a:lnTo>
                      <a:lnTo>
                        <a:pt x="98" y="114"/>
                      </a:lnTo>
                      <a:lnTo>
                        <a:pt x="97" y="114"/>
                      </a:lnTo>
                      <a:lnTo>
                        <a:pt x="97" y="115"/>
                      </a:lnTo>
                      <a:lnTo>
                        <a:pt x="96" y="116"/>
                      </a:lnTo>
                      <a:lnTo>
                        <a:pt x="93" y="116"/>
                      </a:lnTo>
                      <a:lnTo>
                        <a:pt x="90" y="116"/>
                      </a:lnTo>
                      <a:lnTo>
                        <a:pt x="89" y="118"/>
                      </a:lnTo>
                      <a:lnTo>
                        <a:pt x="89" y="119"/>
                      </a:lnTo>
                      <a:lnTo>
                        <a:pt x="88" y="119"/>
                      </a:lnTo>
                      <a:lnTo>
                        <a:pt x="87" y="116"/>
                      </a:lnTo>
                      <a:lnTo>
                        <a:pt x="87" y="114"/>
                      </a:lnTo>
                      <a:lnTo>
                        <a:pt x="86" y="114"/>
                      </a:lnTo>
                      <a:lnTo>
                        <a:pt x="86" y="113"/>
                      </a:lnTo>
                      <a:lnTo>
                        <a:pt x="84" y="112"/>
                      </a:lnTo>
                      <a:lnTo>
                        <a:pt x="83" y="112"/>
                      </a:lnTo>
                      <a:lnTo>
                        <a:pt x="82" y="112"/>
                      </a:lnTo>
                      <a:lnTo>
                        <a:pt x="81" y="112"/>
                      </a:lnTo>
                      <a:lnTo>
                        <a:pt x="81" y="113"/>
                      </a:lnTo>
                      <a:lnTo>
                        <a:pt x="81" y="114"/>
                      </a:lnTo>
                      <a:lnTo>
                        <a:pt x="80" y="114"/>
                      </a:lnTo>
                      <a:lnTo>
                        <a:pt x="79" y="115"/>
                      </a:lnTo>
                      <a:lnTo>
                        <a:pt x="77" y="116"/>
                      </a:lnTo>
                      <a:lnTo>
                        <a:pt x="75" y="116"/>
                      </a:lnTo>
                      <a:lnTo>
                        <a:pt x="74" y="118"/>
                      </a:lnTo>
                      <a:lnTo>
                        <a:pt x="73" y="118"/>
                      </a:lnTo>
                      <a:lnTo>
                        <a:pt x="72" y="118"/>
                      </a:lnTo>
                      <a:lnTo>
                        <a:pt x="70" y="118"/>
                      </a:lnTo>
                      <a:lnTo>
                        <a:pt x="69" y="119"/>
                      </a:lnTo>
                      <a:lnTo>
                        <a:pt x="68" y="119"/>
                      </a:lnTo>
                      <a:lnTo>
                        <a:pt x="65" y="119"/>
                      </a:lnTo>
                      <a:lnTo>
                        <a:pt x="64" y="119"/>
                      </a:lnTo>
                      <a:lnTo>
                        <a:pt x="62" y="119"/>
                      </a:lnTo>
                      <a:lnTo>
                        <a:pt x="62" y="118"/>
                      </a:lnTo>
                      <a:lnTo>
                        <a:pt x="60" y="116"/>
                      </a:lnTo>
                      <a:lnTo>
                        <a:pt x="60" y="115"/>
                      </a:lnTo>
                      <a:lnTo>
                        <a:pt x="59" y="115"/>
                      </a:lnTo>
                      <a:lnTo>
                        <a:pt x="59" y="114"/>
                      </a:lnTo>
                      <a:lnTo>
                        <a:pt x="59" y="113"/>
                      </a:lnTo>
                      <a:lnTo>
                        <a:pt x="58" y="113"/>
                      </a:lnTo>
                      <a:lnTo>
                        <a:pt x="58" y="112"/>
                      </a:lnTo>
                      <a:lnTo>
                        <a:pt x="58" y="111"/>
                      </a:lnTo>
                      <a:lnTo>
                        <a:pt x="57" y="111"/>
                      </a:lnTo>
                      <a:lnTo>
                        <a:pt x="57" y="109"/>
                      </a:lnTo>
                      <a:lnTo>
                        <a:pt x="55" y="109"/>
                      </a:lnTo>
                      <a:lnTo>
                        <a:pt x="54" y="111"/>
                      </a:lnTo>
                      <a:lnTo>
                        <a:pt x="53" y="111"/>
                      </a:lnTo>
                      <a:lnTo>
                        <a:pt x="50" y="108"/>
                      </a:lnTo>
                      <a:lnTo>
                        <a:pt x="50" y="107"/>
                      </a:lnTo>
                      <a:lnTo>
                        <a:pt x="48" y="107"/>
                      </a:lnTo>
                      <a:lnTo>
                        <a:pt x="48" y="106"/>
                      </a:lnTo>
                      <a:lnTo>
                        <a:pt x="47" y="106"/>
                      </a:lnTo>
                      <a:lnTo>
                        <a:pt x="47" y="105"/>
                      </a:lnTo>
                      <a:lnTo>
                        <a:pt x="46" y="104"/>
                      </a:lnTo>
                      <a:lnTo>
                        <a:pt x="45" y="107"/>
                      </a:lnTo>
                      <a:lnTo>
                        <a:pt x="43" y="112"/>
                      </a:lnTo>
                      <a:lnTo>
                        <a:pt x="40" y="116"/>
                      </a:lnTo>
                      <a:lnTo>
                        <a:pt x="39" y="121"/>
                      </a:lnTo>
                      <a:lnTo>
                        <a:pt x="37" y="126"/>
                      </a:lnTo>
                      <a:lnTo>
                        <a:pt x="36" y="128"/>
                      </a:lnTo>
                      <a:lnTo>
                        <a:pt x="36" y="129"/>
                      </a:lnTo>
                      <a:lnTo>
                        <a:pt x="34" y="128"/>
                      </a:lnTo>
                      <a:lnTo>
                        <a:pt x="34" y="127"/>
                      </a:lnTo>
                      <a:lnTo>
                        <a:pt x="33" y="126"/>
                      </a:lnTo>
                      <a:lnTo>
                        <a:pt x="32" y="126"/>
                      </a:lnTo>
                      <a:lnTo>
                        <a:pt x="32" y="125"/>
                      </a:lnTo>
                      <a:lnTo>
                        <a:pt x="32" y="123"/>
                      </a:lnTo>
                      <a:lnTo>
                        <a:pt x="31" y="122"/>
                      </a:lnTo>
                      <a:lnTo>
                        <a:pt x="30" y="122"/>
                      </a:lnTo>
                      <a:lnTo>
                        <a:pt x="30" y="121"/>
                      </a:lnTo>
                      <a:lnTo>
                        <a:pt x="30" y="120"/>
                      </a:lnTo>
                      <a:lnTo>
                        <a:pt x="29" y="119"/>
                      </a:lnTo>
                      <a:lnTo>
                        <a:pt x="27" y="118"/>
                      </a:lnTo>
                      <a:lnTo>
                        <a:pt x="26" y="118"/>
                      </a:lnTo>
                      <a:lnTo>
                        <a:pt x="24" y="118"/>
                      </a:lnTo>
                      <a:lnTo>
                        <a:pt x="23" y="118"/>
                      </a:lnTo>
                      <a:lnTo>
                        <a:pt x="22" y="119"/>
                      </a:lnTo>
                      <a:lnTo>
                        <a:pt x="20" y="119"/>
                      </a:lnTo>
                      <a:lnTo>
                        <a:pt x="20" y="120"/>
                      </a:lnTo>
                      <a:lnTo>
                        <a:pt x="20" y="121"/>
                      </a:lnTo>
                      <a:lnTo>
                        <a:pt x="20" y="122"/>
                      </a:lnTo>
                      <a:lnTo>
                        <a:pt x="19" y="123"/>
                      </a:lnTo>
                      <a:lnTo>
                        <a:pt x="18" y="123"/>
                      </a:lnTo>
                      <a:lnTo>
                        <a:pt x="17" y="123"/>
                      </a:lnTo>
                      <a:lnTo>
                        <a:pt x="16" y="122"/>
                      </a:lnTo>
                      <a:lnTo>
                        <a:pt x="15" y="122"/>
                      </a:lnTo>
                      <a:lnTo>
                        <a:pt x="12" y="121"/>
                      </a:lnTo>
                      <a:lnTo>
                        <a:pt x="11" y="121"/>
                      </a:lnTo>
                      <a:lnTo>
                        <a:pt x="10" y="121"/>
                      </a:lnTo>
                      <a:lnTo>
                        <a:pt x="9" y="121"/>
                      </a:lnTo>
                      <a:lnTo>
                        <a:pt x="9" y="122"/>
                      </a:lnTo>
                      <a:lnTo>
                        <a:pt x="6" y="122"/>
                      </a:lnTo>
                      <a:lnTo>
                        <a:pt x="5" y="122"/>
                      </a:lnTo>
                      <a:lnTo>
                        <a:pt x="4" y="122"/>
                      </a:lnTo>
                      <a:lnTo>
                        <a:pt x="3" y="123"/>
                      </a:lnTo>
                      <a:lnTo>
                        <a:pt x="2" y="118"/>
                      </a:lnTo>
                      <a:lnTo>
                        <a:pt x="2" y="113"/>
                      </a:lnTo>
                      <a:lnTo>
                        <a:pt x="1" y="109"/>
                      </a:lnTo>
                      <a:lnTo>
                        <a:pt x="1" y="106"/>
                      </a:lnTo>
                      <a:lnTo>
                        <a:pt x="1" y="105"/>
                      </a:lnTo>
                      <a:lnTo>
                        <a:pt x="0" y="99"/>
                      </a:lnTo>
                      <a:lnTo>
                        <a:pt x="0" y="95"/>
                      </a:lnTo>
                      <a:lnTo>
                        <a:pt x="0" y="94"/>
                      </a:lnTo>
                      <a:lnTo>
                        <a:pt x="2" y="92"/>
                      </a:lnTo>
                      <a:lnTo>
                        <a:pt x="3" y="91"/>
                      </a:lnTo>
                      <a:lnTo>
                        <a:pt x="4" y="86"/>
                      </a:lnTo>
                      <a:lnTo>
                        <a:pt x="5" y="85"/>
                      </a:lnTo>
                      <a:lnTo>
                        <a:pt x="5" y="84"/>
                      </a:lnTo>
                      <a:lnTo>
                        <a:pt x="5" y="81"/>
                      </a:lnTo>
                      <a:lnTo>
                        <a:pt x="8" y="76"/>
                      </a:lnTo>
                      <a:lnTo>
                        <a:pt x="8" y="74"/>
                      </a:lnTo>
                      <a:lnTo>
                        <a:pt x="9" y="73"/>
                      </a:lnTo>
                      <a:lnTo>
                        <a:pt x="10" y="72"/>
                      </a:lnTo>
                      <a:lnTo>
                        <a:pt x="11" y="67"/>
                      </a:lnTo>
                      <a:lnTo>
                        <a:pt x="13" y="63"/>
                      </a:lnTo>
                      <a:lnTo>
                        <a:pt x="15" y="60"/>
                      </a:lnTo>
                      <a:lnTo>
                        <a:pt x="15" y="59"/>
                      </a:lnTo>
                      <a:lnTo>
                        <a:pt x="16" y="58"/>
                      </a:lnTo>
                      <a:lnTo>
                        <a:pt x="17" y="57"/>
                      </a:lnTo>
                      <a:lnTo>
                        <a:pt x="16" y="57"/>
                      </a:lnTo>
                      <a:lnTo>
                        <a:pt x="16" y="55"/>
                      </a:lnTo>
                      <a:lnTo>
                        <a:pt x="16" y="53"/>
                      </a:lnTo>
                      <a:lnTo>
                        <a:pt x="16" y="52"/>
                      </a:lnTo>
                      <a:lnTo>
                        <a:pt x="15" y="51"/>
                      </a:lnTo>
                      <a:lnTo>
                        <a:pt x="15" y="50"/>
                      </a:lnTo>
                      <a:lnTo>
                        <a:pt x="13" y="50"/>
                      </a:lnTo>
                      <a:lnTo>
                        <a:pt x="13" y="49"/>
                      </a:lnTo>
                      <a:lnTo>
                        <a:pt x="15" y="48"/>
                      </a:lnTo>
                      <a:lnTo>
                        <a:pt x="15" y="46"/>
                      </a:lnTo>
                      <a:lnTo>
                        <a:pt x="15" y="45"/>
                      </a:lnTo>
                      <a:lnTo>
                        <a:pt x="16" y="44"/>
                      </a:lnTo>
                      <a:lnTo>
                        <a:pt x="16" y="43"/>
                      </a:lnTo>
                      <a:lnTo>
                        <a:pt x="17" y="43"/>
                      </a:lnTo>
                      <a:lnTo>
                        <a:pt x="17" y="41"/>
                      </a:lnTo>
                      <a:lnTo>
                        <a:pt x="18" y="39"/>
                      </a:lnTo>
                      <a:lnTo>
                        <a:pt x="18" y="38"/>
                      </a:lnTo>
                      <a:lnTo>
                        <a:pt x="18" y="37"/>
                      </a:lnTo>
                      <a:lnTo>
                        <a:pt x="18" y="36"/>
                      </a:lnTo>
                      <a:lnTo>
                        <a:pt x="17" y="36"/>
                      </a:lnTo>
                      <a:lnTo>
                        <a:pt x="17" y="35"/>
                      </a:lnTo>
                      <a:lnTo>
                        <a:pt x="18" y="34"/>
                      </a:lnTo>
                      <a:lnTo>
                        <a:pt x="18" y="32"/>
                      </a:lnTo>
                      <a:lnTo>
                        <a:pt x="17" y="31"/>
                      </a:lnTo>
                      <a:lnTo>
                        <a:pt x="18" y="31"/>
                      </a:lnTo>
                      <a:lnTo>
                        <a:pt x="19" y="31"/>
                      </a:lnTo>
                      <a:lnTo>
                        <a:pt x="20" y="31"/>
                      </a:lnTo>
                      <a:lnTo>
                        <a:pt x="20" y="32"/>
                      </a:lnTo>
                      <a:lnTo>
                        <a:pt x="22" y="32"/>
                      </a:lnTo>
                      <a:lnTo>
                        <a:pt x="23" y="32"/>
                      </a:lnTo>
                      <a:lnTo>
                        <a:pt x="24" y="32"/>
                      </a:lnTo>
                      <a:lnTo>
                        <a:pt x="25" y="32"/>
                      </a:lnTo>
                      <a:lnTo>
                        <a:pt x="27" y="31"/>
                      </a:lnTo>
                      <a:lnTo>
                        <a:pt x="31" y="32"/>
                      </a:lnTo>
                      <a:lnTo>
                        <a:pt x="33" y="30"/>
                      </a:lnTo>
                      <a:lnTo>
                        <a:pt x="33" y="29"/>
                      </a:lnTo>
                      <a:lnTo>
                        <a:pt x="34" y="28"/>
                      </a:lnTo>
                      <a:lnTo>
                        <a:pt x="34" y="27"/>
                      </a:lnTo>
                      <a:lnTo>
                        <a:pt x="34" y="25"/>
                      </a:lnTo>
                      <a:lnTo>
                        <a:pt x="34" y="23"/>
                      </a:lnTo>
                      <a:lnTo>
                        <a:pt x="39" y="22"/>
                      </a:lnTo>
                      <a:lnTo>
                        <a:pt x="40" y="21"/>
                      </a:lnTo>
                      <a:lnTo>
                        <a:pt x="41" y="21"/>
                      </a:lnTo>
                      <a:lnTo>
                        <a:pt x="43" y="19"/>
                      </a:lnTo>
                      <a:lnTo>
                        <a:pt x="44" y="17"/>
                      </a:lnTo>
                      <a:lnTo>
                        <a:pt x="45" y="19"/>
                      </a:lnTo>
                      <a:lnTo>
                        <a:pt x="46" y="19"/>
                      </a:lnTo>
                      <a:lnTo>
                        <a:pt x="47" y="19"/>
                      </a:lnTo>
                      <a:lnTo>
                        <a:pt x="48" y="17"/>
                      </a:lnTo>
                      <a:lnTo>
                        <a:pt x="51" y="15"/>
                      </a:lnTo>
                      <a:lnTo>
                        <a:pt x="52" y="15"/>
                      </a:lnTo>
                      <a:lnTo>
                        <a:pt x="52" y="16"/>
                      </a:lnTo>
                      <a:lnTo>
                        <a:pt x="52" y="17"/>
                      </a:lnTo>
                      <a:lnTo>
                        <a:pt x="53" y="17"/>
                      </a:lnTo>
                      <a:lnTo>
                        <a:pt x="54" y="16"/>
                      </a:lnTo>
                      <a:lnTo>
                        <a:pt x="54" y="15"/>
                      </a:lnTo>
                      <a:lnTo>
                        <a:pt x="55" y="15"/>
                      </a:lnTo>
                      <a:lnTo>
                        <a:pt x="57" y="16"/>
                      </a:lnTo>
                      <a:lnTo>
                        <a:pt x="58" y="16"/>
                      </a:lnTo>
                      <a:lnTo>
                        <a:pt x="58" y="15"/>
                      </a:lnTo>
                      <a:lnTo>
                        <a:pt x="58" y="14"/>
                      </a:lnTo>
                      <a:lnTo>
                        <a:pt x="59" y="13"/>
                      </a:lnTo>
                      <a:lnTo>
                        <a:pt x="60" y="13"/>
                      </a:lnTo>
                      <a:lnTo>
                        <a:pt x="61" y="12"/>
                      </a:lnTo>
                      <a:lnTo>
                        <a:pt x="62" y="10"/>
                      </a:lnTo>
                      <a:lnTo>
                        <a:pt x="64" y="6"/>
                      </a:lnTo>
                      <a:lnTo>
                        <a:pt x="65" y="5"/>
                      </a:lnTo>
                      <a:lnTo>
                        <a:pt x="69" y="0"/>
                      </a:lnTo>
                      <a:lnTo>
                        <a:pt x="69" y="1"/>
                      </a:lnTo>
                      <a:lnTo>
                        <a:pt x="70" y="2"/>
                      </a:lnTo>
                      <a:lnTo>
                        <a:pt x="72" y="3"/>
                      </a:lnTo>
                      <a:lnTo>
                        <a:pt x="72" y="5"/>
                      </a:lnTo>
                      <a:lnTo>
                        <a:pt x="72" y="6"/>
                      </a:lnTo>
                      <a:lnTo>
                        <a:pt x="73" y="7"/>
                      </a:lnTo>
                      <a:lnTo>
                        <a:pt x="75" y="1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8" name="Freeform 89">
                  <a:extLst>
                    <a:ext uri="{FF2B5EF4-FFF2-40B4-BE49-F238E27FC236}">
                      <a16:creationId xmlns:a16="http://schemas.microsoft.com/office/drawing/2014/main" id="{AEAA4527-8FBC-81C5-8882-3AA5E4CE88FA}"/>
                    </a:ext>
                  </a:extLst>
                </p:cNvPr>
                <p:cNvSpPr>
                  <a:spLocks noEditPoints="1"/>
                </p:cNvSpPr>
                <p:nvPr/>
              </p:nvSpPr>
              <p:spPr bwMode="auto">
                <a:xfrm>
                  <a:off x="6527657" y="3719649"/>
                  <a:ext cx="197958" cy="214183"/>
                </a:xfrm>
                <a:custGeom>
                  <a:avLst/>
                  <a:gdLst>
                    <a:gd name="T0" fmla="*/ 11 w 183"/>
                    <a:gd name="T1" fmla="*/ 97 h 198"/>
                    <a:gd name="T2" fmla="*/ 111 w 183"/>
                    <a:gd name="T3" fmla="*/ 1 h 198"/>
                    <a:gd name="T4" fmla="*/ 130 w 183"/>
                    <a:gd name="T5" fmla="*/ 2 h 198"/>
                    <a:gd name="T6" fmla="*/ 144 w 183"/>
                    <a:gd name="T7" fmla="*/ 2 h 198"/>
                    <a:gd name="T8" fmla="*/ 142 w 183"/>
                    <a:gd name="T9" fmla="*/ 14 h 198"/>
                    <a:gd name="T10" fmla="*/ 143 w 183"/>
                    <a:gd name="T11" fmla="*/ 28 h 198"/>
                    <a:gd name="T12" fmla="*/ 145 w 183"/>
                    <a:gd name="T13" fmla="*/ 35 h 198"/>
                    <a:gd name="T14" fmla="*/ 159 w 183"/>
                    <a:gd name="T15" fmla="*/ 30 h 198"/>
                    <a:gd name="T16" fmla="*/ 175 w 183"/>
                    <a:gd name="T17" fmla="*/ 32 h 198"/>
                    <a:gd name="T18" fmla="*/ 182 w 183"/>
                    <a:gd name="T19" fmla="*/ 46 h 198"/>
                    <a:gd name="T20" fmla="*/ 170 w 183"/>
                    <a:gd name="T21" fmla="*/ 58 h 198"/>
                    <a:gd name="T22" fmla="*/ 165 w 183"/>
                    <a:gd name="T23" fmla="*/ 74 h 198"/>
                    <a:gd name="T24" fmla="*/ 171 w 183"/>
                    <a:gd name="T25" fmla="*/ 82 h 198"/>
                    <a:gd name="T26" fmla="*/ 182 w 183"/>
                    <a:gd name="T27" fmla="*/ 90 h 198"/>
                    <a:gd name="T28" fmla="*/ 181 w 183"/>
                    <a:gd name="T29" fmla="*/ 109 h 198"/>
                    <a:gd name="T30" fmla="*/ 182 w 183"/>
                    <a:gd name="T31" fmla="*/ 119 h 198"/>
                    <a:gd name="T32" fmla="*/ 181 w 183"/>
                    <a:gd name="T33" fmla="*/ 132 h 198"/>
                    <a:gd name="T34" fmla="*/ 173 w 183"/>
                    <a:gd name="T35" fmla="*/ 144 h 198"/>
                    <a:gd name="T36" fmla="*/ 166 w 183"/>
                    <a:gd name="T37" fmla="*/ 152 h 198"/>
                    <a:gd name="T38" fmla="*/ 161 w 183"/>
                    <a:gd name="T39" fmla="*/ 140 h 198"/>
                    <a:gd name="T40" fmla="*/ 150 w 183"/>
                    <a:gd name="T41" fmla="*/ 149 h 198"/>
                    <a:gd name="T42" fmla="*/ 136 w 183"/>
                    <a:gd name="T43" fmla="*/ 145 h 198"/>
                    <a:gd name="T44" fmla="*/ 131 w 183"/>
                    <a:gd name="T45" fmla="*/ 135 h 198"/>
                    <a:gd name="T46" fmla="*/ 118 w 183"/>
                    <a:gd name="T47" fmla="*/ 133 h 198"/>
                    <a:gd name="T48" fmla="*/ 104 w 183"/>
                    <a:gd name="T49" fmla="*/ 148 h 198"/>
                    <a:gd name="T50" fmla="*/ 92 w 183"/>
                    <a:gd name="T51" fmla="*/ 149 h 198"/>
                    <a:gd name="T52" fmla="*/ 93 w 183"/>
                    <a:gd name="T53" fmla="*/ 163 h 198"/>
                    <a:gd name="T54" fmla="*/ 97 w 183"/>
                    <a:gd name="T55" fmla="*/ 175 h 198"/>
                    <a:gd name="T56" fmla="*/ 102 w 183"/>
                    <a:gd name="T57" fmla="*/ 189 h 198"/>
                    <a:gd name="T58" fmla="*/ 85 w 183"/>
                    <a:gd name="T59" fmla="*/ 188 h 198"/>
                    <a:gd name="T60" fmla="*/ 73 w 183"/>
                    <a:gd name="T61" fmla="*/ 190 h 198"/>
                    <a:gd name="T62" fmla="*/ 57 w 183"/>
                    <a:gd name="T63" fmla="*/ 174 h 198"/>
                    <a:gd name="T64" fmla="*/ 36 w 183"/>
                    <a:gd name="T65" fmla="*/ 153 h 198"/>
                    <a:gd name="T66" fmla="*/ 42 w 183"/>
                    <a:gd name="T67" fmla="*/ 156 h 198"/>
                    <a:gd name="T68" fmla="*/ 44 w 183"/>
                    <a:gd name="T69" fmla="*/ 155 h 198"/>
                    <a:gd name="T70" fmla="*/ 37 w 183"/>
                    <a:gd name="T71" fmla="*/ 151 h 198"/>
                    <a:gd name="T72" fmla="*/ 29 w 183"/>
                    <a:gd name="T73" fmla="*/ 148 h 198"/>
                    <a:gd name="T74" fmla="*/ 19 w 183"/>
                    <a:gd name="T75" fmla="*/ 133 h 198"/>
                    <a:gd name="T76" fmla="*/ 25 w 183"/>
                    <a:gd name="T77" fmla="*/ 137 h 198"/>
                    <a:gd name="T78" fmla="*/ 24 w 183"/>
                    <a:gd name="T79" fmla="*/ 134 h 198"/>
                    <a:gd name="T80" fmla="*/ 18 w 183"/>
                    <a:gd name="T81" fmla="*/ 130 h 198"/>
                    <a:gd name="T82" fmla="*/ 10 w 183"/>
                    <a:gd name="T83" fmla="*/ 114 h 198"/>
                    <a:gd name="T84" fmla="*/ 18 w 183"/>
                    <a:gd name="T85" fmla="*/ 127 h 198"/>
                    <a:gd name="T86" fmla="*/ 26 w 183"/>
                    <a:gd name="T87" fmla="*/ 125 h 198"/>
                    <a:gd name="T88" fmla="*/ 18 w 183"/>
                    <a:gd name="T89" fmla="*/ 120 h 198"/>
                    <a:gd name="T90" fmla="*/ 18 w 183"/>
                    <a:gd name="T91" fmla="*/ 118 h 198"/>
                    <a:gd name="T92" fmla="*/ 11 w 183"/>
                    <a:gd name="T93" fmla="*/ 112 h 198"/>
                    <a:gd name="T94" fmla="*/ 7 w 183"/>
                    <a:gd name="T95" fmla="*/ 105 h 198"/>
                    <a:gd name="T96" fmla="*/ 1 w 183"/>
                    <a:gd name="T97" fmla="*/ 92 h 198"/>
                    <a:gd name="T98" fmla="*/ 8 w 183"/>
                    <a:gd name="T99" fmla="*/ 96 h 198"/>
                    <a:gd name="T100" fmla="*/ 14 w 183"/>
                    <a:gd name="T101" fmla="*/ 95 h 198"/>
                    <a:gd name="T102" fmla="*/ 21 w 183"/>
                    <a:gd name="T103" fmla="*/ 74 h 198"/>
                    <a:gd name="T104" fmla="*/ 22 w 183"/>
                    <a:gd name="T105" fmla="*/ 69 h 198"/>
                    <a:gd name="T106" fmla="*/ 30 w 183"/>
                    <a:gd name="T107" fmla="*/ 70 h 198"/>
                    <a:gd name="T108" fmla="*/ 38 w 183"/>
                    <a:gd name="T109" fmla="*/ 68 h 198"/>
                    <a:gd name="T110" fmla="*/ 31 w 183"/>
                    <a:gd name="T111" fmla="*/ 67 h 198"/>
                    <a:gd name="T112" fmla="*/ 19 w 183"/>
                    <a:gd name="T113" fmla="*/ 55 h 198"/>
                    <a:gd name="T114" fmla="*/ 25 w 183"/>
                    <a:gd name="T115" fmla="*/ 55 h 198"/>
                    <a:gd name="T116" fmla="*/ 30 w 183"/>
                    <a:gd name="T117" fmla="*/ 56 h 198"/>
                    <a:gd name="T118" fmla="*/ 31 w 183"/>
                    <a:gd name="T119" fmla="*/ 41 h 198"/>
                    <a:gd name="T120" fmla="*/ 45 w 183"/>
                    <a:gd name="T121" fmla="*/ 42 h 198"/>
                    <a:gd name="T122" fmla="*/ 82 w 183"/>
                    <a:gd name="T123" fmla="*/ 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3" h="198">
                      <a:moveTo>
                        <a:pt x="10" y="98"/>
                      </a:moveTo>
                      <a:lnTo>
                        <a:pt x="9" y="98"/>
                      </a:lnTo>
                      <a:lnTo>
                        <a:pt x="9" y="97"/>
                      </a:lnTo>
                      <a:lnTo>
                        <a:pt x="9" y="96"/>
                      </a:lnTo>
                      <a:lnTo>
                        <a:pt x="8" y="96"/>
                      </a:lnTo>
                      <a:lnTo>
                        <a:pt x="8" y="95"/>
                      </a:lnTo>
                      <a:lnTo>
                        <a:pt x="9" y="95"/>
                      </a:lnTo>
                      <a:lnTo>
                        <a:pt x="9" y="93"/>
                      </a:lnTo>
                      <a:lnTo>
                        <a:pt x="10" y="93"/>
                      </a:lnTo>
                      <a:lnTo>
                        <a:pt x="10" y="95"/>
                      </a:lnTo>
                      <a:lnTo>
                        <a:pt x="11" y="95"/>
                      </a:lnTo>
                      <a:lnTo>
                        <a:pt x="11" y="96"/>
                      </a:lnTo>
                      <a:lnTo>
                        <a:pt x="11" y="97"/>
                      </a:lnTo>
                      <a:lnTo>
                        <a:pt x="11" y="98"/>
                      </a:lnTo>
                      <a:lnTo>
                        <a:pt x="10" y="98"/>
                      </a:lnTo>
                      <a:close/>
                      <a:moveTo>
                        <a:pt x="96" y="1"/>
                      </a:moveTo>
                      <a:lnTo>
                        <a:pt x="96" y="2"/>
                      </a:lnTo>
                      <a:lnTo>
                        <a:pt x="97" y="1"/>
                      </a:lnTo>
                      <a:lnTo>
                        <a:pt x="101" y="1"/>
                      </a:lnTo>
                      <a:lnTo>
                        <a:pt x="103" y="1"/>
                      </a:lnTo>
                      <a:lnTo>
                        <a:pt x="106" y="1"/>
                      </a:lnTo>
                      <a:lnTo>
                        <a:pt x="107" y="1"/>
                      </a:lnTo>
                      <a:lnTo>
                        <a:pt x="108" y="1"/>
                      </a:lnTo>
                      <a:lnTo>
                        <a:pt x="109" y="1"/>
                      </a:lnTo>
                      <a:lnTo>
                        <a:pt x="110" y="1"/>
                      </a:lnTo>
                      <a:lnTo>
                        <a:pt x="111" y="1"/>
                      </a:lnTo>
                      <a:lnTo>
                        <a:pt x="113" y="1"/>
                      </a:lnTo>
                      <a:lnTo>
                        <a:pt x="114" y="1"/>
                      </a:lnTo>
                      <a:lnTo>
                        <a:pt x="115" y="1"/>
                      </a:lnTo>
                      <a:lnTo>
                        <a:pt x="116" y="1"/>
                      </a:lnTo>
                      <a:lnTo>
                        <a:pt x="118" y="1"/>
                      </a:lnTo>
                      <a:lnTo>
                        <a:pt x="119" y="1"/>
                      </a:lnTo>
                      <a:lnTo>
                        <a:pt x="121" y="1"/>
                      </a:lnTo>
                      <a:lnTo>
                        <a:pt x="122" y="2"/>
                      </a:lnTo>
                      <a:lnTo>
                        <a:pt x="122" y="1"/>
                      </a:lnTo>
                      <a:lnTo>
                        <a:pt x="123" y="2"/>
                      </a:lnTo>
                      <a:lnTo>
                        <a:pt x="128" y="4"/>
                      </a:lnTo>
                      <a:lnTo>
                        <a:pt x="129" y="2"/>
                      </a:lnTo>
                      <a:lnTo>
                        <a:pt x="130" y="2"/>
                      </a:lnTo>
                      <a:lnTo>
                        <a:pt x="131" y="2"/>
                      </a:lnTo>
                      <a:lnTo>
                        <a:pt x="132" y="2"/>
                      </a:lnTo>
                      <a:lnTo>
                        <a:pt x="133" y="2"/>
                      </a:lnTo>
                      <a:lnTo>
                        <a:pt x="135" y="2"/>
                      </a:lnTo>
                      <a:lnTo>
                        <a:pt x="136" y="2"/>
                      </a:lnTo>
                      <a:lnTo>
                        <a:pt x="137" y="2"/>
                      </a:lnTo>
                      <a:lnTo>
                        <a:pt x="138" y="2"/>
                      </a:lnTo>
                      <a:lnTo>
                        <a:pt x="139" y="2"/>
                      </a:lnTo>
                      <a:lnTo>
                        <a:pt x="139" y="1"/>
                      </a:lnTo>
                      <a:lnTo>
                        <a:pt x="140" y="1"/>
                      </a:lnTo>
                      <a:lnTo>
                        <a:pt x="142" y="1"/>
                      </a:lnTo>
                      <a:lnTo>
                        <a:pt x="143" y="2"/>
                      </a:lnTo>
                      <a:lnTo>
                        <a:pt x="144" y="2"/>
                      </a:lnTo>
                      <a:lnTo>
                        <a:pt x="145" y="2"/>
                      </a:lnTo>
                      <a:lnTo>
                        <a:pt x="145" y="4"/>
                      </a:lnTo>
                      <a:lnTo>
                        <a:pt x="145" y="5"/>
                      </a:lnTo>
                      <a:lnTo>
                        <a:pt x="145" y="7"/>
                      </a:lnTo>
                      <a:lnTo>
                        <a:pt x="145" y="8"/>
                      </a:lnTo>
                      <a:lnTo>
                        <a:pt x="145" y="9"/>
                      </a:lnTo>
                      <a:lnTo>
                        <a:pt x="144" y="9"/>
                      </a:lnTo>
                      <a:lnTo>
                        <a:pt x="143" y="11"/>
                      </a:lnTo>
                      <a:lnTo>
                        <a:pt x="143" y="12"/>
                      </a:lnTo>
                      <a:lnTo>
                        <a:pt x="142" y="12"/>
                      </a:lnTo>
                      <a:lnTo>
                        <a:pt x="142" y="13"/>
                      </a:lnTo>
                      <a:lnTo>
                        <a:pt x="140" y="14"/>
                      </a:lnTo>
                      <a:lnTo>
                        <a:pt x="142" y="14"/>
                      </a:lnTo>
                      <a:lnTo>
                        <a:pt x="142" y="15"/>
                      </a:lnTo>
                      <a:lnTo>
                        <a:pt x="142" y="16"/>
                      </a:lnTo>
                      <a:lnTo>
                        <a:pt x="142" y="18"/>
                      </a:lnTo>
                      <a:lnTo>
                        <a:pt x="140" y="18"/>
                      </a:lnTo>
                      <a:lnTo>
                        <a:pt x="140" y="19"/>
                      </a:lnTo>
                      <a:lnTo>
                        <a:pt x="140" y="20"/>
                      </a:lnTo>
                      <a:lnTo>
                        <a:pt x="140" y="22"/>
                      </a:lnTo>
                      <a:lnTo>
                        <a:pt x="140" y="23"/>
                      </a:lnTo>
                      <a:lnTo>
                        <a:pt x="140" y="25"/>
                      </a:lnTo>
                      <a:lnTo>
                        <a:pt x="142" y="25"/>
                      </a:lnTo>
                      <a:lnTo>
                        <a:pt x="142" y="26"/>
                      </a:lnTo>
                      <a:lnTo>
                        <a:pt x="143" y="27"/>
                      </a:lnTo>
                      <a:lnTo>
                        <a:pt x="143" y="28"/>
                      </a:lnTo>
                      <a:lnTo>
                        <a:pt x="144" y="28"/>
                      </a:lnTo>
                      <a:lnTo>
                        <a:pt x="144" y="29"/>
                      </a:lnTo>
                      <a:lnTo>
                        <a:pt x="144" y="30"/>
                      </a:lnTo>
                      <a:lnTo>
                        <a:pt x="144" y="32"/>
                      </a:lnTo>
                      <a:lnTo>
                        <a:pt x="143" y="33"/>
                      </a:lnTo>
                      <a:lnTo>
                        <a:pt x="142" y="33"/>
                      </a:lnTo>
                      <a:lnTo>
                        <a:pt x="142" y="34"/>
                      </a:lnTo>
                      <a:lnTo>
                        <a:pt x="140" y="34"/>
                      </a:lnTo>
                      <a:lnTo>
                        <a:pt x="142" y="34"/>
                      </a:lnTo>
                      <a:lnTo>
                        <a:pt x="142" y="35"/>
                      </a:lnTo>
                      <a:lnTo>
                        <a:pt x="143" y="35"/>
                      </a:lnTo>
                      <a:lnTo>
                        <a:pt x="144" y="35"/>
                      </a:lnTo>
                      <a:lnTo>
                        <a:pt x="145" y="35"/>
                      </a:lnTo>
                      <a:lnTo>
                        <a:pt x="146" y="34"/>
                      </a:lnTo>
                      <a:lnTo>
                        <a:pt x="147" y="33"/>
                      </a:lnTo>
                      <a:lnTo>
                        <a:pt x="149" y="33"/>
                      </a:lnTo>
                      <a:lnTo>
                        <a:pt x="150" y="33"/>
                      </a:lnTo>
                      <a:lnTo>
                        <a:pt x="151" y="33"/>
                      </a:lnTo>
                      <a:lnTo>
                        <a:pt x="152" y="33"/>
                      </a:lnTo>
                      <a:lnTo>
                        <a:pt x="153" y="33"/>
                      </a:lnTo>
                      <a:lnTo>
                        <a:pt x="154" y="32"/>
                      </a:lnTo>
                      <a:lnTo>
                        <a:pt x="156" y="32"/>
                      </a:lnTo>
                      <a:lnTo>
                        <a:pt x="156" y="30"/>
                      </a:lnTo>
                      <a:lnTo>
                        <a:pt x="157" y="30"/>
                      </a:lnTo>
                      <a:lnTo>
                        <a:pt x="158" y="30"/>
                      </a:lnTo>
                      <a:lnTo>
                        <a:pt x="159" y="30"/>
                      </a:lnTo>
                      <a:lnTo>
                        <a:pt x="160" y="30"/>
                      </a:lnTo>
                      <a:lnTo>
                        <a:pt x="160" y="29"/>
                      </a:lnTo>
                      <a:lnTo>
                        <a:pt x="160" y="28"/>
                      </a:lnTo>
                      <a:lnTo>
                        <a:pt x="161" y="28"/>
                      </a:lnTo>
                      <a:lnTo>
                        <a:pt x="167" y="29"/>
                      </a:lnTo>
                      <a:lnTo>
                        <a:pt x="168" y="29"/>
                      </a:lnTo>
                      <a:lnTo>
                        <a:pt x="170" y="30"/>
                      </a:lnTo>
                      <a:lnTo>
                        <a:pt x="171" y="29"/>
                      </a:lnTo>
                      <a:lnTo>
                        <a:pt x="172" y="29"/>
                      </a:lnTo>
                      <a:lnTo>
                        <a:pt x="173" y="29"/>
                      </a:lnTo>
                      <a:lnTo>
                        <a:pt x="174" y="30"/>
                      </a:lnTo>
                      <a:lnTo>
                        <a:pt x="175" y="30"/>
                      </a:lnTo>
                      <a:lnTo>
                        <a:pt x="175" y="32"/>
                      </a:lnTo>
                      <a:lnTo>
                        <a:pt x="177" y="34"/>
                      </a:lnTo>
                      <a:lnTo>
                        <a:pt x="177" y="35"/>
                      </a:lnTo>
                      <a:lnTo>
                        <a:pt x="177" y="37"/>
                      </a:lnTo>
                      <a:lnTo>
                        <a:pt x="178" y="39"/>
                      </a:lnTo>
                      <a:lnTo>
                        <a:pt x="179" y="39"/>
                      </a:lnTo>
                      <a:lnTo>
                        <a:pt x="179" y="40"/>
                      </a:lnTo>
                      <a:lnTo>
                        <a:pt x="180" y="41"/>
                      </a:lnTo>
                      <a:lnTo>
                        <a:pt x="180" y="42"/>
                      </a:lnTo>
                      <a:lnTo>
                        <a:pt x="180" y="43"/>
                      </a:lnTo>
                      <a:lnTo>
                        <a:pt x="181" y="43"/>
                      </a:lnTo>
                      <a:lnTo>
                        <a:pt x="181" y="44"/>
                      </a:lnTo>
                      <a:lnTo>
                        <a:pt x="182" y="44"/>
                      </a:lnTo>
                      <a:lnTo>
                        <a:pt x="182" y="46"/>
                      </a:lnTo>
                      <a:lnTo>
                        <a:pt x="181" y="46"/>
                      </a:lnTo>
                      <a:lnTo>
                        <a:pt x="182" y="48"/>
                      </a:lnTo>
                      <a:lnTo>
                        <a:pt x="181" y="49"/>
                      </a:lnTo>
                      <a:lnTo>
                        <a:pt x="179" y="50"/>
                      </a:lnTo>
                      <a:lnTo>
                        <a:pt x="179" y="51"/>
                      </a:lnTo>
                      <a:lnTo>
                        <a:pt x="179" y="53"/>
                      </a:lnTo>
                      <a:lnTo>
                        <a:pt x="178" y="54"/>
                      </a:lnTo>
                      <a:lnTo>
                        <a:pt x="175" y="56"/>
                      </a:lnTo>
                      <a:lnTo>
                        <a:pt x="173" y="56"/>
                      </a:lnTo>
                      <a:lnTo>
                        <a:pt x="172" y="56"/>
                      </a:lnTo>
                      <a:lnTo>
                        <a:pt x="171" y="56"/>
                      </a:lnTo>
                      <a:lnTo>
                        <a:pt x="170" y="57"/>
                      </a:lnTo>
                      <a:lnTo>
                        <a:pt x="170" y="58"/>
                      </a:lnTo>
                      <a:lnTo>
                        <a:pt x="170" y="60"/>
                      </a:lnTo>
                      <a:lnTo>
                        <a:pt x="170" y="61"/>
                      </a:lnTo>
                      <a:lnTo>
                        <a:pt x="167" y="62"/>
                      </a:lnTo>
                      <a:lnTo>
                        <a:pt x="166" y="62"/>
                      </a:lnTo>
                      <a:lnTo>
                        <a:pt x="165" y="65"/>
                      </a:lnTo>
                      <a:lnTo>
                        <a:pt x="164" y="67"/>
                      </a:lnTo>
                      <a:lnTo>
                        <a:pt x="164" y="68"/>
                      </a:lnTo>
                      <a:lnTo>
                        <a:pt x="164" y="69"/>
                      </a:lnTo>
                      <a:lnTo>
                        <a:pt x="165" y="70"/>
                      </a:lnTo>
                      <a:lnTo>
                        <a:pt x="165" y="72"/>
                      </a:lnTo>
                      <a:lnTo>
                        <a:pt x="166" y="72"/>
                      </a:lnTo>
                      <a:lnTo>
                        <a:pt x="166" y="74"/>
                      </a:lnTo>
                      <a:lnTo>
                        <a:pt x="165" y="74"/>
                      </a:lnTo>
                      <a:lnTo>
                        <a:pt x="165" y="75"/>
                      </a:lnTo>
                      <a:lnTo>
                        <a:pt x="165" y="76"/>
                      </a:lnTo>
                      <a:lnTo>
                        <a:pt x="163" y="78"/>
                      </a:lnTo>
                      <a:lnTo>
                        <a:pt x="163" y="79"/>
                      </a:lnTo>
                      <a:lnTo>
                        <a:pt x="164" y="82"/>
                      </a:lnTo>
                      <a:lnTo>
                        <a:pt x="165" y="82"/>
                      </a:lnTo>
                      <a:lnTo>
                        <a:pt x="165" y="81"/>
                      </a:lnTo>
                      <a:lnTo>
                        <a:pt x="166" y="81"/>
                      </a:lnTo>
                      <a:lnTo>
                        <a:pt x="167" y="81"/>
                      </a:lnTo>
                      <a:lnTo>
                        <a:pt x="167" y="82"/>
                      </a:lnTo>
                      <a:lnTo>
                        <a:pt x="168" y="82"/>
                      </a:lnTo>
                      <a:lnTo>
                        <a:pt x="170" y="82"/>
                      </a:lnTo>
                      <a:lnTo>
                        <a:pt x="171" y="82"/>
                      </a:lnTo>
                      <a:lnTo>
                        <a:pt x="172" y="83"/>
                      </a:lnTo>
                      <a:lnTo>
                        <a:pt x="172" y="84"/>
                      </a:lnTo>
                      <a:lnTo>
                        <a:pt x="173" y="85"/>
                      </a:lnTo>
                      <a:lnTo>
                        <a:pt x="173" y="86"/>
                      </a:lnTo>
                      <a:lnTo>
                        <a:pt x="173" y="88"/>
                      </a:lnTo>
                      <a:lnTo>
                        <a:pt x="174" y="88"/>
                      </a:lnTo>
                      <a:lnTo>
                        <a:pt x="175" y="88"/>
                      </a:lnTo>
                      <a:lnTo>
                        <a:pt x="177" y="88"/>
                      </a:lnTo>
                      <a:lnTo>
                        <a:pt x="178" y="88"/>
                      </a:lnTo>
                      <a:lnTo>
                        <a:pt x="179" y="88"/>
                      </a:lnTo>
                      <a:lnTo>
                        <a:pt x="180" y="89"/>
                      </a:lnTo>
                      <a:lnTo>
                        <a:pt x="181" y="90"/>
                      </a:lnTo>
                      <a:lnTo>
                        <a:pt x="182" y="90"/>
                      </a:lnTo>
                      <a:lnTo>
                        <a:pt x="182" y="91"/>
                      </a:lnTo>
                      <a:lnTo>
                        <a:pt x="183" y="92"/>
                      </a:lnTo>
                      <a:lnTo>
                        <a:pt x="183" y="93"/>
                      </a:lnTo>
                      <a:lnTo>
                        <a:pt x="183" y="95"/>
                      </a:lnTo>
                      <a:lnTo>
                        <a:pt x="182" y="97"/>
                      </a:lnTo>
                      <a:lnTo>
                        <a:pt x="182" y="98"/>
                      </a:lnTo>
                      <a:lnTo>
                        <a:pt x="182" y="99"/>
                      </a:lnTo>
                      <a:lnTo>
                        <a:pt x="182" y="100"/>
                      </a:lnTo>
                      <a:lnTo>
                        <a:pt x="181" y="102"/>
                      </a:lnTo>
                      <a:lnTo>
                        <a:pt x="181" y="103"/>
                      </a:lnTo>
                      <a:lnTo>
                        <a:pt x="181" y="104"/>
                      </a:lnTo>
                      <a:lnTo>
                        <a:pt x="180" y="105"/>
                      </a:lnTo>
                      <a:lnTo>
                        <a:pt x="181" y="109"/>
                      </a:lnTo>
                      <a:lnTo>
                        <a:pt x="182" y="109"/>
                      </a:lnTo>
                      <a:lnTo>
                        <a:pt x="181" y="110"/>
                      </a:lnTo>
                      <a:lnTo>
                        <a:pt x="182" y="111"/>
                      </a:lnTo>
                      <a:lnTo>
                        <a:pt x="182" y="112"/>
                      </a:lnTo>
                      <a:lnTo>
                        <a:pt x="182" y="113"/>
                      </a:lnTo>
                      <a:lnTo>
                        <a:pt x="182" y="114"/>
                      </a:lnTo>
                      <a:lnTo>
                        <a:pt x="181" y="114"/>
                      </a:lnTo>
                      <a:lnTo>
                        <a:pt x="181" y="116"/>
                      </a:lnTo>
                      <a:lnTo>
                        <a:pt x="182" y="117"/>
                      </a:lnTo>
                      <a:lnTo>
                        <a:pt x="183" y="117"/>
                      </a:lnTo>
                      <a:lnTo>
                        <a:pt x="183" y="118"/>
                      </a:lnTo>
                      <a:lnTo>
                        <a:pt x="182" y="118"/>
                      </a:lnTo>
                      <a:lnTo>
                        <a:pt x="182" y="119"/>
                      </a:lnTo>
                      <a:lnTo>
                        <a:pt x="182" y="120"/>
                      </a:lnTo>
                      <a:lnTo>
                        <a:pt x="182" y="121"/>
                      </a:lnTo>
                      <a:lnTo>
                        <a:pt x="182" y="123"/>
                      </a:lnTo>
                      <a:lnTo>
                        <a:pt x="181" y="123"/>
                      </a:lnTo>
                      <a:lnTo>
                        <a:pt x="181" y="124"/>
                      </a:lnTo>
                      <a:lnTo>
                        <a:pt x="180" y="124"/>
                      </a:lnTo>
                      <a:lnTo>
                        <a:pt x="180" y="125"/>
                      </a:lnTo>
                      <a:lnTo>
                        <a:pt x="181" y="126"/>
                      </a:lnTo>
                      <a:lnTo>
                        <a:pt x="182" y="126"/>
                      </a:lnTo>
                      <a:lnTo>
                        <a:pt x="181" y="127"/>
                      </a:lnTo>
                      <a:lnTo>
                        <a:pt x="181" y="128"/>
                      </a:lnTo>
                      <a:lnTo>
                        <a:pt x="181" y="131"/>
                      </a:lnTo>
                      <a:lnTo>
                        <a:pt x="181" y="132"/>
                      </a:lnTo>
                      <a:lnTo>
                        <a:pt x="181" y="133"/>
                      </a:lnTo>
                      <a:lnTo>
                        <a:pt x="180" y="134"/>
                      </a:lnTo>
                      <a:lnTo>
                        <a:pt x="177" y="135"/>
                      </a:lnTo>
                      <a:lnTo>
                        <a:pt x="175" y="135"/>
                      </a:lnTo>
                      <a:lnTo>
                        <a:pt x="175" y="137"/>
                      </a:lnTo>
                      <a:lnTo>
                        <a:pt x="177" y="138"/>
                      </a:lnTo>
                      <a:lnTo>
                        <a:pt x="175" y="139"/>
                      </a:lnTo>
                      <a:lnTo>
                        <a:pt x="175" y="140"/>
                      </a:lnTo>
                      <a:lnTo>
                        <a:pt x="175" y="141"/>
                      </a:lnTo>
                      <a:lnTo>
                        <a:pt x="174" y="141"/>
                      </a:lnTo>
                      <a:lnTo>
                        <a:pt x="175" y="142"/>
                      </a:lnTo>
                      <a:lnTo>
                        <a:pt x="174" y="142"/>
                      </a:lnTo>
                      <a:lnTo>
                        <a:pt x="173" y="144"/>
                      </a:lnTo>
                      <a:lnTo>
                        <a:pt x="173" y="145"/>
                      </a:lnTo>
                      <a:lnTo>
                        <a:pt x="175" y="147"/>
                      </a:lnTo>
                      <a:lnTo>
                        <a:pt x="174" y="148"/>
                      </a:lnTo>
                      <a:lnTo>
                        <a:pt x="173" y="148"/>
                      </a:lnTo>
                      <a:lnTo>
                        <a:pt x="173" y="149"/>
                      </a:lnTo>
                      <a:lnTo>
                        <a:pt x="172" y="149"/>
                      </a:lnTo>
                      <a:lnTo>
                        <a:pt x="172" y="151"/>
                      </a:lnTo>
                      <a:lnTo>
                        <a:pt x="172" y="152"/>
                      </a:lnTo>
                      <a:lnTo>
                        <a:pt x="171" y="152"/>
                      </a:lnTo>
                      <a:lnTo>
                        <a:pt x="170" y="152"/>
                      </a:lnTo>
                      <a:lnTo>
                        <a:pt x="168" y="152"/>
                      </a:lnTo>
                      <a:lnTo>
                        <a:pt x="167" y="152"/>
                      </a:lnTo>
                      <a:lnTo>
                        <a:pt x="166" y="152"/>
                      </a:lnTo>
                      <a:lnTo>
                        <a:pt x="165" y="152"/>
                      </a:lnTo>
                      <a:lnTo>
                        <a:pt x="164" y="152"/>
                      </a:lnTo>
                      <a:lnTo>
                        <a:pt x="164" y="151"/>
                      </a:lnTo>
                      <a:lnTo>
                        <a:pt x="164" y="149"/>
                      </a:lnTo>
                      <a:lnTo>
                        <a:pt x="165" y="149"/>
                      </a:lnTo>
                      <a:lnTo>
                        <a:pt x="165" y="148"/>
                      </a:lnTo>
                      <a:lnTo>
                        <a:pt x="165" y="147"/>
                      </a:lnTo>
                      <a:lnTo>
                        <a:pt x="164" y="147"/>
                      </a:lnTo>
                      <a:lnTo>
                        <a:pt x="164" y="146"/>
                      </a:lnTo>
                      <a:lnTo>
                        <a:pt x="163" y="145"/>
                      </a:lnTo>
                      <a:lnTo>
                        <a:pt x="161" y="142"/>
                      </a:lnTo>
                      <a:lnTo>
                        <a:pt x="161" y="141"/>
                      </a:lnTo>
                      <a:lnTo>
                        <a:pt x="161" y="140"/>
                      </a:lnTo>
                      <a:lnTo>
                        <a:pt x="160" y="140"/>
                      </a:lnTo>
                      <a:lnTo>
                        <a:pt x="159" y="141"/>
                      </a:lnTo>
                      <a:lnTo>
                        <a:pt x="159" y="142"/>
                      </a:lnTo>
                      <a:lnTo>
                        <a:pt x="156" y="145"/>
                      </a:lnTo>
                      <a:lnTo>
                        <a:pt x="156" y="146"/>
                      </a:lnTo>
                      <a:lnTo>
                        <a:pt x="156" y="147"/>
                      </a:lnTo>
                      <a:lnTo>
                        <a:pt x="154" y="147"/>
                      </a:lnTo>
                      <a:lnTo>
                        <a:pt x="153" y="148"/>
                      </a:lnTo>
                      <a:lnTo>
                        <a:pt x="152" y="149"/>
                      </a:lnTo>
                      <a:lnTo>
                        <a:pt x="151" y="151"/>
                      </a:lnTo>
                      <a:lnTo>
                        <a:pt x="151" y="149"/>
                      </a:lnTo>
                      <a:lnTo>
                        <a:pt x="150" y="151"/>
                      </a:lnTo>
                      <a:lnTo>
                        <a:pt x="150" y="149"/>
                      </a:lnTo>
                      <a:lnTo>
                        <a:pt x="149" y="151"/>
                      </a:lnTo>
                      <a:lnTo>
                        <a:pt x="143" y="148"/>
                      </a:lnTo>
                      <a:lnTo>
                        <a:pt x="142" y="148"/>
                      </a:lnTo>
                      <a:lnTo>
                        <a:pt x="140" y="148"/>
                      </a:lnTo>
                      <a:lnTo>
                        <a:pt x="138" y="147"/>
                      </a:lnTo>
                      <a:lnTo>
                        <a:pt x="137" y="147"/>
                      </a:lnTo>
                      <a:lnTo>
                        <a:pt x="137" y="148"/>
                      </a:lnTo>
                      <a:lnTo>
                        <a:pt x="136" y="148"/>
                      </a:lnTo>
                      <a:lnTo>
                        <a:pt x="136" y="147"/>
                      </a:lnTo>
                      <a:lnTo>
                        <a:pt x="137" y="147"/>
                      </a:lnTo>
                      <a:lnTo>
                        <a:pt x="137" y="146"/>
                      </a:lnTo>
                      <a:lnTo>
                        <a:pt x="137" y="145"/>
                      </a:lnTo>
                      <a:lnTo>
                        <a:pt x="136" y="145"/>
                      </a:lnTo>
                      <a:lnTo>
                        <a:pt x="136" y="144"/>
                      </a:lnTo>
                      <a:lnTo>
                        <a:pt x="135" y="142"/>
                      </a:lnTo>
                      <a:lnTo>
                        <a:pt x="133" y="142"/>
                      </a:lnTo>
                      <a:lnTo>
                        <a:pt x="133" y="141"/>
                      </a:lnTo>
                      <a:lnTo>
                        <a:pt x="132" y="141"/>
                      </a:lnTo>
                      <a:lnTo>
                        <a:pt x="133" y="141"/>
                      </a:lnTo>
                      <a:lnTo>
                        <a:pt x="133" y="140"/>
                      </a:lnTo>
                      <a:lnTo>
                        <a:pt x="132" y="140"/>
                      </a:lnTo>
                      <a:lnTo>
                        <a:pt x="132" y="139"/>
                      </a:lnTo>
                      <a:lnTo>
                        <a:pt x="132" y="138"/>
                      </a:lnTo>
                      <a:lnTo>
                        <a:pt x="131" y="138"/>
                      </a:lnTo>
                      <a:lnTo>
                        <a:pt x="131" y="137"/>
                      </a:lnTo>
                      <a:lnTo>
                        <a:pt x="131" y="135"/>
                      </a:lnTo>
                      <a:lnTo>
                        <a:pt x="130" y="134"/>
                      </a:lnTo>
                      <a:lnTo>
                        <a:pt x="129" y="133"/>
                      </a:lnTo>
                      <a:lnTo>
                        <a:pt x="126" y="132"/>
                      </a:lnTo>
                      <a:lnTo>
                        <a:pt x="125" y="131"/>
                      </a:lnTo>
                      <a:lnTo>
                        <a:pt x="123" y="131"/>
                      </a:lnTo>
                      <a:lnTo>
                        <a:pt x="123" y="132"/>
                      </a:lnTo>
                      <a:lnTo>
                        <a:pt x="122" y="132"/>
                      </a:lnTo>
                      <a:lnTo>
                        <a:pt x="122" y="133"/>
                      </a:lnTo>
                      <a:lnTo>
                        <a:pt x="121" y="133"/>
                      </a:lnTo>
                      <a:lnTo>
                        <a:pt x="121" y="134"/>
                      </a:lnTo>
                      <a:lnTo>
                        <a:pt x="119" y="134"/>
                      </a:lnTo>
                      <a:lnTo>
                        <a:pt x="119" y="133"/>
                      </a:lnTo>
                      <a:lnTo>
                        <a:pt x="118" y="133"/>
                      </a:lnTo>
                      <a:lnTo>
                        <a:pt x="118" y="137"/>
                      </a:lnTo>
                      <a:lnTo>
                        <a:pt x="118" y="138"/>
                      </a:lnTo>
                      <a:lnTo>
                        <a:pt x="119" y="139"/>
                      </a:lnTo>
                      <a:lnTo>
                        <a:pt x="121" y="140"/>
                      </a:lnTo>
                      <a:lnTo>
                        <a:pt x="119" y="141"/>
                      </a:lnTo>
                      <a:lnTo>
                        <a:pt x="119" y="142"/>
                      </a:lnTo>
                      <a:lnTo>
                        <a:pt x="119" y="144"/>
                      </a:lnTo>
                      <a:lnTo>
                        <a:pt x="119" y="145"/>
                      </a:lnTo>
                      <a:lnTo>
                        <a:pt x="119" y="146"/>
                      </a:lnTo>
                      <a:lnTo>
                        <a:pt x="119" y="147"/>
                      </a:lnTo>
                      <a:lnTo>
                        <a:pt x="107" y="149"/>
                      </a:lnTo>
                      <a:lnTo>
                        <a:pt x="106" y="149"/>
                      </a:lnTo>
                      <a:lnTo>
                        <a:pt x="104" y="148"/>
                      </a:lnTo>
                      <a:lnTo>
                        <a:pt x="103" y="147"/>
                      </a:lnTo>
                      <a:lnTo>
                        <a:pt x="102" y="148"/>
                      </a:lnTo>
                      <a:lnTo>
                        <a:pt x="101" y="148"/>
                      </a:lnTo>
                      <a:lnTo>
                        <a:pt x="100" y="148"/>
                      </a:lnTo>
                      <a:lnTo>
                        <a:pt x="99" y="148"/>
                      </a:lnTo>
                      <a:lnTo>
                        <a:pt x="97" y="149"/>
                      </a:lnTo>
                      <a:lnTo>
                        <a:pt x="96" y="149"/>
                      </a:lnTo>
                      <a:lnTo>
                        <a:pt x="95" y="148"/>
                      </a:lnTo>
                      <a:lnTo>
                        <a:pt x="94" y="148"/>
                      </a:lnTo>
                      <a:lnTo>
                        <a:pt x="93" y="147"/>
                      </a:lnTo>
                      <a:lnTo>
                        <a:pt x="92" y="147"/>
                      </a:lnTo>
                      <a:lnTo>
                        <a:pt x="92" y="148"/>
                      </a:lnTo>
                      <a:lnTo>
                        <a:pt x="92" y="149"/>
                      </a:lnTo>
                      <a:lnTo>
                        <a:pt x="92" y="151"/>
                      </a:lnTo>
                      <a:lnTo>
                        <a:pt x="92" y="152"/>
                      </a:lnTo>
                      <a:lnTo>
                        <a:pt x="92" y="153"/>
                      </a:lnTo>
                      <a:lnTo>
                        <a:pt x="93" y="154"/>
                      </a:lnTo>
                      <a:lnTo>
                        <a:pt x="93" y="155"/>
                      </a:lnTo>
                      <a:lnTo>
                        <a:pt x="93" y="156"/>
                      </a:lnTo>
                      <a:lnTo>
                        <a:pt x="93" y="158"/>
                      </a:lnTo>
                      <a:lnTo>
                        <a:pt x="93" y="159"/>
                      </a:lnTo>
                      <a:lnTo>
                        <a:pt x="90" y="162"/>
                      </a:lnTo>
                      <a:lnTo>
                        <a:pt x="90" y="163"/>
                      </a:lnTo>
                      <a:lnTo>
                        <a:pt x="90" y="165"/>
                      </a:lnTo>
                      <a:lnTo>
                        <a:pt x="92" y="163"/>
                      </a:lnTo>
                      <a:lnTo>
                        <a:pt x="93" y="163"/>
                      </a:lnTo>
                      <a:lnTo>
                        <a:pt x="94" y="163"/>
                      </a:lnTo>
                      <a:lnTo>
                        <a:pt x="95" y="166"/>
                      </a:lnTo>
                      <a:lnTo>
                        <a:pt x="97" y="168"/>
                      </a:lnTo>
                      <a:lnTo>
                        <a:pt x="99" y="168"/>
                      </a:lnTo>
                      <a:lnTo>
                        <a:pt x="99" y="169"/>
                      </a:lnTo>
                      <a:lnTo>
                        <a:pt x="97" y="169"/>
                      </a:lnTo>
                      <a:lnTo>
                        <a:pt x="96" y="169"/>
                      </a:lnTo>
                      <a:lnTo>
                        <a:pt x="96" y="170"/>
                      </a:lnTo>
                      <a:lnTo>
                        <a:pt x="95" y="170"/>
                      </a:lnTo>
                      <a:lnTo>
                        <a:pt x="95" y="172"/>
                      </a:lnTo>
                      <a:lnTo>
                        <a:pt x="95" y="174"/>
                      </a:lnTo>
                      <a:lnTo>
                        <a:pt x="96" y="174"/>
                      </a:lnTo>
                      <a:lnTo>
                        <a:pt x="97" y="175"/>
                      </a:lnTo>
                      <a:lnTo>
                        <a:pt x="99" y="175"/>
                      </a:lnTo>
                      <a:lnTo>
                        <a:pt x="100" y="176"/>
                      </a:lnTo>
                      <a:lnTo>
                        <a:pt x="101" y="177"/>
                      </a:lnTo>
                      <a:lnTo>
                        <a:pt x="102" y="177"/>
                      </a:lnTo>
                      <a:lnTo>
                        <a:pt x="103" y="177"/>
                      </a:lnTo>
                      <a:lnTo>
                        <a:pt x="103" y="179"/>
                      </a:lnTo>
                      <a:lnTo>
                        <a:pt x="103" y="180"/>
                      </a:lnTo>
                      <a:lnTo>
                        <a:pt x="102" y="181"/>
                      </a:lnTo>
                      <a:lnTo>
                        <a:pt x="100" y="186"/>
                      </a:lnTo>
                      <a:lnTo>
                        <a:pt x="100" y="187"/>
                      </a:lnTo>
                      <a:lnTo>
                        <a:pt x="101" y="188"/>
                      </a:lnTo>
                      <a:lnTo>
                        <a:pt x="102" y="188"/>
                      </a:lnTo>
                      <a:lnTo>
                        <a:pt x="102" y="189"/>
                      </a:lnTo>
                      <a:lnTo>
                        <a:pt x="101" y="190"/>
                      </a:lnTo>
                      <a:lnTo>
                        <a:pt x="100" y="190"/>
                      </a:lnTo>
                      <a:lnTo>
                        <a:pt x="97" y="190"/>
                      </a:lnTo>
                      <a:lnTo>
                        <a:pt x="95" y="190"/>
                      </a:lnTo>
                      <a:lnTo>
                        <a:pt x="94" y="189"/>
                      </a:lnTo>
                      <a:lnTo>
                        <a:pt x="92" y="186"/>
                      </a:lnTo>
                      <a:lnTo>
                        <a:pt x="90" y="184"/>
                      </a:lnTo>
                      <a:lnTo>
                        <a:pt x="89" y="184"/>
                      </a:lnTo>
                      <a:lnTo>
                        <a:pt x="88" y="186"/>
                      </a:lnTo>
                      <a:lnTo>
                        <a:pt x="87" y="186"/>
                      </a:lnTo>
                      <a:lnTo>
                        <a:pt x="87" y="187"/>
                      </a:lnTo>
                      <a:lnTo>
                        <a:pt x="86" y="188"/>
                      </a:lnTo>
                      <a:lnTo>
                        <a:pt x="85" y="188"/>
                      </a:lnTo>
                      <a:lnTo>
                        <a:pt x="83" y="188"/>
                      </a:lnTo>
                      <a:lnTo>
                        <a:pt x="82" y="189"/>
                      </a:lnTo>
                      <a:lnTo>
                        <a:pt x="81" y="190"/>
                      </a:lnTo>
                      <a:lnTo>
                        <a:pt x="80" y="190"/>
                      </a:lnTo>
                      <a:lnTo>
                        <a:pt x="80" y="191"/>
                      </a:lnTo>
                      <a:lnTo>
                        <a:pt x="78" y="197"/>
                      </a:lnTo>
                      <a:lnTo>
                        <a:pt x="78" y="198"/>
                      </a:lnTo>
                      <a:lnTo>
                        <a:pt x="76" y="197"/>
                      </a:lnTo>
                      <a:lnTo>
                        <a:pt x="74" y="196"/>
                      </a:lnTo>
                      <a:lnTo>
                        <a:pt x="74" y="194"/>
                      </a:lnTo>
                      <a:lnTo>
                        <a:pt x="73" y="193"/>
                      </a:lnTo>
                      <a:lnTo>
                        <a:pt x="73" y="191"/>
                      </a:lnTo>
                      <a:lnTo>
                        <a:pt x="73" y="190"/>
                      </a:lnTo>
                      <a:lnTo>
                        <a:pt x="72" y="189"/>
                      </a:lnTo>
                      <a:lnTo>
                        <a:pt x="67" y="187"/>
                      </a:lnTo>
                      <a:lnTo>
                        <a:pt x="62" y="183"/>
                      </a:lnTo>
                      <a:lnTo>
                        <a:pt x="62" y="181"/>
                      </a:lnTo>
                      <a:lnTo>
                        <a:pt x="62" y="180"/>
                      </a:lnTo>
                      <a:lnTo>
                        <a:pt x="62" y="179"/>
                      </a:lnTo>
                      <a:lnTo>
                        <a:pt x="61" y="179"/>
                      </a:lnTo>
                      <a:lnTo>
                        <a:pt x="61" y="177"/>
                      </a:lnTo>
                      <a:lnTo>
                        <a:pt x="60" y="177"/>
                      </a:lnTo>
                      <a:lnTo>
                        <a:pt x="59" y="176"/>
                      </a:lnTo>
                      <a:lnTo>
                        <a:pt x="58" y="175"/>
                      </a:lnTo>
                      <a:lnTo>
                        <a:pt x="58" y="174"/>
                      </a:lnTo>
                      <a:lnTo>
                        <a:pt x="57" y="174"/>
                      </a:lnTo>
                      <a:lnTo>
                        <a:pt x="57" y="173"/>
                      </a:lnTo>
                      <a:lnTo>
                        <a:pt x="53" y="170"/>
                      </a:lnTo>
                      <a:lnTo>
                        <a:pt x="49" y="167"/>
                      </a:lnTo>
                      <a:lnTo>
                        <a:pt x="47" y="166"/>
                      </a:lnTo>
                      <a:lnTo>
                        <a:pt x="43" y="162"/>
                      </a:lnTo>
                      <a:lnTo>
                        <a:pt x="42" y="161"/>
                      </a:lnTo>
                      <a:lnTo>
                        <a:pt x="39" y="159"/>
                      </a:lnTo>
                      <a:lnTo>
                        <a:pt x="33" y="153"/>
                      </a:lnTo>
                      <a:lnTo>
                        <a:pt x="32" y="152"/>
                      </a:lnTo>
                      <a:lnTo>
                        <a:pt x="33" y="152"/>
                      </a:lnTo>
                      <a:lnTo>
                        <a:pt x="33" y="153"/>
                      </a:lnTo>
                      <a:lnTo>
                        <a:pt x="35" y="153"/>
                      </a:lnTo>
                      <a:lnTo>
                        <a:pt x="36" y="153"/>
                      </a:lnTo>
                      <a:lnTo>
                        <a:pt x="36" y="152"/>
                      </a:lnTo>
                      <a:lnTo>
                        <a:pt x="37" y="152"/>
                      </a:lnTo>
                      <a:lnTo>
                        <a:pt x="37" y="153"/>
                      </a:lnTo>
                      <a:lnTo>
                        <a:pt x="37" y="154"/>
                      </a:lnTo>
                      <a:lnTo>
                        <a:pt x="38" y="154"/>
                      </a:lnTo>
                      <a:lnTo>
                        <a:pt x="39" y="154"/>
                      </a:lnTo>
                      <a:lnTo>
                        <a:pt x="39" y="155"/>
                      </a:lnTo>
                      <a:lnTo>
                        <a:pt x="39" y="156"/>
                      </a:lnTo>
                      <a:lnTo>
                        <a:pt x="40" y="156"/>
                      </a:lnTo>
                      <a:lnTo>
                        <a:pt x="40" y="155"/>
                      </a:lnTo>
                      <a:lnTo>
                        <a:pt x="42" y="156"/>
                      </a:lnTo>
                      <a:lnTo>
                        <a:pt x="42" y="158"/>
                      </a:lnTo>
                      <a:lnTo>
                        <a:pt x="42" y="156"/>
                      </a:lnTo>
                      <a:lnTo>
                        <a:pt x="43" y="156"/>
                      </a:lnTo>
                      <a:lnTo>
                        <a:pt x="42" y="158"/>
                      </a:lnTo>
                      <a:lnTo>
                        <a:pt x="43" y="158"/>
                      </a:lnTo>
                      <a:lnTo>
                        <a:pt x="43" y="156"/>
                      </a:lnTo>
                      <a:lnTo>
                        <a:pt x="44" y="155"/>
                      </a:lnTo>
                      <a:lnTo>
                        <a:pt x="45" y="155"/>
                      </a:lnTo>
                      <a:lnTo>
                        <a:pt x="46" y="155"/>
                      </a:lnTo>
                      <a:lnTo>
                        <a:pt x="47" y="155"/>
                      </a:lnTo>
                      <a:lnTo>
                        <a:pt x="46" y="154"/>
                      </a:lnTo>
                      <a:lnTo>
                        <a:pt x="45" y="153"/>
                      </a:lnTo>
                      <a:lnTo>
                        <a:pt x="44" y="153"/>
                      </a:lnTo>
                      <a:lnTo>
                        <a:pt x="45" y="155"/>
                      </a:lnTo>
                      <a:lnTo>
                        <a:pt x="44" y="155"/>
                      </a:lnTo>
                      <a:lnTo>
                        <a:pt x="44" y="154"/>
                      </a:lnTo>
                      <a:lnTo>
                        <a:pt x="43" y="153"/>
                      </a:lnTo>
                      <a:lnTo>
                        <a:pt x="42" y="153"/>
                      </a:lnTo>
                      <a:lnTo>
                        <a:pt x="42" y="154"/>
                      </a:lnTo>
                      <a:lnTo>
                        <a:pt x="42" y="155"/>
                      </a:lnTo>
                      <a:lnTo>
                        <a:pt x="40" y="155"/>
                      </a:lnTo>
                      <a:lnTo>
                        <a:pt x="40" y="154"/>
                      </a:lnTo>
                      <a:lnTo>
                        <a:pt x="40" y="153"/>
                      </a:lnTo>
                      <a:lnTo>
                        <a:pt x="42" y="153"/>
                      </a:lnTo>
                      <a:lnTo>
                        <a:pt x="40" y="152"/>
                      </a:lnTo>
                      <a:lnTo>
                        <a:pt x="39" y="152"/>
                      </a:lnTo>
                      <a:lnTo>
                        <a:pt x="38" y="151"/>
                      </a:lnTo>
                      <a:lnTo>
                        <a:pt x="37" y="151"/>
                      </a:lnTo>
                      <a:lnTo>
                        <a:pt x="36" y="151"/>
                      </a:lnTo>
                      <a:lnTo>
                        <a:pt x="36" y="152"/>
                      </a:lnTo>
                      <a:lnTo>
                        <a:pt x="35" y="152"/>
                      </a:lnTo>
                      <a:lnTo>
                        <a:pt x="33" y="152"/>
                      </a:lnTo>
                      <a:lnTo>
                        <a:pt x="33" y="151"/>
                      </a:lnTo>
                      <a:lnTo>
                        <a:pt x="33" y="149"/>
                      </a:lnTo>
                      <a:lnTo>
                        <a:pt x="32" y="149"/>
                      </a:lnTo>
                      <a:lnTo>
                        <a:pt x="32" y="151"/>
                      </a:lnTo>
                      <a:lnTo>
                        <a:pt x="31" y="149"/>
                      </a:lnTo>
                      <a:lnTo>
                        <a:pt x="30" y="149"/>
                      </a:lnTo>
                      <a:lnTo>
                        <a:pt x="31" y="151"/>
                      </a:lnTo>
                      <a:lnTo>
                        <a:pt x="30" y="149"/>
                      </a:lnTo>
                      <a:lnTo>
                        <a:pt x="29" y="148"/>
                      </a:lnTo>
                      <a:lnTo>
                        <a:pt x="29" y="147"/>
                      </a:lnTo>
                      <a:lnTo>
                        <a:pt x="29" y="144"/>
                      </a:lnTo>
                      <a:lnTo>
                        <a:pt x="28" y="144"/>
                      </a:lnTo>
                      <a:lnTo>
                        <a:pt x="25" y="140"/>
                      </a:lnTo>
                      <a:lnTo>
                        <a:pt x="24" y="140"/>
                      </a:lnTo>
                      <a:lnTo>
                        <a:pt x="23" y="139"/>
                      </a:lnTo>
                      <a:lnTo>
                        <a:pt x="23" y="138"/>
                      </a:lnTo>
                      <a:lnTo>
                        <a:pt x="22" y="138"/>
                      </a:lnTo>
                      <a:lnTo>
                        <a:pt x="22" y="137"/>
                      </a:lnTo>
                      <a:lnTo>
                        <a:pt x="19" y="134"/>
                      </a:lnTo>
                      <a:lnTo>
                        <a:pt x="19" y="133"/>
                      </a:lnTo>
                      <a:lnTo>
                        <a:pt x="18" y="133"/>
                      </a:lnTo>
                      <a:lnTo>
                        <a:pt x="19" y="133"/>
                      </a:lnTo>
                      <a:lnTo>
                        <a:pt x="19" y="134"/>
                      </a:lnTo>
                      <a:lnTo>
                        <a:pt x="21" y="134"/>
                      </a:lnTo>
                      <a:lnTo>
                        <a:pt x="22" y="134"/>
                      </a:lnTo>
                      <a:lnTo>
                        <a:pt x="21" y="134"/>
                      </a:lnTo>
                      <a:lnTo>
                        <a:pt x="22" y="134"/>
                      </a:lnTo>
                      <a:lnTo>
                        <a:pt x="22" y="135"/>
                      </a:lnTo>
                      <a:lnTo>
                        <a:pt x="23" y="134"/>
                      </a:lnTo>
                      <a:lnTo>
                        <a:pt x="22" y="134"/>
                      </a:lnTo>
                      <a:lnTo>
                        <a:pt x="24" y="134"/>
                      </a:lnTo>
                      <a:lnTo>
                        <a:pt x="25" y="135"/>
                      </a:lnTo>
                      <a:lnTo>
                        <a:pt x="25" y="137"/>
                      </a:lnTo>
                      <a:lnTo>
                        <a:pt x="24" y="137"/>
                      </a:lnTo>
                      <a:lnTo>
                        <a:pt x="25" y="137"/>
                      </a:lnTo>
                      <a:lnTo>
                        <a:pt x="25" y="138"/>
                      </a:lnTo>
                      <a:lnTo>
                        <a:pt x="26" y="138"/>
                      </a:lnTo>
                      <a:lnTo>
                        <a:pt x="26" y="139"/>
                      </a:lnTo>
                      <a:lnTo>
                        <a:pt x="28" y="139"/>
                      </a:lnTo>
                      <a:lnTo>
                        <a:pt x="28" y="140"/>
                      </a:lnTo>
                      <a:lnTo>
                        <a:pt x="28" y="139"/>
                      </a:lnTo>
                      <a:lnTo>
                        <a:pt x="28" y="138"/>
                      </a:lnTo>
                      <a:lnTo>
                        <a:pt x="26" y="137"/>
                      </a:lnTo>
                      <a:lnTo>
                        <a:pt x="25" y="135"/>
                      </a:lnTo>
                      <a:lnTo>
                        <a:pt x="26" y="135"/>
                      </a:lnTo>
                      <a:lnTo>
                        <a:pt x="25" y="133"/>
                      </a:lnTo>
                      <a:lnTo>
                        <a:pt x="24" y="133"/>
                      </a:lnTo>
                      <a:lnTo>
                        <a:pt x="24" y="134"/>
                      </a:lnTo>
                      <a:lnTo>
                        <a:pt x="23" y="133"/>
                      </a:lnTo>
                      <a:lnTo>
                        <a:pt x="23" y="132"/>
                      </a:lnTo>
                      <a:lnTo>
                        <a:pt x="22" y="132"/>
                      </a:lnTo>
                      <a:lnTo>
                        <a:pt x="22" y="133"/>
                      </a:lnTo>
                      <a:lnTo>
                        <a:pt x="21" y="133"/>
                      </a:lnTo>
                      <a:lnTo>
                        <a:pt x="21" y="134"/>
                      </a:lnTo>
                      <a:lnTo>
                        <a:pt x="21" y="133"/>
                      </a:lnTo>
                      <a:lnTo>
                        <a:pt x="19" y="133"/>
                      </a:lnTo>
                      <a:lnTo>
                        <a:pt x="21" y="133"/>
                      </a:lnTo>
                      <a:lnTo>
                        <a:pt x="19" y="132"/>
                      </a:lnTo>
                      <a:lnTo>
                        <a:pt x="18" y="132"/>
                      </a:lnTo>
                      <a:lnTo>
                        <a:pt x="18" y="131"/>
                      </a:lnTo>
                      <a:lnTo>
                        <a:pt x="18" y="130"/>
                      </a:lnTo>
                      <a:lnTo>
                        <a:pt x="18" y="128"/>
                      </a:lnTo>
                      <a:lnTo>
                        <a:pt x="18" y="127"/>
                      </a:lnTo>
                      <a:lnTo>
                        <a:pt x="17" y="127"/>
                      </a:lnTo>
                      <a:lnTo>
                        <a:pt x="17" y="126"/>
                      </a:lnTo>
                      <a:lnTo>
                        <a:pt x="17" y="125"/>
                      </a:lnTo>
                      <a:lnTo>
                        <a:pt x="17" y="124"/>
                      </a:lnTo>
                      <a:lnTo>
                        <a:pt x="16" y="123"/>
                      </a:lnTo>
                      <a:lnTo>
                        <a:pt x="15" y="121"/>
                      </a:lnTo>
                      <a:lnTo>
                        <a:pt x="10" y="116"/>
                      </a:lnTo>
                      <a:lnTo>
                        <a:pt x="10" y="114"/>
                      </a:lnTo>
                      <a:lnTo>
                        <a:pt x="9" y="114"/>
                      </a:lnTo>
                      <a:lnTo>
                        <a:pt x="9" y="113"/>
                      </a:lnTo>
                      <a:lnTo>
                        <a:pt x="10" y="114"/>
                      </a:lnTo>
                      <a:lnTo>
                        <a:pt x="10" y="116"/>
                      </a:lnTo>
                      <a:lnTo>
                        <a:pt x="11" y="117"/>
                      </a:lnTo>
                      <a:lnTo>
                        <a:pt x="11" y="116"/>
                      </a:lnTo>
                      <a:lnTo>
                        <a:pt x="12" y="117"/>
                      </a:lnTo>
                      <a:lnTo>
                        <a:pt x="12" y="118"/>
                      </a:lnTo>
                      <a:lnTo>
                        <a:pt x="14" y="118"/>
                      </a:lnTo>
                      <a:lnTo>
                        <a:pt x="14" y="119"/>
                      </a:lnTo>
                      <a:lnTo>
                        <a:pt x="15" y="120"/>
                      </a:lnTo>
                      <a:lnTo>
                        <a:pt x="16" y="121"/>
                      </a:lnTo>
                      <a:lnTo>
                        <a:pt x="17" y="123"/>
                      </a:lnTo>
                      <a:lnTo>
                        <a:pt x="18" y="123"/>
                      </a:lnTo>
                      <a:lnTo>
                        <a:pt x="18" y="126"/>
                      </a:lnTo>
                      <a:lnTo>
                        <a:pt x="18" y="127"/>
                      </a:lnTo>
                      <a:lnTo>
                        <a:pt x="19" y="127"/>
                      </a:lnTo>
                      <a:lnTo>
                        <a:pt x="19" y="126"/>
                      </a:lnTo>
                      <a:lnTo>
                        <a:pt x="21" y="126"/>
                      </a:lnTo>
                      <a:lnTo>
                        <a:pt x="22" y="125"/>
                      </a:lnTo>
                      <a:lnTo>
                        <a:pt x="23" y="125"/>
                      </a:lnTo>
                      <a:lnTo>
                        <a:pt x="23" y="126"/>
                      </a:lnTo>
                      <a:lnTo>
                        <a:pt x="23" y="127"/>
                      </a:lnTo>
                      <a:lnTo>
                        <a:pt x="23" y="126"/>
                      </a:lnTo>
                      <a:lnTo>
                        <a:pt x="23" y="125"/>
                      </a:lnTo>
                      <a:lnTo>
                        <a:pt x="24" y="125"/>
                      </a:lnTo>
                      <a:lnTo>
                        <a:pt x="26" y="125"/>
                      </a:lnTo>
                      <a:lnTo>
                        <a:pt x="28" y="125"/>
                      </a:lnTo>
                      <a:lnTo>
                        <a:pt x="26" y="125"/>
                      </a:lnTo>
                      <a:lnTo>
                        <a:pt x="25" y="124"/>
                      </a:lnTo>
                      <a:lnTo>
                        <a:pt x="25" y="123"/>
                      </a:lnTo>
                      <a:lnTo>
                        <a:pt x="25" y="121"/>
                      </a:lnTo>
                      <a:lnTo>
                        <a:pt x="24" y="120"/>
                      </a:lnTo>
                      <a:lnTo>
                        <a:pt x="24" y="121"/>
                      </a:lnTo>
                      <a:lnTo>
                        <a:pt x="23" y="121"/>
                      </a:lnTo>
                      <a:lnTo>
                        <a:pt x="23" y="123"/>
                      </a:lnTo>
                      <a:lnTo>
                        <a:pt x="22" y="124"/>
                      </a:lnTo>
                      <a:lnTo>
                        <a:pt x="21" y="124"/>
                      </a:lnTo>
                      <a:lnTo>
                        <a:pt x="19" y="124"/>
                      </a:lnTo>
                      <a:lnTo>
                        <a:pt x="18" y="123"/>
                      </a:lnTo>
                      <a:lnTo>
                        <a:pt x="18" y="121"/>
                      </a:lnTo>
                      <a:lnTo>
                        <a:pt x="18" y="120"/>
                      </a:lnTo>
                      <a:lnTo>
                        <a:pt x="19" y="120"/>
                      </a:lnTo>
                      <a:lnTo>
                        <a:pt x="19" y="119"/>
                      </a:lnTo>
                      <a:lnTo>
                        <a:pt x="21" y="119"/>
                      </a:lnTo>
                      <a:lnTo>
                        <a:pt x="21" y="118"/>
                      </a:lnTo>
                      <a:lnTo>
                        <a:pt x="21" y="117"/>
                      </a:lnTo>
                      <a:lnTo>
                        <a:pt x="21" y="116"/>
                      </a:lnTo>
                      <a:lnTo>
                        <a:pt x="21" y="114"/>
                      </a:lnTo>
                      <a:lnTo>
                        <a:pt x="21" y="116"/>
                      </a:lnTo>
                      <a:lnTo>
                        <a:pt x="21" y="117"/>
                      </a:lnTo>
                      <a:lnTo>
                        <a:pt x="21" y="118"/>
                      </a:lnTo>
                      <a:lnTo>
                        <a:pt x="19" y="118"/>
                      </a:lnTo>
                      <a:lnTo>
                        <a:pt x="18" y="117"/>
                      </a:lnTo>
                      <a:lnTo>
                        <a:pt x="18" y="118"/>
                      </a:lnTo>
                      <a:lnTo>
                        <a:pt x="17" y="118"/>
                      </a:lnTo>
                      <a:lnTo>
                        <a:pt x="17" y="119"/>
                      </a:lnTo>
                      <a:lnTo>
                        <a:pt x="16" y="119"/>
                      </a:lnTo>
                      <a:lnTo>
                        <a:pt x="15" y="119"/>
                      </a:lnTo>
                      <a:lnTo>
                        <a:pt x="15" y="118"/>
                      </a:lnTo>
                      <a:lnTo>
                        <a:pt x="15" y="117"/>
                      </a:lnTo>
                      <a:lnTo>
                        <a:pt x="14" y="117"/>
                      </a:lnTo>
                      <a:lnTo>
                        <a:pt x="12" y="117"/>
                      </a:lnTo>
                      <a:lnTo>
                        <a:pt x="11" y="116"/>
                      </a:lnTo>
                      <a:lnTo>
                        <a:pt x="10" y="114"/>
                      </a:lnTo>
                      <a:lnTo>
                        <a:pt x="10" y="113"/>
                      </a:lnTo>
                      <a:lnTo>
                        <a:pt x="11" y="113"/>
                      </a:lnTo>
                      <a:lnTo>
                        <a:pt x="11" y="112"/>
                      </a:lnTo>
                      <a:lnTo>
                        <a:pt x="10" y="111"/>
                      </a:lnTo>
                      <a:lnTo>
                        <a:pt x="10" y="112"/>
                      </a:lnTo>
                      <a:lnTo>
                        <a:pt x="10" y="113"/>
                      </a:lnTo>
                      <a:lnTo>
                        <a:pt x="10" y="112"/>
                      </a:lnTo>
                      <a:lnTo>
                        <a:pt x="9" y="111"/>
                      </a:lnTo>
                      <a:lnTo>
                        <a:pt x="9" y="110"/>
                      </a:lnTo>
                      <a:lnTo>
                        <a:pt x="5" y="105"/>
                      </a:lnTo>
                      <a:lnTo>
                        <a:pt x="7" y="106"/>
                      </a:lnTo>
                      <a:lnTo>
                        <a:pt x="8" y="106"/>
                      </a:lnTo>
                      <a:lnTo>
                        <a:pt x="7" y="106"/>
                      </a:lnTo>
                      <a:lnTo>
                        <a:pt x="7" y="105"/>
                      </a:lnTo>
                      <a:lnTo>
                        <a:pt x="8" y="105"/>
                      </a:lnTo>
                      <a:lnTo>
                        <a:pt x="7" y="105"/>
                      </a:lnTo>
                      <a:lnTo>
                        <a:pt x="5" y="105"/>
                      </a:lnTo>
                      <a:lnTo>
                        <a:pt x="5" y="104"/>
                      </a:lnTo>
                      <a:lnTo>
                        <a:pt x="5" y="103"/>
                      </a:lnTo>
                      <a:lnTo>
                        <a:pt x="5" y="104"/>
                      </a:lnTo>
                      <a:lnTo>
                        <a:pt x="4" y="104"/>
                      </a:lnTo>
                      <a:lnTo>
                        <a:pt x="4" y="103"/>
                      </a:lnTo>
                      <a:lnTo>
                        <a:pt x="4" y="102"/>
                      </a:lnTo>
                      <a:lnTo>
                        <a:pt x="3" y="99"/>
                      </a:lnTo>
                      <a:lnTo>
                        <a:pt x="2" y="98"/>
                      </a:lnTo>
                      <a:lnTo>
                        <a:pt x="2" y="97"/>
                      </a:lnTo>
                      <a:lnTo>
                        <a:pt x="1" y="96"/>
                      </a:lnTo>
                      <a:lnTo>
                        <a:pt x="0" y="93"/>
                      </a:lnTo>
                      <a:lnTo>
                        <a:pt x="1" y="92"/>
                      </a:lnTo>
                      <a:lnTo>
                        <a:pt x="1" y="93"/>
                      </a:lnTo>
                      <a:lnTo>
                        <a:pt x="2" y="93"/>
                      </a:lnTo>
                      <a:lnTo>
                        <a:pt x="2" y="95"/>
                      </a:lnTo>
                      <a:lnTo>
                        <a:pt x="3" y="96"/>
                      </a:lnTo>
                      <a:lnTo>
                        <a:pt x="3" y="98"/>
                      </a:lnTo>
                      <a:lnTo>
                        <a:pt x="4" y="98"/>
                      </a:lnTo>
                      <a:lnTo>
                        <a:pt x="4" y="99"/>
                      </a:lnTo>
                      <a:lnTo>
                        <a:pt x="5" y="99"/>
                      </a:lnTo>
                      <a:lnTo>
                        <a:pt x="5" y="98"/>
                      </a:lnTo>
                      <a:lnTo>
                        <a:pt x="5" y="97"/>
                      </a:lnTo>
                      <a:lnTo>
                        <a:pt x="7" y="97"/>
                      </a:lnTo>
                      <a:lnTo>
                        <a:pt x="7" y="96"/>
                      </a:lnTo>
                      <a:lnTo>
                        <a:pt x="8" y="96"/>
                      </a:lnTo>
                      <a:lnTo>
                        <a:pt x="8" y="97"/>
                      </a:lnTo>
                      <a:lnTo>
                        <a:pt x="8" y="98"/>
                      </a:lnTo>
                      <a:lnTo>
                        <a:pt x="9" y="99"/>
                      </a:lnTo>
                      <a:lnTo>
                        <a:pt x="10" y="99"/>
                      </a:lnTo>
                      <a:lnTo>
                        <a:pt x="10" y="100"/>
                      </a:lnTo>
                      <a:lnTo>
                        <a:pt x="10" y="102"/>
                      </a:lnTo>
                      <a:lnTo>
                        <a:pt x="10" y="99"/>
                      </a:lnTo>
                      <a:lnTo>
                        <a:pt x="11" y="98"/>
                      </a:lnTo>
                      <a:lnTo>
                        <a:pt x="11" y="97"/>
                      </a:lnTo>
                      <a:lnTo>
                        <a:pt x="12" y="96"/>
                      </a:lnTo>
                      <a:lnTo>
                        <a:pt x="12" y="95"/>
                      </a:lnTo>
                      <a:lnTo>
                        <a:pt x="14" y="96"/>
                      </a:lnTo>
                      <a:lnTo>
                        <a:pt x="14" y="95"/>
                      </a:lnTo>
                      <a:lnTo>
                        <a:pt x="12" y="95"/>
                      </a:lnTo>
                      <a:lnTo>
                        <a:pt x="12" y="93"/>
                      </a:lnTo>
                      <a:lnTo>
                        <a:pt x="15" y="91"/>
                      </a:lnTo>
                      <a:lnTo>
                        <a:pt x="15" y="90"/>
                      </a:lnTo>
                      <a:lnTo>
                        <a:pt x="18" y="88"/>
                      </a:lnTo>
                      <a:lnTo>
                        <a:pt x="19" y="86"/>
                      </a:lnTo>
                      <a:lnTo>
                        <a:pt x="19" y="85"/>
                      </a:lnTo>
                      <a:lnTo>
                        <a:pt x="19" y="81"/>
                      </a:lnTo>
                      <a:lnTo>
                        <a:pt x="21" y="78"/>
                      </a:lnTo>
                      <a:lnTo>
                        <a:pt x="21" y="77"/>
                      </a:lnTo>
                      <a:lnTo>
                        <a:pt x="21" y="76"/>
                      </a:lnTo>
                      <a:lnTo>
                        <a:pt x="21" y="75"/>
                      </a:lnTo>
                      <a:lnTo>
                        <a:pt x="21" y="74"/>
                      </a:lnTo>
                      <a:lnTo>
                        <a:pt x="21" y="72"/>
                      </a:lnTo>
                      <a:lnTo>
                        <a:pt x="19" y="67"/>
                      </a:lnTo>
                      <a:lnTo>
                        <a:pt x="19" y="65"/>
                      </a:lnTo>
                      <a:lnTo>
                        <a:pt x="19" y="64"/>
                      </a:lnTo>
                      <a:lnTo>
                        <a:pt x="21" y="63"/>
                      </a:lnTo>
                      <a:lnTo>
                        <a:pt x="22" y="64"/>
                      </a:lnTo>
                      <a:lnTo>
                        <a:pt x="22" y="65"/>
                      </a:lnTo>
                      <a:lnTo>
                        <a:pt x="21" y="67"/>
                      </a:lnTo>
                      <a:lnTo>
                        <a:pt x="22" y="67"/>
                      </a:lnTo>
                      <a:lnTo>
                        <a:pt x="22" y="68"/>
                      </a:lnTo>
                      <a:lnTo>
                        <a:pt x="21" y="68"/>
                      </a:lnTo>
                      <a:lnTo>
                        <a:pt x="21" y="69"/>
                      </a:lnTo>
                      <a:lnTo>
                        <a:pt x="22" y="69"/>
                      </a:lnTo>
                      <a:lnTo>
                        <a:pt x="22" y="68"/>
                      </a:lnTo>
                      <a:lnTo>
                        <a:pt x="23" y="68"/>
                      </a:lnTo>
                      <a:lnTo>
                        <a:pt x="24" y="69"/>
                      </a:lnTo>
                      <a:lnTo>
                        <a:pt x="24" y="70"/>
                      </a:lnTo>
                      <a:lnTo>
                        <a:pt x="24" y="71"/>
                      </a:lnTo>
                      <a:lnTo>
                        <a:pt x="25" y="71"/>
                      </a:lnTo>
                      <a:lnTo>
                        <a:pt x="25" y="69"/>
                      </a:lnTo>
                      <a:lnTo>
                        <a:pt x="28" y="69"/>
                      </a:lnTo>
                      <a:lnTo>
                        <a:pt x="28" y="70"/>
                      </a:lnTo>
                      <a:lnTo>
                        <a:pt x="28" y="71"/>
                      </a:lnTo>
                      <a:lnTo>
                        <a:pt x="29" y="70"/>
                      </a:lnTo>
                      <a:lnTo>
                        <a:pt x="30" y="69"/>
                      </a:lnTo>
                      <a:lnTo>
                        <a:pt x="30" y="70"/>
                      </a:lnTo>
                      <a:lnTo>
                        <a:pt x="31" y="70"/>
                      </a:lnTo>
                      <a:lnTo>
                        <a:pt x="32" y="70"/>
                      </a:lnTo>
                      <a:lnTo>
                        <a:pt x="33" y="71"/>
                      </a:lnTo>
                      <a:lnTo>
                        <a:pt x="35" y="72"/>
                      </a:lnTo>
                      <a:lnTo>
                        <a:pt x="36" y="74"/>
                      </a:lnTo>
                      <a:lnTo>
                        <a:pt x="35" y="71"/>
                      </a:lnTo>
                      <a:lnTo>
                        <a:pt x="33" y="71"/>
                      </a:lnTo>
                      <a:lnTo>
                        <a:pt x="33" y="70"/>
                      </a:lnTo>
                      <a:lnTo>
                        <a:pt x="35" y="70"/>
                      </a:lnTo>
                      <a:lnTo>
                        <a:pt x="36" y="70"/>
                      </a:lnTo>
                      <a:lnTo>
                        <a:pt x="37" y="69"/>
                      </a:lnTo>
                      <a:lnTo>
                        <a:pt x="38" y="69"/>
                      </a:lnTo>
                      <a:lnTo>
                        <a:pt x="38" y="68"/>
                      </a:lnTo>
                      <a:lnTo>
                        <a:pt x="39" y="68"/>
                      </a:lnTo>
                      <a:lnTo>
                        <a:pt x="39" y="69"/>
                      </a:lnTo>
                      <a:lnTo>
                        <a:pt x="40" y="69"/>
                      </a:lnTo>
                      <a:lnTo>
                        <a:pt x="42" y="68"/>
                      </a:lnTo>
                      <a:lnTo>
                        <a:pt x="40" y="68"/>
                      </a:lnTo>
                      <a:lnTo>
                        <a:pt x="39" y="68"/>
                      </a:lnTo>
                      <a:lnTo>
                        <a:pt x="38" y="68"/>
                      </a:lnTo>
                      <a:lnTo>
                        <a:pt x="37" y="68"/>
                      </a:lnTo>
                      <a:lnTo>
                        <a:pt x="35" y="69"/>
                      </a:lnTo>
                      <a:lnTo>
                        <a:pt x="33" y="68"/>
                      </a:lnTo>
                      <a:lnTo>
                        <a:pt x="32" y="68"/>
                      </a:lnTo>
                      <a:lnTo>
                        <a:pt x="31" y="68"/>
                      </a:lnTo>
                      <a:lnTo>
                        <a:pt x="31" y="67"/>
                      </a:lnTo>
                      <a:lnTo>
                        <a:pt x="29" y="65"/>
                      </a:lnTo>
                      <a:lnTo>
                        <a:pt x="28" y="65"/>
                      </a:lnTo>
                      <a:lnTo>
                        <a:pt x="28" y="64"/>
                      </a:lnTo>
                      <a:lnTo>
                        <a:pt x="26" y="64"/>
                      </a:lnTo>
                      <a:lnTo>
                        <a:pt x="25" y="65"/>
                      </a:lnTo>
                      <a:lnTo>
                        <a:pt x="25" y="64"/>
                      </a:lnTo>
                      <a:lnTo>
                        <a:pt x="25" y="63"/>
                      </a:lnTo>
                      <a:lnTo>
                        <a:pt x="24" y="63"/>
                      </a:lnTo>
                      <a:lnTo>
                        <a:pt x="23" y="60"/>
                      </a:lnTo>
                      <a:lnTo>
                        <a:pt x="22" y="58"/>
                      </a:lnTo>
                      <a:lnTo>
                        <a:pt x="21" y="57"/>
                      </a:lnTo>
                      <a:lnTo>
                        <a:pt x="19" y="57"/>
                      </a:lnTo>
                      <a:lnTo>
                        <a:pt x="19" y="55"/>
                      </a:lnTo>
                      <a:lnTo>
                        <a:pt x="21" y="55"/>
                      </a:lnTo>
                      <a:lnTo>
                        <a:pt x="21" y="54"/>
                      </a:lnTo>
                      <a:lnTo>
                        <a:pt x="22" y="54"/>
                      </a:lnTo>
                      <a:lnTo>
                        <a:pt x="23" y="54"/>
                      </a:lnTo>
                      <a:lnTo>
                        <a:pt x="24" y="54"/>
                      </a:lnTo>
                      <a:lnTo>
                        <a:pt x="25" y="54"/>
                      </a:lnTo>
                      <a:lnTo>
                        <a:pt x="25" y="53"/>
                      </a:lnTo>
                      <a:lnTo>
                        <a:pt x="26" y="53"/>
                      </a:lnTo>
                      <a:lnTo>
                        <a:pt x="26" y="54"/>
                      </a:lnTo>
                      <a:lnTo>
                        <a:pt x="28" y="54"/>
                      </a:lnTo>
                      <a:lnTo>
                        <a:pt x="28" y="55"/>
                      </a:lnTo>
                      <a:lnTo>
                        <a:pt x="26" y="55"/>
                      </a:lnTo>
                      <a:lnTo>
                        <a:pt x="25" y="55"/>
                      </a:lnTo>
                      <a:lnTo>
                        <a:pt x="24" y="55"/>
                      </a:lnTo>
                      <a:lnTo>
                        <a:pt x="25" y="55"/>
                      </a:lnTo>
                      <a:lnTo>
                        <a:pt x="26" y="56"/>
                      </a:lnTo>
                      <a:lnTo>
                        <a:pt x="28" y="56"/>
                      </a:lnTo>
                      <a:lnTo>
                        <a:pt x="28" y="55"/>
                      </a:lnTo>
                      <a:lnTo>
                        <a:pt x="28" y="56"/>
                      </a:lnTo>
                      <a:lnTo>
                        <a:pt x="28" y="57"/>
                      </a:lnTo>
                      <a:lnTo>
                        <a:pt x="28" y="58"/>
                      </a:lnTo>
                      <a:lnTo>
                        <a:pt x="28" y="60"/>
                      </a:lnTo>
                      <a:lnTo>
                        <a:pt x="29" y="60"/>
                      </a:lnTo>
                      <a:lnTo>
                        <a:pt x="29" y="58"/>
                      </a:lnTo>
                      <a:lnTo>
                        <a:pt x="29" y="57"/>
                      </a:lnTo>
                      <a:lnTo>
                        <a:pt x="30" y="56"/>
                      </a:lnTo>
                      <a:lnTo>
                        <a:pt x="30" y="55"/>
                      </a:lnTo>
                      <a:lnTo>
                        <a:pt x="29" y="55"/>
                      </a:lnTo>
                      <a:lnTo>
                        <a:pt x="29" y="54"/>
                      </a:lnTo>
                      <a:lnTo>
                        <a:pt x="29" y="53"/>
                      </a:lnTo>
                      <a:lnTo>
                        <a:pt x="29" y="49"/>
                      </a:lnTo>
                      <a:lnTo>
                        <a:pt x="28" y="46"/>
                      </a:lnTo>
                      <a:lnTo>
                        <a:pt x="28" y="44"/>
                      </a:lnTo>
                      <a:lnTo>
                        <a:pt x="28" y="43"/>
                      </a:lnTo>
                      <a:lnTo>
                        <a:pt x="28" y="42"/>
                      </a:lnTo>
                      <a:lnTo>
                        <a:pt x="29" y="42"/>
                      </a:lnTo>
                      <a:lnTo>
                        <a:pt x="30" y="42"/>
                      </a:lnTo>
                      <a:lnTo>
                        <a:pt x="30" y="41"/>
                      </a:lnTo>
                      <a:lnTo>
                        <a:pt x="31" y="41"/>
                      </a:lnTo>
                      <a:lnTo>
                        <a:pt x="33" y="41"/>
                      </a:lnTo>
                      <a:lnTo>
                        <a:pt x="33" y="42"/>
                      </a:lnTo>
                      <a:lnTo>
                        <a:pt x="35" y="43"/>
                      </a:lnTo>
                      <a:lnTo>
                        <a:pt x="36" y="43"/>
                      </a:lnTo>
                      <a:lnTo>
                        <a:pt x="37" y="43"/>
                      </a:lnTo>
                      <a:lnTo>
                        <a:pt x="38" y="44"/>
                      </a:lnTo>
                      <a:lnTo>
                        <a:pt x="39" y="44"/>
                      </a:lnTo>
                      <a:lnTo>
                        <a:pt x="39" y="46"/>
                      </a:lnTo>
                      <a:lnTo>
                        <a:pt x="39" y="44"/>
                      </a:lnTo>
                      <a:lnTo>
                        <a:pt x="40" y="44"/>
                      </a:lnTo>
                      <a:lnTo>
                        <a:pt x="40" y="43"/>
                      </a:lnTo>
                      <a:lnTo>
                        <a:pt x="42" y="42"/>
                      </a:lnTo>
                      <a:lnTo>
                        <a:pt x="45" y="42"/>
                      </a:lnTo>
                      <a:lnTo>
                        <a:pt x="54" y="42"/>
                      </a:lnTo>
                      <a:lnTo>
                        <a:pt x="65" y="42"/>
                      </a:lnTo>
                      <a:lnTo>
                        <a:pt x="72" y="42"/>
                      </a:lnTo>
                      <a:lnTo>
                        <a:pt x="74" y="42"/>
                      </a:lnTo>
                      <a:lnTo>
                        <a:pt x="83" y="42"/>
                      </a:lnTo>
                      <a:lnTo>
                        <a:pt x="83" y="34"/>
                      </a:lnTo>
                      <a:lnTo>
                        <a:pt x="83" y="26"/>
                      </a:lnTo>
                      <a:lnTo>
                        <a:pt x="83" y="19"/>
                      </a:lnTo>
                      <a:lnTo>
                        <a:pt x="83" y="18"/>
                      </a:lnTo>
                      <a:lnTo>
                        <a:pt x="83" y="9"/>
                      </a:lnTo>
                      <a:lnTo>
                        <a:pt x="83" y="7"/>
                      </a:lnTo>
                      <a:lnTo>
                        <a:pt x="82" y="6"/>
                      </a:lnTo>
                      <a:lnTo>
                        <a:pt x="82" y="5"/>
                      </a:lnTo>
                      <a:lnTo>
                        <a:pt x="83" y="5"/>
                      </a:lnTo>
                      <a:lnTo>
                        <a:pt x="83" y="4"/>
                      </a:lnTo>
                      <a:lnTo>
                        <a:pt x="83" y="2"/>
                      </a:lnTo>
                      <a:lnTo>
                        <a:pt x="83" y="1"/>
                      </a:lnTo>
                      <a:lnTo>
                        <a:pt x="92" y="1"/>
                      </a:lnTo>
                      <a:lnTo>
                        <a:pt x="93" y="0"/>
                      </a:lnTo>
                      <a:lnTo>
                        <a:pt x="94" y="0"/>
                      </a:lnTo>
                      <a:lnTo>
                        <a:pt x="94" y="1"/>
                      </a:lnTo>
                      <a:lnTo>
                        <a:pt x="95" y="1"/>
                      </a:lnTo>
                      <a:lnTo>
                        <a:pt x="96"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9" name="Freeform 91">
                  <a:extLst>
                    <a:ext uri="{FF2B5EF4-FFF2-40B4-BE49-F238E27FC236}">
                      <a16:creationId xmlns:a16="http://schemas.microsoft.com/office/drawing/2014/main" id="{A6F18071-F2EF-DA05-5BC7-A614E628005E}"/>
                    </a:ext>
                  </a:extLst>
                </p:cNvPr>
                <p:cNvSpPr>
                  <a:spLocks/>
                </p:cNvSpPr>
                <p:nvPr/>
              </p:nvSpPr>
              <p:spPr bwMode="auto">
                <a:xfrm>
                  <a:off x="5706623" y="3372413"/>
                  <a:ext cx="256371" cy="188221"/>
                </a:xfrm>
                <a:custGeom>
                  <a:avLst/>
                  <a:gdLst>
                    <a:gd name="T0" fmla="*/ 120 w 237"/>
                    <a:gd name="T1" fmla="*/ 21 h 174"/>
                    <a:gd name="T2" fmla="*/ 135 w 237"/>
                    <a:gd name="T3" fmla="*/ 18 h 174"/>
                    <a:gd name="T4" fmla="*/ 144 w 237"/>
                    <a:gd name="T5" fmla="*/ 18 h 174"/>
                    <a:gd name="T6" fmla="*/ 155 w 237"/>
                    <a:gd name="T7" fmla="*/ 14 h 174"/>
                    <a:gd name="T8" fmla="*/ 171 w 237"/>
                    <a:gd name="T9" fmla="*/ 18 h 174"/>
                    <a:gd name="T10" fmla="*/ 181 w 237"/>
                    <a:gd name="T11" fmla="*/ 7 h 174"/>
                    <a:gd name="T12" fmla="*/ 193 w 237"/>
                    <a:gd name="T13" fmla="*/ 8 h 174"/>
                    <a:gd name="T14" fmla="*/ 199 w 237"/>
                    <a:gd name="T15" fmla="*/ 19 h 174"/>
                    <a:gd name="T16" fmla="*/ 207 w 237"/>
                    <a:gd name="T17" fmla="*/ 36 h 174"/>
                    <a:gd name="T18" fmla="*/ 209 w 237"/>
                    <a:gd name="T19" fmla="*/ 42 h 174"/>
                    <a:gd name="T20" fmla="*/ 207 w 237"/>
                    <a:gd name="T21" fmla="*/ 53 h 174"/>
                    <a:gd name="T22" fmla="*/ 215 w 237"/>
                    <a:gd name="T23" fmla="*/ 60 h 174"/>
                    <a:gd name="T24" fmla="*/ 226 w 237"/>
                    <a:gd name="T25" fmla="*/ 75 h 174"/>
                    <a:gd name="T26" fmla="*/ 221 w 237"/>
                    <a:gd name="T27" fmla="*/ 87 h 174"/>
                    <a:gd name="T28" fmla="*/ 229 w 237"/>
                    <a:gd name="T29" fmla="*/ 106 h 174"/>
                    <a:gd name="T30" fmla="*/ 228 w 237"/>
                    <a:gd name="T31" fmla="*/ 119 h 174"/>
                    <a:gd name="T32" fmla="*/ 236 w 237"/>
                    <a:gd name="T33" fmla="*/ 133 h 174"/>
                    <a:gd name="T34" fmla="*/ 223 w 237"/>
                    <a:gd name="T35" fmla="*/ 132 h 174"/>
                    <a:gd name="T36" fmla="*/ 226 w 237"/>
                    <a:gd name="T37" fmla="*/ 143 h 174"/>
                    <a:gd name="T38" fmla="*/ 222 w 237"/>
                    <a:gd name="T39" fmla="*/ 158 h 174"/>
                    <a:gd name="T40" fmla="*/ 212 w 237"/>
                    <a:gd name="T41" fmla="*/ 162 h 174"/>
                    <a:gd name="T42" fmla="*/ 200 w 237"/>
                    <a:gd name="T43" fmla="*/ 167 h 174"/>
                    <a:gd name="T44" fmla="*/ 192 w 237"/>
                    <a:gd name="T45" fmla="*/ 173 h 174"/>
                    <a:gd name="T46" fmla="*/ 180 w 237"/>
                    <a:gd name="T47" fmla="*/ 168 h 174"/>
                    <a:gd name="T48" fmla="*/ 183 w 237"/>
                    <a:gd name="T49" fmla="*/ 158 h 174"/>
                    <a:gd name="T50" fmla="*/ 179 w 237"/>
                    <a:gd name="T51" fmla="*/ 144 h 174"/>
                    <a:gd name="T52" fmla="*/ 174 w 237"/>
                    <a:gd name="T53" fmla="*/ 134 h 174"/>
                    <a:gd name="T54" fmla="*/ 164 w 237"/>
                    <a:gd name="T55" fmla="*/ 133 h 174"/>
                    <a:gd name="T56" fmla="*/ 150 w 237"/>
                    <a:gd name="T57" fmla="*/ 134 h 174"/>
                    <a:gd name="T58" fmla="*/ 141 w 237"/>
                    <a:gd name="T59" fmla="*/ 138 h 174"/>
                    <a:gd name="T60" fmla="*/ 143 w 237"/>
                    <a:gd name="T61" fmla="*/ 123 h 174"/>
                    <a:gd name="T62" fmla="*/ 141 w 237"/>
                    <a:gd name="T63" fmla="*/ 108 h 174"/>
                    <a:gd name="T64" fmla="*/ 131 w 237"/>
                    <a:gd name="T65" fmla="*/ 96 h 174"/>
                    <a:gd name="T66" fmla="*/ 101 w 237"/>
                    <a:gd name="T67" fmla="*/ 89 h 174"/>
                    <a:gd name="T68" fmla="*/ 80 w 237"/>
                    <a:gd name="T69" fmla="*/ 97 h 174"/>
                    <a:gd name="T70" fmla="*/ 71 w 237"/>
                    <a:gd name="T71" fmla="*/ 110 h 174"/>
                    <a:gd name="T72" fmla="*/ 60 w 237"/>
                    <a:gd name="T73" fmla="*/ 117 h 174"/>
                    <a:gd name="T74" fmla="*/ 59 w 237"/>
                    <a:gd name="T75" fmla="*/ 110 h 174"/>
                    <a:gd name="T76" fmla="*/ 53 w 237"/>
                    <a:gd name="T77" fmla="*/ 108 h 174"/>
                    <a:gd name="T78" fmla="*/ 48 w 237"/>
                    <a:gd name="T79" fmla="*/ 102 h 174"/>
                    <a:gd name="T80" fmla="*/ 48 w 237"/>
                    <a:gd name="T81" fmla="*/ 95 h 174"/>
                    <a:gd name="T82" fmla="*/ 43 w 237"/>
                    <a:gd name="T83" fmla="*/ 91 h 174"/>
                    <a:gd name="T84" fmla="*/ 34 w 237"/>
                    <a:gd name="T85" fmla="*/ 83 h 174"/>
                    <a:gd name="T86" fmla="*/ 29 w 237"/>
                    <a:gd name="T87" fmla="*/ 85 h 174"/>
                    <a:gd name="T88" fmla="*/ 20 w 237"/>
                    <a:gd name="T89" fmla="*/ 81 h 174"/>
                    <a:gd name="T90" fmla="*/ 13 w 237"/>
                    <a:gd name="T91" fmla="*/ 71 h 174"/>
                    <a:gd name="T92" fmla="*/ 19 w 237"/>
                    <a:gd name="T93" fmla="*/ 59 h 174"/>
                    <a:gd name="T94" fmla="*/ 13 w 237"/>
                    <a:gd name="T95" fmla="*/ 63 h 174"/>
                    <a:gd name="T96" fmla="*/ 10 w 237"/>
                    <a:gd name="T97" fmla="*/ 60 h 174"/>
                    <a:gd name="T98" fmla="*/ 13 w 237"/>
                    <a:gd name="T99" fmla="*/ 54 h 174"/>
                    <a:gd name="T100" fmla="*/ 6 w 237"/>
                    <a:gd name="T101" fmla="*/ 56 h 174"/>
                    <a:gd name="T102" fmla="*/ 1 w 237"/>
                    <a:gd name="T103" fmla="*/ 59 h 174"/>
                    <a:gd name="T104" fmla="*/ 20 w 237"/>
                    <a:gd name="T105" fmla="*/ 38 h 174"/>
                    <a:gd name="T106" fmla="*/ 39 w 237"/>
                    <a:gd name="T107" fmla="*/ 32 h 174"/>
                    <a:gd name="T108" fmla="*/ 36 w 237"/>
                    <a:gd name="T109" fmla="*/ 18 h 174"/>
                    <a:gd name="T110" fmla="*/ 44 w 237"/>
                    <a:gd name="T111" fmla="*/ 8 h 174"/>
                    <a:gd name="T112" fmla="*/ 62 w 237"/>
                    <a:gd name="T113" fmla="*/ 1 h 174"/>
                    <a:gd name="T114" fmla="*/ 72 w 237"/>
                    <a:gd name="T115" fmla="*/ 7 h 174"/>
                    <a:gd name="T116" fmla="*/ 94 w 237"/>
                    <a:gd name="T11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7" h="174">
                      <a:moveTo>
                        <a:pt x="116" y="8"/>
                      </a:moveTo>
                      <a:lnTo>
                        <a:pt x="115" y="8"/>
                      </a:lnTo>
                      <a:lnTo>
                        <a:pt x="114" y="10"/>
                      </a:lnTo>
                      <a:lnTo>
                        <a:pt x="115" y="11"/>
                      </a:lnTo>
                      <a:lnTo>
                        <a:pt x="115" y="12"/>
                      </a:lnTo>
                      <a:lnTo>
                        <a:pt x="114" y="13"/>
                      </a:lnTo>
                      <a:lnTo>
                        <a:pt x="113" y="14"/>
                      </a:lnTo>
                      <a:lnTo>
                        <a:pt x="113" y="15"/>
                      </a:lnTo>
                      <a:lnTo>
                        <a:pt x="113" y="17"/>
                      </a:lnTo>
                      <a:lnTo>
                        <a:pt x="114" y="17"/>
                      </a:lnTo>
                      <a:lnTo>
                        <a:pt x="116" y="18"/>
                      </a:lnTo>
                      <a:lnTo>
                        <a:pt x="117" y="20"/>
                      </a:lnTo>
                      <a:lnTo>
                        <a:pt x="119" y="20"/>
                      </a:lnTo>
                      <a:lnTo>
                        <a:pt x="119" y="21"/>
                      </a:lnTo>
                      <a:lnTo>
                        <a:pt x="120" y="21"/>
                      </a:lnTo>
                      <a:lnTo>
                        <a:pt x="121" y="21"/>
                      </a:lnTo>
                      <a:lnTo>
                        <a:pt x="122" y="21"/>
                      </a:lnTo>
                      <a:lnTo>
                        <a:pt x="123" y="20"/>
                      </a:lnTo>
                      <a:lnTo>
                        <a:pt x="123" y="19"/>
                      </a:lnTo>
                      <a:lnTo>
                        <a:pt x="124" y="19"/>
                      </a:lnTo>
                      <a:lnTo>
                        <a:pt x="124" y="18"/>
                      </a:lnTo>
                      <a:lnTo>
                        <a:pt x="126" y="18"/>
                      </a:lnTo>
                      <a:lnTo>
                        <a:pt x="127" y="17"/>
                      </a:lnTo>
                      <a:lnTo>
                        <a:pt x="127" y="14"/>
                      </a:lnTo>
                      <a:lnTo>
                        <a:pt x="128" y="14"/>
                      </a:lnTo>
                      <a:lnTo>
                        <a:pt x="130" y="14"/>
                      </a:lnTo>
                      <a:lnTo>
                        <a:pt x="131" y="14"/>
                      </a:lnTo>
                      <a:lnTo>
                        <a:pt x="133" y="17"/>
                      </a:lnTo>
                      <a:lnTo>
                        <a:pt x="134" y="17"/>
                      </a:lnTo>
                      <a:lnTo>
                        <a:pt x="135" y="18"/>
                      </a:lnTo>
                      <a:lnTo>
                        <a:pt x="135" y="19"/>
                      </a:lnTo>
                      <a:lnTo>
                        <a:pt x="135" y="20"/>
                      </a:lnTo>
                      <a:lnTo>
                        <a:pt x="136" y="21"/>
                      </a:lnTo>
                      <a:lnTo>
                        <a:pt x="137" y="24"/>
                      </a:lnTo>
                      <a:lnTo>
                        <a:pt x="138" y="25"/>
                      </a:lnTo>
                      <a:lnTo>
                        <a:pt x="140" y="25"/>
                      </a:lnTo>
                      <a:lnTo>
                        <a:pt x="140" y="24"/>
                      </a:lnTo>
                      <a:lnTo>
                        <a:pt x="141" y="24"/>
                      </a:lnTo>
                      <a:lnTo>
                        <a:pt x="141" y="22"/>
                      </a:lnTo>
                      <a:lnTo>
                        <a:pt x="141" y="21"/>
                      </a:lnTo>
                      <a:lnTo>
                        <a:pt x="142" y="21"/>
                      </a:lnTo>
                      <a:lnTo>
                        <a:pt x="143" y="21"/>
                      </a:lnTo>
                      <a:lnTo>
                        <a:pt x="143" y="20"/>
                      </a:lnTo>
                      <a:lnTo>
                        <a:pt x="144" y="19"/>
                      </a:lnTo>
                      <a:lnTo>
                        <a:pt x="144" y="18"/>
                      </a:lnTo>
                      <a:lnTo>
                        <a:pt x="144" y="17"/>
                      </a:lnTo>
                      <a:lnTo>
                        <a:pt x="145" y="17"/>
                      </a:lnTo>
                      <a:lnTo>
                        <a:pt x="147" y="17"/>
                      </a:lnTo>
                      <a:lnTo>
                        <a:pt x="147" y="15"/>
                      </a:lnTo>
                      <a:lnTo>
                        <a:pt x="148" y="15"/>
                      </a:lnTo>
                      <a:lnTo>
                        <a:pt x="149" y="14"/>
                      </a:lnTo>
                      <a:lnTo>
                        <a:pt x="149" y="15"/>
                      </a:lnTo>
                      <a:lnTo>
                        <a:pt x="150" y="15"/>
                      </a:lnTo>
                      <a:lnTo>
                        <a:pt x="149" y="14"/>
                      </a:lnTo>
                      <a:lnTo>
                        <a:pt x="150" y="14"/>
                      </a:lnTo>
                      <a:lnTo>
                        <a:pt x="151" y="14"/>
                      </a:lnTo>
                      <a:lnTo>
                        <a:pt x="152" y="13"/>
                      </a:lnTo>
                      <a:lnTo>
                        <a:pt x="152" y="14"/>
                      </a:lnTo>
                      <a:lnTo>
                        <a:pt x="154" y="14"/>
                      </a:lnTo>
                      <a:lnTo>
                        <a:pt x="155" y="14"/>
                      </a:lnTo>
                      <a:lnTo>
                        <a:pt x="156" y="14"/>
                      </a:lnTo>
                      <a:lnTo>
                        <a:pt x="157" y="14"/>
                      </a:lnTo>
                      <a:lnTo>
                        <a:pt x="157" y="15"/>
                      </a:lnTo>
                      <a:lnTo>
                        <a:pt x="158" y="15"/>
                      </a:lnTo>
                      <a:lnTo>
                        <a:pt x="159" y="15"/>
                      </a:lnTo>
                      <a:lnTo>
                        <a:pt x="159" y="17"/>
                      </a:lnTo>
                      <a:lnTo>
                        <a:pt x="161" y="17"/>
                      </a:lnTo>
                      <a:lnTo>
                        <a:pt x="162" y="18"/>
                      </a:lnTo>
                      <a:lnTo>
                        <a:pt x="163" y="18"/>
                      </a:lnTo>
                      <a:lnTo>
                        <a:pt x="164" y="19"/>
                      </a:lnTo>
                      <a:lnTo>
                        <a:pt x="165" y="19"/>
                      </a:lnTo>
                      <a:lnTo>
                        <a:pt x="166" y="19"/>
                      </a:lnTo>
                      <a:lnTo>
                        <a:pt x="167" y="19"/>
                      </a:lnTo>
                      <a:lnTo>
                        <a:pt x="170" y="19"/>
                      </a:lnTo>
                      <a:lnTo>
                        <a:pt x="171" y="18"/>
                      </a:lnTo>
                      <a:lnTo>
                        <a:pt x="171" y="17"/>
                      </a:lnTo>
                      <a:lnTo>
                        <a:pt x="171" y="15"/>
                      </a:lnTo>
                      <a:lnTo>
                        <a:pt x="172" y="14"/>
                      </a:lnTo>
                      <a:lnTo>
                        <a:pt x="176" y="13"/>
                      </a:lnTo>
                      <a:lnTo>
                        <a:pt x="177" y="13"/>
                      </a:lnTo>
                      <a:lnTo>
                        <a:pt x="177" y="12"/>
                      </a:lnTo>
                      <a:lnTo>
                        <a:pt x="178" y="12"/>
                      </a:lnTo>
                      <a:lnTo>
                        <a:pt x="179" y="12"/>
                      </a:lnTo>
                      <a:lnTo>
                        <a:pt x="181" y="12"/>
                      </a:lnTo>
                      <a:lnTo>
                        <a:pt x="181" y="11"/>
                      </a:lnTo>
                      <a:lnTo>
                        <a:pt x="181" y="10"/>
                      </a:lnTo>
                      <a:lnTo>
                        <a:pt x="183" y="10"/>
                      </a:lnTo>
                      <a:lnTo>
                        <a:pt x="183" y="8"/>
                      </a:lnTo>
                      <a:lnTo>
                        <a:pt x="181" y="8"/>
                      </a:lnTo>
                      <a:lnTo>
                        <a:pt x="181" y="7"/>
                      </a:lnTo>
                      <a:lnTo>
                        <a:pt x="180" y="7"/>
                      </a:lnTo>
                      <a:lnTo>
                        <a:pt x="180" y="6"/>
                      </a:lnTo>
                      <a:lnTo>
                        <a:pt x="179" y="6"/>
                      </a:lnTo>
                      <a:lnTo>
                        <a:pt x="179" y="5"/>
                      </a:lnTo>
                      <a:lnTo>
                        <a:pt x="180" y="5"/>
                      </a:lnTo>
                      <a:lnTo>
                        <a:pt x="181" y="5"/>
                      </a:lnTo>
                      <a:lnTo>
                        <a:pt x="181" y="4"/>
                      </a:lnTo>
                      <a:lnTo>
                        <a:pt x="183" y="4"/>
                      </a:lnTo>
                      <a:lnTo>
                        <a:pt x="183" y="5"/>
                      </a:lnTo>
                      <a:lnTo>
                        <a:pt x="184" y="4"/>
                      </a:lnTo>
                      <a:lnTo>
                        <a:pt x="186" y="5"/>
                      </a:lnTo>
                      <a:lnTo>
                        <a:pt x="187" y="5"/>
                      </a:lnTo>
                      <a:lnTo>
                        <a:pt x="192" y="7"/>
                      </a:lnTo>
                      <a:lnTo>
                        <a:pt x="193" y="7"/>
                      </a:lnTo>
                      <a:lnTo>
                        <a:pt x="193" y="8"/>
                      </a:lnTo>
                      <a:lnTo>
                        <a:pt x="193" y="10"/>
                      </a:lnTo>
                      <a:lnTo>
                        <a:pt x="193" y="11"/>
                      </a:lnTo>
                      <a:lnTo>
                        <a:pt x="193" y="12"/>
                      </a:lnTo>
                      <a:lnTo>
                        <a:pt x="193" y="13"/>
                      </a:lnTo>
                      <a:lnTo>
                        <a:pt x="193" y="14"/>
                      </a:lnTo>
                      <a:lnTo>
                        <a:pt x="194" y="14"/>
                      </a:lnTo>
                      <a:lnTo>
                        <a:pt x="194" y="13"/>
                      </a:lnTo>
                      <a:lnTo>
                        <a:pt x="195" y="14"/>
                      </a:lnTo>
                      <a:lnTo>
                        <a:pt x="195" y="15"/>
                      </a:lnTo>
                      <a:lnTo>
                        <a:pt x="195" y="17"/>
                      </a:lnTo>
                      <a:lnTo>
                        <a:pt x="195" y="18"/>
                      </a:lnTo>
                      <a:lnTo>
                        <a:pt x="195" y="19"/>
                      </a:lnTo>
                      <a:lnTo>
                        <a:pt x="197" y="19"/>
                      </a:lnTo>
                      <a:lnTo>
                        <a:pt x="198" y="19"/>
                      </a:lnTo>
                      <a:lnTo>
                        <a:pt x="199" y="19"/>
                      </a:lnTo>
                      <a:lnTo>
                        <a:pt x="199" y="20"/>
                      </a:lnTo>
                      <a:lnTo>
                        <a:pt x="199" y="21"/>
                      </a:lnTo>
                      <a:lnTo>
                        <a:pt x="199" y="22"/>
                      </a:lnTo>
                      <a:lnTo>
                        <a:pt x="198" y="31"/>
                      </a:lnTo>
                      <a:lnTo>
                        <a:pt x="199" y="31"/>
                      </a:lnTo>
                      <a:lnTo>
                        <a:pt x="199" y="32"/>
                      </a:lnTo>
                      <a:lnTo>
                        <a:pt x="200" y="32"/>
                      </a:lnTo>
                      <a:lnTo>
                        <a:pt x="201" y="32"/>
                      </a:lnTo>
                      <a:lnTo>
                        <a:pt x="201" y="31"/>
                      </a:lnTo>
                      <a:lnTo>
                        <a:pt x="202" y="32"/>
                      </a:lnTo>
                      <a:lnTo>
                        <a:pt x="202" y="34"/>
                      </a:lnTo>
                      <a:lnTo>
                        <a:pt x="204" y="35"/>
                      </a:lnTo>
                      <a:lnTo>
                        <a:pt x="204" y="36"/>
                      </a:lnTo>
                      <a:lnTo>
                        <a:pt x="206" y="36"/>
                      </a:lnTo>
                      <a:lnTo>
                        <a:pt x="207" y="36"/>
                      </a:lnTo>
                      <a:lnTo>
                        <a:pt x="207" y="38"/>
                      </a:lnTo>
                      <a:lnTo>
                        <a:pt x="208" y="38"/>
                      </a:lnTo>
                      <a:lnTo>
                        <a:pt x="208" y="39"/>
                      </a:lnTo>
                      <a:lnTo>
                        <a:pt x="209" y="39"/>
                      </a:lnTo>
                      <a:lnTo>
                        <a:pt x="212" y="39"/>
                      </a:lnTo>
                      <a:lnTo>
                        <a:pt x="212" y="40"/>
                      </a:lnTo>
                      <a:lnTo>
                        <a:pt x="213" y="40"/>
                      </a:lnTo>
                      <a:lnTo>
                        <a:pt x="212" y="40"/>
                      </a:lnTo>
                      <a:lnTo>
                        <a:pt x="212" y="41"/>
                      </a:lnTo>
                      <a:lnTo>
                        <a:pt x="213" y="41"/>
                      </a:lnTo>
                      <a:lnTo>
                        <a:pt x="213" y="42"/>
                      </a:lnTo>
                      <a:lnTo>
                        <a:pt x="213" y="43"/>
                      </a:lnTo>
                      <a:lnTo>
                        <a:pt x="212" y="43"/>
                      </a:lnTo>
                      <a:lnTo>
                        <a:pt x="211" y="43"/>
                      </a:lnTo>
                      <a:lnTo>
                        <a:pt x="209" y="42"/>
                      </a:lnTo>
                      <a:lnTo>
                        <a:pt x="209" y="43"/>
                      </a:lnTo>
                      <a:lnTo>
                        <a:pt x="209" y="45"/>
                      </a:lnTo>
                      <a:lnTo>
                        <a:pt x="208" y="45"/>
                      </a:lnTo>
                      <a:lnTo>
                        <a:pt x="207" y="45"/>
                      </a:lnTo>
                      <a:lnTo>
                        <a:pt x="207" y="46"/>
                      </a:lnTo>
                      <a:lnTo>
                        <a:pt x="207" y="47"/>
                      </a:lnTo>
                      <a:lnTo>
                        <a:pt x="206" y="48"/>
                      </a:lnTo>
                      <a:lnTo>
                        <a:pt x="205" y="48"/>
                      </a:lnTo>
                      <a:lnTo>
                        <a:pt x="205" y="49"/>
                      </a:lnTo>
                      <a:lnTo>
                        <a:pt x="204" y="52"/>
                      </a:lnTo>
                      <a:lnTo>
                        <a:pt x="202" y="53"/>
                      </a:lnTo>
                      <a:lnTo>
                        <a:pt x="204" y="54"/>
                      </a:lnTo>
                      <a:lnTo>
                        <a:pt x="205" y="53"/>
                      </a:lnTo>
                      <a:lnTo>
                        <a:pt x="206" y="53"/>
                      </a:lnTo>
                      <a:lnTo>
                        <a:pt x="207" y="53"/>
                      </a:lnTo>
                      <a:lnTo>
                        <a:pt x="208" y="53"/>
                      </a:lnTo>
                      <a:lnTo>
                        <a:pt x="208" y="52"/>
                      </a:lnTo>
                      <a:lnTo>
                        <a:pt x="209" y="50"/>
                      </a:lnTo>
                      <a:lnTo>
                        <a:pt x="211" y="50"/>
                      </a:lnTo>
                      <a:lnTo>
                        <a:pt x="212" y="50"/>
                      </a:lnTo>
                      <a:lnTo>
                        <a:pt x="213" y="50"/>
                      </a:lnTo>
                      <a:lnTo>
                        <a:pt x="214" y="50"/>
                      </a:lnTo>
                      <a:lnTo>
                        <a:pt x="214" y="52"/>
                      </a:lnTo>
                      <a:lnTo>
                        <a:pt x="215" y="52"/>
                      </a:lnTo>
                      <a:lnTo>
                        <a:pt x="215" y="53"/>
                      </a:lnTo>
                      <a:lnTo>
                        <a:pt x="215" y="56"/>
                      </a:lnTo>
                      <a:lnTo>
                        <a:pt x="215" y="57"/>
                      </a:lnTo>
                      <a:lnTo>
                        <a:pt x="214" y="59"/>
                      </a:lnTo>
                      <a:lnTo>
                        <a:pt x="214" y="60"/>
                      </a:lnTo>
                      <a:lnTo>
                        <a:pt x="215" y="60"/>
                      </a:lnTo>
                      <a:lnTo>
                        <a:pt x="215" y="61"/>
                      </a:lnTo>
                      <a:lnTo>
                        <a:pt x="216" y="67"/>
                      </a:lnTo>
                      <a:lnTo>
                        <a:pt x="216" y="68"/>
                      </a:lnTo>
                      <a:lnTo>
                        <a:pt x="218" y="69"/>
                      </a:lnTo>
                      <a:lnTo>
                        <a:pt x="218" y="70"/>
                      </a:lnTo>
                      <a:lnTo>
                        <a:pt x="219" y="70"/>
                      </a:lnTo>
                      <a:lnTo>
                        <a:pt x="220" y="70"/>
                      </a:lnTo>
                      <a:lnTo>
                        <a:pt x="221" y="70"/>
                      </a:lnTo>
                      <a:lnTo>
                        <a:pt x="221" y="71"/>
                      </a:lnTo>
                      <a:lnTo>
                        <a:pt x="221" y="73"/>
                      </a:lnTo>
                      <a:lnTo>
                        <a:pt x="222" y="73"/>
                      </a:lnTo>
                      <a:lnTo>
                        <a:pt x="223" y="73"/>
                      </a:lnTo>
                      <a:lnTo>
                        <a:pt x="225" y="73"/>
                      </a:lnTo>
                      <a:lnTo>
                        <a:pt x="226" y="74"/>
                      </a:lnTo>
                      <a:lnTo>
                        <a:pt x="226" y="75"/>
                      </a:lnTo>
                      <a:lnTo>
                        <a:pt x="227" y="76"/>
                      </a:lnTo>
                      <a:lnTo>
                        <a:pt x="227" y="77"/>
                      </a:lnTo>
                      <a:lnTo>
                        <a:pt x="226" y="78"/>
                      </a:lnTo>
                      <a:lnTo>
                        <a:pt x="226" y="80"/>
                      </a:lnTo>
                      <a:lnTo>
                        <a:pt x="225" y="80"/>
                      </a:lnTo>
                      <a:lnTo>
                        <a:pt x="225" y="81"/>
                      </a:lnTo>
                      <a:lnTo>
                        <a:pt x="223" y="82"/>
                      </a:lnTo>
                      <a:lnTo>
                        <a:pt x="222" y="82"/>
                      </a:lnTo>
                      <a:lnTo>
                        <a:pt x="221" y="83"/>
                      </a:lnTo>
                      <a:lnTo>
                        <a:pt x="221" y="84"/>
                      </a:lnTo>
                      <a:lnTo>
                        <a:pt x="220" y="84"/>
                      </a:lnTo>
                      <a:lnTo>
                        <a:pt x="221" y="85"/>
                      </a:lnTo>
                      <a:lnTo>
                        <a:pt x="220" y="85"/>
                      </a:lnTo>
                      <a:lnTo>
                        <a:pt x="220" y="87"/>
                      </a:lnTo>
                      <a:lnTo>
                        <a:pt x="221" y="87"/>
                      </a:lnTo>
                      <a:lnTo>
                        <a:pt x="221" y="88"/>
                      </a:lnTo>
                      <a:lnTo>
                        <a:pt x="221" y="89"/>
                      </a:lnTo>
                      <a:lnTo>
                        <a:pt x="222" y="89"/>
                      </a:lnTo>
                      <a:lnTo>
                        <a:pt x="221" y="97"/>
                      </a:lnTo>
                      <a:lnTo>
                        <a:pt x="221" y="98"/>
                      </a:lnTo>
                      <a:lnTo>
                        <a:pt x="221" y="99"/>
                      </a:lnTo>
                      <a:lnTo>
                        <a:pt x="221" y="101"/>
                      </a:lnTo>
                      <a:lnTo>
                        <a:pt x="223" y="103"/>
                      </a:lnTo>
                      <a:lnTo>
                        <a:pt x="225" y="104"/>
                      </a:lnTo>
                      <a:lnTo>
                        <a:pt x="226" y="104"/>
                      </a:lnTo>
                      <a:lnTo>
                        <a:pt x="227" y="103"/>
                      </a:lnTo>
                      <a:lnTo>
                        <a:pt x="228" y="103"/>
                      </a:lnTo>
                      <a:lnTo>
                        <a:pt x="230" y="103"/>
                      </a:lnTo>
                      <a:lnTo>
                        <a:pt x="229" y="105"/>
                      </a:lnTo>
                      <a:lnTo>
                        <a:pt x="229" y="106"/>
                      </a:lnTo>
                      <a:lnTo>
                        <a:pt x="228" y="109"/>
                      </a:lnTo>
                      <a:lnTo>
                        <a:pt x="228" y="110"/>
                      </a:lnTo>
                      <a:lnTo>
                        <a:pt x="229" y="111"/>
                      </a:lnTo>
                      <a:lnTo>
                        <a:pt x="230" y="111"/>
                      </a:lnTo>
                      <a:lnTo>
                        <a:pt x="231" y="111"/>
                      </a:lnTo>
                      <a:lnTo>
                        <a:pt x="231" y="112"/>
                      </a:lnTo>
                      <a:lnTo>
                        <a:pt x="233" y="112"/>
                      </a:lnTo>
                      <a:lnTo>
                        <a:pt x="234" y="113"/>
                      </a:lnTo>
                      <a:lnTo>
                        <a:pt x="233" y="115"/>
                      </a:lnTo>
                      <a:lnTo>
                        <a:pt x="231" y="115"/>
                      </a:lnTo>
                      <a:lnTo>
                        <a:pt x="229" y="116"/>
                      </a:lnTo>
                      <a:lnTo>
                        <a:pt x="228" y="116"/>
                      </a:lnTo>
                      <a:lnTo>
                        <a:pt x="228" y="117"/>
                      </a:lnTo>
                      <a:lnTo>
                        <a:pt x="228" y="118"/>
                      </a:lnTo>
                      <a:lnTo>
                        <a:pt x="228" y="119"/>
                      </a:lnTo>
                      <a:lnTo>
                        <a:pt x="227" y="122"/>
                      </a:lnTo>
                      <a:lnTo>
                        <a:pt x="227" y="123"/>
                      </a:lnTo>
                      <a:lnTo>
                        <a:pt x="229" y="124"/>
                      </a:lnTo>
                      <a:lnTo>
                        <a:pt x="231" y="124"/>
                      </a:lnTo>
                      <a:lnTo>
                        <a:pt x="233" y="124"/>
                      </a:lnTo>
                      <a:lnTo>
                        <a:pt x="233" y="125"/>
                      </a:lnTo>
                      <a:lnTo>
                        <a:pt x="234" y="125"/>
                      </a:lnTo>
                      <a:lnTo>
                        <a:pt x="234" y="126"/>
                      </a:lnTo>
                      <a:lnTo>
                        <a:pt x="235" y="127"/>
                      </a:lnTo>
                      <a:lnTo>
                        <a:pt x="236" y="127"/>
                      </a:lnTo>
                      <a:lnTo>
                        <a:pt x="236" y="129"/>
                      </a:lnTo>
                      <a:lnTo>
                        <a:pt x="236" y="130"/>
                      </a:lnTo>
                      <a:lnTo>
                        <a:pt x="236" y="131"/>
                      </a:lnTo>
                      <a:lnTo>
                        <a:pt x="236" y="132"/>
                      </a:lnTo>
                      <a:lnTo>
                        <a:pt x="236" y="133"/>
                      </a:lnTo>
                      <a:lnTo>
                        <a:pt x="236" y="134"/>
                      </a:lnTo>
                      <a:lnTo>
                        <a:pt x="237" y="136"/>
                      </a:lnTo>
                      <a:lnTo>
                        <a:pt x="235" y="137"/>
                      </a:lnTo>
                      <a:lnTo>
                        <a:pt x="234" y="136"/>
                      </a:lnTo>
                      <a:lnTo>
                        <a:pt x="233" y="133"/>
                      </a:lnTo>
                      <a:lnTo>
                        <a:pt x="231" y="133"/>
                      </a:lnTo>
                      <a:lnTo>
                        <a:pt x="231" y="134"/>
                      </a:lnTo>
                      <a:lnTo>
                        <a:pt x="230" y="134"/>
                      </a:lnTo>
                      <a:lnTo>
                        <a:pt x="229" y="134"/>
                      </a:lnTo>
                      <a:lnTo>
                        <a:pt x="228" y="133"/>
                      </a:lnTo>
                      <a:lnTo>
                        <a:pt x="228" y="132"/>
                      </a:lnTo>
                      <a:lnTo>
                        <a:pt x="227" y="132"/>
                      </a:lnTo>
                      <a:lnTo>
                        <a:pt x="226" y="132"/>
                      </a:lnTo>
                      <a:lnTo>
                        <a:pt x="225" y="132"/>
                      </a:lnTo>
                      <a:lnTo>
                        <a:pt x="223" y="132"/>
                      </a:lnTo>
                      <a:lnTo>
                        <a:pt x="222" y="132"/>
                      </a:lnTo>
                      <a:lnTo>
                        <a:pt x="221" y="132"/>
                      </a:lnTo>
                      <a:lnTo>
                        <a:pt x="220" y="132"/>
                      </a:lnTo>
                      <a:lnTo>
                        <a:pt x="219" y="133"/>
                      </a:lnTo>
                      <a:lnTo>
                        <a:pt x="219" y="134"/>
                      </a:lnTo>
                      <a:lnTo>
                        <a:pt x="219" y="136"/>
                      </a:lnTo>
                      <a:lnTo>
                        <a:pt x="219" y="138"/>
                      </a:lnTo>
                      <a:lnTo>
                        <a:pt x="219" y="139"/>
                      </a:lnTo>
                      <a:lnTo>
                        <a:pt x="218" y="140"/>
                      </a:lnTo>
                      <a:lnTo>
                        <a:pt x="221" y="143"/>
                      </a:lnTo>
                      <a:lnTo>
                        <a:pt x="223" y="143"/>
                      </a:lnTo>
                      <a:lnTo>
                        <a:pt x="225" y="143"/>
                      </a:lnTo>
                      <a:lnTo>
                        <a:pt x="226" y="143"/>
                      </a:lnTo>
                      <a:lnTo>
                        <a:pt x="227" y="143"/>
                      </a:lnTo>
                      <a:lnTo>
                        <a:pt x="226" y="143"/>
                      </a:lnTo>
                      <a:lnTo>
                        <a:pt x="226" y="144"/>
                      </a:lnTo>
                      <a:lnTo>
                        <a:pt x="226" y="145"/>
                      </a:lnTo>
                      <a:lnTo>
                        <a:pt x="227" y="146"/>
                      </a:lnTo>
                      <a:lnTo>
                        <a:pt x="228" y="147"/>
                      </a:lnTo>
                      <a:lnTo>
                        <a:pt x="227" y="147"/>
                      </a:lnTo>
                      <a:lnTo>
                        <a:pt x="226" y="147"/>
                      </a:lnTo>
                      <a:lnTo>
                        <a:pt x="225" y="147"/>
                      </a:lnTo>
                      <a:lnTo>
                        <a:pt x="225" y="148"/>
                      </a:lnTo>
                      <a:lnTo>
                        <a:pt x="225" y="150"/>
                      </a:lnTo>
                      <a:lnTo>
                        <a:pt x="222" y="152"/>
                      </a:lnTo>
                      <a:lnTo>
                        <a:pt x="222" y="153"/>
                      </a:lnTo>
                      <a:lnTo>
                        <a:pt x="223" y="154"/>
                      </a:lnTo>
                      <a:lnTo>
                        <a:pt x="223" y="155"/>
                      </a:lnTo>
                      <a:lnTo>
                        <a:pt x="222" y="157"/>
                      </a:lnTo>
                      <a:lnTo>
                        <a:pt x="222" y="158"/>
                      </a:lnTo>
                      <a:lnTo>
                        <a:pt x="221" y="159"/>
                      </a:lnTo>
                      <a:lnTo>
                        <a:pt x="222" y="159"/>
                      </a:lnTo>
                      <a:lnTo>
                        <a:pt x="221" y="159"/>
                      </a:lnTo>
                      <a:lnTo>
                        <a:pt x="221" y="160"/>
                      </a:lnTo>
                      <a:lnTo>
                        <a:pt x="220" y="160"/>
                      </a:lnTo>
                      <a:lnTo>
                        <a:pt x="220" y="161"/>
                      </a:lnTo>
                      <a:lnTo>
                        <a:pt x="220" y="162"/>
                      </a:lnTo>
                      <a:lnTo>
                        <a:pt x="219" y="162"/>
                      </a:lnTo>
                      <a:lnTo>
                        <a:pt x="218" y="161"/>
                      </a:lnTo>
                      <a:lnTo>
                        <a:pt x="216" y="161"/>
                      </a:lnTo>
                      <a:lnTo>
                        <a:pt x="215" y="161"/>
                      </a:lnTo>
                      <a:lnTo>
                        <a:pt x="214" y="161"/>
                      </a:lnTo>
                      <a:lnTo>
                        <a:pt x="214" y="160"/>
                      </a:lnTo>
                      <a:lnTo>
                        <a:pt x="213" y="161"/>
                      </a:lnTo>
                      <a:lnTo>
                        <a:pt x="212" y="162"/>
                      </a:lnTo>
                      <a:lnTo>
                        <a:pt x="211" y="162"/>
                      </a:lnTo>
                      <a:lnTo>
                        <a:pt x="209" y="161"/>
                      </a:lnTo>
                      <a:lnTo>
                        <a:pt x="208" y="160"/>
                      </a:lnTo>
                      <a:lnTo>
                        <a:pt x="208" y="158"/>
                      </a:lnTo>
                      <a:lnTo>
                        <a:pt x="205" y="158"/>
                      </a:lnTo>
                      <a:lnTo>
                        <a:pt x="205" y="159"/>
                      </a:lnTo>
                      <a:lnTo>
                        <a:pt x="204" y="160"/>
                      </a:lnTo>
                      <a:lnTo>
                        <a:pt x="204" y="161"/>
                      </a:lnTo>
                      <a:lnTo>
                        <a:pt x="204" y="162"/>
                      </a:lnTo>
                      <a:lnTo>
                        <a:pt x="204" y="164"/>
                      </a:lnTo>
                      <a:lnTo>
                        <a:pt x="204" y="165"/>
                      </a:lnTo>
                      <a:lnTo>
                        <a:pt x="202" y="165"/>
                      </a:lnTo>
                      <a:lnTo>
                        <a:pt x="201" y="166"/>
                      </a:lnTo>
                      <a:lnTo>
                        <a:pt x="201" y="167"/>
                      </a:lnTo>
                      <a:lnTo>
                        <a:pt x="200" y="167"/>
                      </a:lnTo>
                      <a:lnTo>
                        <a:pt x="200" y="168"/>
                      </a:lnTo>
                      <a:lnTo>
                        <a:pt x="199" y="169"/>
                      </a:lnTo>
                      <a:lnTo>
                        <a:pt x="200" y="171"/>
                      </a:lnTo>
                      <a:lnTo>
                        <a:pt x="200" y="172"/>
                      </a:lnTo>
                      <a:lnTo>
                        <a:pt x="199" y="172"/>
                      </a:lnTo>
                      <a:lnTo>
                        <a:pt x="198" y="173"/>
                      </a:lnTo>
                      <a:lnTo>
                        <a:pt x="197" y="172"/>
                      </a:lnTo>
                      <a:lnTo>
                        <a:pt x="195" y="172"/>
                      </a:lnTo>
                      <a:lnTo>
                        <a:pt x="195" y="173"/>
                      </a:lnTo>
                      <a:lnTo>
                        <a:pt x="194" y="173"/>
                      </a:lnTo>
                      <a:lnTo>
                        <a:pt x="193" y="173"/>
                      </a:lnTo>
                      <a:lnTo>
                        <a:pt x="193" y="174"/>
                      </a:lnTo>
                      <a:lnTo>
                        <a:pt x="192" y="174"/>
                      </a:lnTo>
                      <a:lnTo>
                        <a:pt x="191" y="174"/>
                      </a:lnTo>
                      <a:lnTo>
                        <a:pt x="192" y="173"/>
                      </a:lnTo>
                      <a:lnTo>
                        <a:pt x="191" y="173"/>
                      </a:lnTo>
                      <a:lnTo>
                        <a:pt x="191" y="172"/>
                      </a:lnTo>
                      <a:lnTo>
                        <a:pt x="190" y="172"/>
                      </a:lnTo>
                      <a:lnTo>
                        <a:pt x="188" y="171"/>
                      </a:lnTo>
                      <a:lnTo>
                        <a:pt x="188" y="169"/>
                      </a:lnTo>
                      <a:lnTo>
                        <a:pt x="187" y="168"/>
                      </a:lnTo>
                      <a:lnTo>
                        <a:pt x="186" y="168"/>
                      </a:lnTo>
                      <a:lnTo>
                        <a:pt x="185" y="168"/>
                      </a:lnTo>
                      <a:lnTo>
                        <a:pt x="185" y="167"/>
                      </a:lnTo>
                      <a:lnTo>
                        <a:pt x="184" y="167"/>
                      </a:lnTo>
                      <a:lnTo>
                        <a:pt x="183" y="167"/>
                      </a:lnTo>
                      <a:lnTo>
                        <a:pt x="183" y="168"/>
                      </a:lnTo>
                      <a:lnTo>
                        <a:pt x="181" y="168"/>
                      </a:lnTo>
                      <a:lnTo>
                        <a:pt x="181" y="167"/>
                      </a:lnTo>
                      <a:lnTo>
                        <a:pt x="180" y="168"/>
                      </a:lnTo>
                      <a:lnTo>
                        <a:pt x="179" y="169"/>
                      </a:lnTo>
                      <a:lnTo>
                        <a:pt x="179" y="168"/>
                      </a:lnTo>
                      <a:lnTo>
                        <a:pt x="180" y="168"/>
                      </a:lnTo>
                      <a:lnTo>
                        <a:pt x="180" y="167"/>
                      </a:lnTo>
                      <a:lnTo>
                        <a:pt x="181" y="166"/>
                      </a:lnTo>
                      <a:lnTo>
                        <a:pt x="181" y="165"/>
                      </a:lnTo>
                      <a:lnTo>
                        <a:pt x="183" y="165"/>
                      </a:lnTo>
                      <a:lnTo>
                        <a:pt x="181" y="164"/>
                      </a:lnTo>
                      <a:lnTo>
                        <a:pt x="183" y="164"/>
                      </a:lnTo>
                      <a:lnTo>
                        <a:pt x="183" y="162"/>
                      </a:lnTo>
                      <a:lnTo>
                        <a:pt x="183" y="161"/>
                      </a:lnTo>
                      <a:lnTo>
                        <a:pt x="184" y="161"/>
                      </a:lnTo>
                      <a:lnTo>
                        <a:pt x="183" y="160"/>
                      </a:lnTo>
                      <a:lnTo>
                        <a:pt x="183" y="159"/>
                      </a:lnTo>
                      <a:lnTo>
                        <a:pt x="183" y="158"/>
                      </a:lnTo>
                      <a:lnTo>
                        <a:pt x="184" y="157"/>
                      </a:lnTo>
                      <a:lnTo>
                        <a:pt x="183" y="155"/>
                      </a:lnTo>
                      <a:lnTo>
                        <a:pt x="181" y="154"/>
                      </a:lnTo>
                      <a:lnTo>
                        <a:pt x="180" y="153"/>
                      </a:lnTo>
                      <a:lnTo>
                        <a:pt x="180" y="152"/>
                      </a:lnTo>
                      <a:lnTo>
                        <a:pt x="180" y="151"/>
                      </a:lnTo>
                      <a:lnTo>
                        <a:pt x="181" y="150"/>
                      </a:lnTo>
                      <a:lnTo>
                        <a:pt x="181" y="148"/>
                      </a:lnTo>
                      <a:lnTo>
                        <a:pt x="181" y="147"/>
                      </a:lnTo>
                      <a:lnTo>
                        <a:pt x="180" y="147"/>
                      </a:lnTo>
                      <a:lnTo>
                        <a:pt x="179" y="148"/>
                      </a:lnTo>
                      <a:lnTo>
                        <a:pt x="179" y="147"/>
                      </a:lnTo>
                      <a:lnTo>
                        <a:pt x="180" y="147"/>
                      </a:lnTo>
                      <a:lnTo>
                        <a:pt x="180" y="146"/>
                      </a:lnTo>
                      <a:lnTo>
                        <a:pt x="179" y="144"/>
                      </a:lnTo>
                      <a:lnTo>
                        <a:pt x="178" y="144"/>
                      </a:lnTo>
                      <a:lnTo>
                        <a:pt x="178" y="143"/>
                      </a:lnTo>
                      <a:lnTo>
                        <a:pt x="178" y="141"/>
                      </a:lnTo>
                      <a:lnTo>
                        <a:pt x="178" y="140"/>
                      </a:lnTo>
                      <a:lnTo>
                        <a:pt x="178" y="139"/>
                      </a:lnTo>
                      <a:lnTo>
                        <a:pt x="178" y="138"/>
                      </a:lnTo>
                      <a:lnTo>
                        <a:pt x="179" y="138"/>
                      </a:lnTo>
                      <a:lnTo>
                        <a:pt x="178" y="138"/>
                      </a:lnTo>
                      <a:lnTo>
                        <a:pt x="178" y="137"/>
                      </a:lnTo>
                      <a:lnTo>
                        <a:pt x="176" y="137"/>
                      </a:lnTo>
                      <a:lnTo>
                        <a:pt x="176" y="136"/>
                      </a:lnTo>
                      <a:lnTo>
                        <a:pt x="174" y="137"/>
                      </a:lnTo>
                      <a:lnTo>
                        <a:pt x="173" y="137"/>
                      </a:lnTo>
                      <a:lnTo>
                        <a:pt x="173" y="136"/>
                      </a:lnTo>
                      <a:lnTo>
                        <a:pt x="174" y="134"/>
                      </a:lnTo>
                      <a:lnTo>
                        <a:pt x="173" y="134"/>
                      </a:lnTo>
                      <a:lnTo>
                        <a:pt x="173" y="133"/>
                      </a:lnTo>
                      <a:lnTo>
                        <a:pt x="172" y="133"/>
                      </a:lnTo>
                      <a:lnTo>
                        <a:pt x="172" y="134"/>
                      </a:lnTo>
                      <a:lnTo>
                        <a:pt x="171" y="136"/>
                      </a:lnTo>
                      <a:lnTo>
                        <a:pt x="171" y="134"/>
                      </a:lnTo>
                      <a:lnTo>
                        <a:pt x="171" y="133"/>
                      </a:lnTo>
                      <a:lnTo>
                        <a:pt x="170" y="132"/>
                      </a:lnTo>
                      <a:lnTo>
                        <a:pt x="170" y="131"/>
                      </a:lnTo>
                      <a:lnTo>
                        <a:pt x="169" y="132"/>
                      </a:lnTo>
                      <a:lnTo>
                        <a:pt x="169" y="133"/>
                      </a:lnTo>
                      <a:lnTo>
                        <a:pt x="167" y="133"/>
                      </a:lnTo>
                      <a:lnTo>
                        <a:pt x="166" y="133"/>
                      </a:lnTo>
                      <a:lnTo>
                        <a:pt x="165" y="133"/>
                      </a:lnTo>
                      <a:lnTo>
                        <a:pt x="164" y="133"/>
                      </a:lnTo>
                      <a:lnTo>
                        <a:pt x="163" y="134"/>
                      </a:lnTo>
                      <a:lnTo>
                        <a:pt x="162" y="136"/>
                      </a:lnTo>
                      <a:lnTo>
                        <a:pt x="161" y="136"/>
                      </a:lnTo>
                      <a:lnTo>
                        <a:pt x="161" y="133"/>
                      </a:lnTo>
                      <a:lnTo>
                        <a:pt x="159" y="133"/>
                      </a:lnTo>
                      <a:lnTo>
                        <a:pt x="158" y="132"/>
                      </a:lnTo>
                      <a:lnTo>
                        <a:pt x="157" y="132"/>
                      </a:lnTo>
                      <a:lnTo>
                        <a:pt x="156" y="133"/>
                      </a:lnTo>
                      <a:lnTo>
                        <a:pt x="156" y="134"/>
                      </a:lnTo>
                      <a:lnTo>
                        <a:pt x="155" y="133"/>
                      </a:lnTo>
                      <a:lnTo>
                        <a:pt x="154" y="133"/>
                      </a:lnTo>
                      <a:lnTo>
                        <a:pt x="152" y="133"/>
                      </a:lnTo>
                      <a:lnTo>
                        <a:pt x="151" y="133"/>
                      </a:lnTo>
                      <a:lnTo>
                        <a:pt x="150" y="133"/>
                      </a:lnTo>
                      <a:lnTo>
                        <a:pt x="150" y="134"/>
                      </a:lnTo>
                      <a:lnTo>
                        <a:pt x="149" y="134"/>
                      </a:lnTo>
                      <a:lnTo>
                        <a:pt x="149" y="137"/>
                      </a:lnTo>
                      <a:lnTo>
                        <a:pt x="148" y="137"/>
                      </a:lnTo>
                      <a:lnTo>
                        <a:pt x="147" y="139"/>
                      </a:lnTo>
                      <a:lnTo>
                        <a:pt x="145" y="139"/>
                      </a:lnTo>
                      <a:lnTo>
                        <a:pt x="144" y="140"/>
                      </a:lnTo>
                      <a:lnTo>
                        <a:pt x="144" y="139"/>
                      </a:lnTo>
                      <a:lnTo>
                        <a:pt x="143" y="139"/>
                      </a:lnTo>
                      <a:lnTo>
                        <a:pt x="142" y="139"/>
                      </a:lnTo>
                      <a:lnTo>
                        <a:pt x="141" y="139"/>
                      </a:lnTo>
                      <a:lnTo>
                        <a:pt x="141" y="140"/>
                      </a:lnTo>
                      <a:lnTo>
                        <a:pt x="140" y="141"/>
                      </a:lnTo>
                      <a:lnTo>
                        <a:pt x="140" y="140"/>
                      </a:lnTo>
                      <a:lnTo>
                        <a:pt x="140" y="139"/>
                      </a:lnTo>
                      <a:lnTo>
                        <a:pt x="141" y="138"/>
                      </a:lnTo>
                      <a:lnTo>
                        <a:pt x="142" y="137"/>
                      </a:lnTo>
                      <a:lnTo>
                        <a:pt x="142" y="134"/>
                      </a:lnTo>
                      <a:lnTo>
                        <a:pt x="142" y="133"/>
                      </a:lnTo>
                      <a:lnTo>
                        <a:pt x="143" y="132"/>
                      </a:lnTo>
                      <a:lnTo>
                        <a:pt x="143" y="131"/>
                      </a:lnTo>
                      <a:lnTo>
                        <a:pt x="144" y="130"/>
                      </a:lnTo>
                      <a:lnTo>
                        <a:pt x="145" y="130"/>
                      </a:lnTo>
                      <a:lnTo>
                        <a:pt x="147" y="130"/>
                      </a:lnTo>
                      <a:lnTo>
                        <a:pt x="147" y="129"/>
                      </a:lnTo>
                      <a:lnTo>
                        <a:pt x="148" y="127"/>
                      </a:lnTo>
                      <a:lnTo>
                        <a:pt x="145" y="126"/>
                      </a:lnTo>
                      <a:lnTo>
                        <a:pt x="145" y="125"/>
                      </a:lnTo>
                      <a:lnTo>
                        <a:pt x="144" y="124"/>
                      </a:lnTo>
                      <a:lnTo>
                        <a:pt x="143" y="124"/>
                      </a:lnTo>
                      <a:lnTo>
                        <a:pt x="143" y="123"/>
                      </a:lnTo>
                      <a:lnTo>
                        <a:pt x="143" y="122"/>
                      </a:lnTo>
                      <a:lnTo>
                        <a:pt x="143" y="119"/>
                      </a:lnTo>
                      <a:lnTo>
                        <a:pt x="143" y="118"/>
                      </a:lnTo>
                      <a:lnTo>
                        <a:pt x="143" y="116"/>
                      </a:lnTo>
                      <a:lnTo>
                        <a:pt x="142" y="116"/>
                      </a:lnTo>
                      <a:lnTo>
                        <a:pt x="141" y="115"/>
                      </a:lnTo>
                      <a:lnTo>
                        <a:pt x="140" y="115"/>
                      </a:lnTo>
                      <a:lnTo>
                        <a:pt x="138" y="115"/>
                      </a:lnTo>
                      <a:lnTo>
                        <a:pt x="138" y="113"/>
                      </a:lnTo>
                      <a:lnTo>
                        <a:pt x="138" y="112"/>
                      </a:lnTo>
                      <a:lnTo>
                        <a:pt x="140" y="111"/>
                      </a:lnTo>
                      <a:lnTo>
                        <a:pt x="141" y="111"/>
                      </a:lnTo>
                      <a:lnTo>
                        <a:pt x="141" y="110"/>
                      </a:lnTo>
                      <a:lnTo>
                        <a:pt x="141" y="109"/>
                      </a:lnTo>
                      <a:lnTo>
                        <a:pt x="141" y="108"/>
                      </a:lnTo>
                      <a:lnTo>
                        <a:pt x="140" y="106"/>
                      </a:lnTo>
                      <a:lnTo>
                        <a:pt x="138" y="106"/>
                      </a:lnTo>
                      <a:lnTo>
                        <a:pt x="138" y="105"/>
                      </a:lnTo>
                      <a:lnTo>
                        <a:pt x="137" y="105"/>
                      </a:lnTo>
                      <a:lnTo>
                        <a:pt x="136" y="105"/>
                      </a:lnTo>
                      <a:lnTo>
                        <a:pt x="136" y="104"/>
                      </a:lnTo>
                      <a:lnTo>
                        <a:pt x="135" y="103"/>
                      </a:lnTo>
                      <a:lnTo>
                        <a:pt x="135" y="102"/>
                      </a:lnTo>
                      <a:lnTo>
                        <a:pt x="135" y="101"/>
                      </a:lnTo>
                      <a:lnTo>
                        <a:pt x="134" y="101"/>
                      </a:lnTo>
                      <a:lnTo>
                        <a:pt x="134" y="99"/>
                      </a:lnTo>
                      <a:lnTo>
                        <a:pt x="133" y="98"/>
                      </a:lnTo>
                      <a:lnTo>
                        <a:pt x="133" y="97"/>
                      </a:lnTo>
                      <a:lnTo>
                        <a:pt x="131" y="97"/>
                      </a:lnTo>
                      <a:lnTo>
                        <a:pt x="131" y="96"/>
                      </a:lnTo>
                      <a:lnTo>
                        <a:pt x="130" y="95"/>
                      </a:lnTo>
                      <a:lnTo>
                        <a:pt x="130" y="94"/>
                      </a:lnTo>
                      <a:lnTo>
                        <a:pt x="129" y="92"/>
                      </a:lnTo>
                      <a:lnTo>
                        <a:pt x="128" y="91"/>
                      </a:lnTo>
                      <a:lnTo>
                        <a:pt x="126" y="90"/>
                      </a:lnTo>
                      <a:lnTo>
                        <a:pt x="124" y="89"/>
                      </a:lnTo>
                      <a:lnTo>
                        <a:pt x="124" y="88"/>
                      </a:lnTo>
                      <a:lnTo>
                        <a:pt x="124" y="87"/>
                      </a:lnTo>
                      <a:lnTo>
                        <a:pt x="123" y="87"/>
                      </a:lnTo>
                      <a:lnTo>
                        <a:pt x="122" y="85"/>
                      </a:lnTo>
                      <a:lnTo>
                        <a:pt x="121" y="85"/>
                      </a:lnTo>
                      <a:lnTo>
                        <a:pt x="115" y="85"/>
                      </a:lnTo>
                      <a:lnTo>
                        <a:pt x="101" y="87"/>
                      </a:lnTo>
                      <a:lnTo>
                        <a:pt x="101" y="88"/>
                      </a:lnTo>
                      <a:lnTo>
                        <a:pt x="101" y="89"/>
                      </a:lnTo>
                      <a:lnTo>
                        <a:pt x="95" y="90"/>
                      </a:lnTo>
                      <a:lnTo>
                        <a:pt x="94" y="90"/>
                      </a:lnTo>
                      <a:lnTo>
                        <a:pt x="93" y="90"/>
                      </a:lnTo>
                      <a:lnTo>
                        <a:pt x="92" y="90"/>
                      </a:lnTo>
                      <a:lnTo>
                        <a:pt x="92" y="89"/>
                      </a:lnTo>
                      <a:lnTo>
                        <a:pt x="91" y="89"/>
                      </a:lnTo>
                      <a:lnTo>
                        <a:pt x="90" y="89"/>
                      </a:lnTo>
                      <a:lnTo>
                        <a:pt x="85" y="90"/>
                      </a:lnTo>
                      <a:lnTo>
                        <a:pt x="84" y="90"/>
                      </a:lnTo>
                      <a:lnTo>
                        <a:pt x="83" y="91"/>
                      </a:lnTo>
                      <a:lnTo>
                        <a:pt x="83" y="92"/>
                      </a:lnTo>
                      <a:lnTo>
                        <a:pt x="81" y="95"/>
                      </a:lnTo>
                      <a:lnTo>
                        <a:pt x="81" y="96"/>
                      </a:lnTo>
                      <a:lnTo>
                        <a:pt x="80" y="96"/>
                      </a:lnTo>
                      <a:lnTo>
                        <a:pt x="80" y="97"/>
                      </a:lnTo>
                      <a:lnTo>
                        <a:pt x="79" y="97"/>
                      </a:lnTo>
                      <a:lnTo>
                        <a:pt x="79" y="99"/>
                      </a:lnTo>
                      <a:lnTo>
                        <a:pt x="78" y="99"/>
                      </a:lnTo>
                      <a:lnTo>
                        <a:pt x="78" y="101"/>
                      </a:lnTo>
                      <a:lnTo>
                        <a:pt x="77" y="101"/>
                      </a:lnTo>
                      <a:lnTo>
                        <a:pt x="77" y="102"/>
                      </a:lnTo>
                      <a:lnTo>
                        <a:pt x="77" y="105"/>
                      </a:lnTo>
                      <a:lnTo>
                        <a:pt x="76" y="105"/>
                      </a:lnTo>
                      <a:lnTo>
                        <a:pt x="76" y="106"/>
                      </a:lnTo>
                      <a:lnTo>
                        <a:pt x="74" y="106"/>
                      </a:lnTo>
                      <a:lnTo>
                        <a:pt x="74" y="108"/>
                      </a:lnTo>
                      <a:lnTo>
                        <a:pt x="73" y="108"/>
                      </a:lnTo>
                      <a:lnTo>
                        <a:pt x="72" y="109"/>
                      </a:lnTo>
                      <a:lnTo>
                        <a:pt x="72" y="110"/>
                      </a:lnTo>
                      <a:lnTo>
                        <a:pt x="71" y="110"/>
                      </a:lnTo>
                      <a:lnTo>
                        <a:pt x="70" y="110"/>
                      </a:lnTo>
                      <a:lnTo>
                        <a:pt x="69" y="110"/>
                      </a:lnTo>
                      <a:lnTo>
                        <a:pt x="67" y="111"/>
                      </a:lnTo>
                      <a:lnTo>
                        <a:pt x="67" y="112"/>
                      </a:lnTo>
                      <a:lnTo>
                        <a:pt x="69" y="112"/>
                      </a:lnTo>
                      <a:lnTo>
                        <a:pt x="69" y="113"/>
                      </a:lnTo>
                      <a:lnTo>
                        <a:pt x="67" y="113"/>
                      </a:lnTo>
                      <a:lnTo>
                        <a:pt x="67" y="115"/>
                      </a:lnTo>
                      <a:lnTo>
                        <a:pt x="66" y="115"/>
                      </a:lnTo>
                      <a:lnTo>
                        <a:pt x="66" y="116"/>
                      </a:lnTo>
                      <a:lnTo>
                        <a:pt x="65" y="116"/>
                      </a:lnTo>
                      <a:lnTo>
                        <a:pt x="64" y="117"/>
                      </a:lnTo>
                      <a:lnTo>
                        <a:pt x="63" y="117"/>
                      </a:lnTo>
                      <a:lnTo>
                        <a:pt x="62" y="117"/>
                      </a:lnTo>
                      <a:lnTo>
                        <a:pt x="60" y="117"/>
                      </a:lnTo>
                      <a:lnTo>
                        <a:pt x="59" y="117"/>
                      </a:lnTo>
                      <a:lnTo>
                        <a:pt x="58" y="117"/>
                      </a:lnTo>
                      <a:lnTo>
                        <a:pt x="57" y="118"/>
                      </a:lnTo>
                      <a:lnTo>
                        <a:pt x="57" y="117"/>
                      </a:lnTo>
                      <a:lnTo>
                        <a:pt x="57" y="116"/>
                      </a:lnTo>
                      <a:lnTo>
                        <a:pt x="58" y="115"/>
                      </a:lnTo>
                      <a:lnTo>
                        <a:pt x="59" y="113"/>
                      </a:lnTo>
                      <a:lnTo>
                        <a:pt x="60" y="113"/>
                      </a:lnTo>
                      <a:lnTo>
                        <a:pt x="62" y="113"/>
                      </a:lnTo>
                      <a:lnTo>
                        <a:pt x="60" y="113"/>
                      </a:lnTo>
                      <a:lnTo>
                        <a:pt x="59" y="113"/>
                      </a:lnTo>
                      <a:lnTo>
                        <a:pt x="58" y="112"/>
                      </a:lnTo>
                      <a:lnTo>
                        <a:pt x="59" y="112"/>
                      </a:lnTo>
                      <a:lnTo>
                        <a:pt x="59" y="111"/>
                      </a:lnTo>
                      <a:lnTo>
                        <a:pt x="59" y="110"/>
                      </a:lnTo>
                      <a:lnTo>
                        <a:pt x="59" y="111"/>
                      </a:lnTo>
                      <a:lnTo>
                        <a:pt x="58" y="112"/>
                      </a:lnTo>
                      <a:lnTo>
                        <a:pt x="58" y="113"/>
                      </a:lnTo>
                      <a:lnTo>
                        <a:pt x="57" y="113"/>
                      </a:lnTo>
                      <a:lnTo>
                        <a:pt x="57" y="112"/>
                      </a:lnTo>
                      <a:lnTo>
                        <a:pt x="57" y="111"/>
                      </a:lnTo>
                      <a:lnTo>
                        <a:pt x="57" y="110"/>
                      </a:lnTo>
                      <a:lnTo>
                        <a:pt x="57" y="109"/>
                      </a:lnTo>
                      <a:lnTo>
                        <a:pt x="57" y="108"/>
                      </a:lnTo>
                      <a:lnTo>
                        <a:pt x="56" y="108"/>
                      </a:lnTo>
                      <a:lnTo>
                        <a:pt x="56" y="109"/>
                      </a:lnTo>
                      <a:lnTo>
                        <a:pt x="55" y="110"/>
                      </a:lnTo>
                      <a:lnTo>
                        <a:pt x="53" y="110"/>
                      </a:lnTo>
                      <a:lnTo>
                        <a:pt x="53" y="109"/>
                      </a:lnTo>
                      <a:lnTo>
                        <a:pt x="53" y="108"/>
                      </a:lnTo>
                      <a:lnTo>
                        <a:pt x="53" y="106"/>
                      </a:lnTo>
                      <a:lnTo>
                        <a:pt x="53" y="105"/>
                      </a:lnTo>
                      <a:lnTo>
                        <a:pt x="55" y="105"/>
                      </a:lnTo>
                      <a:lnTo>
                        <a:pt x="53" y="105"/>
                      </a:lnTo>
                      <a:lnTo>
                        <a:pt x="52" y="105"/>
                      </a:lnTo>
                      <a:lnTo>
                        <a:pt x="51" y="105"/>
                      </a:lnTo>
                      <a:lnTo>
                        <a:pt x="50" y="104"/>
                      </a:lnTo>
                      <a:lnTo>
                        <a:pt x="50" y="103"/>
                      </a:lnTo>
                      <a:lnTo>
                        <a:pt x="51" y="102"/>
                      </a:lnTo>
                      <a:lnTo>
                        <a:pt x="51" y="101"/>
                      </a:lnTo>
                      <a:lnTo>
                        <a:pt x="50" y="102"/>
                      </a:lnTo>
                      <a:lnTo>
                        <a:pt x="50" y="103"/>
                      </a:lnTo>
                      <a:lnTo>
                        <a:pt x="49" y="103"/>
                      </a:lnTo>
                      <a:lnTo>
                        <a:pt x="49" y="102"/>
                      </a:lnTo>
                      <a:lnTo>
                        <a:pt x="48" y="102"/>
                      </a:lnTo>
                      <a:lnTo>
                        <a:pt x="48" y="101"/>
                      </a:lnTo>
                      <a:lnTo>
                        <a:pt x="46" y="102"/>
                      </a:lnTo>
                      <a:lnTo>
                        <a:pt x="45" y="103"/>
                      </a:lnTo>
                      <a:lnTo>
                        <a:pt x="44" y="103"/>
                      </a:lnTo>
                      <a:lnTo>
                        <a:pt x="44" y="102"/>
                      </a:lnTo>
                      <a:lnTo>
                        <a:pt x="45" y="101"/>
                      </a:lnTo>
                      <a:lnTo>
                        <a:pt x="46" y="99"/>
                      </a:lnTo>
                      <a:lnTo>
                        <a:pt x="46" y="98"/>
                      </a:lnTo>
                      <a:lnTo>
                        <a:pt x="46" y="96"/>
                      </a:lnTo>
                      <a:lnTo>
                        <a:pt x="48" y="96"/>
                      </a:lnTo>
                      <a:lnTo>
                        <a:pt x="48" y="95"/>
                      </a:lnTo>
                      <a:lnTo>
                        <a:pt x="49" y="95"/>
                      </a:lnTo>
                      <a:lnTo>
                        <a:pt x="49" y="94"/>
                      </a:lnTo>
                      <a:lnTo>
                        <a:pt x="48" y="94"/>
                      </a:lnTo>
                      <a:lnTo>
                        <a:pt x="48" y="95"/>
                      </a:lnTo>
                      <a:lnTo>
                        <a:pt x="48" y="94"/>
                      </a:lnTo>
                      <a:lnTo>
                        <a:pt x="46" y="92"/>
                      </a:lnTo>
                      <a:lnTo>
                        <a:pt x="45" y="92"/>
                      </a:lnTo>
                      <a:lnTo>
                        <a:pt x="45" y="94"/>
                      </a:lnTo>
                      <a:lnTo>
                        <a:pt x="46" y="94"/>
                      </a:lnTo>
                      <a:lnTo>
                        <a:pt x="45" y="95"/>
                      </a:lnTo>
                      <a:lnTo>
                        <a:pt x="44" y="96"/>
                      </a:lnTo>
                      <a:lnTo>
                        <a:pt x="43" y="95"/>
                      </a:lnTo>
                      <a:lnTo>
                        <a:pt x="43" y="94"/>
                      </a:lnTo>
                      <a:lnTo>
                        <a:pt x="43" y="92"/>
                      </a:lnTo>
                      <a:lnTo>
                        <a:pt x="44" y="91"/>
                      </a:lnTo>
                      <a:lnTo>
                        <a:pt x="45" y="90"/>
                      </a:lnTo>
                      <a:lnTo>
                        <a:pt x="44" y="89"/>
                      </a:lnTo>
                      <a:lnTo>
                        <a:pt x="44" y="90"/>
                      </a:lnTo>
                      <a:lnTo>
                        <a:pt x="43" y="91"/>
                      </a:lnTo>
                      <a:lnTo>
                        <a:pt x="42" y="92"/>
                      </a:lnTo>
                      <a:lnTo>
                        <a:pt x="41" y="92"/>
                      </a:lnTo>
                      <a:lnTo>
                        <a:pt x="41" y="91"/>
                      </a:lnTo>
                      <a:lnTo>
                        <a:pt x="39" y="91"/>
                      </a:lnTo>
                      <a:lnTo>
                        <a:pt x="38" y="90"/>
                      </a:lnTo>
                      <a:lnTo>
                        <a:pt x="37" y="89"/>
                      </a:lnTo>
                      <a:lnTo>
                        <a:pt x="36" y="88"/>
                      </a:lnTo>
                      <a:lnTo>
                        <a:pt x="35" y="88"/>
                      </a:lnTo>
                      <a:lnTo>
                        <a:pt x="34" y="87"/>
                      </a:lnTo>
                      <a:lnTo>
                        <a:pt x="33" y="87"/>
                      </a:lnTo>
                      <a:lnTo>
                        <a:pt x="33" y="85"/>
                      </a:lnTo>
                      <a:lnTo>
                        <a:pt x="34" y="84"/>
                      </a:lnTo>
                      <a:lnTo>
                        <a:pt x="35" y="84"/>
                      </a:lnTo>
                      <a:lnTo>
                        <a:pt x="34" y="84"/>
                      </a:lnTo>
                      <a:lnTo>
                        <a:pt x="34" y="83"/>
                      </a:lnTo>
                      <a:lnTo>
                        <a:pt x="34" y="84"/>
                      </a:lnTo>
                      <a:lnTo>
                        <a:pt x="33" y="84"/>
                      </a:lnTo>
                      <a:lnTo>
                        <a:pt x="33" y="83"/>
                      </a:lnTo>
                      <a:lnTo>
                        <a:pt x="34" y="83"/>
                      </a:lnTo>
                      <a:lnTo>
                        <a:pt x="34" y="82"/>
                      </a:lnTo>
                      <a:lnTo>
                        <a:pt x="35" y="81"/>
                      </a:lnTo>
                      <a:lnTo>
                        <a:pt x="34" y="81"/>
                      </a:lnTo>
                      <a:lnTo>
                        <a:pt x="34" y="82"/>
                      </a:lnTo>
                      <a:lnTo>
                        <a:pt x="33" y="82"/>
                      </a:lnTo>
                      <a:lnTo>
                        <a:pt x="33" y="83"/>
                      </a:lnTo>
                      <a:lnTo>
                        <a:pt x="31" y="83"/>
                      </a:lnTo>
                      <a:lnTo>
                        <a:pt x="31" y="84"/>
                      </a:lnTo>
                      <a:lnTo>
                        <a:pt x="31" y="85"/>
                      </a:lnTo>
                      <a:lnTo>
                        <a:pt x="30" y="85"/>
                      </a:lnTo>
                      <a:lnTo>
                        <a:pt x="29" y="85"/>
                      </a:lnTo>
                      <a:lnTo>
                        <a:pt x="29" y="84"/>
                      </a:lnTo>
                      <a:lnTo>
                        <a:pt x="29" y="83"/>
                      </a:lnTo>
                      <a:lnTo>
                        <a:pt x="30" y="83"/>
                      </a:lnTo>
                      <a:lnTo>
                        <a:pt x="30" y="82"/>
                      </a:lnTo>
                      <a:lnTo>
                        <a:pt x="29" y="82"/>
                      </a:lnTo>
                      <a:lnTo>
                        <a:pt x="29" y="83"/>
                      </a:lnTo>
                      <a:lnTo>
                        <a:pt x="28" y="84"/>
                      </a:lnTo>
                      <a:lnTo>
                        <a:pt x="27" y="84"/>
                      </a:lnTo>
                      <a:lnTo>
                        <a:pt x="27" y="83"/>
                      </a:lnTo>
                      <a:lnTo>
                        <a:pt x="27" y="82"/>
                      </a:lnTo>
                      <a:lnTo>
                        <a:pt x="26" y="82"/>
                      </a:lnTo>
                      <a:lnTo>
                        <a:pt x="23" y="80"/>
                      </a:lnTo>
                      <a:lnTo>
                        <a:pt x="22" y="80"/>
                      </a:lnTo>
                      <a:lnTo>
                        <a:pt x="21" y="80"/>
                      </a:lnTo>
                      <a:lnTo>
                        <a:pt x="20" y="81"/>
                      </a:lnTo>
                      <a:lnTo>
                        <a:pt x="20" y="80"/>
                      </a:lnTo>
                      <a:lnTo>
                        <a:pt x="20" y="78"/>
                      </a:lnTo>
                      <a:lnTo>
                        <a:pt x="20" y="77"/>
                      </a:lnTo>
                      <a:lnTo>
                        <a:pt x="20" y="76"/>
                      </a:lnTo>
                      <a:lnTo>
                        <a:pt x="17" y="75"/>
                      </a:lnTo>
                      <a:lnTo>
                        <a:pt x="17" y="74"/>
                      </a:lnTo>
                      <a:lnTo>
                        <a:pt x="17" y="73"/>
                      </a:lnTo>
                      <a:lnTo>
                        <a:pt x="17" y="71"/>
                      </a:lnTo>
                      <a:lnTo>
                        <a:pt x="16" y="71"/>
                      </a:lnTo>
                      <a:lnTo>
                        <a:pt x="16" y="73"/>
                      </a:lnTo>
                      <a:lnTo>
                        <a:pt x="15" y="73"/>
                      </a:lnTo>
                      <a:lnTo>
                        <a:pt x="14" y="73"/>
                      </a:lnTo>
                      <a:lnTo>
                        <a:pt x="14" y="71"/>
                      </a:lnTo>
                      <a:lnTo>
                        <a:pt x="14" y="73"/>
                      </a:lnTo>
                      <a:lnTo>
                        <a:pt x="13" y="71"/>
                      </a:lnTo>
                      <a:lnTo>
                        <a:pt x="13" y="70"/>
                      </a:lnTo>
                      <a:lnTo>
                        <a:pt x="14" y="69"/>
                      </a:lnTo>
                      <a:lnTo>
                        <a:pt x="15" y="68"/>
                      </a:lnTo>
                      <a:lnTo>
                        <a:pt x="14" y="68"/>
                      </a:lnTo>
                      <a:lnTo>
                        <a:pt x="14" y="67"/>
                      </a:lnTo>
                      <a:lnTo>
                        <a:pt x="15" y="66"/>
                      </a:lnTo>
                      <a:lnTo>
                        <a:pt x="15" y="64"/>
                      </a:lnTo>
                      <a:lnTo>
                        <a:pt x="15" y="66"/>
                      </a:lnTo>
                      <a:lnTo>
                        <a:pt x="15" y="64"/>
                      </a:lnTo>
                      <a:lnTo>
                        <a:pt x="16" y="64"/>
                      </a:lnTo>
                      <a:lnTo>
                        <a:pt x="16" y="62"/>
                      </a:lnTo>
                      <a:lnTo>
                        <a:pt x="17" y="61"/>
                      </a:lnTo>
                      <a:lnTo>
                        <a:pt x="19" y="60"/>
                      </a:lnTo>
                      <a:lnTo>
                        <a:pt x="17" y="60"/>
                      </a:lnTo>
                      <a:lnTo>
                        <a:pt x="19" y="59"/>
                      </a:lnTo>
                      <a:lnTo>
                        <a:pt x="17" y="59"/>
                      </a:lnTo>
                      <a:lnTo>
                        <a:pt x="17" y="60"/>
                      </a:lnTo>
                      <a:lnTo>
                        <a:pt x="16" y="61"/>
                      </a:lnTo>
                      <a:lnTo>
                        <a:pt x="15" y="62"/>
                      </a:lnTo>
                      <a:lnTo>
                        <a:pt x="15" y="63"/>
                      </a:lnTo>
                      <a:lnTo>
                        <a:pt x="15" y="64"/>
                      </a:lnTo>
                      <a:lnTo>
                        <a:pt x="14" y="64"/>
                      </a:lnTo>
                      <a:lnTo>
                        <a:pt x="14" y="66"/>
                      </a:lnTo>
                      <a:lnTo>
                        <a:pt x="13" y="67"/>
                      </a:lnTo>
                      <a:lnTo>
                        <a:pt x="12" y="67"/>
                      </a:lnTo>
                      <a:lnTo>
                        <a:pt x="12" y="66"/>
                      </a:lnTo>
                      <a:lnTo>
                        <a:pt x="13" y="66"/>
                      </a:lnTo>
                      <a:lnTo>
                        <a:pt x="12" y="66"/>
                      </a:lnTo>
                      <a:lnTo>
                        <a:pt x="12" y="63"/>
                      </a:lnTo>
                      <a:lnTo>
                        <a:pt x="13" y="63"/>
                      </a:lnTo>
                      <a:lnTo>
                        <a:pt x="13" y="62"/>
                      </a:lnTo>
                      <a:lnTo>
                        <a:pt x="14" y="62"/>
                      </a:lnTo>
                      <a:lnTo>
                        <a:pt x="14" y="61"/>
                      </a:lnTo>
                      <a:lnTo>
                        <a:pt x="13" y="61"/>
                      </a:lnTo>
                      <a:lnTo>
                        <a:pt x="13" y="62"/>
                      </a:lnTo>
                      <a:lnTo>
                        <a:pt x="12" y="63"/>
                      </a:lnTo>
                      <a:lnTo>
                        <a:pt x="10" y="63"/>
                      </a:lnTo>
                      <a:lnTo>
                        <a:pt x="10" y="64"/>
                      </a:lnTo>
                      <a:lnTo>
                        <a:pt x="10" y="66"/>
                      </a:lnTo>
                      <a:lnTo>
                        <a:pt x="9" y="64"/>
                      </a:lnTo>
                      <a:lnTo>
                        <a:pt x="9" y="63"/>
                      </a:lnTo>
                      <a:lnTo>
                        <a:pt x="9" y="62"/>
                      </a:lnTo>
                      <a:lnTo>
                        <a:pt x="10" y="62"/>
                      </a:lnTo>
                      <a:lnTo>
                        <a:pt x="10" y="61"/>
                      </a:lnTo>
                      <a:lnTo>
                        <a:pt x="10" y="60"/>
                      </a:lnTo>
                      <a:lnTo>
                        <a:pt x="9" y="60"/>
                      </a:lnTo>
                      <a:lnTo>
                        <a:pt x="9" y="61"/>
                      </a:lnTo>
                      <a:lnTo>
                        <a:pt x="8" y="61"/>
                      </a:lnTo>
                      <a:lnTo>
                        <a:pt x="8" y="60"/>
                      </a:lnTo>
                      <a:lnTo>
                        <a:pt x="9" y="60"/>
                      </a:lnTo>
                      <a:lnTo>
                        <a:pt x="8" y="60"/>
                      </a:lnTo>
                      <a:lnTo>
                        <a:pt x="8" y="59"/>
                      </a:lnTo>
                      <a:lnTo>
                        <a:pt x="9" y="59"/>
                      </a:lnTo>
                      <a:lnTo>
                        <a:pt x="8" y="59"/>
                      </a:lnTo>
                      <a:lnTo>
                        <a:pt x="8" y="57"/>
                      </a:lnTo>
                      <a:lnTo>
                        <a:pt x="9" y="57"/>
                      </a:lnTo>
                      <a:lnTo>
                        <a:pt x="10" y="56"/>
                      </a:lnTo>
                      <a:lnTo>
                        <a:pt x="12" y="56"/>
                      </a:lnTo>
                      <a:lnTo>
                        <a:pt x="12" y="55"/>
                      </a:lnTo>
                      <a:lnTo>
                        <a:pt x="13" y="54"/>
                      </a:lnTo>
                      <a:lnTo>
                        <a:pt x="13" y="53"/>
                      </a:lnTo>
                      <a:lnTo>
                        <a:pt x="13" y="54"/>
                      </a:lnTo>
                      <a:lnTo>
                        <a:pt x="12" y="54"/>
                      </a:lnTo>
                      <a:lnTo>
                        <a:pt x="10" y="55"/>
                      </a:lnTo>
                      <a:lnTo>
                        <a:pt x="10" y="56"/>
                      </a:lnTo>
                      <a:lnTo>
                        <a:pt x="9" y="56"/>
                      </a:lnTo>
                      <a:lnTo>
                        <a:pt x="8" y="56"/>
                      </a:lnTo>
                      <a:lnTo>
                        <a:pt x="9" y="55"/>
                      </a:lnTo>
                      <a:lnTo>
                        <a:pt x="8" y="55"/>
                      </a:lnTo>
                      <a:lnTo>
                        <a:pt x="7" y="56"/>
                      </a:lnTo>
                      <a:lnTo>
                        <a:pt x="6" y="56"/>
                      </a:lnTo>
                      <a:lnTo>
                        <a:pt x="6" y="55"/>
                      </a:lnTo>
                      <a:lnTo>
                        <a:pt x="5" y="55"/>
                      </a:lnTo>
                      <a:lnTo>
                        <a:pt x="6" y="55"/>
                      </a:lnTo>
                      <a:lnTo>
                        <a:pt x="6" y="56"/>
                      </a:lnTo>
                      <a:lnTo>
                        <a:pt x="5" y="56"/>
                      </a:lnTo>
                      <a:lnTo>
                        <a:pt x="3" y="56"/>
                      </a:lnTo>
                      <a:lnTo>
                        <a:pt x="5" y="57"/>
                      </a:lnTo>
                      <a:lnTo>
                        <a:pt x="5" y="59"/>
                      </a:lnTo>
                      <a:lnTo>
                        <a:pt x="3" y="60"/>
                      </a:lnTo>
                      <a:lnTo>
                        <a:pt x="3" y="61"/>
                      </a:lnTo>
                      <a:lnTo>
                        <a:pt x="3" y="62"/>
                      </a:lnTo>
                      <a:lnTo>
                        <a:pt x="5" y="62"/>
                      </a:lnTo>
                      <a:lnTo>
                        <a:pt x="3" y="63"/>
                      </a:lnTo>
                      <a:lnTo>
                        <a:pt x="2" y="62"/>
                      </a:lnTo>
                      <a:lnTo>
                        <a:pt x="1" y="62"/>
                      </a:lnTo>
                      <a:lnTo>
                        <a:pt x="0" y="61"/>
                      </a:lnTo>
                      <a:lnTo>
                        <a:pt x="0" y="60"/>
                      </a:lnTo>
                      <a:lnTo>
                        <a:pt x="0" y="59"/>
                      </a:lnTo>
                      <a:lnTo>
                        <a:pt x="1" y="59"/>
                      </a:lnTo>
                      <a:lnTo>
                        <a:pt x="1" y="57"/>
                      </a:lnTo>
                      <a:lnTo>
                        <a:pt x="2" y="57"/>
                      </a:lnTo>
                      <a:lnTo>
                        <a:pt x="1" y="57"/>
                      </a:lnTo>
                      <a:lnTo>
                        <a:pt x="1" y="56"/>
                      </a:lnTo>
                      <a:lnTo>
                        <a:pt x="2" y="56"/>
                      </a:lnTo>
                      <a:lnTo>
                        <a:pt x="3" y="54"/>
                      </a:lnTo>
                      <a:lnTo>
                        <a:pt x="7" y="48"/>
                      </a:lnTo>
                      <a:lnTo>
                        <a:pt x="7" y="46"/>
                      </a:lnTo>
                      <a:lnTo>
                        <a:pt x="8" y="45"/>
                      </a:lnTo>
                      <a:lnTo>
                        <a:pt x="10" y="40"/>
                      </a:lnTo>
                      <a:lnTo>
                        <a:pt x="12" y="39"/>
                      </a:lnTo>
                      <a:lnTo>
                        <a:pt x="13" y="39"/>
                      </a:lnTo>
                      <a:lnTo>
                        <a:pt x="16" y="39"/>
                      </a:lnTo>
                      <a:lnTo>
                        <a:pt x="17" y="39"/>
                      </a:lnTo>
                      <a:lnTo>
                        <a:pt x="20" y="38"/>
                      </a:lnTo>
                      <a:lnTo>
                        <a:pt x="23" y="35"/>
                      </a:lnTo>
                      <a:lnTo>
                        <a:pt x="24" y="34"/>
                      </a:lnTo>
                      <a:lnTo>
                        <a:pt x="28" y="34"/>
                      </a:lnTo>
                      <a:lnTo>
                        <a:pt x="29" y="34"/>
                      </a:lnTo>
                      <a:lnTo>
                        <a:pt x="30" y="34"/>
                      </a:lnTo>
                      <a:lnTo>
                        <a:pt x="31" y="34"/>
                      </a:lnTo>
                      <a:lnTo>
                        <a:pt x="34" y="34"/>
                      </a:lnTo>
                      <a:lnTo>
                        <a:pt x="35" y="33"/>
                      </a:lnTo>
                      <a:lnTo>
                        <a:pt x="36" y="33"/>
                      </a:lnTo>
                      <a:lnTo>
                        <a:pt x="37" y="33"/>
                      </a:lnTo>
                      <a:lnTo>
                        <a:pt x="38" y="32"/>
                      </a:lnTo>
                      <a:lnTo>
                        <a:pt x="37" y="31"/>
                      </a:lnTo>
                      <a:lnTo>
                        <a:pt x="38" y="31"/>
                      </a:lnTo>
                      <a:lnTo>
                        <a:pt x="38" y="32"/>
                      </a:lnTo>
                      <a:lnTo>
                        <a:pt x="39" y="32"/>
                      </a:lnTo>
                      <a:lnTo>
                        <a:pt x="39" y="33"/>
                      </a:lnTo>
                      <a:lnTo>
                        <a:pt x="41" y="33"/>
                      </a:lnTo>
                      <a:lnTo>
                        <a:pt x="42" y="32"/>
                      </a:lnTo>
                      <a:lnTo>
                        <a:pt x="43" y="32"/>
                      </a:lnTo>
                      <a:lnTo>
                        <a:pt x="43" y="31"/>
                      </a:lnTo>
                      <a:lnTo>
                        <a:pt x="43" y="29"/>
                      </a:lnTo>
                      <a:lnTo>
                        <a:pt x="42" y="26"/>
                      </a:lnTo>
                      <a:lnTo>
                        <a:pt x="42" y="25"/>
                      </a:lnTo>
                      <a:lnTo>
                        <a:pt x="42" y="22"/>
                      </a:lnTo>
                      <a:lnTo>
                        <a:pt x="42" y="21"/>
                      </a:lnTo>
                      <a:lnTo>
                        <a:pt x="41" y="21"/>
                      </a:lnTo>
                      <a:lnTo>
                        <a:pt x="39" y="21"/>
                      </a:lnTo>
                      <a:lnTo>
                        <a:pt x="38" y="20"/>
                      </a:lnTo>
                      <a:lnTo>
                        <a:pt x="37" y="19"/>
                      </a:lnTo>
                      <a:lnTo>
                        <a:pt x="36" y="18"/>
                      </a:lnTo>
                      <a:lnTo>
                        <a:pt x="35" y="18"/>
                      </a:lnTo>
                      <a:lnTo>
                        <a:pt x="35" y="17"/>
                      </a:lnTo>
                      <a:lnTo>
                        <a:pt x="35" y="15"/>
                      </a:lnTo>
                      <a:lnTo>
                        <a:pt x="37" y="14"/>
                      </a:lnTo>
                      <a:lnTo>
                        <a:pt x="38" y="14"/>
                      </a:lnTo>
                      <a:lnTo>
                        <a:pt x="38" y="13"/>
                      </a:lnTo>
                      <a:lnTo>
                        <a:pt x="39" y="13"/>
                      </a:lnTo>
                      <a:lnTo>
                        <a:pt x="39" y="14"/>
                      </a:lnTo>
                      <a:lnTo>
                        <a:pt x="42" y="14"/>
                      </a:lnTo>
                      <a:lnTo>
                        <a:pt x="43" y="14"/>
                      </a:lnTo>
                      <a:lnTo>
                        <a:pt x="43" y="13"/>
                      </a:lnTo>
                      <a:lnTo>
                        <a:pt x="43" y="12"/>
                      </a:lnTo>
                      <a:lnTo>
                        <a:pt x="43" y="11"/>
                      </a:lnTo>
                      <a:lnTo>
                        <a:pt x="43" y="10"/>
                      </a:lnTo>
                      <a:lnTo>
                        <a:pt x="44" y="8"/>
                      </a:lnTo>
                      <a:lnTo>
                        <a:pt x="44" y="7"/>
                      </a:lnTo>
                      <a:lnTo>
                        <a:pt x="43" y="6"/>
                      </a:lnTo>
                      <a:lnTo>
                        <a:pt x="42" y="5"/>
                      </a:lnTo>
                      <a:lnTo>
                        <a:pt x="42" y="4"/>
                      </a:lnTo>
                      <a:lnTo>
                        <a:pt x="42" y="3"/>
                      </a:lnTo>
                      <a:lnTo>
                        <a:pt x="42" y="0"/>
                      </a:lnTo>
                      <a:lnTo>
                        <a:pt x="52" y="0"/>
                      </a:lnTo>
                      <a:lnTo>
                        <a:pt x="53" y="1"/>
                      </a:lnTo>
                      <a:lnTo>
                        <a:pt x="55" y="1"/>
                      </a:lnTo>
                      <a:lnTo>
                        <a:pt x="56" y="1"/>
                      </a:lnTo>
                      <a:lnTo>
                        <a:pt x="57" y="1"/>
                      </a:lnTo>
                      <a:lnTo>
                        <a:pt x="58" y="1"/>
                      </a:lnTo>
                      <a:lnTo>
                        <a:pt x="59" y="1"/>
                      </a:lnTo>
                      <a:lnTo>
                        <a:pt x="60" y="1"/>
                      </a:lnTo>
                      <a:lnTo>
                        <a:pt x="62" y="1"/>
                      </a:lnTo>
                      <a:lnTo>
                        <a:pt x="63" y="1"/>
                      </a:lnTo>
                      <a:lnTo>
                        <a:pt x="63" y="3"/>
                      </a:lnTo>
                      <a:lnTo>
                        <a:pt x="63" y="4"/>
                      </a:lnTo>
                      <a:lnTo>
                        <a:pt x="63" y="5"/>
                      </a:lnTo>
                      <a:lnTo>
                        <a:pt x="63" y="6"/>
                      </a:lnTo>
                      <a:lnTo>
                        <a:pt x="64" y="7"/>
                      </a:lnTo>
                      <a:lnTo>
                        <a:pt x="65" y="7"/>
                      </a:lnTo>
                      <a:lnTo>
                        <a:pt x="66" y="6"/>
                      </a:lnTo>
                      <a:lnTo>
                        <a:pt x="66" y="5"/>
                      </a:lnTo>
                      <a:lnTo>
                        <a:pt x="67" y="5"/>
                      </a:lnTo>
                      <a:lnTo>
                        <a:pt x="69" y="5"/>
                      </a:lnTo>
                      <a:lnTo>
                        <a:pt x="70" y="6"/>
                      </a:lnTo>
                      <a:lnTo>
                        <a:pt x="70" y="7"/>
                      </a:lnTo>
                      <a:lnTo>
                        <a:pt x="71" y="7"/>
                      </a:lnTo>
                      <a:lnTo>
                        <a:pt x="72" y="7"/>
                      </a:lnTo>
                      <a:lnTo>
                        <a:pt x="73" y="8"/>
                      </a:lnTo>
                      <a:lnTo>
                        <a:pt x="76" y="7"/>
                      </a:lnTo>
                      <a:lnTo>
                        <a:pt x="77" y="8"/>
                      </a:lnTo>
                      <a:lnTo>
                        <a:pt x="78" y="10"/>
                      </a:lnTo>
                      <a:lnTo>
                        <a:pt x="79" y="10"/>
                      </a:lnTo>
                      <a:lnTo>
                        <a:pt x="80" y="10"/>
                      </a:lnTo>
                      <a:lnTo>
                        <a:pt x="81" y="10"/>
                      </a:lnTo>
                      <a:lnTo>
                        <a:pt x="83" y="10"/>
                      </a:lnTo>
                      <a:lnTo>
                        <a:pt x="84" y="10"/>
                      </a:lnTo>
                      <a:lnTo>
                        <a:pt x="85" y="12"/>
                      </a:lnTo>
                      <a:lnTo>
                        <a:pt x="86" y="12"/>
                      </a:lnTo>
                      <a:lnTo>
                        <a:pt x="91" y="11"/>
                      </a:lnTo>
                      <a:lnTo>
                        <a:pt x="92" y="10"/>
                      </a:lnTo>
                      <a:lnTo>
                        <a:pt x="93" y="8"/>
                      </a:lnTo>
                      <a:lnTo>
                        <a:pt x="94" y="8"/>
                      </a:lnTo>
                      <a:lnTo>
                        <a:pt x="97" y="8"/>
                      </a:lnTo>
                      <a:lnTo>
                        <a:pt x="98" y="8"/>
                      </a:lnTo>
                      <a:lnTo>
                        <a:pt x="99" y="8"/>
                      </a:lnTo>
                      <a:lnTo>
                        <a:pt x="100" y="8"/>
                      </a:lnTo>
                      <a:lnTo>
                        <a:pt x="101" y="8"/>
                      </a:lnTo>
                      <a:lnTo>
                        <a:pt x="102" y="8"/>
                      </a:lnTo>
                      <a:lnTo>
                        <a:pt x="105" y="8"/>
                      </a:lnTo>
                      <a:lnTo>
                        <a:pt x="106" y="8"/>
                      </a:lnTo>
                      <a:lnTo>
                        <a:pt x="108" y="7"/>
                      </a:lnTo>
                      <a:lnTo>
                        <a:pt x="109" y="7"/>
                      </a:lnTo>
                      <a:lnTo>
                        <a:pt x="113" y="7"/>
                      </a:lnTo>
                      <a:lnTo>
                        <a:pt x="114" y="7"/>
                      </a:lnTo>
                      <a:lnTo>
                        <a:pt x="115" y="8"/>
                      </a:lnTo>
                      <a:lnTo>
                        <a:pt x="116" y="8"/>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1" name="Freeform 92">
                  <a:extLst>
                    <a:ext uri="{FF2B5EF4-FFF2-40B4-BE49-F238E27FC236}">
                      <a16:creationId xmlns:a16="http://schemas.microsoft.com/office/drawing/2014/main" id="{2E7240AE-0D0D-40BF-8130-BBE757B88E57}"/>
                    </a:ext>
                  </a:extLst>
                </p:cNvPr>
                <p:cNvSpPr>
                  <a:spLocks/>
                </p:cNvSpPr>
                <p:nvPr/>
              </p:nvSpPr>
              <p:spPr bwMode="auto">
                <a:xfrm>
                  <a:off x="5644963" y="3333471"/>
                  <a:ext cx="102765" cy="28125"/>
                </a:xfrm>
                <a:custGeom>
                  <a:avLst/>
                  <a:gdLst>
                    <a:gd name="T0" fmla="*/ 1 w 95"/>
                    <a:gd name="T1" fmla="*/ 23 h 26"/>
                    <a:gd name="T2" fmla="*/ 0 w 95"/>
                    <a:gd name="T3" fmla="*/ 19 h 26"/>
                    <a:gd name="T4" fmla="*/ 1 w 95"/>
                    <a:gd name="T5" fmla="*/ 15 h 26"/>
                    <a:gd name="T6" fmla="*/ 5 w 95"/>
                    <a:gd name="T7" fmla="*/ 12 h 26"/>
                    <a:gd name="T8" fmla="*/ 7 w 95"/>
                    <a:gd name="T9" fmla="*/ 13 h 26"/>
                    <a:gd name="T10" fmla="*/ 8 w 95"/>
                    <a:gd name="T11" fmla="*/ 18 h 26"/>
                    <a:gd name="T12" fmla="*/ 13 w 95"/>
                    <a:gd name="T13" fmla="*/ 19 h 26"/>
                    <a:gd name="T14" fmla="*/ 14 w 95"/>
                    <a:gd name="T15" fmla="*/ 21 h 26"/>
                    <a:gd name="T16" fmla="*/ 12 w 95"/>
                    <a:gd name="T17" fmla="*/ 19 h 26"/>
                    <a:gd name="T18" fmla="*/ 15 w 95"/>
                    <a:gd name="T19" fmla="*/ 19 h 26"/>
                    <a:gd name="T20" fmla="*/ 19 w 95"/>
                    <a:gd name="T21" fmla="*/ 19 h 26"/>
                    <a:gd name="T22" fmla="*/ 21 w 95"/>
                    <a:gd name="T23" fmla="*/ 19 h 26"/>
                    <a:gd name="T24" fmla="*/ 20 w 95"/>
                    <a:gd name="T25" fmla="*/ 18 h 26"/>
                    <a:gd name="T26" fmla="*/ 19 w 95"/>
                    <a:gd name="T27" fmla="*/ 15 h 26"/>
                    <a:gd name="T28" fmla="*/ 27 w 95"/>
                    <a:gd name="T29" fmla="*/ 14 h 26"/>
                    <a:gd name="T30" fmla="*/ 30 w 95"/>
                    <a:gd name="T31" fmla="*/ 13 h 26"/>
                    <a:gd name="T32" fmla="*/ 35 w 95"/>
                    <a:gd name="T33" fmla="*/ 12 h 26"/>
                    <a:gd name="T34" fmla="*/ 38 w 95"/>
                    <a:gd name="T35" fmla="*/ 12 h 26"/>
                    <a:gd name="T36" fmla="*/ 41 w 95"/>
                    <a:gd name="T37" fmla="*/ 11 h 26"/>
                    <a:gd name="T38" fmla="*/ 43 w 95"/>
                    <a:gd name="T39" fmla="*/ 11 h 26"/>
                    <a:gd name="T40" fmla="*/ 48 w 95"/>
                    <a:gd name="T41" fmla="*/ 12 h 26"/>
                    <a:gd name="T42" fmla="*/ 48 w 95"/>
                    <a:gd name="T43" fmla="*/ 12 h 26"/>
                    <a:gd name="T44" fmla="*/ 43 w 95"/>
                    <a:gd name="T45" fmla="*/ 11 h 26"/>
                    <a:gd name="T46" fmla="*/ 42 w 95"/>
                    <a:gd name="T47" fmla="*/ 11 h 26"/>
                    <a:gd name="T48" fmla="*/ 38 w 95"/>
                    <a:gd name="T49" fmla="*/ 11 h 26"/>
                    <a:gd name="T50" fmla="*/ 34 w 95"/>
                    <a:gd name="T51" fmla="*/ 12 h 26"/>
                    <a:gd name="T52" fmla="*/ 19 w 95"/>
                    <a:gd name="T53" fmla="*/ 15 h 26"/>
                    <a:gd name="T54" fmla="*/ 17 w 95"/>
                    <a:gd name="T55" fmla="*/ 15 h 26"/>
                    <a:gd name="T56" fmla="*/ 16 w 95"/>
                    <a:gd name="T57" fmla="*/ 15 h 26"/>
                    <a:gd name="T58" fmla="*/ 14 w 95"/>
                    <a:gd name="T59" fmla="*/ 16 h 26"/>
                    <a:gd name="T60" fmla="*/ 10 w 95"/>
                    <a:gd name="T61" fmla="*/ 14 h 26"/>
                    <a:gd name="T62" fmla="*/ 8 w 95"/>
                    <a:gd name="T63" fmla="*/ 12 h 26"/>
                    <a:gd name="T64" fmla="*/ 10 w 95"/>
                    <a:gd name="T65" fmla="*/ 8 h 26"/>
                    <a:gd name="T66" fmla="*/ 23 w 95"/>
                    <a:gd name="T67" fmla="*/ 8 h 26"/>
                    <a:gd name="T68" fmla="*/ 36 w 95"/>
                    <a:gd name="T69" fmla="*/ 8 h 26"/>
                    <a:gd name="T70" fmla="*/ 42 w 95"/>
                    <a:gd name="T71" fmla="*/ 6 h 26"/>
                    <a:gd name="T72" fmla="*/ 48 w 95"/>
                    <a:gd name="T73" fmla="*/ 1 h 26"/>
                    <a:gd name="T74" fmla="*/ 55 w 95"/>
                    <a:gd name="T75" fmla="*/ 0 h 26"/>
                    <a:gd name="T76" fmla="*/ 63 w 95"/>
                    <a:gd name="T77" fmla="*/ 4 h 26"/>
                    <a:gd name="T78" fmla="*/ 70 w 95"/>
                    <a:gd name="T79" fmla="*/ 5 h 26"/>
                    <a:gd name="T80" fmla="*/ 74 w 95"/>
                    <a:gd name="T81" fmla="*/ 9 h 26"/>
                    <a:gd name="T82" fmla="*/ 81 w 95"/>
                    <a:gd name="T83" fmla="*/ 11 h 26"/>
                    <a:gd name="T84" fmla="*/ 88 w 95"/>
                    <a:gd name="T85" fmla="*/ 8 h 26"/>
                    <a:gd name="T86" fmla="*/ 92 w 95"/>
                    <a:gd name="T87" fmla="*/ 8 h 26"/>
                    <a:gd name="T88" fmla="*/ 94 w 95"/>
                    <a:gd name="T89" fmla="*/ 11 h 26"/>
                    <a:gd name="T90" fmla="*/ 90 w 95"/>
                    <a:gd name="T91" fmla="*/ 16 h 26"/>
                    <a:gd name="T92" fmla="*/ 83 w 95"/>
                    <a:gd name="T93" fmla="*/ 19 h 26"/>
                    <a:gd name="T94" fmla="*/ 76 w 95"/>
                    <a:gd name="T95" fmla="*/ 18 h 26"/>
                    <a:gd name="T96" fmla="*/ 72 w 95"/>
                    <a:gd name="T97" fmla="*/ 16 h 26"/>
                    <a:gd name="T98" fmla="*/ 65 w 95"/>
                    <a:gd name="T99" fmla="*/ 14 h 26"/>
                    <a:gd name="T100" fmla="*/ 60 w 95"/>
                    <a:gd name="T101" fmla="*/ 12 h 26"/>
                    <a:gd name="T102" fmla="*/ 55 w 95"/>
                    <a:gd name="T103" fmla="*/ 8 h 26"/>
                    <a:gd name="T104" fmla="*/ 50 w 95"/>
                    <a:gd name="T105" fmla="*/ 13 h 26"/>
                    <a:gd name="T106" fmla="*/ 42 w 95"/>
                    <a:gd name="T107" fmla="*/ 14 h 26"/>
                    <a:gd name="T108" fmla="*/ 35 w 95"/>
                    <a:gd name="T109" fmla="*/ 16 h 26"/>
                    <a:gd name="T110" fmla="*/ 31 w 95"/>
                    <a:gd name="T111" fmla="*/ 22 h 26"/>
                    <a:gd name="T112" fmla="*/ 6 w 95"/>
                    <a:gd name="T113" fmla="*/ 22 h 26"/>
                    <a:gd name="T114" fmla="*/ 2 w 95"/>
                    <a:gd name="T11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5" h="26">
                      <a:moveTo>
                        <a:pt x="2" y="26"/>
                      </a:moveTo>
                      <a:lnTo>
                        <a:pt x="2" y="26"/>
                      </a:lnTo>
                      <a:lnTo>
                        <a:pt x="1" y="25"/>
                      </a:lnTo>
                      <a:lnTo>
                        <a:pt x="1" y="25"/>
                      </a:lnTo>
                      <a:lnTo>
                        <a:pt x="1" y="25"/>
                      </a:lnTo>
                      <a:lnTo>
                        <a:pt x="1" y="25"/>
                      </a:lnTo>
                      <a:lnTo>
                        <a:pt x="1" y="23"/>
                      </a:lnTo>
                      <a:lnTo>
                        <a:pt x="1" y="22"/>
                      </a:lnTo>
                      <a:lnTo>
                        <a:pt x="1" y="21"/>
                      </a:lnTo>
                      <a:lnTo>
                        <a:pt x="1" y="20"/>
                      </a:lnTo>
                      <a:lnTo>
                        <a:pt x="1" y="20"/>
                      </a:lnTo>
                      <a:lnTo>
                        <a:pt x="0" y="19"/>
                      </a:lnTo>
                      <a:lnTo>
                        <a:pt x="0" y="19"/>
                      </a:lnTo>
                      <a:lnTo>
                        <a:pt x="0" y="19"/>
                      </a:lnTo>
                      <a:lnTo>
                        <a:pt x="0" y="18"/>
                      </a:lnTo>
                      <a:lnTo>
                        <a:pt x="0" y="18"/>
                      </a:lnTo>
                      <a:lnTo>
                        <a:pt x="0" y="16"/>
                      </a:lnTo>
                      <a:lnTo>
                        <a:pt x="0" y="16"/>
                      </a:lnTo>
                      <a:lnTo>
                        <a:pt x="0" y="15"/>
                      </a:lnTo>
                      <a:lnTo>
                        <a:pt x="0" y="15"/>
                      </a:lnTo>
                      <a:lnTo>
                        <a:pt x="1" y="15"/>
                      </a:lnTo>
                      <a:lnTo>
                        <a:pt x="1" y="15"/>
                      </a:lnTo>
                      <a:lnTo>
                        <a:pt x="1" y="14"/>
                      </a:lnTo>
                      <a:lnTo>
                        <a:pt x="3" y="12"/>
                      </a:lnTo>
                      <a:lnTo>
                        <a:pt x="5" y="12"/>
                      </a:lnTo>
                      <a:lnTo>
                        <a:pt x="5" y="12"/>
                      </a:lnTo>
                      <a:lnTo>
                        <a:pt x="5" y="12"/>
                      </a:lnTo>
                      <a:lnTo>
                        <a:pt x="5" y="12"/>
                      </a:lnTo>
                      <a:lnTo>
                        <a:pt x="5" y="13"/>
                      </a:lnTo>
                      <a:lnTo>
                        <a:pt x="6" y="12"/>
                      </a:lnTo>
                      <a:lnTo>
                        <a:pt x="6" y="12"/>
                      </a:lnTo>
                      <a:lnTo>
                        <a:pt x="7" y="12"/>
                      </a:lnTo>
                      <a:lnTo>
                        <a:pt x="7" y="13"/>
                      </a:lnTo>
                      <a:lnTo>
                        <a:pt x="7" y="13"/>
                      </a:lnTo>
                      <a:lnTo>
                        <a:pt x="7" y="13"/>
                      </a:lnTo>
                      <a:lnTo>
                        <a:pt x="7" y="13"/>
                      </a:lnTo>
                      <a:lnTo>
                        <a:pt x="6" y="14"/>
                      </a:lnTo>
                      <a:lnTo>
                        <a:pt x="7" y="14"/>
                      </a:lnTo>
                      <a:lnTo>
                        <a:pt x="7" y="15"/>
                      </a:lnTo>
                      <a:lnTo>
                        <a:pt x="7" y="16"/>
                      </a:lnTo>
                      <a:lnTo>
                        <a:pt x="7" y="16"/>
                      </a:lnTo>
                      <a:lnTo>
                        <a:pt x="8" y="18"/>
                      </a:lnTo>
                      <a:lnTo>
                        <a:pt x="8" y="19"/>
                      </a:lnTo>
                      <a:lnTo>
                        <a:pt x="10" y="19"/>
                      </a:lnTo>
                      <a:lnTo>
                        <a:pt x="10" y="19"/>
                      </a:lnTo>
                      <a:lnTo>
                        <a:pt x="12" y="19"/>
                      </a:lnTo>
                      <a:lnTo>
                        <a:pt x="12" y="19"/>
                      </a:lnTo>
                      <a:lnTo>
                        <a:pt x="12" y="19"/>
                      </a:lnTo>
                      <a:lnTo>
                        <a:pt x="13" y="19"/>
                      </a:lnTo>
                      <a:lnTo>
                        <a:pt x="13" y="19"/>
                      </a:lnTo>
                      <a:lnTo>
                        <a:pt x="13" y="20"/>
                      </a:lnTo>
                      <a:lnTo>
                        <a:pt x="13" y="20"/>
                      </a:lnTo>
                      <a:lnTo>
                        <a:pt x="13" y="21"/>
                      </a:lnTo>
                      <a:lnTo>
                        <a:pt x="14" y="20"/>
                      </a:lnTo>
                      <a:lnTo>
                        <a:pt x="14" y="20"/>
                      </a:lnTo>
                      <a:lnTo>
                        <a:pt x="14" y="21"/>
                      </a:lnTo>
                      <a:lnTo>
                        <a:pt x="14" y="20"/>
                      </a:lnTo>
                      <a:lnTo>
                        <a:pt x="13" y="20"/>
                      </a:lnTo>
                      <a:lnTo>
                        <a:pt x="13" y="20"/>
                      </a:lnTo>
                      <a:lnTo>
                        <a:pt x="13" y="19"/>
                      </a:lnTo>
                      <a:lnTo>
                        <a:pt x="13" y="19"/>
                      </a:lnTo>
                      <a:lnTo>
                        <a:pt x="13" y="19"/>
                      </a:lnTo>
                      <a:lnTo>
                        <a:pt x="12" y="19"/>
                      </a:lnTo>
                      <a:lnTo>
                        <a:pt x="12" y="19"/>
                      </a:lnTo>
                      <a:lnTo>
                        <a:pt x="13" y="19"/>
                      </a:lnTo>
                      <a:lnTo>
                        <a:pt x="14" y="19"/>
                      </a:lnTo>
                      <a:lnTo>
                        <a:pt x="14" y="19"/>
                      </a:lnTo>
                      <a:lnTo>
                        <a:pt x="14" y="19"/>
                      </a:lnTo>
                      <a:lnTo>
                        <a:pt x="14" y="19"/>
                      </a:lnTo>
                      <a:lnTo>
                        <a:pt x="15" y="19"/>
                      </a:lnTo>
                      <a:lnTo>
                        <a:pt x="15" y="18"/>
                      </a:lnTo>
                      <a:lnTo>
                        <a:pt x="16" y="18"/>
                      </a:lnTo>
                      <a:lnTo>
                        <a:pt x="17" y="18"/>
                      </a:lnTo>
                      <a:lnTo>
                        <a:pt x="17" y="16"/>
                      </a:lnTo>
                      <a:lnTo>
                        <a:pt x="19" y="18"/>
                      </a:lnTo>
                      <a:lnTo>
                        <a:pt x="19" y="18"/>
                      </a:lnTo>
                      <a:lnTo>
                        <a:pt x="19" y="19"/>
                      </a:lnTo>
                      <a:lnTo>
                        <a:pt x="19" y="19"/>
                      </a:lnTo>
                      <a:lnTo>
                        <a:pt x="20" y="19"/>
                      </a:lnTo>
                      <a:lnTo>
                        <a:pt x="20" y="19"/>
                      </a:lnTo>
                      <a:lnTo>
                        <a:pt x="21" y="19"/>
                      </a:lnTo>
                      <a:lnTo>
                        <a:pt x="21" y="19"/>
                      </a:lnTo>
                      <a:lnTo>
                        <a:pt x="21" y="19"/>
                      </a:lnTo>
                      <a:lnTo>
                        <a:pt x="21" y="19"/>
                      </a:lnTo>
                      <a:lnTo>
                        <a:pt x="20" y="19"/>
                      </a:lnTo>
                      <a:lnTo>
                        <a:pt x="20" y="19"/>
                      </a:lnTo>
                      <a:lnTo>
                        <a:pt x="20" y="19"/>
                      </a:lnTo>
                      <a:lnTo>
                        <a:pt x="20" y="19"/>
                      </a:lnTo>
                      <a:lnTo>
                        <a:pt x="20" y="18"/>
                      </a:lnTo>
                      <a:lnTo>
                        <a:pt x="20" y="18"/>
                      </a:lnTo>
                      <a:lnTo>
                        <a:pt x="20" y="18"/>
                      </a:lnTo>
                      <a:lnTo>
                        <a:pt x="19" y="18"/>
                      </a:lnTo>
                      <a:lnTo>
                        <a:pt x="19" y="18"/>
                      </a:lnTo>
                      <a:lnTo>
                        <a:pt x="19" y="16"/>
                      </a:lnTo>
                      <a:lnTo>
                        <a:pt x="19" y="16"/>
                      </a:lnTo>
                      <a:lnTo>
                        <a:pt x="19" y="16"/>
                      </a:lnTo>
                      <a:lnTo>
                        <a:pt x="19" y="15"/>
                      </a:lnTo>
                      <a:lnTo>
                        <a:pt x="19" y="15"/>
                      </a:lnTo>
                      <a:lnTo>
                        <a:pt x="21" y="14"/>
                      </a:lnTo>
                      <a:lnTo>
                        <a:pt x="21" y="14"/>
                      </a:lnTo>
                      <a:lnTo>
                        <a:pt x="21" y="14"/>
                      </a:lnTo>
                      <a:lnTo>
                        <a:pt x="21" y="13"/>
                      </a:lnTo>
                      <a:lnTo>
                        <a:pt x="21" y="14"/>
                      </a:lnTo>
                      <a:lnTo>
                        <a:pt x="22" y="14"/>
                      </a:lnTo>
                      <a:lnTo>
                        <a:pt x="27" y="14"/>
                      </a:lnTo>
                      <a:lnTo>
                        <a:pt x="28" y="13"/>
                      </a:lnTo>
                      <a:lnTo>
                        <a:pt x="28" y="13"/>
                      </a:lnTo>
                      <a:lnTo>
                        <a:pt x="29" y="13"/>
                      </a:lnTo>
                      <a:lnTo>
                        <a:pt x="29" y="13"/>
                      </a:lnTo>
                      <a:lnTo>
                        <a:pt x="29" y="13"/>
                      </a:lnTo>
                      <a:lnTo>
                        <a:pt x="29" y="13"/>
                      </a:lnTo>
                      <a:lnTo>
                        <a:pt x="30" y="13"/>
                      </a:lnTo>
                      <a:lnTo>
                        <a:pt x="30" y="13"/>
                      </a:lnTo>
                      <a:lnTo>
                        <a:pt x="30" y="13"/>
                      </a:lnTo>
                      <a:lnTo>
                        <a:pt x="30" y="13"/>
                      </a:lnTo>
                      <a:lnTo>
                        <a:pt x="30" y="13"/>
                      </a:lnTo>
                      <a:lnTo>
                        <a:pt x="32" y="13"/>
                      </a:lnTo>
                      <a:lnTo>
                        <a:pt x="34" y="13"/>
                      </a:lnTo>
                      <a:lnTo>
                        <a:pt x="35" y="12"/>
                      </a:lnTo>
                      <a:lnTo>
                        <a:pt x="36" y="12"/>
                      </a:lnTo>
                      <a:lnTo>
                        <a:pt x="36" y="12"/>
                      </a:lnTo>
                      <a:lnTo>
                        <a:pt x="36" y="12"/>
                      </a:lnTo>
                      <a:lnTo>
                        <a:pt x="37" y="12"/>
                      </a:lnTo>
                      <a:lnTo>
                        <a:pt x="37" y="12"/>
                      </a:lnTo>
                      <a:lnTo>
                        <a:pt x="37" y="12"/>
                      </a:lnTo>
                      <a:lnTo>
                        <a:pt x="38" y="12"/>
                      </a:lnTo>
                      <a:lnTo>
                        <a:pt x="38" y="12"/>
                      </a:lnTo>
                      <a:lnTo>
                        <a:pt x="38" y="12"/>
                      </a:lnTo>
                      <a:lnTo>
                        <a:pt x="39" y="12"/>
                      </a:lnTo>
                      <a:lnTo>
                        <a:pt x="39" y="12"/>
                      </a:lnTo>
                      <a:lnTo>
                        <a:pt x="39" y="11"/>
                      </a:lnTo>
                      <a:lnTo>
                        <a:pt x="39" y="11"/>
                      </a:lnTo>
                      <a:lnTo>
                        <a:pt x="41" y="11"/>
                      </a:lnTo>
                      <a:lnTo>
                        <a:pt x="41" y="11"/>
                      </a:lnTo>
                      <a:lnTo>
                        <a:pt x="41" y="11"/>
                      </a:lnTo>
                      <a:lnTo>
                        <a:pt x="42" y="11"/>
                      </a:lnTo>
                      <a:lnTo>
                        <a:pt x="42" y="11"/>
                      </a:lnTo>
                      <a:lnTo>
                        <a:pt x="42" y="11"/>
                      </a:lnTo>
                      <a:lnTo>
                        <a:pt x="43" y="11"/>
                      </a:lnTo>
                      <a:lnTo>
                        <a:pt x="43" y="11"/>
                      </a:lnTo>
                      <a:lnTo>
                        <a:pt x="43" y="11"/>
                      </a:lnTo>
                      <a:lnTo>
                        <a:pt x="44" y="12"/>
                      </a:lnTo>
                      <a:lnTo>
                        <a:pt x="44" y="12"/>
                      </a:lnTo>
                      <a:lnTo>
                        <a:pt x="44" y="12"/>
                      </a:lnTo>
                      <a:lnTo>
                        <a:pt x="45" y="13"/>
                      </a:lnTo>
                      <a:lnTo>
                        <a:pt x="46" y="13"/>
                      </a:lnTo>
                      <a:lnTo>
                        <a:pt x="48" y="12"/>
                      </a:lnTo>
                      <a:lnTo>
                        <a:pt x="49" y="11"/>
                      </a:lnTo>
                      <a:lnTo>
                        <a:pt x="48" y="11"/>
                      </a:lnTo>
                      <a:lnTo>
                        <a:pt x="48" y="11"/>
                      </a:lnTo>
                      <a:lnTo>
                        <a:pt x="48" y="11"/>
                      </a:lnTo>
                      <a:lnTo>
                        <a:pt x="48" y="12"/>
                      </a:lnTo>
                      <a:lnTo>
                        <a:pt x="48" y="12"/>
                      </a:lnTo>
                      <a:lnTo>
                        <a:pt x="48" y="12"/>
                      </a:lnTo>
                      <a:lnTo>
                        <a:pt x="48" y="12"/>
                      </a:lnTo>
                      <a:lnTo>
                        <a:pt x="46" y="12"/>
                      </a:lnTo>
                      <a:lnTo>
                        <a:pt x="45" y="12"/>
                      </a:lnTo>
                      <a:lnTo>
                        <a:pt x="45" y="12"/>
                      </a:lnTo>
                      <a:lnTo>
                        <a:pt x="44" y="12"/>
                      </a:lnTo>
                      <a:lnTo>
                        <a:pt x="44" y="12"/>
                      </a:lnTo>
                      <a:lnTo>
                        <a:pt x="43" y="11"/>
                      </a:lnTo>
                      <a:lnTo>
                        <a:pt x="43" y="11"/>
                      </a:lnTo>
                      <a:lnTo>
                        <a:pt x="43" y="11"/>
                      </a:lnTo>
                      <a:lnTo>
                        <a:pt x="42" y="11"/>
                      </a:lnTo>
                      <a:lnTo>
                        <a:pt x="42" y="11"/>
                      </a:lnTo>
                      <a:lnTo>
                        <a:pt x="42" y="11"/>
                      </a:lnTo>
                      <a:lnTo>
                        <a:pt x="42" y="11"/>
                      </a:lnTo>
                      <a:lnTo>
                        <a:pt x="42" y="11"/>
                      </a:lnTo>
                      <a:lnTo>
                        <a:pt x="42" y="11"/>
                      </a:lnTo>
                      <a:lnTo>
                        <a:pt x="41" y="11"/>
                      </a:lnTo>
                      <a:lnTo>
                        <a:pt x="41" y="9"/>
                      </a:lnTo>
                      <a:lnTo>
                        <a:pt x="39" y="9"/>
                      </a:lnTo>
                      <a:lnTo>
                        <a:pt x="39" y="11"/>
                      </a:lnTo>
                      <a:lnTo>
                        <a:pt x="39" y="11"/>
                      </a:lnTo>
                      <a:lnTo>
                        <a:pt x="38" y="11"/>
                      </a:lnTo>
                      <a:lnTo>
                        <a:pt x="38" y="11"/>
                      </a:lnTo>
                      <a:lnTo>
                        <a:pt x="38" y="12"/>
                      </a:lnTo>
                      <a:lnTo>
                        <a:pt x="37" y="11"/>
                      </a:lnTo>
                      <a:lnTo>
                        <a:pt x="36" y="11"/>
                      </a:lnTo>
                      <a:lnTo>
                        <a:pt x="36" y="11"/>
                      </a:lnTo>
                      <a:lnTo>
                        <a:pt x="35" y="12"/>
                      </a:lnTo>
                      <a:lnTo>
                        <a:pt x="34" y="12"/>
                      </a:lnTo>
                      <a:lnTo>
                        <a:pt x="23" y="13"/>
                      </a:lnTo>
                      <a:lnTo>
                        <a:pt x="22" y="13"/>
                      </a:lnTo>
                      <a:lnTo>
                        <a:pt x="21" y="13"/>
                      </a:lnTo>
                      <a:lnTo>
                        <a:pt x="21" y="13"/>
                      </a:lnTo>
                      <a:lnTo>
                        <a:pt x="20" y="13"/>
                      </a:lnTo>
                      <a:lnTo>
                        <a:pt x="20" y="14"/>
                      </a:lnTo>
                      <a:lnTo>
                        <a:pt x="19" y="15"/>
                      </a:lnTo>
                      <a:lnTo>
                        <a:pt x="17" y="15"/>
                      </a:lnTo>
                      <a:lnTo>
                        <a:pt x="17" y="15"/>
                      </a:lnTo>
                      <a:lnTo>
                        <a:pt x="17" y="15"/>
                      </a:lnTo>
                      <a:lnTo>
                        <a:pt x="17" y="15"/>
                      </a:lnTo>
                      <a:lnTo>
                        <a:pt x="16" y="15"/>
                      </a:lnTo>
                      <a:lnTo>
                        <a:pt x="16" y="15"/>
                      </a:lnTo>
                      <a:lnTo>
                        <a:pt x="17" y="15"/>
                      </a:lnTo>
                      <a:lnTo>
                        <a:pt x="17" y="14"/>
                      </a:lnTo>
                      <a:lnTo>
                        <a:pt x="16" y="14"/>
                      </a:lnTo>
                      <a:lnTo>
                        <a:pt x="16" y="15"/>
                      </a:lnTo>
                      <a:lnTo>
                        <a:pt x="16" y="15"/>
                      </a:lnTo>
                      <a:lnTo>
                        <a:pt x="16" y="15"/>
                      </a:lnTo>
                      <a:lnTo>
                        <a:pt x="16" y="15"/>
                      </a:lnTo>
                      <a:lnTo>
                        <a:pt x="16" y="15"/>
                      </a:lnTo>
                      <a:lnTo>
                        <a:pt x="16" y="15"/>
                      </a:lnTo>
                      <a:lnTo>
                        <a:pt x="16" y="16"/>
                      </a:lnTo>
                      <a:lnTo>
                        <a:pt x="16" y="16"/>
                      </a:lnTo>
                      <a:lnTo>
                        <a:pt x="16" y="16"/>
                      </a:lnTo>
                      <a:lnTo>
                        <a:pt x="16" y="16"/>
                      </a:lnTo>
                      <a:lnTo>
                        <a:pt x="15" y="16"/>
                      </a:lnTo>
                      <a:lnTo>
                        <a:pt x="14" y="16"/>
                      </a:lnTo>
                      <a:lnTo>
                        <a:pt x="13" y="16"/>
                      </a:lnTo>
                      <a:lnTo>
                        <a:pt x="10" y="16"/>
                      </a:lnTo>
                      <a:lnTo>
                        <a:pt x="9" y="16"/>
                      </a:lnTo>
                      <a:lnTo>
                        <a:pt x="9" y="15"/>
                      </a:lnTo>
                      <a:lnTo>
                        <a:pt x="10" y="15"/>
                      </a:lnTo>
                      <a:lnTo>
                        <a:pt x="10" y="14"/>
                      </a:lnTo>
                      <a:lnTo>
                        <a:pt x="10" y="14"/>
                      </a:lnTo>
                      <a:lnTo>
                        <a:pt x="9" y="13"/>
                      </a:lnTo>
                      <a:lnTo>
                        <a:pt x="9" y="13"/>
                      </a:lnTo>
                      <a:lnTo>
                        <a:pt x="9" y="13"/>
                      </a:lnTo>
                      <a:lnTo>
                        <a:pt x="9" y="13"/>
                      </a:lnTo>
                      <a:lnTo>
                        <a:pt x="8" y="12"/>
                      </a:lnTo>
                      <a:lnTo>
                        <a:pt x="8" y="12"/>
                      </a:lnTo>
                      <a:lnTo>
                        <a:pt x="8" y="12"/>
                      </a:lnTo>
                      <a:lnTo>
                        <a:pt x="8" y="12"/>
                      </a:lnTo>
                      <a:lnTo>
                        <a:pt x="8" y="9"/>
                      </a:lnTo>
                      <a:lnTo>
                        <a:pt x="8" y="9"/>
                      </a:lnTo>
                      <a:lnTo>
                        <a:pt x="8" y="9"/>
                      </a:lnTo>
                      <a:lnTo>
                        <a:pt x="8" y="8"/>
                      </a:lnTo>
                      <a:lnTo>
                        <a:pt x="8" y="8"/>
                      </a:lnTo>
                      <a:lnTo>
                        <a:pt x="10" y="8"/>
                      </a:lnTo>
                      <a:lnTo>
                        <a:pt x="12" y="8"/>
                      </a:lnTo>
                      <a:lnTo>
                        <a:pt x="14" y="8"/>
                      </a:lnTo>
                      <a:lnTo>
                        <a:pt x="16" y="8"/>
                      </a:lnTo>
                      <a:lnTo>
                        <a:pt x="17" y="8"/>
                      </a:lnTo>
                      <a:lnTo>
                        <a:pt x="20" y="8"/>
                      </a:lnTo>
                      <a:lnTo>
                        <a:pt x="22" y="8"/>
                      </a:lnTo>
                      <a:lnTo>
                        <a:pt x="23" y="8"/>
                      </a:lnTo>
                      <a:lnTo>
                        <a:pt x="24" y="8"/>
                      </a:lnTo>
                      <a:lnTo>
                        <a:pt x="26" y="8"/>
                      </a:lnTo>
                      <a:lnTo>
                        <a:pt x="28" y="8"/>
                      </a:lnTo>
                      <a:lnTo>
                        <a:pt x="30" y="8"/>
                      </a:lnTo>
                      <a:lnTo>
                        <a:pt x="31" y="8"/>
                      </a:lnTo>
                      <a:lnTo>
                        <a:pt x="34" y="8"/>
                      </a:lnTo>
                      <a:lnTo>
                        <a:pt x="36" y="8"/>
                      </a:lnTo>
                      <a:lnTo>
                        <a:pt x="37" y="8"/>
                      </a:lnTo>
                      <a:lnTo>
                        <a:pt x="39" y="8"/>
                      </a:lnTo>
                      <a:lnTo>
                        <a:pt x="41" y="8"/>
                      </a:lnTo>
                      <a:lnTo>
                        <a:pt x="42" y="8"/>
                      </a:lnTo>
                      <a:lnTo>
                        <a:pt x="42" y="7"/>
                      </a:lnTo>
                      <a:lnTo>
                        <a:pt x="42" y="6"/>
                      </a:lnTo>
                      <a:lnTo>
                        <a:pt x="42" y="6"/>
                      </a:lnTo>
                      <a:lnTo>
                        <a:pt x="42" y="5"/>
                      </a:lnTo>
                      <a:lnTo>
                        <a:pt x="42" y="5"/>
                      </a:lnTo>
                      <a:lnTo>
                        <a:pt x="43" y="4"/>
                      </a:lnTo>
                      <a:lnTo>
                        <a:pt x="44" y="2"/>
                      </a:lnTo>
                      <a:lnTo>
                        <a:pt x="45" y="1"/>
                      </a:lnTo>
                      <a:lnTo>
                        <a:pt x="46" y="1"/>
                      </a:lnTo>
                      <a:lnTo>
                        <a:pt x="48" y="1"/>
                      </a:lnTo>
                      <a:lnTo>
                        <a:pt x="48" y="1"/>
                      </a:lnTo>
                      <a:lnTo>
                        <a:pt x="49" y="2"/>
                      </a:lnTo>
                      <a:lnTo>
                        <a:pt x="49" y="2"/>
                      </a:lnTo>
                      <a:lnTo>
                        <a:pt x="50" y="2"/>
                      </a:lnTo>
                      <a:lnTo>
                        <a:pt x="52" y="1"/>
                      </a:lnTo>
                      <a:lnTo>
                        <a:pt x="55" y="0"/>
                      </a:lnTo>
                      <a:lnTo>
                        <a:pt x="55" y="0"/>
                      </a:lnTo>
                      <a:lnTo>
                        <a:pt x="57" y="1"/>
                      </a:lnTo>
                      <a:lnTo>
                        <a:pt x="60" y="1"/>
                      </a:lnTo>
                      <a:lnTo>
                        <a:pt x="62" y="1"/>
                      </a:lnTo>
                      <a:lnTo>
                        <a:pt x="62" y="1"/>
                      </a:lnTo>
                      <a:lnTo>
                        <a:pt x="63" y="2"/>
                      </a:lnTo>
                      <a:lnTo>
                        <a:pt x="63" y="2"/>
                      </a:lnTo>
                      <a:lnTo>
                        <a:pt x="63" y="4"/>
                      </a:lnTo>
                      <a:lnTo>
                        <a:pt x="64" y="5"/>
                      </a:lnTo>
                      <a:lnTo>
                        <a:pt x="64" y="6"/>
                      </a:lnTo>
                      <a:lnTo>
                        <a:pt x="65" y="6"/>
                      </a:lnTo>
                      <a:lnTo>
                        <a:pt x="66" y="6"/>
                      </a:lnTo>
                      <a:lnTo>
                        <a:pt x="66" y="6"/>
                      </a:lnTo>
                      <a:lnTo>
                        <a:pt x="69" y="5"/>
                      </a:lnTo>
                      <a:lnTo>
                        <a:pt x="70" y="5"/>
                      </a:lnTo>
                      <a:lnTo>
                        <a:pt x="71" y="5"/>
                      </a:lnTo>
                      <a:lnTo>
                        <a:pt x="72" y="6"/>
                      </a:lnTo>
                      <a:lnTo>
                        <a:pt x="73" y="6"/>
                      </a:lnTo>
                      <a:lnTo>
                        <a:pt x="73" y="7"/>
                      </a:lnTo>
                      <a:lnTo>
                        <a:pt x="73" y="7"/>
                      </a:lnTo>
                      <a:lnTo>
                        <a:pt x="74" y="8"/>
                      </a:lnTo>
                      <a:lnTo>
                        <a:pt x="74" y="9"/>
                      </a:lnTo>
                      <a:lnTo>
                        <a:pt x="74" y="9"/>
                      </a:lnTo>
                      <a:lnTo>
                        <a:pt x="74" y="9"/>
                      </a:lnTo>
                      <a:lnTo>
                        <a:pt x="77" y="12"/>
                      </a:lnTo>
                      <a:lnTo>
                        <a:pt x="78" y="12"/>
                      </a:lnTo>
                      <a:lnTo>
                        <a:pt x="79" y="12"/>
                      </a:lnTo>
                      <a:lnTo>
                        <a:pt x="79" y="12"/>
                      </a:lnTo>
                      <a:lnTo>
                        <a:pt x="81" y="11"/>
                      </a:lnTo>
                      <a:lnTo>
                        <a:pt x="83" y="9"/>
                      </a:lnTo>
                      <a:lnTo>
                        <a:pt x="84" y="9"/>
                      </a:lnTo>
                      <a:lnTo>
                        <a:pt x="85" y="9"/>
                      </a:lnTo>
                      <a:lnTo>
                        <a:pt x="86" y="8"/>
                      </a:lnTo>
                      <a:lnTo>
                        <a:pt x="87" y="8"/>
                      </a:lnTo>
                      <a:lnTo>
                        <a:pt x="87" y="8"/>
                      </a:lnTo>
                      <a:lnTo>
                        <a:pt x="88" y="8"/>
                      </a:lnTo>
                      <a:lnTo>
                        <a:pt x="88" y="8"/>
                      </a:lnTo>
                      <a:lnTo>
                        <a:pt x="88" y="8"/>
                      </a:lnTo>
                      <a:lnTo>
                        <a:pt x="90" y="7"/>
                      </a:lnTo>
                      <a:lnTo>
                        <a:pt x="90" y="7"/>
                      </a:lnTo>
                      <a:lnTo>
                        <a:pt x="91" y="7"/>
                      </a:lnTo>
                      <a:lnTo>
                        <a:pt x="92" y="7"/>
                      </a:lnTo>
                      <a:lnTo>
                        <a:pt x="92" y="8"/>
                      </a:lnTo>
                      <a:lnTo>
                        <a:pt x="93" y="8"/>
                      </a:lnTo>
                      <a:lnTo>
                        <a:pt x="93" y="8"/>
                      </a:lnTo>
                      <a:lnTo>
                        <a:pt x="93" y="9"/>
                      </a:lnTo>
                      <a:lnTo>
                        <a:pt x="93" y="9"/>
                      </a:lnTo>
                      <a:lnTo>
                        <a:pt x="93" y="9"/>
                      </a:lnTo>
                      <a:lnTo>
                        <a:pt x="93" y="9"/>
                      </a:lnTo>
                      <a:lnTo>
                        <a:pt x="94" y="11"/>
                      </a:lnTo>
                      <a:lnTo>
                        <a:pt x="94" y="11"/>
                      </a:lnTo>
                      <a:lnTo>
                        <a:pt x="95" y="12"/>
                      </a:lnTo>
                      <a:lnTo>
                        <a:pt x="95" y="14"/>
                      </a:lnTo>
                      <a:lnTo>
                        <a:pt x="94" y="15"/>
                      </a:lnTo>
                      <a:lnTo>
                        <a:pt x="93" y="15"/>
                      </a:lnTo>
                      <a:lnTo>
                        <a:pt x="91" y="16"/>
                      </a:lnTo>
                      <a:lnTo>
                        <a:pt x="90" y="16"/>
                      </a:lnTo>
                      <a:lnTo>
                        <a:pt x="88" y="16"/>
                      </a:lnTo>
                      <a:lnTo>
                        <a:pt x="86" y="18"/>
                      </a:lnTo>
                      <a:lnTo>
                        <a:pt x="86" y="18"/>
                      </a:lnTo>
                      <a:lnTo>
                        <a:pt x="86" y="18"/>
                      </a:lnTo>
                      <a:lnTo>
                        <a:pt x="84" y="19"/>
                      </a:lnTo>
                      <a:lnTo>
                        <a:pt x="84" y="19"/>
                      </a:lnTo>
                      <a:lnTo>
                        <a:pt x="83" y="19"/>
                      </a:lnTo>
                      <a:lnTo>
                        <a:pt x="80" y="19"/>
                      </a:lnTo>
                      <a:lnTo>
                        <a:pt x="79" y="19"/>
                      </a:lnTo>
                      <a:lnTo>
                        <a:pt x="78" y="19"/>
                      </a:lnTo>
                      <a:lnTo>
                        <a:pt x="77" y="19"/>
                      </a:lnTo>
                      <a:lnTo>
                        <a:pt x="76" y="18"/>
                      </a:lnTo>
                      <a:lnTo>
                        <a:pt x="76" y="18"/>
                      </a:lnTo>
                      <a:lnTo>
                        <a:pt x="76" y="18"/>
                      </a:lnTo>
                      <a:lnTo>
                        <a:pt x="76" y="18"/>
                      </a:lnTo>
                      <a:lnTo>
                        <a:pt x="74" y="16"/>
                      </a:lnTo>
                      <a:lnTo>
                        <a:pt x="74" y="16"/>
                      </a:lnTo>
                      <a:lnTo>
                        <a:pt x="73" y="16"/>
                      </a:lnTo>
                      <a:lnTo>
                        <a:pt x="73" y="16"/>
                      </a:lnTo>
                      <a:lnTo>
                        <a:pt x="72" y="16"/>
                      </a:lnTo>
                      <a:lnTo>
                        <a:pt x="72" y="16"/>
                      </a:lnTo>
                      <a:lnTo>
                        <a:pt x="71" y="15"/>
                      </a:lnTo>
                      <a:lnTo>
                        <a:pt x="71" y="15"/>
                      </a:lnTo>
                      <a:lnTo>
                        <a:pt x="70" y="15"/>
                      </a:lnTo>
                      <a:lnTo>
                        <a:pt x="69" y="15"/>
                      </a:lnTo>
                      <a:lnTo>
                        <a:pt x="67" y="15"/>
                      </a:lnTo>
                      <a:lnTo>
                        <a:pt x="66" y="15"/>
                      </a:lnTo>
                      <a:lnTo>
                        <a:pt x="65" y="14"/>
                      </a:lnTo>
                      <a:lnTo>
                        <a:pt x="65" y="13"/>
                      </a:lnTo>
                      <a:lnTo>
                        <a:pt x="64" y="13"/>
                      </a:lnTo>
                      <a:lnTo>
                        <a:pt x="64" y="13"/>
                      </a:lnTo>
                      <a:lnTo>
                        <a:pt x="63" y="13"/>
                      </a:lnTo>
                      <a:lnTo>
                        <a:pt x="62" y="12"/>
                      </a:lnTo>
                      <a:lnTo>
                        <a:pt x="62" y="12"/>
                      </a:lnTo>
                      <a:lnTo>
                        <a:pt x="60" y="12"/>
                      </a:lnTo>
                      <a:lnTo>
                        <a:pt x="59" y="12"/>
                      </a:lnTo>
                      <a:lnTo>
                        <a:pt x="57" y="11"/>
                      </a:lnTo>
                      <a:lnTo>
                        <a:pt x="57" y="11"/>
                      </a:lnTo>
                      <a:lnTo>
                        <a:pt x="57" y="11"/>
                      </a:lnTo>
                      <a:lnTo>
                        <a:pt x="57" y="11"/>
                      </a:lnTo>
                      <a:lnTo>
                        <a:pt x="56" y="9"/>
                      </a:lnTo>
                      <a:lnTo>
                        <a:pt x="55" y="8"/>
                      </a:lnTo>
                      <a:lnTo>
                        <a:pt x="53" y="7"/>
                      </a:lnTo>
                      <a:lnTo>
                        <a:pt x="52" y="8"/>
                      </a:lnTo>
                      <a:lnTo>
                        <a:pt x="52" y="8"/>
                      </a:lnTo>
                      <a:lnTo>
                        <a:pt x="51" y="9"/>
                      </a:lnTo>
                      <a:lnTo>
                        <a:pt x="51" y="11"/>
                      </a:lnTo>
                      <a:lnTo>
                        <a:pt x="51" y="12"/>
                      </a:lnTo>
                      <a:lnTo>
                        <a:pt x="50" y="13"/>
                      </a:lnTo>
                      <a:lnTo>
                        <a:pt x="50" y="14"/>
                      </a:lnTo>
                      <a:lnTo>
                        <a:pt x="49" y="14"/>
                      </a:lnTo>
                      <a:lnTo>
                        <a:pt x="48" y="15"/>
                      </a:lnTo>
                      <a:lnTo>
                        <a:pt x="46" y="15"/>
                      </a:lnTo>
                      <a:lnTo>
                        <a:pt x="45" y="15"/>
                      </a:lnTo>
                      <a:lnTo>
                        <a:pt x="42" y="14"/>
                      </a:lnTo>
                      <a:lnTo>
                        <a:pt x="42" y="14"/>
                      </a:lnTo>
                      <a:lnTo>
                        <a:pt x="41" y="15"/>
                      </a:lnTo>
                      <a:lnTo>
                        <a:pt x="39" y="15"/>
                      </a:lnTo>
                      <a:lnTo>
                        <a:pt x="38" y="15"/>
                      </a:lnTo>
                      <a:lnTo>
                        <a:pt x="38" y="15"/>
                      </a:lnTo>
                      <a:lnTo>
                        <a:pt x="36" y="15"/>
                      </a:lnTo>
                      <a:lnTo>
                        <a:pt x="36" y="15"/>
                      </a:lnTo>
                      <a:lnTo>
                        <a:pt x="35" y="16"/>
                      </a:lnTo>
                      <a:lnTo>
                        <a:pt x="32" y="16"/>
                      </a:lnTo>
                      <a:lnTo>
                        <a:pt x="31" y="16"/>
                      </a:lnTo>
                      <a:lnTo>
                        <a:pt x="31" y="16"/>
                      </a:lnTo>
                      <a:lnTo>
                        <a:pt x="31" y="19"/>
                      </a:lnTo>
                      <a:lnTo>
                        <a:pt x="31" y="20"/>
                      </a:lnTo>
                      <a:lnTo>
                        <a:pt x="31" y="22"/>
                      </a:lnTo>
                      <a:lnTo>
                        <a:pt x="31" y="22"/>
                      </a:lnTo>
                      <a:lnTo>
                        <a:pt x="30" y="22"/>
                      </a:lnTo>
                      <a:lnTo>
                        <a:pt x="29" y="22"/>
                      </a:lnTo>
                      <a:lnTo>
                        <a:pt x="28" y="22"/>
                      </a:lnTo>
                      <a:lnTo>
                        <a:pt x="23" y="22"/>
                      </a:lnTo>
                      <a:lnTo>
                        <a:pt x="16" y="22"/>
                      </a:lnTo>
                      <a:lnTo>
                        <a:pt x="12" y="22"/>
                      </a:lnTo>
                      <a:lnTo>
                        <a:pt x="6" y="22"/>
                      </a:lnTo>
                      <a:lnTo>
                        <a:pt x="5" y="22"/>
                      </a:lnTo>
                      <a:lnTo>
                        <a:pt x="3" y="22"/>
                      </a:lnTo>
                      <a:lnTo>
                        <a:pt x="3" y="23"/>
                      </a:lnTo>
                      <a:lnTo>
                        <a:pt x="3" y="23"/>
                      </a:lnTo>
                      <a:lnTo>
                        <a:pt x="2" y="25"/>
                      </a:lnTo>
                      <a:lnTo>
                        <a:pt x="2" y="25"/>
                      </a:lnTo>
                      <a:lnTo>
                        <a:pt x="2" y="25"/>
                      </a:lnTo>
                      <a:lnTo>
                        <a:pt x="2" y="2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2" name="Freeform 93">
                  <a:extLst>
                    <a:ext uri="{FF2B5EF4-FFF2-40B4-BE49-F238E27FC236}">
                      <a16:creationId xmlns:a16="http://schemas.microsoft.com/office/drawing/2014/main" id="{BC970B11-99E9-48AA-7C7E-8DDFBAAE11A2}"/>
                    </a:ext>
                  </a:extLst>
                </p:cNvPr>
                <p:cNvSpPr>
                  <a:spLocks noEditPoints="1"/>
                </p:cNvSpPr>
                <p:nvPr/>
              </p:nvSpPr>
              <p:spPr bwMode="auto">
                <a:xfrm>
                  <a:off x="5648209" y="3372413"/>
                  <a:ext cx="106009" cy="61659"/>
                </a:xfrm>
                <a:custGeom>
                  <a:avLst/>
                  <a:gdLst>
                    <a:gd name="T0" fmla="*/ 27 w 98"/>
                    <a:gd name="T1" fmla="*/ 53 h 57"/>
                    <a:gd name="T2" fmla="*/ 25 w 98"/>
                    <a:gd name="T3" fmla="*/ 53 h 57"/>
                    <a:gd name="T4" fmla="*/ 23 w 98"/>
                    <a:gd name="T5" fmla="*/ 50 h 57"/>
                    <a:gd name="T6" fmla="*/ 19 w 98"/>
                    <a:gd name="T7" fmla="*/ 55 h 57"/>
                    <a:gd name="T8" fmla="*/ 21 w 98"/>
                    <a:gd name="T9" fmla="*/ 49 h 57"/>
                    <a:gd name="T10" fmla="*/ 29 w 98"/>
                    <a:gd name="T11" fmla="*/ 48 h 57"/>
                    <a:gd name="T12" fmla="*/ 32 w 98"/>
                    <a:gd name="T13" fmla="*/ 48 h 57"/>
                    <a:gd name="T14" fmla="*/ 19 w 98"/>
                    <a:gd name="T15" fmla="*/ 49 h 57"/>
                    <a:gd name="T16" fmla="*/ 34 w 98"/>
                    <a:gd name="T17" fmla="*/ 42 h 57"/>
                    <a:gd name="T18" fmla="*/ 14 w 98"/>
                    <a:gd name="T19" fmla="*/ 41 h 57"/>
                    <a:gd name="T20" fmla="*/ 16 w 98"/>
                    <a:gd name="T21" fmla="*/ 40 h 57"/>
                    <a:gd name="T22" fmla="*/ 13 w 98"/>
                    <a:gd name="T23" fmla="*/ 39 h 57"/>
                    <a:gd name="T24" fmla="*/ 26 w 98"/>
                    <a:gd name="T25" fmla="*/ 42 h 57"/>
                    <a:gd name="T26" fmla="*/ 26 w 98"/>
                    <a:gd name="T27" fmla="*/ 36 h 57"/>
                    <a:gd name="T28" fmla="*/ 38 w 98"/>
                    <a:gd name="T29" fmla="*/ 39 h 57"/>
                    <a:gd name="T30" fmla="*/ 39 w 98"/>
                    <a:gd name="T31" fmla="*/ 36 h 57"/>
                    <a:gd name="T32" fmla="*/ 20 w 98"/>
                    <a:gd name="T33" fmla="*/ 31 h 57"/>
                    <a:gd name="T34" fmla="*/ 97 w 98"/>
                    <a:gd name="T35" fmla="*/ 10 h 57"/>
                    <a:gd name="T36" fmla="*/ 91 w 98"/>
                    <a:gd name="T37" fmla="*/ 14 h 57"/>
                    <a:gd name="T38" fmla="*/ 96 w 98"/>
                    <a:gd name="T39" fmla="*/ 22 h 57"/>
                    <a:gd name="T40" fmla="*/ 92 w 98"/>
                    <a:gd name="T41" fmla="*/ 32 h 57"/>
                    <a:gd name="T42" fmla="*/ 83 w 98"/>
                    <a:gd name="T43" fmla="*/ 34 h 57"/>
                    <a:gd name="T44" fmla="*/ 62 w 98"/>
                    <a:gd name="T45" fmla="*/ 45 h 57"/>
                    <a:gd name="T46" fmla="*/ 54 w 98"/>
                    <a:gd name="T47" fmla="*/ 56 h 57"/>
                    <a:gd name="T48" fmla="*/ 55 w 98"/>
                    <a:gd name="T49" fmla="*/ 48 h 57"/>
                    <a:gd name="T50" fmla="*/ 49 w 98"/>
                    <a:gd name="T51" fmla="*/ 55 h 57"/>
                    <a:gd name="T52" fmla="*/ 48 w 98"/>
                    <a:gd name="T53" fmla="*/ 49 h 57"/>
                    <a:gd name="T54" fmla="*/ 43 w 98"/>
                    <a:gd name="T55" fmla="*/ 49 h 57"/>
                    <a:gd name="T56" fmla="*/ 46 w 98"/>
                    <a:gd name="T57" fmla="*/ 43 h 57"/>
                    <a:gd name="T58" fmla="*/ 42 w 98"/>
                    <a:gd name="T59" fmla="*/ 45 h 57"/>
                    <a:gd name="T60" fmla="*/ 43 w 98"/>
                    <a:gd name="T61" fmla="*/ 39 h 57"/>
                    <a:gd name="T62" fmla="*/ 46 w 98"/>
                    <a:gd name="T63" fmla="*/ 36 h 57"/>
                    <a:gd name="T64" fmla="*/ 47 w 98"/>
                    <a:gd name="T65" fmla="*/ 35 h 57"/>
                    <a:gd name="T66" fmla="*/ 52 w 98"/>
                    <a:gd name="T67" fmla="*/ 36 h 57"/>
                    <a:gd name="T68" fmla="*/ 55 w 98"/>
                    <a:gd name="T69" fmla="*/ 35 h 57"/>
                    <a:gd name="T70" fmla="*/ 53 w 98"/>
                    <a:gd name="T71" fmla="*/ 34 h 57"/>
                    <a:gd name="T72" fmla="*/ 48 w 98"/>
                    <a:gd name="T73" fmla="*/ 34 h 57"/>
                    <a:gd name="T74" fmla="*/ 47 w 98"/>
                    <a:gd name="T75" fmla="*/ 32 h 57"/>
                    <a:gd name="T76" fmla="*/ 45 w 98"/>
                    <a:gd name="T77" fmla="*/ 35 h 57"/>
                    <a:gd name="T78" fmla="*/ 41 w 98"/>
                    <a:gd name="T79" fmla="*/ 35 h 57"/>
                    <a:gd name="T80" fmla="*/ 39 w 98"/>
                    <a:gd name="T81" fmla="*/ 33 h 57"/>
                    <a:gd name="T82" fmla="*/ 49 w 98"/>
                    <a:gd name="T83" fmla="*/ 27 h 57"/>
                    <a:gd name="T84" fmla="*/ 53 w 98"/>
                    <a:gd name="T85" fmla="*/ 29 h 57"/>
                    <a:gd name="T86" fmla="*/ 55 w 98"/>
                    <a:gd name="T87" fmla="*/ 29 h 57"/>
                    <a:gd name="T88" fmla="*/ 50 w 98"/>
                    <a:gd name="T89" fmla="*/ 25 h 57"/>
                    <a:gd name="T90" fmla="*/ 41 w 98"/>
                    <a:gd name="T91" fmla="*/ 26 h 57"/>
                    <a:gd name="T92" fmla="*/ 29 w 98"/>
                    <a:gd name="T93" fmla="*/ 29 h 57"/>
                    <a:gd name="T94" fmla="*/ 28 w 98"/>
                    <a:gd name="T95" fmla="*/ 29 h 57"/>
                    <a:gd name="T96" fmla="*/ 26 w 98"/>
                    <a:gd name="T97" fmla="*/ 27 h 57"/>
                    <a:gd name="T98" fmla="*/ 33 w 98"/>
                    <a:gd name="T99" fmla="*/ 24 h 57"/>
                    <a:gd name="T100" fmla="*/ 25 w 98"/>
                    <a:gd name="T101" fmla="*/ 26 h 57"/>
                    <a:gd name="T102" fmla="*/ 14 w 98"/>
                    <a:gd name="T103" fmla="*/ 25 h 57"/>
                    <a:gd name="T104" fmla="*/ 16 w 98"/>
                    <a:gd name="T105" fmla="*/ 17 h 57"/>
                    <a:gd name="T106" fmla="*/ 17 w 98"/>
                    <a:gd name="T107" fmla="*/ 14 h 57"/>
                    <a:gd name="T108" fmla="*/ 9 w 98"/>
                    <a:gd name="T109" fmla="*/ 19 h 57"/>
                    <a:gd name="T110" fmla="*/ 2 w 98"/>
                    <a:gd name="T111" fmla="*/ 13 h 57"/>
                    <a:gd name="T112" fmla="*/ 17 w 98"/>
                    <a:gd name="T113" fmla="*/ 10 h 57"/>
                    <a:gd name="T114" fmla="*/ 43 w 98"/>
                    <a:gd name="T115" fmla="*/ 4 h 57"/>
                    <a:gd name="T116" fmla="*/ 84 w 98"/>
                    <a:gd name="T1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8" h="57">
                      <a:moveTo>
                        <a:pt x="27" y="52"/>
                      </a:moveTo>
                      <a:lnTo>
                        <a:pt x="27" y="53"/>
                      </a:lnTo>
                      <a:lnTo>
                        <a:pt x="28" y="53"/>
                      </a:lnTo>
                      <a:lnTo>
                        <a:pt x="28" y="54"/>
                      </a:lnTo>
                      <a:lnTo>
                        <a:pt x="27" y="54"/>
                      </a:lnTo>
                      <a:lnTo>
                        <a:pt x="26" y="54"/>
                      </a:lnTo>
                      <a:lnTo>
                        <a:pt x="25" y="55"/>
                      </a:lnTo>
                      <a:lnTo>
                        <a:pt x="25" y="54"/>
                      </a:lnTo>
                      <a:lnTo>
                        <a:pt x="26" y="54"/>
                      </a:lnTo>
                      <a:lnTo>
                        <a:pt x="27" y="53"/>
                      </a:lnTo>
                      <a:lnTo>
                        <a:pt x="26" y="53"/>
                      </a:lnTo>
                      <a:lnTo>
                        <a:pt x="26" y="54"/>
                      </a:lnTo>
                      <a:lnTo>
                        <a:pt x="26" y="53"/>
                      </a:lnTo>
                      <a:lnTo>
                        <a:pt x="26" y="52"/>
                      </a:lnTo>
                      <a:lnTo>
                        <a:pt x="26" y="50"/>
                      </a:lnTo>
                      <a:lnTo>
                        <a:pt x="26" y="49"/>
                      </a:lnTo>
                      <a:lnTo>
                        <a:pt x="27" y="50"/>
                      </a:lnTo>
                      <a:lnTo>
                        <a:pt x="27" y="52"/>
                      </a:lnTo>
                      <a:close/>
                      <a:moveTo>
                        <a:pt x="25" y="52"/>
                      </a:moveTo>
                      <a:lnTo>
                        <a:pt x="25" y="53"/>
                      </a:lnTo>
                      <a:lnTo>
                        <a:pt x="24" y="54"/>
                      </a:lnTo>
                      <a:lnTo>
                        <a:pt x="24" y="53"/>
                      </a:lnTo>
                      <a:lnTo>
                        <a:pt x="24" y="52"/>
                      </a:lnTo>
                      <a:lnTo>
                        <a:pt x="23" y="52"/>
                      </a:lnTo>
                      <a:lnTo>
                        <a:pt x="23" y="50"/>
                      </a:lnTo>
                      <a:lnTo>
                        <a:pt x="24" y="50"/>
                      </a:lnTo>
                      <a:lnTo>
                        <a:pt x="25" y="49"/>
                      </a:lnTo>
                      <a:lnTo>
                        <a:pt x="25" y="50"/>
                      </a:lnTo>
                      <a:lnTo>
                        <a:pt x="25" y="52"/>
                      </a:lnTo>
                      <a:close/>
                      <a:moveTo>
                        <a:pt x="23" y="50"/>
                      </a:moveTo>
                      <a:lnTo>
                        <a:pt x="23" y="52"/>
                      </a:lnTo>
                      <a:lnTo>
                        <a:pt x="23" y="53"/>
                      </a:lnTo>
                      <a:lnTo>
                        <a:pt x="23" y="54"/>
                      </a:lnTo>
                      <a:lnTo>
                        <a:pt x="23" y="55"/>
                      </a:lnTo>
                      <a:lnTo>
                        <a:pt x="21" y="55"/>
                      </a:lnTo>
                      <a:lnTo>
                        <a:pt x="20" y="55"/>
                      </a:lnTo>
                      <a:lnTo>
                        <a:pt x="20" y="54"/>
                      </a:lnTo>
                      <a:lnTo>
                        <a:pt x="19" y="55"/>
                      </a:lnTo>
                      <a:lnTo>
                        <a:pt x="20" y="55"/>
                      </a:lnTo>
                      <a:lnTo>
                        <a:pt x="19" y="55"/>
                      </a:lnTo>
                      <a:lnTo>
                        <a:pt x="18" y="55"/>
                      </a:lnTo>
                      <a:lnTo>
                        <a:pt x="17" y="54"/>
                      </a:lnTo>
                      <a:lnTo>
                        <a:pt x="17" y="53"/>
                      </a:lnTo>
                      <a:lnTo>
                        <a:pt x="18" y="52"/>
                      </a:lnTo>
                      <a:lnTo>
                        <a:pt x="18" y="53"/>
                      </a:lnTo>
                      <a:lnTo>
                        <a:pt x="19" y="53"/>
                      </a:lnTo>
                      <a:lnTo>
                        <a:pt x="19" y="52"/>
                      </a:lnTo>
                      <a:lnTo>
                        <a:pt x="19" y="50"/>
                      </a:lnTo>
                      <a:lnTo>
                        <a:pt x="20" y="50"/>
                      </a:lnTo>
                      <a:lnTo>
                        <a:pt x="21" y="49"/>
                      </a:lnTo>
                      <a:lnTo>
                        <a:pt x="23" y="50"/>
                      </a:lnTo>
                      <a:close/>
                      <a:moveTo>
                        <a:pt x="29" y="49"/>
                      </a:moveTo>
                      <a:lnTo>
                        <a:pt x="28" y="49"/>
                      </a:lnTo>
                      <a:lnTo>
                        <a:pt x="27" y="49"/>
                      </a:lnTo>
                      <a:lnTo>
                        <a:pt x="27" y="48"/>
                      </a:lnTo>
                      <a:lnTo>
                        <a:pt x="28" y="47"/>
                      </a:lnTo>
                      <a:lnTo>
                        <a:pt x="28" y="46"/>
                      </a:lnTo>
                      <a:lnTo>
                        <a:pt x="29" y="46"/>
                      </a:lnTo>
                      <a:lnTo>
                        <a:pt x="29" y="47"/>
                      </a:lnTo>
                      <a:lnTo>
                        <a:pt x="29" y="48"/>
                      </a:lnTo>
                      <a:lnTo>
                        <a:pt x="29" y="49"/>
                      </a:lnTo>
                      <a:close/>
                      <a:moveTo>
                        <a:pt x="35" y="47"/>
                      </a:moveTo>
                      <a:lnTo>
                        <a:pt x="35" y="48"/>
                      </a:lnTo>
                      <a:lnTo>
                        <a:pt x="34" y="48"/>
                      </a:lnTo>
                      <a:lnTo>
                        <a:pt x="34" y="49"/>
                      </a:lnTo>
                      <a:lnTo>
                        <a:pt x="33" y="49"/>
                      </a:lnTo>
                      <a:lnTo>
                        <a:pt x="33" y="50"/>
                      </a:lnTo>
                      <a:lnTo>
                        <a:pt x="32" y="50"/>
                      </a:lnTo>
                      <a:lnTo>
                        <a:pt x="32" y="49"/>
                      </a:lnTo>
                      <a:lnTo>
                        <a:pt x="32" y="48"/>
                      </a:lnTo>
                      <a:lnTo>
                        <a:pt x="32" y="47"/>
                      </a:lnTo>
                      <a:lnTo>
                        <a:pt x="33" y="47"/>
                      </a:lnTo>
                      <a:lnTo>
                        <a:pt x="34" y="46"/>
                      </a:lnTo>
                      <a:lnTo>
                        <a:pt x="35" y="46"/>
                      </a:lnTo>
                      <a:lnTo>
                        <a:pt x="35" y="47"/>
                      </a:lnTo>
                      <a:close/>
                      <a:moveTo>
                        <a:pt x="18" y="46"/>
                      </a:moveTo>
                      <a:lnTo>
                        <a:pt x="18" y="47"/>
                      </a:lnTo>
                      <a:lnTo>
                        <a:pt x="19" y="47"/>
                      </a:lnTo>
                      <a:lnTo>
                        <a:pt x="19" y="48"/>
                      </a:lnTo>
                      <a:lnTo>
                        <a:pt x="19" y="49"/>
                      </a:lnTo>
                      <a:lnTo>
                        <a:pt x="17" y="49"/>
                      </a:lnTo>
                      <a:lnTo>
                        <a:pt x="16" y="49"/>
                      </a:lnTo>
                      <a:lnTo>
                        <a:pt x="16" y="48"/>
                      </a:lnTo>
                      <a:lnTo>
                        <a:pt x="16" y="47"/>
                      </a:lnTo>
                      <a:lnTo>
                        <a:pt x="17" y="47"/>
                      </a:lnTo>
                      <a:lnTo>
                        <a:pt x="18" y="47"/>
                      </a:lnTo>
                      <a:lnTo>
                        <a:pt x="18" y="46"/>
                      </a:lnTo>
                      <a:close/>
                      <a:moveTo>
                        <a:pt x="35" y="40"/>
                      </a:moveTo>
                      <a:lnTo>
                        <a:pt x="35" y="41"/>
                      </a:lnTo>
                      <a:lnTo>
                        <a:pt x="34" y="42"/>
                      </a:lnTo>
                      <a:lnTo>
                        <a:pt x="34" y="41"/>
                      </a:lnTo>
                      <a:lnTo>
                        <a:pt x="33" y="42"/>
                      </a:lnTo>
                      <a:lnTo>
                        <a:pt x="33" y="41"/>
                      </a:lnTo>
                      <a:lnTo>
                        <a:pt x="34" y="40"/>
                      </a:lnTo>
                      <a:lnTo>
                        <a:pt x="35" y="40"/>
                      </a:lnTo>
                      <a:close/>
                      <a:moveTo>
                        <a:pt x="18" y="42"/>
                      </a:moveTo>
                      <a:lnTo>
                        <a:pt x="17" y="42"/>
                      </a:lnTo>
                      <a:lnTo>
                        <a:pt x="16" y="42"/>
                      </a:lnTo>
                      <a:lnTo>
                        <a:pt x="14" y="42"/>
                      </a:lnTo>
                      <a:lnTo>
                        <a:pt x="14" y="41"/>
                      </a:lnTo>
                      <a:lnTo>
                        <a:pt x="16" y="41"/>
                      </a:lnTo>
                      <a:lnTo>
                        <a:pt x="17" y="40"/>
                      </a:lnTo>
                      <a:lnTo>
                        <a:pt x="18" y="40"/>
                      </a:lnTo>
                      <a:lnTo>
                        <a:pt x="19" y="40"/>
                      </a:lnTo>
                      <a:lnTo>
                        <a:pt x="18" y="41"/>
                      </a:lnTo>
                      <a:lnTo>
                        <a:pt x="18" y="42"/>
                      </a:lnTo>
                      <a:close/>
                      <a:moveTo>
                        <a:pt x="17" y="38"/>
                      </a:moveTo>
                      <a:lnTo>
                        <a:pt x="17" y="39"/>
                      </a:lnTo>
                      <a:lnTo>
                        <a:pt x="16" y="39"/>
                      </a:lnTo>
                      <a:lnTo>
                        <a:pt x="16" y="40"/>
                      </a:lnTo>
                      <a:lnTo>
                        <a:pt x="14" y="40"/>
                      </a:lnTo>
                      <a:lnTo>
                        <a:pt x="14" y="41"/>
                      </a:lnTo>
                      <a:lnTo>
                        <a:pt x="13" y="40"/>
                      </a:lnTo>
                      <a:lnTo>
                        <a:pt x="12" y="40"/>
                      </a:lnTo>
                      <a:lnTo>
                        <a:pt x="11" y="40"/>
                      </a:lnTo>
                      <a:lnTo>
                        <a:pt x="11" y="41"/>
                      </a:lnTo>
                      <a:lnTo>
                        <a:pt x="11" y="40"/>
                      </a:lnTo>
                      <a:lnTo>
                        <a:pt x="11" y="39"/>
                      </a:lnTo>
                      <a:lnTo>
                        <a:pt x="12" y="39"/>
                      </a:lnTo>
                      <a:lnTo>
                        <a:pt x="13" y="39"/>
                      </a:lnTo>
                      <a:lnTo>
                        <a:pt x="14" y="39"/>
                      </a:lnTo>
                      <a:lnTo>
                        <a:pt x="16" y="38"/>
                      </a:lnTo>
                      <a:lnTo>
                        <a:pt x="17" y="38"/>
                      </a:lnTo>
                      <a:close/>
                      <a:moveTo>
                        <a:pt x="26" y="38"/>
                      </a:moveTo>
                      <a:lnTo>
                        <a:pt x="27" y="38"/>
                      </a:lnTo>
                      <a:lnTo>
                        <a:pt x="27" y="39"/>
                      </a:lnTo>
                      <a:lnTo>
                        <a:pt x="27" y="40"/>
                      </a:lnTo>
                      <a:lnTo>
                        <a:pt x="27" y="41"/>
                      </a:lnTo>
                      <a:lnTo>
                        <a:pt x="27" y="42"/>
                      </a:lnTo>
                      <a:lnTo>
                        <a:pt x="26" y="42"/>
                      </a:lnTo>
                      <a:lnTo>
                        <a:pt x="25" y="42"/>
                      </a:lnTo>
                      <a:lnTo>
                        <a:pt x="24" y="42"/>
                      </a:lnTo>
                      <a:lnTo>
                        <a:pt x="23" y="42"/>
                      </a:lnTo>
                      <a:lnTo>
                        <a:pt x="21" y="41"/>
                      </a:lnTo>
                      <a:lnTo>
                        <a:pt x="23" y="40"/>
                      </a:lnTo>
                      <a:lnTo>
                        <a:pt x="24" y="40"/>
                      </a:lnTo>
                      <a:lnTo>
                        <a:pt x="24" y="39"/>
                      </a:lnTo>
                      <a:lnTo>
                        <a:pt x="24" y="38"/>
                      </a:lnTo>
                      <a:lnTo>
                        <a:pt x="25" y="38"/>
                      </a:lnTo>
                      <a:lnTo>
                        <a:pt x="26" y="36"/>
                      </a:lnTo>
                      <a:lnTo>
                        <a:pt x="26" y="38"/>
                      </a:lnTo>
                      <a:close/>
                      <a:moveTo>
                        <a:pt x="41" y="35"/>
                      </a:moveTo>
                      <a:lnTo>
                        <a:pt x="41" y="36"/>
                      </a:lnTo>
                      <a:lnTo>
                        <a:pt x="40" y="36"/>
                      </a:lnTo>
                      <a:lnTo>
                        <a:pt x="41" y="36"/>
                      </a:lnTo>
                      <a:lnTo>
                        <a:pt x="41" y="38"/>
                      </a:lnTo>
                      <a:lnTo>
                        <a:pt x="40" y="38"/>
                      </a:lnTo>
                      <a:lnTo>
                        <a:pt x="39" y="38"/>
                      </a:lnTo>
                      <a:lnTo>
                        <a:pt x="38" y="38"/>
                      </a:lnTo>
                      <a:lnTo>
                        <a:pt x="38" y="39"/>
                      </a:lnTo>
                      <a:lnTo>
                        <a:pt x="39" y="39"/>
                      </a:lnTo>
                      <a:lnTo>
                        <a:pt x="38" y="40"/>
                      </a:lnTo>
                      <a:lnTo>
                        <a:pt x="38" y="39"/>
                      </a:lnTo>
                      <a:lnTo>
                        <a:pt x="36" y="39"/>
                      </a:lnTo>
                      <a:lnTo>
                        <a:pt x="35" y="39"/>
                      </a:lnTo>
                      <a:lnTo>
                        <a:pt x="36" y="39"/>
                      </a:lnTo>
                      <a:lnTo>
                        <a:pt x="36" y="38"/>
                      </a:lnTo>
                      <a:lnTo>
                        <a:pt x="38" y="38"/>
                      </a:lnTo>
                      <a:lnTo>
                        <a:pt x="38" y="36"/>
                      </a:lnTo>
                      <a:lnTo>
                        <a:pt x="39" y="36"/>
                      </a:lnTo>
                      <a:lnTo>
                        <a:pt x="39" y="35"/>
                      </a:lnTo>
                      <a:lnTo>
                        <a:pt x="40" y="35"/>
                      </a:lnTo>
                      <a:lnTo>
                        <a:pt x="41" y="35"/>
                      </a:lnTo>
                      <a:close/>
                      <a:moveTo>
                        <a:pt x="25" y="27"/>
                      </a:moveTo>
                      <a:lnTo>
                        <a:pt x="24" y="28"/>
                      </a:lnTo>
                      <a:lnTo>
                        <a:pt x="24" y="29"/>
                      </a:lnTo>
                      <a:lnTo>
                        <a:pt x="24" y="31"/>
                      </a:lnTo>
                      <a:lnTo>
                        <a:pt x="23" y="32"/>
                      </a:lnTo>
                      <a:lnTo>
                        <a:pt x="21" y="32"/>
                      </a:lnTo>
                      <a:lnTo>
                        <a:pt x="20" y="31"/>
                      </a:lnTo>
                      <a:lnTo>
                        <a:pt x="19" y="31"/>
                      </a:lnTo>
                      <a:lnTo>
                        <a:pt x="19" y="29"/>
                      </a:lnTo>
                      <a:lnTo>
                        <a:pt x="19" y="28"/>
                      </a:lnTo>
                      <a:lnTo>
                        <a:pt x="20" y="28"/>
                      </a:lnTo>
                      <a:lnTo>
                        <a:pt x="21" y="28"/>
                      </a:lnTo>
                      <a:lnTo>
                        <a:pt x="23" y="27"/>
                      </a:lnTo>
                      <a:lnTo>
                        <a:pt x="24" y="27"/>
                      </a:lnTo>
                      <a:lnTo>
                        <a:pt x="25" y="27"/>
                      </a:lnTo>
                      <a:close/>
                      <a:moveTo>
                        <a:pt x="98" y="8"/>
                      </a:moveTo>
                      <a:lnTo>
                        <a:pt x="97" y="10"/>
                      </a:lnTo>
                      <a:lnTo>
                        <a:pt x="97" y="11"/>
                      </a:lnTo>
                      <a:lnTo>
                        <a:pt x="97" y="12"/>
                      </a:lnTo>
                      <a:lnTo>
                        <a:pt x="97" y="13"/>
                      </a:lnTo>
                      <a:lnTo>
                        <a:pt x="97" y="14"/>
                      </a:lnTo>
                      <a:lnTo>
                        <a:pt x="96" y="14"/>
                      </a:lnTo>
                      <a:lnTo>
                        <a:pt x="93" y="14"/>
                      </a:lnTo>
                      <a:lnTo>
                        <a:pt x="93" y="13"/>
                      </a:lnTo>
                      <a:lnTo>
                        <a:pt x="92" y="13"/>
                      </a:lnTo>
                      <a:lnTo>
                        <a:pt x="92" y="14"/>
                      </a:lnTo>
                      <a:lnTo>
                        <a:pt x="91" y="14"/>
                      </a:lnTo>
                      <a:lnTo>
                        <a:pt x="89" y="15"/>
                      </a:lnTo>
                      <a:lnTo>
                        <a:pt x="89" y="17"/>
                      </a:lnTo>
                      <a:lnTo>
                        <a:pt x="89" y="18"/>
                      </a:lnTo>
                      <a:lnTo>
                        <a:pt x="90" y="18"/>
                      </a:lnTo>
                      <a:lnTo>
                        <a:pt x="91" y="19"/>
                      </a:lnTo>
                      <a:lnTo>
                        <a:pt x="92" y="20"/>
                      </a:lnTo>
                      <a:lnTo>
                        <a:pt x="93" y="21"/>
                      </a:lnTo>
                      <a:lnTo>
                        <a:pt x="95" y="21"/>
                      </a:lnTo>
                      <a:lnTo>
                        <a:pt x="96" y="21"/>
                      </a:lnTo>
                      <a:lnTo>
                        <a:pt x="96" y="22"/>
                      </a:lnTo>
                      <a:lnTo>
                        <a:pt x="96" y="25"/>
                      </a:lnTo>
                      <a:lnTo>
                        <a:pt x="96" y="26"/>
                      </a:lnTo>
                      <a:lnTo>
                        <a:pt x="97" y="29"/>
                      </a:lnTo>
                      <a:lnTo>
                        <a:pt x="97" y="31"/>
                      </a:lnTo>
                      <a:lnTo>
                        <a:pt x="97" y="32"/>
                      </a:lnTo>
                      <a:lnTo>
                        <a:pt x="96" y="32"/>
                      </a:lnTo>
                      <a:lnTo>
                        <a:pt x="95" y="33"/>
                      </a:lnTo>
                      <a:lnTo>
                        <a:pt x="93" y="33"/>
                      </a:lnTo>
                      <a:lnTo>
                        <a:pt x="93" y="32"/>
                      </a:lnTo>
                      <a:lnTo>
                        <a:pt x="92" y="32"/>
                      </a:lnTo>
                      <a:lnTo>
                        <a:pt x="92" y="31"/>
                      </a:lnTo>
                      <a:lnTo>
                        <a:pt x="91" y="31"/>
                      </a:lnTo>
                      <a:lnTo>
                        <a:pt x="92" y="32"/>
                      </a:lnTo>
                      <a:lnTo>
                        <a:pt x="91" y="33"/>
                      </a:lnTo>
                      <a:lnTo>
                        <a:pt x="90" y="33"/>
                      </a:lnTo>
                      <a:lnTo>
                        <a:pt x="89" y="33"/>
                      </a:lnTo>
                      <a:lnTo>
                        <a:pt x="88" y="34"/>
                      </a:lnTo>
                      <a:lnTo>
                        <a:pt x="85" y="34"/>
                      </a:lnTo>
                      <a:lnTo>
                        <a:pt x="84" y="34"/>
                      </a:lnTo>
                      <a:lnTo>
                        <a:pt x="83" y="34"/>
                      </a:lnTo>
                      <a:lnTo>
                        <a:pt x="82" y="34"/>
                      </a:lnTo>
                      <a:lnTo>
                        <a:pt x="78" y="34"/>
                      </a:lnTo>
                      <a:lnTo>
                        <a:pt x="77" y="35"/>
                      </a:lnTo>
                      <a:lnTo>
                        <a:pt x="74" y="38"/>
                      </a:lnTo>
                      <a:lnTo>
                        <a:pt x="71" y="39"/>
                      </a:lnTo>
                      <a:lnTo>
                        <a:pt x="70" y="39"/>
                      </a:lnTo>
                      <a:lnTo>
                        <a:pt x="67" y="39"/>
                      </a:lnTo>
                      <a:lnTo>
                        <a:pt x="66" y="39"/>
                      </a:lnTo>
                      <a:lnTo>
                        <a:pt x="64" y="40"/>
                      </a:lnTo>
                      <a:lnTo>
                        <a:pt x="62" y="45"/>
                      </a:lnTo>
                      <a:lnTo>
                        <a:pt x="61" y="46"/>
                      </a:lnTo>
                      <a:lnTo>
                        <a:pt x="61" y="48"/>
                      </a:lnTo>
                      <a:lnTo>
                        <a:pt x="57" y="54"/>
                      </a:lnTo>
                      <a:lnTo>
                        <a:pt x="56" y="56"/>
                      </a:lnTo>
                      <a:lnTo>
                        <a:pt x="55" y="56"/>
                      </a:lnTo>
                      <a:lnTo>
                        <a:pt x="54" y="57"/>
                      </a:lnTo>
                      <a:lnTo>
                        <a:pt x="53" y="57"/>
                      </a:lnTo>
                      <a:lnTo>
                        <a:pt x="54" y="57"/>
                      </a:lnTo>
                      <a:lnTo>
                        <a:pt x="55" y="56"/>
                      </a:lnTo>
                      <a:lnTo>
                        <a:pt x="54" y="56"/>
                      </a:lnTo>
                      <a:lnTo>
                        <a:pt x="53" y="56"/>
                      </a:lnTo>
                      <a:lnTo>
                        <a:pt x="53" y="54"/>
                      </a:lnTo>
                      <a:lnTo>
                        <a:pt x="54" y="53"/>
                      </a:lnTo>
                      <a:lnTo>
                        <a:pt x="54" y="52"/>
                      </a:lnTo>
                      <a:lnTo>
                        <a:pt x="55" y="52"/>
                      </a:lnTo>
                      <a:lnTo>
                        <a:pt x="56" y="50"/>
                      </a:lnTo>
                      <a:lnTo>
                        <a:pt x="55" y="50"/>
                      </a:lnTo>
                      <a:lnTo>
                        <a:pt x="56" y="49"/>
                      </a:lnTo>
                      <a:lnTo>
                        <a:pt x="56" y="48"/>
                      </a:lnTo>
                      <a:lnTo>
                        <a:pt x="55" y="48"/>
                      </a:lnTo>
                      <a:lnTo>
                        <a:pt x="55" y="49"/>
                      </a:lnTo>
                      <a:lnTo>
                        <a:pt x="54" y="50"/>
                      </a:lnTo>
                      <a:lnTo>
                        <a:pt x="54" y="52"/>
                      </a:lnTo>
                      <a:lnTo>
                        <a:pt x="53" y="52"/>
                      </a:lnTo>
                      <a:lnTo>
                        <a:pt x="53" y="50"/>
                      </a:lnTo>
                      <a:lnTo>
                        <a:pt x="53" y="52"/>
                      </a:lnTo>
                      <a:lnTo>
                        <a:pt x="52" y="53"/>
                      </a:lnTo>
                      <a:lnTo>
                        <a:pt x="50" y="53"/>
                      </a:lnTo>
                      <a:lnTo>
                        <a:pt x="50" y="54"/>
                      </a:lnTo>
                      <a:lnTo>
                        <a:pt x="49" y="55"/>
                      </a:lnTo>
                      <a:lnTo>
                        <a:pt x="49" y="56"/>
                      </a:lnTo>
                      <a:lnTo>
                        <a:pt x="48" y="56"/>
                      </a:lnTo>
                      <a:lnTo>
                        <a:pt x="48" y="55"/>
                      </a:lnTo>
                      <a:lnTo>
                        <a:pt x="48" y="54"/>
                      </a:lnTo>
                      <a:lnTo>
                        <a:pt x="49" y="54"/>
                      </a:lnTo>
                      <a:lnTo>
                        <a:pt x="49" y="53"/>
                      </a:lnTo>
                      <a:lnTo>
                        <a:pt x="49" y="52"/>
                      </a:lnTo>
                      <a:lnTo>
                        <a:pt x="49" y="49"/>
                      </a:lnTo>
                      <a:lnTo>
                        <a:pt x="49" y="48"/>
                      </a:lnTo>
                      <a:lnTo>
                        <a:pt x="48" y="49"/>
                      </a:lnTo>
                      <a:lnTo>
                        <a:pt x="49" y="49"/>
                      </a:lnTo>
                      <a:lnTo>
                        <a:pt x="49" y="50"/>
                      </a:lnTo>
                      <a:lnTo>
                        <a:pt x="49" y="52"/>
                      </a:lnTo>
                      <a:lnTo>
                        <a:pt x="48" y="52"/>
                      </a:lnTo>
                      <a:lnTo>
                        <a:pt x="47" y="52"/>
                      </a:lnTo>
                      <a:lnTo>
                        <a:pt x="46" y="52"/>
                      </a:lnTo>
                      <a:lnTo>
                        <a:pt x="45" y="52"/>
                      </a:lnTo>
                      <a:lnTo>
                        <a:pt x="45" y="50"/>
                      </a:lnTo>
                      <a:lnTo>
                        <a:pt x="43" y="50"/>
                      </a:lnTo>
                      <a:lnTo>
                        <a:pt x="43" y="49"/>
                      </a:lnTo>
                      <a:lnTo>
                        <a:pt x="43" y="47"/>
                      </a:lnTo>
                      <a:lnTo>
                        <a:pt x="42" y="47"/>
                      </a:lnTo>
                      <a:lnTo>
                        <a:pt x="42" y="46"/>
                      </a:lnTo>
                      <a:lnTo>
                        <a:pt x="43" y="45"/>
                      </a:lnTo>
                      <a:lnTo>
                        <a:pt x="43" y="43"/>
                      </a:lnTo>
                      <a:lnTo>
                        <a:pt x="45" y="43"/>
                      </a:lnTo>
                      <a:lnTo>
                        <a:pt x="46" y="43"/>
                      </a:lnTo>
                      <a:lnTo>
                        <a:pt x="47" y="43"/>
                      </a:lnTo>
                      <a:lnTo>
                        <a:pt x="47" y="42"/>
                      </a:lnTo>
                      <a:lnTo>
                        <a:pt x="46" y="43"/>
                      </a:lnTo>
                      <a:lnTo>
                        <a:pt x="45" y="43"/>
                      </a:lnTo>
                      <a:lnTo>
                        <a:pt x="45" y="42"/>
                      </a:lnTo>
                      <a:lnTo>
                        <a:pt x="45" y="41"/>
                      </a:lnTo>
                      <a:lnTo>
                        <a:pt x="46" y="41"/>
                      </a:lnTo>
                      <a:lnTo>
                        <a:pt x="45" y="41"/>
                      </a:lnTo>
                      <a:lnTo>
                        <a:pt x="45" y="42"/>
                      </a:lnTo>
                      <a:lnTo>
                        <a:pt x="43" y="42"/>
                      </a:lnTo>
                      <a:lnTo>
                        <a:pt x="43" y="43"/>
                      </a:lnTo>
                      <a:lnTo>
                        <a:pt x="42" y="43"/>
                      </a:lnTo>
                      <a:lnTo>
                        <a:pt x="42" y="45"/>
                      </a:lnTo>
                      <a:lnTo>
                        <a:pt x="41" y="45"/>
                      </a:lnTo>
                      <a:lnTo>
                        <a:pt x="40" y="45"/>
                      </a:lnTo>
                      <a:lnTo>
                        <a:pt x="40" y="43"/>
                      </a:lnTo>
                      <a:lnTo>
                        <a:pt x="40" y="42"/>
                      </a:lnTo>
                      <a:lnTo>
                        <a:pt x="41" y="42"/>
                      </a:lnTo>
                      <a:lnTo>
                        <a:pt x="41" y="41"/>
                      </a:lnTo>
                      <a:lnTo>
                        <a:pt x="41" y="40"/>
                      </a:lnTo>
                      <a:lnTo>
                        <a:pt x="42" y="40"/>
                      </a:lnTo>
                      <a:lnTo>
                        <a:pt x="43" y="40"/>
                      </a:lnTo>
                      <a:lnTo>
                        <a:pt x="43" y="39"/>
                      </a:lnTo>
                      <a:lnTo>
                        <a:pt x="42" y="39"/>
                      </a:lnTo>
                      <a:lnTo>
                        <a:pt x="43" y="39"/>
                      </a:lnTo>
                      <a:lnTo>
                        <a:pt x="45" y="39"/>
                      </a:lnTo>
                      <a:lnTo>
                        <a:pt x="45" y="38"/>
                      </a:lnTo>
                      <a:lnTo>
                        <a:pt x="46" y="38"/>
                      </a:lnTo>
                      <a:lnTo>
                        <a:pt x="46" y="39"/>
                      </a:lnTo>
                      <a:lnTo>
                        <a:pt x="47" y="39"/>
                      </a:lnTo>
                      <a:lnTo>
                        <a:pt x="47" y="38"/>
                      </a:lnTo>
                      <a:lnTo>
                        <a:pt x="46" y="38"/>
                      </a:lnTo>
                      <a:lnTo>
                        <a:pt x="46" y="36"/>
                      </a:lnTo>
                      <a:lnTo>
                        <a:pt x="46" y="38"/>
                      </a:lnTo>
                      <a:lnTo>
                        <a:pt x="45" y="38"/>
                      </a:lnTo>
                      <a:lnTo>
                        <a:pt x="45" y="36"/>
                      </a:lnTo>
                      <a:lnTo>
                        <a:pt x="46" y="36"/>
                      </a:lnTo>
                      <a:lnTo>
                        <a:pt x="47" y="36"/>
                      </a:lnTo>
                      <a:lnTo>
                        <a:pt x="47" y="38"/>
                      </a:lnTo>
                      <a:lnTo>
                        <a:pt x="48" y="38"/>
                      </a:lnTo>
                      <a:lnTo>
                        <a:pt x="48" y="36"/>
                      </a:lnTo>
                      <a:lnTo>
                        <a:pt x="47" y="36"/>
                      </a:lnTo>
                      <a:lnTo>
                        <a:pt x="47" y="35"/>
                      </a:lnTo>
                      <a:lnTo>
                        <a:pt x="48" y="35"/>
                      </a:lnTo>
                      <a:lnTo>
                        <a:pt x="48" y="36"/>
                      </a:lnTo>
                      <a:lnTo>
                        <a:pt x="48" y="35"/>
                      </a:lnTo>
                      <a:lnTo>
                        <a:pt x="48" y="36"/>
                      </a:lnTo>
                      <a:lnTo>
                        <a:pt x="49" y="38"/>
                      </a:lnTo>
                      <a:lnTo>
                        <a:pt x="49" y="36"/>
                      </a:lnTo>
                      <a:lnTo>
                        <a:pt x="49" y="35"/>
                      </a:lnTo>
                      <a:lnTo>
                        <a:pt x="50" y="35"/>
                      </a:lnTo>
                      <a:lnTo>
                        <a:pt x="52" y="35"/>
                      </a:lnTo>
                      <a:lnTo>
                        <a:pt x="52" y="36"/>
                      </a:lnTo>
                      <a:lnTo>
                        <a:pt x="52" y="35"/>
                      </a:lnTo>
                      <a:lnTo>
                        <a:pt x="53" y="35"/>
                      </a:lnTo>
                      <a:lnTo>
                        <a:pt x="53" y="36"/>
                      </a:lnTo>
                      <a:lnTo>
                        <a:pt x="52" y="36"/>
                      </a:lnTo>
                      <a:lnTo>
                        <a:pt x="52" y="38"/>
                      </a:lnTo>
                      <a:lnTo>
                        <a:pt x="53" y="38"/>
                      </a:lnTo>
                      <a:lnTo>
                        <a:pt x="54" y="38"/>
                      </a:lnTo>
                      <a:lnTo>
                        <a:pt x="54" y="36"/>
                      </a:lnTo>
                      <a:lnTo>
                        <a:pt x="55" y="36"/>
                      </a:lnTo>
                      <a:lnTo>
                        <a:pt x="55" y="35"/>
                      </a:lnTo>
                      <a:lnTo>
                        <a:pt x="55" y="36"/>
                      </a:lnTo>
                      <a:lnTo>
                        <a:pt x="54" y="36"/>
                      </a:lnTo>
                      <a:lnTo>
                        <a:pt x="53" y="36"/>
                      </a:lnTo>
                      <a:lnTo>
                        <a:pt x="53" y="35"/>
                      </a:lnTo>
                      <a:lnTo>
                        <a:pt x="54" y="35"/>
                      </a:lnTo>
                      <a:lnTo>
                        <a:pt x="54" y="34"/>
                      </a:lnTo>
                      <a:lnTo>
                        <a:pt x="53" y="35"/>
                      </a:lnTo>
                      <a:lnTo>
                        <a:pt x="52" y="35"/>
                      </a:lnTo>
                      <a:lnTo>
                        <a:pt x="52" y="34"/>
                      </a:lnTo>
                      <a:lnTo>
                        <a:pt x="53" y="34"/>
                      </a:lnTo>
                      <a:lnTo>
                        <a:pt x="53" y="33"/>
                      </a:lnTo>
                      <a:lnTo>
                        <a:pt x="52" y="33"/>
                      </a:lnTo>
                      <a:lnTo>
                        <a:pt x="52" y="34"/>
                      </a:lnTo>
                      <a:lnTo>
                        <a:pt x="50" y="34"/>
                      </a:lnTo>
                      <a:lnTo>
                        <a:pt x="52" y="34"/>
                      </a:lnTo>
                      <a:lnTo>
                        <a:pt x="52" y="33"/>
                      </a:lnTo>
                      <a:lnTo>
                        <a:pt x="50" y="33"/>
                      </a:lnTo>
                      <a:lnTo>
                        <a:pt x="50" y="34"/>
                      </a:lnTo>
                      <a:lnTo>
                        <a:pt x="49" y="34"/>
                      </a:lnTo>
                      <a:lnTo>
                        <a:pt x="48" y="34"/>
                      </a:lnTo>
                      <a:lnTo>
                        <a:pt x="49" y="33"/>
                      </a:lnTo>
                      <a:lnTo>
                        <a:pt x="49" y="32"/>
                      </a:lnTo>
                      <a:lnTo>
                        <a:pt x="50" y="33"/>
                      </a:lnTo>
                      <a:lnTo>
                        <a:pt x="49" y="32"/>
                      </a:lnTo>
                      <a:lnTo>
                        <a:pt x="48" y="32"/>
                      </a:lnTo>
                      <a:lnTo>
                        <a:pt x="48" y="33"/>
                      </a:lnTo>
                      <a:lnTo>
                        <a:pt x="48" y="34"/>
                      </a:lnTo>
                      <a:lnTo>
                        <a:pt x="47" y="34"/>
                      </a:lnTo>
                      <a:lnTo>
                        <a:pt x="47" y="33"/>
                      </a:lnTo>
                      <a:lnTo>
                        <a:pt x="47" y="32"/>
                      </a:lnTo>
                      <a:lnTo>
                        <a:pt x="47" y="33"/>
                      </a:lnTo>
                      <a:lnTo>
                        <a:pt x="46" y="33"/>
                      </a:lnTo>
                      <a:lnTo>
                        <a:pt x="47" y="34"/>
                      </a:lnTo>
                      <a:lnTo>
                        <a:pt x="46" y="34"/>
                      </a:lnTo>
                      <a:lnTo>
                        <a:pt x="46" y="35"/>
                      </a:lnTo>
                      <a:lnTo>
                        <a:pt x="46" y="34"/>
                      </a:lnTo>
                      <a:lnTo>
                        <a:pt x="45" y="34"/>
                      </a:lnTo>
                      <a:lnTo>
                        <a:pt x="45" y="35"/>
                      </a:lnTo>
                      <a:lnTo>
                        <a:pt x="45" y="36"/>
                      </a:lnTo>
                      <a:lnTo>
                        <a:pt x="45" y="35"/>
                      </a:lnTo>
                      <a:lnTo>
                        <a:pt x="43" y="34"/>
                      </a:lnTo>
                      <a:lnTo>
                        <a:pt x="43" y="35"/>
                      </a:lnTo>
                      <a:lnTo>
                        <a:pt x="43" y="36"/>
                      </a:lnTo>
                      <a:lnTo>
                        <a:pt x="45" y="36"/>
                      </a:lnTo>
                      <a:lnTo>
                        <a:pt x="43" y="36"/>
                      </a:lnTo>
                      <a:lnTo>
                        <a:pt x="42" y="36"/>
                      </a:lnTo>
                      <a:lnTo>
                        <a:pt x="42" y="38"/>
                      </a:lnTo>
                      <a:lnTo>
                        <a:pt x="41" y="38"/>
                      </a:lnTo>
                      <a:lnTo>
                        <a:pt x="41" y="36"/>
                      </a:lnTo>
                      <a:lnTo>
                        <a:pt x="41" y="35"/>
                      </a:lnTo>
                      <a:lnTo>
                        <a:pt x="42" y="35"/>
                      </a:lnTo>
                      <a:lnTo>
                        <a:pt x="42" y="34"/>
                      </a:lnTo>
                      <a:lnTo>
                        <a:pt x="42" y="33"/>
                      </a:lnTo>
                      <a:lnTo>
                        <a:pt x="41" y="34"/>
                      </a:lnTo>
                      <a:lnTo>
                        <a:pt x="41" y="35"/>
                      </a:lnTo>
                      <a:lnTo>
                        <a:pt x="40" y="34"/>
                      </a:lnTo>
                      <a:lnTo>
                        <a:pt x="40" y="33"/>
                      </a:lnTo>
                      <a:lnTo>
                        <a:pt x="39" y="33"/>
                      </a:lnTo>
                      <a:lnTo>
                        <a:pt x="39" y="34"/>
                      </a:lnTo>
                      <a:lnTo>
                        <a:pt x="39" y="33"/>
                      </a:lnTo>
                      <a:lnTo>
                        <a:pt x="39" y="32"/>
                      </a:lnTo>
                      <a:lnTo>
                        <a:pt x="39" y="31"/>
                      </a:lnTo>
                      <a:lnTo>
                        <a:pt x="40" y="29"/>
                      </a:lnTo>
                      <a:lnTo>
                        <a:pt x="41" y="28"/>
                      </a:lnTo>
                      <a:lnTo>
                        <a:pt x="41" y="27"/>
                      </a:lnTo>
                      <a:lnTo>
                        <a:pt x="42" y="27"/>
                      </a:lnTo>
                      <a:lnTo>
                        <a:pt x="43" y="27"/>
                      </a:lnTo>
                      <a:lnTo>
                        <a:pt x="45" y="27"/>
                      </a:lnTo>
                      <a:lnTo>
                        <a:pt x="46" y="27"/>
                      </a:lnTo>
                      <a:lnTo>
                        <a:pt x="49" y="27"/>
                      </a:lnTo>
                      <a:lnTo>
                        <a:pt x="50" y="27"/>
                      </a:lnTo>
                      <a:lnTo>
                        <a:pt x="52" y="27"/>
                      </a:lnTo>
                      <a:lnTo>
                        <a:pt x="52" y="26"/>
                      </a:lnTo>
                      <a:lnTo>
                        <a:pt x="53" y="26"/>
                      </a:lnTo>
                      <a:lnTo>
                        <a:pt x="53" y="25"/>
                      </a:lnTo>
                      <a:lnTo>
                        <a:pt x="54" y="25"/>
                      </a:lnTo>
                      <a:lnTo>
                        <a:pt x="54" y="26"/>
                      </a:lnTo>
                      <a:lnTo>
                        <a:pt x="53" y="27"/>
                      </a:lnTo>
                      <a:lnTo>
                        <a:pt x="53" y="28"/>
                      </a:lnTo>
                      <a:lnTo>
                        <a:pt x="53" y="29"/>
                      </a:lnTo>
                      <a:lnTo>
                        <a:pt x="54" y="29"/>
                      </a:lnTo>
                      <a:lnTo>
                        <a:pt x="55" y="31"/>
                      </a:lnTo>
                      <a:lnTo>
                        <a:pt x="56" y="31"/>
                      </a:lnTo>
                      <a:lnTo>
                        <a:pt x="56" y="32"/>
                      </a:lnTo>
                      <a:lnTo>
                        <a:pt x="57" y="32"/>
                      </a:lnTo>
                      <a:lnTo>
                        <a:pt x="59" y="31"/>
                      </a:lnTo>
                      <a:lnTo>
                        <a:pt x="57" y="31"/>
                      </a:lnTo>
                      <a:lnTo>
                        <a:pt x="56" y="31"/>
                      </a:lnTo>
                      <a:lnTo>
                        <a:pt x="56" y="29"/>
                      </a:lnTo>
                      <a:lnTo>
                        <a:pt x="55" y="29"/>
                      </a:lnTo>
                      <a:lnTo>
                        <a:pt x="54" y="29"/>
                      </a:lnTo>
                      <a:lnTo>
                        <a:pt x="54" y="28"/>
                      </a:lnTo>
                      <a:lnTo>
                        <a:pt x="54" y="27"/>
                      </a:lnTo>
                      <a:lnTo>
                        <a:pt x="55" y="25"/>
                      </a:lnTo>
                      <a:lnTo>
                        <a:pt x="56" y="25"/>
                      </a:lnTo>
                      <a:lnTo>
                        <a:pt x="55" y="24"/>
                      </a:lnTo>
                      <a:lnTo>
                        <a:pt x="54" y="24"/>
                      </a:lnTo>
                      <a:lnTo>
                        <a:pt x="53" y="24"/>
                      </a:lnTo>
                      <a:lnTo>
                        <a:pt x="52" y="25"/>
                      </a:lnTo>
                      <a:lnTo>
                        <a:pt x="50" y="25"/>
                      </a:lnTo>
                      <a:lnTo>
                        <a:pt x="50" y="26"/>
                      </a:lnTo>
                      <a:lnTo>
                        <a:pt x="49" y="26"/>
                      </a:lnTo>
                      <a:lnTo>
                        <a:pt x="48" y="26"/>
                      </a:lnTo>
                      <a:lnTo>
                        <a:pt x="47" y="26"/>
                      </a:lnTo>
                      <a:lnTo>
                        <a:pt x="46" y="26"/>
                      </a:lnTo>
                      <a:lnTo>
                        <a:pt x="45" y="25"/>
                      </a:lnTo>
                      <a:lnTo>
                        <a:pt x="43" y="25"/>
                      </a:lnTo>
                      <a:lnTo>
                        <a:pt x="42" y="25"/>
                      </a:lnTo>
                      <a:lnTo>
                        <a:pt x="41" y="25"/>
                      </a:lnTo>
                      <a:lnTo>
                        <a:pt x="41" y="26"/>
                      </a:lnTo>
                      <a:lnTo>
                        <a:pt x="40" y="26"/>
                      </a:lnTo>
                      <a:lnTo>
                        <a:pt x="39" y="27"/>
                      </a:lnTo>
                      <a:lnTo>
                        <a:pt x="38" y="27"/>
                      </a:lnTo>
                      <a:lnTo>
                        <a:pt x="38" y="28"/>
                      </a:lnTo>
                      <a:lnTo>
                        <a:pt x="36" y="28"/>
                      </a:lnTo>
                      <a:lnTo>
                        <a:pt x="35" y="29"/>
                      </a:lnTo>
                      <a:lnTo>
                        <a:pt x="34" y="29"/>
                      </a:lnTo>
                      <a:lnTo>
                        <a:pt x="32" y="31"/>
                      </a:lnTo>
                      <a:lnTo>
                        <a:pt x="29" y="32"/>
                      </a:lnTo>
                      <a:lnTo>
                        <a:pt x="29" y="29"/>
                      </a:lnTo>
                      <a:lnTo>
                        <a:pt x="31" y="28"/>
                      </a:lnTo>
                      <a:lnTo>
                        <a:pt x="32" y="28"/>
                      </a:lnTo>
                      <a:lnTo>
                        <a:pt x="31" y="27"/>
                      </a:lnTo>
                      <a:lnTo>
                        <a:pt x="29" y="28"/>
                      </a:lnTo>
                      <a:lnTo>
                        <a:pt x="29" y="29"/>
                      </a:lnTo>
                      <a:lnTo>
                        <a:pt x="28" y="31"/>
                      </a:lnTo>
                      <a:lnTo>
                        <a:pt x="28" y="32"/>
                      </a:lnTo>
                      <a:lnTo>
                        <a:pt x="28" y="31"/>
                      </a:lnTo>
                      <a:lnTo>
                        <a:pt x="27" y="31"/>
                      </a:lnTo>
                      <a:lnTo>
                        <a:pt x="28" y="29"/>
                      </a:lnTo>
                      <a:lnTo>
                        <a:pt x="27" y="29"/>
                      </a:lnTo>
                      <a:lnTo>
                        <a:pt x="27" y="31"/>
                      </a:lnTo>
                      <a:lnTo>
                        <a:pt x="27" y="32"/>
                      </a:lnTo>
                      <a:lnTo>
                        <a:pt x="26" y="32"/>
                      </a:lnTo>
                      <a:lnTo>
                        <a:pt x="25" y="33"/>
                      </a:lnTo>
                      <a:lnTo>
                        <a:pt x="25" y="32"/>
                      </a:lnTo>
                      <a:lnTo>
                        <a:pt x="25" y="31"/>
                      </a:lnTo>
                      <a:lnTo>
                        <a:pt x="26" y="29"/>
                      </a:lnTo>
                      <a:lnTo>
                        <a:pt x="26" y="28"/>
                      </a:lnTo>
                      <a:lnTo>
                        <a:pt x="26" y="27"/>
                      </a:lnTo>
                      <a:lnTo>
                        <a:pt x="27" y="27"/>
                      </a:lnTo>
                      <a:lnTo>
                        <a:pt x="27" y="26"/>
                      </a:lnTo>
                      <a:lnTo>
                        <a:pt x="28" y="25"/>
                      </a:lnTo>
                      <a:lnTo>
                        <a:pt x="28" y="24"/>
                      </a:lnTo>
                      <a:lnTo>
                        <a:pt x="29" y="24"/>
                      </a:lnTo>
                      <a:lnTo>
                        <a:pt x="31" y="24"/>
                      </a:lnTo>
                      <a:lnTo>
                        <a:pt x="31" y="25"/>
                      </a:lnTo>
                      <a:lnTo>
                        <a:pt x="32" y="25"/>
                      </a:lnTo>
                      <a:lnTo>
                        <a:pt x="33" y="25"/>
                      </a:lnTo>
                      <a:lnTo>
                        <a:pt x="33" y="24"/>
                      </a:lnTo>
                      <a:lnTo>
                        <a:pt x="32" y="24"/>
                      </a:lnTo>
                      <a:lnTo>
                        <a:pt x="31" y="24"/>
                      </a:lnTo>
                      <a:lnTo>
                        <a:pt x="29" y="24"/>
                      </a:lnTo>
                      <a:lnTo>
                        <a:pt x="28" y="24"/>
                      </a:lnTo>
                      <a:lnTo>
                        <a:pt x="28" y="22"/>
                      </a:lnTo>
                      <a:lnTo>
                        <a:pt x="28" y="24"/>
                      </a:lnTo>
                      <a:lnTo>
                        <a:pt x="27" y="24"/>
                      </a:lnTo>
                      <a:lnTo>
                        <a:pt x="26" y="24"/>
                      </a:lnTo>
                      <a:lnTo>
                        <a:pt x="26" y="25"/>
                      </a:lnTo>
                      <a:lnTo>
                        <a:pt x="25" y="26"/>
                      </a:lnTo>
                      <a:lnTo>
                        <a:pt x="23" y="26"/>
                      </a:lnTo>
                      <a:lnTo>
                        <a:pt x="21" y="27"/>
                      </a:lnTo>
                      <a:lnTo>
                        <a:pt x="20" y="27"/>
                      </a:lnTo>
                      <a:lnTo>
                        <a:pt x="19" y="27"/>
                      </a:lnTo>
                      <a:lnTo>
                        <a:pt x="18" y="27"/>
                      </a:lnTo>
                      <a:lnTo>
                        <a:pt x="17" y="27"/>
                      </a:lnTo>
                      <a:lnTo>
                        <a:pt x="17" y="26"/>
                      </a:lnTo>
                      <a:lnTo>
                        <a:pt x="16" y="26"/>
                      </a:lnTo>
                      <a:lnTo>
                        <a:pt x="16" y="25"/>
                      </a:lnTo>
                      <a:lnTo>
                        <a:pt x="14" y="25"/>
                      </a:lnTo>
                      <a:lnTo>
                        <a:pt x="13" y="25"/>
                      </a:lnTo>
                      <a:lnTo>
                        <a:pt x="13" y="24"/>
                      </a:lnTo>
                      <a:lnTo>
                        <a:pt x="13" y="22"/>
                      </a:lnTo>
                      <a:lnTo>
                        <a:pt x="12" y="21"/>
                      </a:lnTo>
                      <a:lnTo>
                        <a:pt x="13" y="19"/>
                      </a:lnTo>
                      <a:lnTo>
                        <a:pt x="14" y="18"/>
                      </a:lnTo>
                      <a:lnTo>
                        <a:pt x="14" y="19"/>
                      </a:lnTo>
                      <a:lnTo>
                        <a:pt x="16" y="19"/>
                      </a:lnTo>
                      <a:lnTo>
                        <a:pt x="16" y="18"/>
                      </a:lnTo>
                      <a:lnTo>
                        <a:pt x="16" y="17"/>
                      </a:lnTo>
                      <a:lnTo>
                        <a:pt x="17" y="15"/>
                      </a:lnTo>
                      <a:lnTo>
                        <a:pt x="19" y="14"/>
                      </a:lnTo>
                      <a:lnTo>
                        <a:pt x="20" y="14"/>
                      </a:lnTo>
                      <a:lnTo>
                        <a:pt x="20" y="13"/>
                      </a:lnTo>
                      <a:lnTo>
                        <a:pt x="21" y="13"/>
                      </a:lnTo>
                      <a:lnTo>
                        <a:pt x="21" y="12"/>
                      </a:lnTo>
                      <a:lnTo>
                        <a:pt x="20" y="12"/>
                      </a:lnTo>
                      <a:lnTo>
                        <a:pt x="20" y="13"/>
                      </a:lnTo>
                      <a:lnTo>
                        <a:pt x="19" y="14"/>
                      </a:lnTo>
                      <a:lnTo>
                        <a:pt x="17" y="14"/>
                      </a:lnTo>
                      <a:lnTo>
                        <a:pt x="16" y="15"/>
                      </a:lnTo>
                      <a:lnTo>
                        <a:pt x="14" y="17"/>
                      </a:lnTo>
                      <a:lnTo>
                        <a:pt x="13" y="17"/>
                      </a:lnTo>
                      <a:lnTo>
                        <a:pt x="13" y="15"/>
                      </a:lnTo>
                      <a:lnTo>
                        <a:pt x="13" y="17"/>
                      </a:lnTo>
                      <a:lnTo>
                        <a:pt x="12" y="18"/>
                      </a:lnTo>
                      <a:lnTo>
                        <a:pt x="11" y="18"/>
                      </a:lnTo>
                      <a:lnTo>
                        <a:pt x="10" y="18"/>
                      </a:lnTo>
                      <a:lnTo>
                        <a:pt x="10" y="19"/>
                      </a:lnTo>
                      <a:lnTo>
                        <a:pt x="9" y="19"/>
                      </a:lnTo>
                      <a:lnTo>
                        <a:pt x="9" y="18"/>
                      </a:lnTo>
                      <a:lnTo>
                        <a:pt x="7" y="18"/>
                      </a:lnTo>
                      <a:lnTo>
                        <a:pt x="7" y="17"/>
                      </a:lnTo>
                      <a:lnTo>
                        <a:pt x="6" y="17"/>
                      </a:lnTo>
                      <a:lnTo>
                        <a:pt x="6" y="15"/>
                      </a:lnTo>
                      <a:lnTo>
                        <a:pt x="5" y="15"/>
                      </a:lnTo>
                      <a:lnTo>
                        <a:pt x="4" y="15"/>
                      </a:lnTo>
                      <a:lnTo>
                        <a:pt x="4" y="14"/>
                      </a:lnTo>
                      <a:lnTo>
                        <a:pt x="3" y="13"/>
                      </a:lnTo>
                      <a:lnTo>
                        <a:pt x="2" y="13"/>
                      </a:lnTo>
                      <a:lnTo>
                        <a:pt x="0" y="14"/>
                      </a:lnTo>
                      <a:lnTo>
                        <a:pt x="0" y="13"/>
                      </a:lnTo>
                      <a:lnTo>
                        <a:pt x="2" y="13"/>
                      </a:lnTo>
                      <a:lnTo>
                        <a:pt x="3" y="13"/>
                      </a:lnTo>
                      <a:lnTo>
                        <a:pt x="6" y="13"/>
                      </a:lnTo>
                      <a:lnTo>
                        <a:pt x="7" y="13"/>
                      </a:lnTo>
                      <a:lnTo>
                        <a:pt x="9" y="12"/>
                      </a:lnTo>
                      <a:lnTo>
                        <a:pt x="11" y="12"/>
                      </a:lnTo>
                      <a:lnTo>
                        <a:pt x="14" y="11"/>
                      </a:lnTo>
                      <a:lnTo>
                        <a:pt x="17" y="10"/>
                      </a:lnTo>
                      <a:lnTo>
                        <a:pt x="18" y="10"/>
                      </a:lnTo>
                      <a:lnTo>
                        <a:pt x="20" y="8"/>
                      </a:lnTo>
                      <a:lnTo>
                        <a:pt x="21" y="8"/>
                      </a:lnTo>
                      <a:lnTo>
                        <a:pt x="24" y="10"/>
                      </a:lnTo>
                      <a:lnTo>
                        <a:pt x="25" y="10"/>
                      </a:lnTo>
                      <a:lnTo>
                        <a:pt x="27" y="10"/>
                      </a:lnTo>
                      <a:lnTo>
                        <a:pt x="33" y="10"/>
                      </a:lnTo>
                      <a:lnTo>
                        <a:pt x="34" y="10"/>
                      </a:lnTo>
                      <a:lnTo>
                        <a:pt x="42" y="5"/>
                      </a:lnTo>
                      <a:lnTo>
                        <a:pt x="43" y="4"/>
                      </a:lnTo>
                      <a:lnTo>
                        <a:pt x="46" y="4"/>
                      </a:lnTo>
                      <a:lnTo>
                        <a:pt x="47" y="1"/>
                      </a:lnTo>
                      <a:lnTo>
                        <a:pt x="48" y="1"/>
                      </a:lnTo>
                      <a:lnTo>
                        <a:pt x="49" y="1"/>
                      </a:lnTo>
                      <a:lnTo>
                        <a:pt x="50" y="1"/>
                      </a:lnTo>
                      <a:lnTo>
                        <a:pt x="60" y="1"/>
                      </a:lnTo>
                      <a:lnTo>
                        <a:pt x="62" y="1"/>
                      </a:lnTo>
                      <a:lnTo>
                        <a:pt x="74" y="1"/>
                      </a:lnTo>
                      <a:lnTo>
                        <a:pt x="76" y="1"/>
                      </a:lnTo>
                      <a:lnTo>
                        <a:pt x="84" y="0"/>
                      </a:lnTo>
                      <a:lnTo>
                        <a:pt x="96" y="0"/>
                      </a:lnTo>
                      <a:lnTo>
                        <a:pt x="96" y="3"/>
                      </a:lnTo>
                      <a:lnTo>
                        <a:pt x="96" y="4"/>
                      </a:lnTo>
                      <a:lnTo>
                        <a:pt x="96" y="5"/>
                      </a:lnTo>
                      <a:lnTo>
                        <a:pt x="97" y="6"/>
                      </a:lnTo>
                      <a:lnTo>
                        <a:pt x="98" y="7"/>
                      </a:lnTo>
                      <a:lnTo>
                        <a:pt x="98" y="8"/>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3" name="Freeform 94">
                  <a:extLst>
                    <a:ext uri="{FF2B5EF4-FFF2-40B4-BE49-F238E27FC236}">
                      <a16:creationId xmlns:a16="http://schemas.microsoft.com/office/drawing/2014/main" id="{08F8766F-76D0-096F-A061-C21FBF02D70B}"/>
                    </a:ext>
                  </a:extLst>
                </p:cNvPr>
                <p:cNvSpPr>
                  <a:spLocks noEditPoints="1"/>
                </p:cNvSpPr>
                <p:nvPr/>
              </p:nvSpPr>
              <p:spPr bwMode="auto">
                <a:xfrm>
                  <a:off x="6422729" y="3672052"/>
                  <a:ext cx="194712" cy="178486"/>
                </a:xfrm>
                <a:custGeom>
                  <a:avLst/>
                  <a:gdLst>
                    <a:gd name="T0" fmla="*/ 0 w 180"/>
                    <a:gd name="T1" fmla="*/ 165 h 165"/>
                    <a:gd name="T2" fmla="*/ 0 w 180"/>
                    <a:gd name="T3" fmla="*/ 164 h 165"/>
                    <a:gd name="T4" fmla="*/ 1 w 180"/>
                    <a:gd name="T5" fmla="*/ 165 h 165"/>
                    <a:gd name="T6" fmla="*/ 143 w 180"/>
                    <a:gd name="T7" fmla="*/ 50 h 165"/>
                    <a:gd name="T8" fmla="*/ 170 w 180"/>
                    <a:gd name="T9" fmla="*/ 50 h 165"/>
                    <a:gd name="T10" fmla="*/ 180 w 180"/>
                    <a:gd name="T11" fmla="*/ 62 h 165"/>
                    <a:gd name="T12" fmla="*/ 180 w 180"/>
                    <a:gd name="T13" fmla="*/ 86 h 165"/>
                    <a:gd name="T14" fmla="*/ 151 w 180"/>
                    <a:gd name="T15" fmla="*/ 86 h 165"/>
                    <a:gd name="T16" fmla="*/ 139 w 180"/>
                    <a:gd name="T17" fmla="*/ 86 h 165"/>
                    <a:gd name="T18" fmla="*/ 137 w 180"/>
                    <a:gd name="T19" fmla="*/ 88 h 165"/>
                    <a:gd name="T20" fmla="*/ 135 w 180"/>
                    <a:gd name="T21" fmla="*/ 88 h 165"/>
                    <a:gd name="T22" fmla="*/ 133 w 180"/>
                    <a:gd name="T23" fmla="*/ 87 h 165"/>
                    <a:gd name="T24" fmla="*/ 132 w 180"/>
                    <a:gd name="T25" fmla="*/ 86 h 165"/>
                    <a:gd name="T26" fmla="*/ 133 w 180"/>
                    <a:gd name="T27" fmla="*/ 85 h 165"/>
                    <a:gd name="T28" fmla="*/ 133 w 180"/>
                    <a:gd name="T29" fmla="*/ 84 h 165"/>
                    <a:gd name="T30" fmla="*/ 130 w 180"/>
                    <a:gd name="T31" fmla="*/ 84 h 165"/>
                    <a:gd name="T32" fmla="*/ 128 w 180"/>
                    <a:gd name="T33" fmla="*/ 84 h 165"/>
                    <a:gd name="T34" fmla="*/ 128 w 180"/>
                    <a:gd name="T35" fmla="*/ 83 h 165"/>
                    <a:gd name="T36" fmla="*/ 127 w 180"/>
                    <a:gd name="T37" fmla="*/ 85 h 165"/>
                    <a:gd name="T38" fmla="*/ 125 w 180"/>
                    <a:gd name="T39" fmla="*/ 84 h 165"/>
                    <a:gd name="T40" fmla="*/ 122 w 180"/>
                    <a:gd name="T41" fmla="*/ 83 h 165"/>
                    <a:gd name="T42" fmla="*/ 120 w 180"/>
                    <a:gd name="T43" fmla="*/ 84 h 165"/>
                    <a:gd name="T44" fmla="*/ 118 w 180"/>
                    <a:gd name="T45" fmla="*/ 83 h 165"/>
                    <a:gd name="T46" fmla="*/ 118 w 180"/>
                    <a:gd name="T47" fmla="*/ 81 h 165"/>
                    <a:gd name="T48" fmla="*/ 119 w 180"/>
                    <a:gd name="T49" fmla="*/ 78 h 165"/>
                    <a:gd name="T50" fmla="*/ 121 w 180"/>
                    <a:gd name="T51" fmla="*/ 76 h 165"/>
                    <a:gd name="T52" fmla="*/ 122 w 180"/>
                    <a:gd name="T53" fmla="*/ 73 h 165"/>
                    <a:gd name="T54" fmla="*/ 123 w 180"/>
                    <a:gd name="T55" fmla="*/ 71 h 165"/>
                    <a:gd name="T56" fmla="*/ 125 w 180"/>
                    <a:gd name="T57" fmla="*/ 70 h 165"/>
                    <a:gd name="T58" fmla="*/ 127 w 180"/>
                    <a:gd name="T59" fmla="*/ 69 h 165"/>
                    <a:gd name="T60" fmla="*/ 129 w 180"/>
                    <a:gd name="T61" fmla="*/ 69 h 165"/>
                    <a:gd name="T62" fmla="*/ 127 w 180"/>
                    <a:gd name="T63" fmla="*/ 69 h 165"/>
                    <a:gd name="T64" fmla="*/ 128 w 180"/>
                    <a:gd name="T65" fmla="*/ 64 h 165"/>
                    <a:gd name="T66" fmla="*/ 128 w 180"/>
                    <a:gd name="T67" fmla="*/ 63 h 165"/>
                    <a:gd name="T68" fmla="*/ 129 w 180"/>
                    <a:gd name="T69" fmla="*/ 62 h 165"/>
                    <a:gd name="T70" fmla="*/ 130 w 180"/>
                    <a:gd name="T71" fmla="*/ 60 h 165"/>
                    <a:gd name="T72" fmla="*/ 132 w 180"/>
                    <a:gd name="T73" fmla="*/ 58 h 165"/>
                    <a:gd name="T74" fmla="*/ 130 w 180"/>
                    <a:gd name="T75" fmla="*/ 52 h 165"/>
                    <a:gd name="T76" fmla="*/ 130 w 180"/>
                    <a:gd name="T77" fmla="*/ 51 h 165"/>
                    <a:gd name="T78" fmla="*/ 130 w 180"/>
                    <a:gd name="T79" fmla="*/ 46 h 165"/>
                    <a:gd name="T80" fmla="*/ 132 w 180"/>
                    <a:gd name="T81" fmla="*/ 44 h 165"/>
                    <a:gd name="T82" fmla="*/ 132 w 180"/>
                    <a:gd name="T83" fmla="*/ 46 h 165"/>
                    <a:gd name="T84" fmla="*/ 134 w 180"/>
                    <a:gd name="T85" fmla="*/ 49 h 165"/>
                    <a:gd name="T86" fmla="*/ 99 w 180"/>
                    <a:gd name="T87" fmla="*/ 0 h 165"/>
                    <a:gd name="T88" fmla="*/ 102 w 180"/>
                    <a:gd name="T89" fmla="*/ 0 h 165"/>
                    <a:gd name="T90" fmla="*/ 104 w 180"/>
                    <a:gd name="T91" fmla="*/ 0 h 165"/>
                    <a:gd name="T92" fmla="*/ 105 w 180"/>
                    <a:gd name="T93" fmla="*/ 3 h 165"/>
                    <a:gd name="T94" fmla="*/ 102 w 180"/>
                    <a:gd name="T95" fmla="*/ 6 h 165"/>
                    <a:gd name="T96" fmla="*/ 100 w 180"/>
                    <a:gd name="T97" fmla="*/ 9 h 165"/>
                    <a:gd name="T98" fmla="*/ 100 w 180"/>
                    <a:gd name="T99" fmla="*/ 10 h 165"/>
                    <a:gd name="T100" fmla="*/ 99 w 180"/>
                    <a:gd name="T101" fmla="*/ 14 h 165"/>
                    <a:gd name="T102" fmla="*/ 95 w 180"/>
                    <a:gd name="T103" fmla="*/ 17 h 165"/>
                    <a:gd name="T104" fmla="*/ 94 w 180"/>
                    <a:gd name="T105" fmla="*/ 17 h 165"/>
                    <a:gd name="T106" fmla="*/ 92 w 180"/>
                    <a:gd name="T107" fmla="*/ 16 h 165"/>
                    <a:gd name="T108" fmla="*/ 90 w 180"/>
                    <a:gd name="T109" fmla="*/ 16 h 165"/>
                    <a:gd name="T110" fmla="*/ 88 w 180"/>
                    <a:gd name="T111" fmla="*/ 14 h 165"/>
                    <a:gd name="T112" fmla="*/ 87 w 180"/>
                    <a:gd name="T113" fmla="*/ 13 h 165"/>
                    <a:gd name="T114" fmla="*/ 88 w 180"/>
                    <a:gd name="T115" fmla="*/ 9 h 165"/>
                    <a:gd name="T116" fmla="*/ 92 w 180"/>
                    <a:gd name="T117" fmla="*/ 9 h 165"/>
                    <a:gd name="T118" fmla="*/ 92 w 180"/>
                    <a:gd name="T119" fmla="*/ 8 h 165"/>
                    <a:gd name="T120" fmla="*/ 93 w 180"/>
                    <a:gd name="T121" fmla="*/ 7 h 165"/>
                    <a:gd name="T122" fmla="*/ 97 w 180"/>
                    <a:gd name="T123" fmla="*/ 0 h 165"/>
                    <a:gd name="T124" fmla="*/ 98 w 180"/>
                    <a:gd name="T12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65">
                      <a:moveTo>
                        <a:pt x="1" y="165"/>
                      </a:moveTo>
                      <a:lnTo>
                        <a:pt x="0" y="165"/>
                      </a:lnTo>
                      <a:lnTo>
                        <a:pt x="0" y="165"/>
                      </a:lnTo>
                      <a:lnTo>
                        <a:pt x="0" y="165"/>
                      </a:lnTo>
                      <a:lnTo>
                        <a:pt x="0" y="165"/>
                      </a:lnTo>
                      <a:lnTo>
                        <a:pt x="0" y="165"/>
                      </a:lnTo>
                      <a:lnTo>
                        <a:pt x="0" y="164"/>
                      </a:lnTo>
                      <a:lnTo>
                        <a:pt x="0" y="164"/>
                      </a:lnTo>
                      <a:lnTo>
                        <a:pt x="0" y="164"/>
                      </a:lnTo>
                      <a:lnTo>
                        <a:pt x="0" y="164"/>
                      </a:lnTo>
                      <a:lnTo>
                        <a:pt x="1" y="164"/>
                      </a:lnTo>
                      <a:lnTo>
                        <a:pt x="1" y="165"/>
                      </a:lnTo>
                      <a:close/>
                      <a:moveTo>
                        <a:pt x="137" y="50"/>
                      </a:moveTo>
                      <a:lnTo>
                        <a:pt x="137" y="50"/>
                      </a:lnTo>
                      <a:lnTo>
                        <a:pt x="142" y="50"/>
                      </a:lnTo>
                      <a:lnTo>
                        <a:pt x="143" y="50"/>
                      </a:lnTo>
                      <a:lnTo>
                        <a:pt x="150" y="50"/>
                      </a:lnTo>
                      <a:lnTo>
                        <a:pt x="151" y="50"/>
                      </a:lnTo>
                      <a:lnTo>
                        <a:pt x="161" y="50"/>
                      </a:lnTo>
                      <a:lnTo>
                        <a:pt x="170" y="50"/>
                      </a:lnTo>
                      <a:lnTo>
                        <a:pt x="179" y="50"/>
                      </a:lnTo>
                      <a:lnTo>
                        <a:pt x="180" y="51"/>
                      </a:lnTo>
                      <a:lnTo>
                        <a:pt x="180" y="53"/>
                      </a:lnTo>
                      <a:lnTo>
                        <a:pt x="180" y="62"/>
                      </a:lnTo>
                      <a:lnTo>
                        <a:pt x="180" y="63"/>
                      </a:lnTo>
                      <a:lnTo>
                        <a:pt x="180" y="70"/>
                      </a:lnTo>
                      <a:lnTo>
                        <a:pt x="180" y="78"/>
                      </a:lnTo>
                      <a:lnTo>
                        <a:pt x="180" y="86"/>
                      </a:lnTo>
                      <a:lnTo>
                        <a:pt x="171" y="86"/>
                      </a:lnTo>
                      <a:lnTo>
                        <a:pt x="169" y="86"/>
                      </a:lnTo>
                      <a:lnTo>
                        <a:pt x="162" y="86"/>
                      </a:lnTo>
                      <a:lnTo>
                        <a:pt x="151" y="86"/>
                      </a:lnTo>
                      <a:lnTo>
                        <a:pt x="151" y="86"/>
                      </a:lnTo>
                      <a:lnTo>
                        <a:pt x="142" y="86"/>
                      </a:lnTo>
                      <a:lnTo>
                        <a:pt x="139" y="86"/>
                      </a:lnTo>
                      <a:lnTo>
                        <a:pt x="139" y="86"/>
                      </a:lnTo>
                      <a:lnTo>
                        <a:pt x="137" y="87"/>
                      </a:lnTo>
                      <a:lnTo>
                        <a:pt x="137" y="87"/>
                      </a:lnTo>
                      <a:lnTo>
                        <a:pt x="137" y="88"/>
                      </a:lnTo>
                      <a:lnTo>
                        <a:pt x="137" y="88"/>
                      </a:lnTo>
                      <a:lnTo>
                        <a:pt x="136" y="88"/>
                      </a:lnTo>
                      <a:lnTo>
                        <a:pt x="136" y="90"/>
                      </a:lnTo>
                      <a:lnTo>
                        <a:pt x="136" y="88"/>
                      </a:lnTo>
                      <a:lnTo>
                        <a:pt x="135" y="88"/>
                      </a:lnTo>
                      <a:lnTo>
                        <a:pt x="135" y="88"/>
                      </a:lnTo>
                      <a:lnTo>
                        <a:pt x="134" y="87"/>
                      </a:lnTo>
                      <a:lnTo>
                        <a:pt x="133" y="87"/>
                      </a:lnTo>
                      <a:lnTo>
                        <a:pt x="133" y="87"/>
                      </a:lnTo>
                      <a:lnTo>
                        <a:pt x="132" y="87"/>
                      </a:lnTo>
                      <a:lnTo>
                        <a:pt x="132" y="87"/>
                      </a:lnTo>
                      <a:lnTo>
                        <a:pt x="132" y="86"/>
                      </a:lnTo>
                      <a:lnTo>
                        <a:pt x="132" y="86"/>
                      </a:lnTo>
                      <a:lnTo>
                        <a:pt x="132" y="85"/>
                      </a:lnTo>
                      <a:lnTo>
                        <a:pt x="132" y="85"/>
                      </a:lnTo>
                      <a:lnTo>
                        <a:pt x="132" y="85"/>
                      </a:lnTo>
                      <a:lnTo>
                        <a:pt x="133" y="85"/>
                      </a:lnTo>
                      <a:lnTo>
                        <a:pt x="133" y="85"/>
                      </a:lnTo>
                      <a:lnTo>
                        <a:pt x="133" y="85"/>
                      </a:lnTo>
                      <a:lnTo>
                        <a:pt x="133" y="84"/>
                      </a:lnTo>
                      <a:lnTo>
                        <a:pt x="133" y="84"/>
                      </a:lnTo>
                      <a:lnTo>
                        <a:pt x="132" y="84"/>
                      </a:lnTo>
                      <a:lnTo>
                        <a:pt x="132" y="84"/>
                      </a:lnTo>
                      <a:lnTo>
                        <a:pt x="132" y="84"/>
                      </a:lnTo>
                      <a:lnTo>
                        <a:pt x="130" y="84"/>
                      </a:lnTo>
                      <a:lnTo>
                        <a:pt x="130" y="84"/>
                      </a:lnTo>
                      <a:lnTo>
                        <a:pt x="129" y="84"/>
                      </a:lnTo>
                      <a:lnTo>
                        <a:pt x="128" y="84"/>
                      </a:lnTo>
                      <a:lnTo>
                        <a:pt x="128" y="84"/>
                      </a:lnTo>
                      <a:lnTo>
                        <a:pt x="128" y="83"/>
                      </a:lnTo>
                      <a:lnTo>
                        <a:pt x="129" y="83"/>
                      </a:lnTo>
                      <a:lnTo>
                        <a:pt x="129" y="83"/>
                      </a:lnTo>
                      <a:lnTo>
                        <a:pt x="128" y="83"/>
                      </a:lnTo>
                      <a:lnTo>
                        <a:pt x="128" y="84"/>
                      </a:lnTo>
                      <a:lnTo>
                        <a:pt x="127" y="84"/>
                      </a:lnTo>
                      <a:lnTo>
                        <a:pt x="127" y="85"/>
                      </a:lnTo>
                      <a:lnTo>
                        <a:pt x="127" y="85"/>
                      </a:lnTo>
                      <a:lnTo>
                        <a:pt x="126" y="85"/>
                      </a:lnTo>
                      <a:lnTo>
                        <a:pt x="125" y="85"/>
                      </a:lnTo>
                      <a:lnTo>
                        <a:pt x="125" y="85"/>
                      </a:lnTo>
                      <a:lnTo>
                        <a:pt x="125" y="84"/>
                      </a:lnTo>
                      <a:lnTo>
                        <a:pt x="123" y="83"/>
                      </a:lnTo>
                      <a:lnTo>
                        <a:pt x="123" y="83"/>
                      </a:lnTo>
                      <a:lnTo>
                        <a:pt x="123" y="83"/>
                      </a:lnTo>
                      <a:lnTo>
                        <a:pt x="122" y="83"/>
                      </a:lnTo>
                      <a:lnTo>
                        <a:pt x="122" y="83"/>
                      </a:lnTo>
                      <a:lnTo>
                        <a:pt x="121" y="83"/>
                      </a:lnTo>
                      <a:lnTo>
                        <a:pt x="121" y="83"/>
                      </a:lnTo>
                      <a:lnTo>
                        <a:pt x="120" y="84"/>
                      </a:lnTo>
                      <a:lnTo>
                        <a:pt x="119" y="84"/>
                      </a:lnTo>
                      <a:lnTo>
                        <a:pt x="119" y="84"/>
                      </a:lnTo>
                      <a:lnTo>
                        <a:pt x="118" y="83"/>
                      </a:lnTo>
                      <a:lnTo>
                        <a:pt x="118" y="83"/>
                      </a:lnTo>
                      <a:lnTo>
                        <a:pt x="118" y="81"/>
                      </a:lnTo>
                      <a:lnTo>
                        <a:pt x="118" y="81"/>
                      </a:lnTo>
                      <a:lnTo>
                        <a:pt x="118" y="81"/>
                      </a:lnTo>
                      <a:lnTo>
                        <a:pt x="118" y="81"/>
                      </a:lnTo>
                      <a:lnTo>
                        <a:pt x="118" y="80"/>
                      </a:lnTo>
                      <a:lnTo>
                        <a:pt x="119" y="80"/>
                      </a:lnTo>
                      <a:lnTo>
                        <a:pt x="119" y="78"/>
                      </a:lnTo>
                      <a:lnTo>
                        <a:pt x="119" y="78"/>
                      </a:lnTo>
                      <a:lnTo>
                        <a:pt x="120" y="78"/>
                      </a:lnTo>
                      <a:lnTo>
                        <a:pt x="120" y="77"/>
                      </a:lnTo>
                      <a:lnTo>
                        <a:pt x="120" y="77"/>
                      </a:lnTo>
                      <a:lnTo>
                        <a:pt x="121" y="76"/>
                      </a:lnTo>
                      <a:lnTo>
                        <a:pt x="121" y="76"/>
                      </a:lnTo>
                      <a:lnTo>
                        <a:pt x="121" y="74"/>
                      </a:lnTo>
                      <a:lnTo>
                        <a:pt x="121" y="73"/>
                      </a:lnTo>
                      <a:lnTo>
                        <a:pt x="122" y="73"/>
                      </a:lnTo>
                      <a:lnTo>
                        <a:pt x="123" y="72"/>
                      </a:lnTo>
                      <a:lnTo>
                        <a:pt x="123" y="71"/>
                      </a:lnTo>
                      <a:lnTo>
                        <a:pt x="123" y="71"/>
                      </a:lnTo>
                      <a:lnTo>
                        <a:pt x="123" y="71"/>
                      </a:lnTo>
                      <a:lnTo>
                        <a:pt x="123" y="71"/>
                      </a:lnTo>
                      <a:lnTo>
                        <a:pt x="125" y="71"/>
                      </a:lnTo>
                      <a:lnTo>
                        <a:pt x="125" y="71"/>
                      </a:lnTo>
                      <a:lnTo>
                        <a:pt x="125" y="70"/>
                      </a:lnTo>
                      <a:lnTo>
                        <a:pt x="125" y="69"/>
                      </a:lnTo>
                      <a:lnTo>
                        <a:pt x="126" y="69"/>
                      </a:lnTo>
                      <a:lnTo>
                        <a:pt x="126" y="69"/>
                      </a:lnTo>
                      <a:lnTo>
                        <a:pt x="127" y="69"/>
                      </a:lnTo>
                      <a:lnTo>
                        <a:pt x="127" y="69"/>
                      </a:lnTo>
                      <a:lnTo>
                        <a:pt x="128" y="69"/>
                      </a:lnTo>
                      <a:lnTo>
                        <a:pt x="128" y="69"/>
                      </a:lnTo>
                      <a:lnTo>
                        <a:pt x="129" y="69"/>
                      </a:lnTo>
                      <a:lnTo>
                        <a:pt x="129" y="67"/>
                      </a:lnTo>
                      <a:lnTo>
                        <a:pt x="129" y="67"/>
                      </a:lnTo>
                      <a:lnTo>
                        <a:pt x="128" y="69"/>
                      </a:lnTo>
                      <a:lnTo>
                        <a:pt x="127" y="69"/>
                      </a:lnTo>
                      <a:lnTo>
                        <a:pt x="126" y="67"/>
                      </a:lnTo>
                      <a:lnTo>
                        <a:pt x="126" y="66"/>
                      </a:lnTo>
                      <a:lnTo>
                        <a:pt x="126" y="65"/>
                      </a:lnTo>
                      <a:lnTo>
                        <a:pt x="128" y="64"/>
                      </a:lnTo>
                      <a:lnTo>
                        <a:pt x="128" y="64"/>
                      </a:lnTo>
                      <a:lnTo>
                        <a:pt x="128" y="63"/>
                      </a:lnTo>
                      <a:lnTo>
                        <a:pt x="128" y="63"/>
                      </a:lnTo>
                      <a:lnTo>
                        <a:pt x="128" y="63"/>
                      </a:lnTo>
                      <a:lnTo>
                        <a:pt x="129" y="63"/>
                      </a:lnTo>
                      <a:lnTo>
                        <a:pt x="129" y="62"/>
                      </a:lnTo>
                      <a:lnTo>
                        <a:pt x="129" y="62"/>
                      </a:lnTo>
                      <a:lnTo>
                        <a:pt x="129" y="62"/>
                      </a:lnTo>
                      <a:lnTo>
                        <a:pt x="129" y="62"/>
                      </a:lnTo>
                      <a:lnTo>
                        <a:pt x="129" y="60"/>
                      </a:lnTo>
                      <a:lnTo>
                        <a:pt x="129" y="60"/>
                      </a:lnTo>
                      <a:lnTo>
                        <a:pt x="130" y="60"/>
                      </a:lnTo>
                      <a:lnTo>
                        <a:pt x="130" y="59"/>
                      </a:lnTo>
                      <a:lnTo>
                        <a:pt x="130" y="59"/>
                      </a:lnTo>
                      <a:lnTo>
                        <a:pt x="130" y="59"/>
                      </a:lnTo>
                      <a:lnTo>
                        <a:pt x="132" y="58"/>
                      </a:lnTo>
                      <a:lnTo>
                        <a:pt x="132" y="57"/>
                      </a:lnTo>
                      <a:lnTo>
                        <a:pt x="132" y="56"/>
                      </a:lnTo>
                      <a:lnTo>
                        <a:pt x="130" y="53"/>
                      </a:lnTo>
                      <a:lnTo>
                        <a:pt x="130" y="52"/>
                      </a:lnTo>
                      <a:lnTo>
                        <a:pt x="130" y="52"/>
                      </a:lnTo>
                      <a:lnTo>
                        <a:pt x="130" y="52"/>
                      </a:lnTo>
                      <a:lnTo>
                        <a:pt x="130" y="52"/>
                      </a:lnTo>
                      <a:lnTo>
                        <a:pt x="130" y="51"/>
                      </a:lnTo>
                      <a:lnTo>
                        <a:pt x="130" y="51"/>
                      </a:lnTo>
                      <a:lnTo>
                        <a:pt x="130" y="51"/>
                      </a:lnTo>
                      <a:lnTo>
                        <a:pt x="130" y="48"/>
                      </a:lnTo>
                      <a:lnTo>
                        <a:pt x="130" y="46"/>
                      </a:lnTo>
                      <a:lnTo>
                        <a:pt x="130" y="46"/>
                      </a:lnTo>
                      <a:lnTo>
                        <a:pt x="130" y="45"/>
                      </a:lnTo>
                      <a:lnTo>
                        <a:pt x="130" y="45"/>
                      </a:lnTo>
                      <a:lnTo>
                        <a:pt x="132" y="44"/>
                      </a:lnTo>
                      <a:lnTo>
                        <a:pt x="132" y="45"/>
                      </a:lnTo>
                      <a:lnTo>
                        <a:pt x="132" y="45"/>
                      </a:lnTo>
                      <a:lnTo>
                        <a:pt x="132" y="46"/>
                      </a:lnTo>
                      <a:lnTo>
                        <a:pt x="132" y="46"/>
                      </a:lnTo>
                      <a:lnTo>
                        <a:pt x="132" y="48"/>
                      </a:lnTo>
                      <a:lnTo>
                        <a:pt x="133" y="48"/>
                      </a:lnTo>
                      <a:lnTo>
                        <a:pt x="134" y="49"/>
                      </a:lnTo>
                      <a:lnTo>
                        <a:pt x="134" y="49"/>
                      </a:lnTo>
                      <a:lnTo>
                        <a:pt x="135" y="49"/>
                      </a:lnTo>
                      <a:lnTo>
                        <a:pt x="137" y="50"/>
                      </a:lnTo>
                      <a:close/>
                      <a:moveTo>
                        <a:pt x="98" y="0"/>
                      </a:moveTo>
                      <a:lnTo>
                        <a:pt x="99" y="0"/>
                      </a:lnTo>
                      <a:lnTo>
                        <a:pt x="99" y="0"/>
                      </a:lnTo>
                      <a:lnTo>
                        <a:pt x="100" y="0"/>
                      </a:lnTo>
                      <a:lnTo>
                        <a:pt x="101" y="0"/>
                      </a:lnTo>
                      <a:lnTo>
                        <a:pt x="102" y="0"/>
                      </a:lnTo>
                      <a:lnTo>
                        <a:pt x="102" y="0"/>
                      </a:lnTo>
                      <a:lnTo>
                        <a:pt x="102" y="0"/>
                      </a:lnTo>
                      <a:lnTo>
                        <a:pt x="102" y="0"/>
                      </a:lnTo>
                      <a:lnTo>
                        <a:pt x="104" y="0"/>
                      </a:lnTo>
                      <a:lnTo>
                        <a:pt x="104" y="1"/>
                      </a:lnTo>
                      <a:lnTo>
                        <a:pt x="105" y="2"/>
                      </a:lnTo>
                      <a:lnTo>
                        <a:pt x="105" y="2"/>
                      </a:lnTo>
                      <a:lnTo>
                        <a:pt x="105" y="3"/>
                      </a:lnTo>
                      <a:lnTo>
                        <a:pt x="105" y="3"/>
                      </a:lnTo>
                      <a:lnTo>
                        <a:pt x="104" y="4"/>
                      </a:lnTo>
                      <a:lnTo>
                        <a:pt x="104" y="4"/>
                      </a:lnTo>
                      <a:lnTo>
                        <a:pt x="102" y="6"/>
                      </a:lnTo>
                      <a:lnTo>
                        <a:pt x="102" y="7"/>
                      </a:lnTo>
                      <a:lnTo>
                        <a:pt x="101" y="8"/>
                      </a:lnTo>
                      <a:lnTo>
                        <a:pt x="101" y="8"/>
                      </a:lnTo>
                      <a:lnTo>
                        <a:pt x="100" y="9"/>
                      </a:lnTo>
                      <a:lnTo>
                        <a:pt x="100" y="10"/>
                      </a:lnTo>
                      <a:lnTo>
                        <a:pt x="100" y="10"/>
                      </a:lnTo>
                      <a:lnTo>
                        <a:pt x="100" y="10"/>
                      </a:lnTo>
                      <a:lnTo>
                        <a:pt x="100" y="10"/>
                      </a:lnTo>
                      <a:lnTo>
                        <a:pt x="99" y="11"/>
                      </a:lnTo>
                      <a:lnTo>
                        <a:pt x="99" y="11"/>
                      </a:lnTo>
                      <a:lnTo>
                        <a:pt x="99" y="14"/>
                      </a:lnTo>
                      <a:lnTo>
                        <a:pt x="99" y="14"/>
                      </a:lnTo>
                      <a:lnTo>
                        <a:pt x="97" y="15"/>
                      </a:lnTo>
                      <a:lnTo>
                        <a:pt x="97" y="17"/>
                      </a:lnTo>
                      <a:lnTo>
                        <a:pt x="95" y="17"/>
                      </a:lnTo>
                      <a:lnTo>
                        <a:pt x="95" y="17"/>
                      </a:lnTo>
                      <a:lnTo>
                        <a:pt x="94" y="17"/>
                      </a:lnTo>
                      <a:lnTo>
                        <a:pt x="94" y="17"/>
                      </a:lnTo>
                      <a:lnTo>
                        <a:pt x="94" y="17"/>
                      </a:lnTo>
                      <a:lnTo>
                        <a:pt x="94" y="17"/>
                      </a:lnTo>
                      <a:lnTo>
                        <a:pt x="93" y="16"/>
                      </a:lnTo>
                      <a:lnTo>
                        <a:pt x="93" y="16"/>
                      </a:lnTo>
                      <a:lnTo>
                        <a:pt x="92" y="16"/>
                      </a:lnTo>
                      <a:lnTo>
                        <a:pt x="92" y="16"/>
                      </a:lnTo>
                      <a:lnTo>
                        <a:pt x="92" y="16"/>
                      </a:lnTo>
                      <a:lnTo>
                        <a:pt x="91" y="16"/>
                      </a:lnTo>
                      <a:lnTo>
                        <a:pt x="91" y="16"/>
                      </a:lnTo>
                      <a:lnTo>
                        <a:pt x="90" y="16"/>
                      </a:lnTo>
                      <a:lnTo>
                        <a:pt x="88" y="16"/>
                      </a:lnTo>
                      <a:lnTo>
                        <a:pt x="88" y="15"/>
                      </a:lnTo>
                      <a:lnTo>
                        <a:pt x="88" y="14"/>
                      </a:lnTo>
                      <a:lnTo>
                        <a:pt x="88" y="14"/>
                      </a:lnTo>
                      <a:lnTo>
                        <a:pt x="87" y="14"/>
                      </a:lnTo>
                      <a:lnTo>
                        <a:pt x="87" y="13"/>
                      </a:lnTo>
                      <a:lnTo>
                        <a:pt x="87" y="13"/>
                      </a:lnTo>
                      <a:lnTo>
                        <a:pt x="87" y="13"/>
                      </a:lnTo>
                      <a:lnTo>
                        <a:pt x="87" y="11"/>
                      </a:lnTo>
                      <a:lnTo>
                        <a:pt x="88" y="10"/>
                      </a:lnTo>
                      <a:lnTo>
                        <a:pt x="88" y="10"/>
                      </a:lnTo>
                      <a:lnTo>
                        <a:pt x="88" y="9"/>
                      </a:lnTo>
                      <a:lnTo>
                        <a:pt x="90" y="9"/>
                      </a:lnTo>
                      <a:lnTo>
                        <a:pt x="90" y="9"/>
                      </a:lnTo>
                      <a:lnTo>
                        <a:pt x="91" y="9"/>
                      </a:lnTo>
                      <a:lnTo>
                        <a:pt x="92" y="9"/>
                      </a:lnTo>
                      <a:lnTo>
                        <a:pt x="92" y="9"/>
                      </a:lnTo>
                      <a:lnTo>
                        <a:pt x="93" y="9"/>
                      </a:lnTo>
                      <a:lnTo>
                        <a:pt x="92" y="8"/>
                      </a:lnTo>
                      <a:lnTo>
                        <a:pt x="92" y="8"/>
                      </a:lnTo>
                      <a:lnTo>
                        <a:pt x="93" y="8"/>
                      </a:lnTo>
                      <a:lnTo>
                        <a:pt x="93" y="7"/>
                      </a:lnTo>
                      <a:lnTo>
                        <a:pt x="93" y="7"/>
                      </a:lnTo>
                      <a:lnTo>
                        <a:pt x="93" y="7"/>
                      </a:lnTo>
                      <a:lnTo>
                        <a:pt x="94" y="3"/>
                      </a:lnTo>
                      <a:lnTo>
                        <a:pt x="94" y="2"/>
                      </a:lnTo>
                      <a:lnTo>
                        <a:pt x="95" y="1"/>
                      </a:lnTo>
                      <a:lnTo>
                        <a:pt x="97" y="0"/>
                      </a:lnTo>
                      <a:lnTo>
                        <a:pt x="98" y="0"/>
                      </a:lnTo>
                      <a:lnTo>
                        <a:pt x="98" y="0"/>
                      </a:lnTo>
                      <a:lnTo>
                        <a:pt x="98" y="0"/>
                      </a:lnTo>
                      <a:lnTo>
                        <a:pt x="9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6" name="Freeform 96">
                  <a:extLst>
                    <a:ext uri="{FF2B5EF4-FFF2-40B4-BE49-F238E27FC236}">
                      <a16:creationId xmlns:a16="http://schemas.microsoft.com/office/drawing/2014/main" id="{F15E50AD-E7D8-943C-35CE-1359A3FF7CF9}"/>
                    </a:ext>
                  </a:extLst>
                </p:cNvPr>
                <p:cNvSpPr>
                  <a:spLocks/>
                </p:cNvSpPr>
                <p:nvPr/>
              </p:nvSpPr>
              <p:spPr bwMode="auto">
                <a:xfrm>
                  <a:off x="5832104" y="3514120"/>
                  <a:ext cx="141707" cy="143871"/>
                </a:xfrm>
                <a:custGeom>
                  <a:avLst/>
                  <a:gdLst>
                    <a:gd name="T0" fmla="*/ 99 w 131"/>
                    <a:gd name="T1" fmla="*/ 40 h 133"/>
                    <a:gd name="T2" fmla="*/ 102 w 131"/>
                    <a:gd name="T3" fmla="*/ 45 h 133"/>
                    <a:gd name="T4" fmla="*/ 102 w 131"/>
                    <a:gd name="T5" fmla="*/ 54 h 133"/>
                    <a:gd name="T6" fmla="*/ 93 w 131"/>
                    <a:gd name="T7" fmla="*/ 64 h 133"/>
                    <a:gd name="T8" fmla="*/ 96 w 131"/>
                    <a:gd name="T9" fmla="*/ 68 h 133"/>
                    <a:gd name="T10" fmla="*/ 98 w 131"/>
                    <a:gd name="T11" fmla="*/ 70 h 133"/>
                    <a:gd name="T12" fmla="*/ 105 w 131"/>
                    <a:gd name="T13" fmla="*/ 72 h 133"/>
                    <a:gd name="T14" fmla="*/ 113 w 131"/>
                    <a:gd name="T15" fmla="*/ 72 h 133"/>
                    <a:gd name="T16" fmla="*/ 117 w 131"/>
                    <a:gd name="T17" fmla="*/ 78 h 133"/>
                    <a:gd name="T18" fmla="*/ 120 w 131"/>
                    <a:gd name="T19" fmla="*/ 84 h 133"/>
                    <a:gd name="T20" fmla="*/ 125 w 131"/>
                    <a:gd name="T21" fmla="*/ 85 h 133"/>
                    <a:gd name="T22" fmla="*/ 129 w 131"/>
                    <a:gd name="T23" fmla="*/ 86 h 133"/>
                    <a:gd name="T24" fmla="*/ 131 w 131"/>
                    <a:gd name="T25" fmla="*/ 96 h 133"/>
                    <a:gd name="T26" fmla="*/ 129 w 131"/>
                    <a:gd name="T27" fmla="*/ 100 h 133"/>
                    <a:gd name="T28" fmla="*/ 129 w 131"/>
                    <a:gd name="T29" fmla="*/ 104 h 133"/>
                    <a:gd name="T30" fmla="*/ 125 w 131"/>
                    <a:gd name="T31" fmla="*/ 110 h 133"/>
                    <a:gd name="T32" fmla="*/ 125 w 131"/>
                    <a:gd name="T33" fmla="*/ 117 h 133"/>
                    <a:gd name="T34" fmla="*/ 126 w 131"/>
                    <a:gd name="T35" fmla="*/ 131 h 133"/>
                    <a:gd name="T36" fmla="*/ 120 w 131"/>
                    <a:gd name="T37" fmla="*/ 132 h 133"/>
                    <a:gd name="T38" fmla="*/ 113 w 131"/>
                    <a:gd name="T39" fmla="*/ 128 h 133"/>
                    <a:gd name="T40" fmla="*/ 102 w 131"/>
                    <a:gd name="T41" fmla="*/ 125 h 133"/>
                    <a:gd name="T42" fmla="*/ 84 w 131"/>
                    <a:gd name="T43" fmla="*/ 115 h 133"/>
                    <a:gd name="T44" fmla="*/ 77 w 131"/>
                    <a:gd name="T45" fmla="*/ 112 h 133"/>
                    <a:gd name="T46" fmla="*/ 69 w 131"/>
                    <a:gd name="T47" fmla="*/ 107 h 133"/>
                    <a:gd name="T48" fmla="*/ 62 w 131"/>
                    <a:gd name="T49" fmla="*/ 100 h 133"/>
                    <a:gd name="T50" fmla="*/ 49 w 131"/>
                    <a:gd name="T51" fmla="*/ 89 h 133"/>
                    <a:gd name="T52" fmla="*/ 42 w 131"/>
                    <a:gd name="T53" fmla="*/ 82 h 133"/>
                    <a:gd name="T54" fmla="*/ 36 w 131"/>
                    <a:gd name="T55" fmla="*/ 78 h 133"/>
                    <a:gd name="T56" fmla="*/ 35 w 131"/>
                    <a:gd name="T57" fmla="*/ 77 h 133"/>
                    <a:gd name="T58" fmla="*/ 22 w 131"/>
                    <a:gd name="T59" fmla="*/ 71 h 133"/>
                    <a:gd name="T60" fmla="*/ 14 w 131"/>
                    <a:gd name="T61" fmla="*/ 64 h 133"/>
                    <a:gd name="T62" fmla="*/ 3 w 131"/>
                    <a:gd name="T63" fmla="*/ 56 h 133"/>
                    <a:gd name="T64" fmla="*/ 3 w 131"/>
                    <a:gd name="T65" fmla="*/ 50 h 133"/>
                    <a:gd name="T66" fmla="*/ 4 w 131"/>
                    <a:gd name="T67" fmla="*/ 48 h 133"/>
                    <a:gd name="T68" fmla="*/ 11 w 131"/>
                    <a:gd name="T69" fmla="*/ 40 h 133"/>
                    <a:gd name="T70" fmla="*/ 25 w 131"/>
                    <a:gd name="T71" fmla="*/ 27 h 133"/>
                    <a:gd name="T72" fmla="*/ 29 w 131"/>
                    <a:gd name="T73" fmla="*/ 15 h 133"/>
                    <a:gd name="T74" fmla="*/ 36 w 131"/>
                    <a:gd name="T75" fmla="*/ 10 h 133"/>
                    <a:gd name="T76" fmla="*/ 40 w 131"/>
                    <a:gd name="T77" fmla="*/ 2 h 133"/>
                    <a:gd name="T78" fmla="*/ 47 w 131"/>
                    <a:gd name="T79" fmla="*/ 3 h 133"/>
                    <a:gd name="T80" fmla="*/ 54 w 131"/>
                    <a:gd name="T81" fmla="*/ 0 h 133"/>
                    <a:gd name="T82" fmla="*/ 57 w 131"/>
                    <a:gd name="T83" fmla="*/ 2 h 133"/>
                    <a:gd name="T84" fmla="*/ 60 w 131"/>
                    <a:gd name="T85" fmla="*/ 6 h 133"/>
                    <a:gd name="T86" fmla="*/ 62 w 131"/>
                    <a:gd name="T87" fmla="*/ 10 h 133"/>
                    <a:gd name="T88" fmla="*/ 63 w 131"/>
                    <a:gd name="T89" fmla="*/ 17 h 133"/>
                    <a:gd name="T90" fmla="*/ 64 w 131"/>
                    <a:gd name="T91" fmla="*/ 22 h 133"/>
                    <a:gd name="T92" fmla="*/ 68 w 131"/>
                    <a:gd name="T93" fmla="*/ 30 h 133"/>
                    <a:gd name="T94" fmla="*/ 65 w 131"/>
                    <a:gd name="T95" fmla="*/ 35 h 133"/>
                    <a:gd name="T96" fmla="*/ 65 w 131"/>
                    <a:gd name="T97" fmla="*/ 37 h 133"/>
                    <a:gd name="T98" fmla="*/ 71 w 131"/>
                    <a:gd name="T99" fmla="*/ 37 h 133"/>
                    <a:gd name="T100" fmla="*/ 75 w 131"/>
                    <a:gd name="T101" fmla="*/ 43 h 133"/>
                    <a:gd name="T102" fmla="*/ 81 w 131"/>
                    <a:gd name="T103" fmla="*/ 41 h 133"/>
                    <a:gd name="T104" fmla="*/ 84 w 131"/>
                    <a:gd name="T105" fmla="*/ 36 h 133"/>
                    <a:gd name="T106" fmla="*/ 88 w 131"/>
                    <a:gd name="T107" fmla="*/ 30 h 133"/>
                    <a:gd name="T108" fmla="*/ 95 w 131"/>
                    <a:gd name="T109" fmla="*/ 3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1" h="133">
                      <a:moveTo>
                        <a:pt x="96" y="31"/>
                      </a:moveTo>
                      <a:lnTo>
                        <a:pt x="97" y="33"/>
                      </a:lnTo>
                      <a:lnTo>
                        <a:pt x="97" y="34"/>
                      </a:lnTo>
                      <a:lnTo>
                        <a:pt x="98" y="35"/>
                      </a:lnTo>
                      <a:lnTo>
                        <a:pt x="98" y="38"/>
                      </a:lnTo>
                      <a:lnTo>
                        <a:pt x="98" y="40"/>
                      </a:lnTo>
                      <a:lnTo>
                        <a:pt x="99" y="40"/>
                      </a:lnTo>
                      <a:lnTo>
                        <a:pt x="99" y="41"/>
                      </a:lnTo>
                      <a:lnTo>
                        <a:pt x="99" y="42"/>
                      </a:lnTo>
                      <a:lnTo>
                        <a:pt x="100" y="42"/>
                      </a:lnTo>
                      <a:lnTo>
                        <a:pt x="100" y="43"/>
                      </a:lnTo>
                      <a:lnTo>
                        <a:pt x="100" y="44"/>
                      </a:lnTo>
                      <a:lnTo>
                        <a:pt x="102" y="44"/>
                      </a:lnTo>
                      <a:lnTo>
                        <a:pt x="102" y="45"/>
                      </a:lnTo>
                      <a:lnTo>
                        <a:pt x="102" y="49"/>
                      </a:lnTo>
                      <a:lnTo>
                        <a:pt x="102" y="50"/>
                      </a:lnTo>
                      <a:lnTo>
                        <a:pt x="100" y="50"/>
                      </a:lnTo>
                      <a:lnTo>
                        <a:pt x="100" y="51"/>
                      </a:lnTo>
                      <a:lnTo>
                        <a:pt x="100" y="52"/>
                      </a:lnTo>
                      <a:lnTo>
                        <a:pt x="100" y="54"/>
                      </a:lnTo>
                      <a:lnTo>
                        <a:pt x="102" y="54"/>
                      </a:lnTo>
                      <a:lnTo>
                        <a:pt x="102" y="55"/>
                      </a:lnTo>
                      <a:lnTo>
                        <a:pt x="100" y="56"/>
                      </a:lnTo>
                      <a:lnTo>
                        <a:pt x="100" y="57"/>
                      </a:lnTo>
                      <a:lnTo>
                        <a:pt x="97" y="61"/>
                      </a:lnTo>
                      <a:lnTo>
                        <a:pt x="95" y="63"/>
                      </a:lnTo>
                      <a:lnTo>
                        <a:pt x="93" y="63"/>
                      </a:lnTo>
                      <a:lnTo>
                        <a:pt x="93" y="64"/>
                      </a:lnTo>
                      <a:lnTo>
                        <a:pt x="92" y="64"/>
                      </a:lnTo>
                      <a:lnTo>
                        <a:pt x="91" y="65"/>
                      </a:lnTo>
                      <a:lnTo>
                        <a:pt x="92" y="65"/>
                      </a:lnTo>
                      <a:lnTo>
                        <a:pt x="93" y="65"/>
                      </a:lnTo>
                      <a:lnTo>
                        <a:pt x="93" y="66"/>
                      </a:lnTo>
                      <a:lnTo>
                        <a:pt x="95" y="68"/>
                      </a:lnTo>
                      <a:lnTo>
                        <a:pt x="96" y="68"/>
                      </a:lnTo>
                      <a:lnTo>
                        <a:pt x="96" y="66"/>
                      </a:lnTo>
                      <a:lnTo>
                        <a:pt x="97" y="65"/>
                      </a:lnTo>
                      <a:lnTo>
                        <a:pt x="97" y="66"/>
                      </a:lnTo>
                      <a:lnTo>
                        <a:pt x="98" y="66"/>
                      </a:lnTo>
                      <a:lnTo>
                        <a:pt x="98" y="68"/>
                      </a:lnTo>
                      <a:lnTo>
                        <a:pt x="98" y="69"/>
                      </a:lnTo>
                      <a:lnTo>
                        <a:pt x="98" y="70"/>
                      </a:lnTo>
                      <a:lnTo>
                        <a:pt x="99" y="70"/>
                      </a:lnTo>
                      <a:lnTo>
                        <a:pt x="100" y="70"/>
                      </a:lnTo>
                      <a:lnTo>
                        <a:pt x="102" y="70"/>
                      </a:lnTo>
                      <a:lnTo>
                        <a:pt x="102" y="71"/>
                      </a:lnTo>
                      <a:lnTo>
                        <a:pt x="103" y="71"/>
                      </a:lnTo>
                      <a:lnTo>
                        <a:pt x="105" y="71"/>
                      </a:lnTo>
                      <a:lnTo>
                        <a:pt x="105" y="72"/>
                      </a:lnTo>
                      <a:lnTo>
                        <a:pt x="106" y="72"/>
                      </a:lnTo>
                      <a:lnTo>
                        <a:pt x="107" y="72"/>
                      </a:lnTo>
                      <a:lnTo>
                        <a:pt x="107" y="71"/>
                      </a:lnTo>
                      <a:lnTo>
                        <a:pt x="110" y="71"/>
                      </a:lnTo>
                      <a:lnTo>
                        <a:pt x="111" y="71"/>
                      </a:lnTo>
                      <a:lnTo>
                        <a:pt x="111" y="72"/>
                      </a:lnTo>
                      <a:lnTo>
                        <a:pt x="113" y="72"/>
                      </a:lnTo>
                      <a:lnTo>
                        <a:pt x="114" y="72"/>
                      </a:lnTo>
                      <a:lnTo>
                        <a:pt x="115" y="73"/>
                      </a:lnTo>
                      <a:lnTo>
                        <a:pt x="117" y="75"/>
                      </a:lnTo>
                      <a:lnTo>
                        <a:pt x="115" y="76"/>
                      </a:lnTo>
                      <a:lnTo>
                        <a:pt x="115" y="77"/>
                      </a:lnTo>
                      <a:lnTo>
                        <a:pt x="115" y="78"/>
                      </a:lnTo>
                      <a:lnTo>
                        <a:pt x="117" y="78"/>
                      </a:lnTo>
                      <a:lnTo>
                        <a:pt x="118" y="78"/>
                      </a:lnTo>
                      <a:lnTo>
                        <a:pt x="118" y="79"/>
                      </a:lnTo>
                      <a:lnTo>
                        <a:pt x="118" y="80"/>
                      </a:lnTo>
                      <a:lnTo>
                        <a:pt x="118" y="82"/>
                      </a:lnTo>
                      <a:lnTo>
                        <a:pt x="119" y="83"/>
                      </a:lnTo>
                      <a:lnTo>
                        <a:pt x="120" y="83"/>
                      </a:lnTo>
                      <a:lnTo>
                        <a:pt x="120" y="84"/>
                      </a:lnTo>
                      <a:lnTo>
                        <a:pt x="121" y="84"/>
                      </a:lnTo>
                      <a:lnTo>
                        <a:pt x="121" y="83"/>
                      </a:lnTo>
                      <a:lnTo>
                        <a:pt x="122" y="83"/>
                      </a:lnTo>
                      <a:lnTo>
                        <a:pt x="122" y="84"/>
                      </a:lnTo>
                      <a:lnTo>
                        <a:pt x="124" y="84"/>
                      </a:lnTo>
                      <a:lnTo>
                        <a:pt x="125" y="84"/>
                      </a:lnTo>
                      <a:lnTo>
                        <a:pt x="125" y="85"/>
                      </a:lnTo>
                      <a:lnTo>
                        <a:pt x="126" y="86"/>
                      </a:lnTo>
                      <a:lnTo>
                        <a:pt x="126" y="85"/>
                      </a:lnTo>
                      <a:lnTo>
                        <a:pt x="127" y="86"/>
                      </a:lnTo>
                      <a:lnTo>
                        <a:pt x="128" y="86"/>
                      </a:lnTo>
                      <a:lnTo>
                        <a:pt x="128" y="85"/>
                      </a:lnTo>
                      <a:lnTo>
                        <a:pt x="129" y="85"/>
                      </a:lnTo>
                      <a:lnTo>
                        <a:pt x="129" y="86"/>
                      </a:lnTo>
                      <a:lnTo>
                        <a:pt x="129" y="87"/>
                      </a:lnTo>
                      <a:lnTo>
                        <a:pt x="129" y="89"/>
                      </a:lnTo>
                      <a:lnTo>
                        <a:pt x="129" y="92"/>
                      </a:lnTo>
                      <a:lnTo>
                        <a:pt x="131" y="92"/>
                      </a:lnTo>
                      <a:lnTo>
                        <a:pt x="131" y="93"/>
                      </a:lnTo>
                      <a:lnTo>
                        <a:pt x="131" y="94"/>
                      </a:lnTo>
                      <a:lnTo>
                        <a:pt x="131" y="96"/>
                      </a:lnTo>
                      <a:lnTo>
                        <a:pt x="131" y="97"/>
                      </a:lnTo>
                      <a:lnTo>
                        <a:pt x="129" y="97"/>
                      </a:lnTo>
                      <a:lnTo>
                        <a:pt x="129" y="98"/>
                      </a:lnTo>
                      <a:lnTo>
                        <a:pt x="129" y="99"/>
                      </a:lnTo>
                      <a:lnTo>
                        <a:pt x="129" y="98"/>
                      </a:lnTo>
                      <a:lnTo>
                        <a:pt x="129" y="99"/>
                      </a:lnTo>
                      <a:lnTo>
                        <a:pt x="129" y="100"/>
                      </a:lnTo>
                      <a:lnTo>
                        <a:pt x="131" y="100"/>
                      </a:lnTo>
                      <a:lnTo>
                        <a:pt x="131" y="101"/>
                      </a:lnTo>
                      <a:lnTo>
                        <a:pt x="131" y="103"/>
                      </a:lnTo>
                      <a:lnTo>
                        <a:pt x="131" y="104"/>
                      </a:lnTo>
                      <a:lnTo>
                        <a:pt x="129" y="104"/>
                      </a:lnTo>
                      <a:lnTo>
                        <a:pt x="129" y="103"/>
                      </a:lnTo>
                      <a:lnTo>
                        <a:pt x="129" y="104"/>
                      </a:lnTo>
                      <a:lnTo>
                        <a:pt x="128" y="104"/>
                      </a:lnTo>
                      <a:lnTo>
                        <a:pt x="128" y="105"/>
                      </a:lnTo>
                      <a:lnTo>
                        <a:pt x="128" y="107"/>
                      </a:lnTo>
                      <a:lnTo>
                        <a:pt x="128" y="108"/>
                      </a:lnTo>
                      <a:lnTo>
                        <a:pt x="127" y="110"/>
                      </a:lnTo>
                      <a:lnTo>
                        <a:pt x="126" y="110"/>
                      </a:lnTo>
                      <a:lnTo>
                        <a:pt x="125" y="110"/>
                      </a:lnTo>
                      <a:lnTo>
                        <a:pt x="125" y="111"/>
                      </a:lnTo>
                      <a:lnTo>
                        <a:pt x="126" y="112"/>
                      </a:lnTo>
                      <a:lnTo>
                        <a:pt x="126" y="113"/>
                      </a:lnTo>
                      <a:lnTo>
                        <a:pt x="126" y="114"/>
                      </a:lnTo>
                      <a:lnTo>
                        <a:pt x="126" y="115"/>
                      </a:lnTo>
                      <a:lnTo>
                        <a:pt x="125" y="115"/>
                      </a:lnTo>
                      <a:lnTo>
                        <a:pt x="125" y="117"/>
                      </a:lnTo>
                      <a:lnTo>
                        <a:pt x="125" y="118"/>
                      </a:lnTo>
                      <a:lnTo>
                        <a:pt x="125" y="119"/>
                      </a:lnTo>
                      <a:lnTo>
                        <a:pt x="126" y="120"/>
                      </a:lnTo>
                      <a:lnTo>
                        <a:pt x="126" y="121"/>
                      </a:lnTo>
                      <a:lnTo>
                        <a:pt x="126" y="128"/>
                      </a:lnTo>
                      <a:lnTo>
                        <a:pt x="126" y="129"/>
                      </a:lnTo>
                      <a:lnTo>
                        <a:pt x="126" y="131"/>
                      </a:lnTo>
                      <a:lnTo>
                        <a:pt x="126" y="132"/>
                      </a:lnTo>
                      <a:lnTo>
                        <a:pt x="127" y="133"/>
                      </a:lnTo>
                      <a:lnTo>
                        <a:pt x="125" y="133"/>
                      </a:lnTo>
                      <a:lnTo>
                        <a:pt x="124" y="133"/>
                      </a:lnTo>
                      <a:lnTo>
                        <a:pt x="121" y="133"/>
                      </a:lnTo>
                      <a:lnTo>
                        <a:pt x="121" y="132"/>
                      </a:lnTo>
                      <a:lnTo>
                        <a:pt x="120" y="132"/>
                      </a:lnTo>
                      <a:lnTo>
                        <a:pt x="119" y="132"/>
                      </a:lnTo>
                      <a:lnTo>
                        <a:pt x="118" y="131"/>
                      </a:lnTo>
                      <a:lnTo>
                        <a:pt x="118" y="129"/>
                      </a:lnTo>
                      <a:lnTo>
                        <a:pt x="117" y="129"/>
                      </a:lnTo>
                      <a:lnTo>
                        <a:pt x="115" y="129"/>
                      </a:lnTo>
                      <a:lnTo>
                        <a:pt x="114" y="128"/>
                      </a:lnTo>
                      <a:lnTo>
                        <a:pt x="113" y="128"/>
                      </a:lnTo>
                      <a:lnTo>
                        <a:pt x="112" y="128"/>
                      </a:lnTo>
                      <a:lnTo>
                        <a:pt x="111" y="127"/>
                      </a:lnTo>
                      <a:lnTo>
                        <a:pt x="109" y="127"/>
                      </a:lnTo>
                      <a:lnTo>
                        <a:pt x="105" y="126"/>
                      </a:lnTo>
                      <a:lnTo>
                        <a:pt x="104" y="126"/>
                      </a:lnTo>
                      <a:lnTo>
                        <a:pt x="103" y="125"/>
                      </a:lnTo>
                      <a:lnTo>
                        <a:pt x="102" y="125"/>
                      </a:lnTo>
                      <a:lnTo>
                        <a:pt x="98" y="124"/>
                      </a:lnTo>
                      <a:lnTo>
                        <a:pt x="95" y="120"/>
                      </a:lnTo>
                      <a:lnTo>
                        <a:pt x="92" y="120"/>
                      </a:lnTo>
                      <a:lnTo>
                        <a:pt x="89" y="118"/>
                      </a:lnTo>
                      <a:lnTo>
                        <a:pt x="88" y="118"/>
                      </a:lnTo>
                      <a:lnTo>
                        <a:pt x="85" y="115"/>
                      </a:lnTo>
                      <a:lnTo>
                        <a:pt x="84" y="115"/>
                      </a:lnTo>
                      <a:lnTo>
                        <a:pt x="83" y="114"/>
                      </a:lnTo>
                      <a:lnTo>
                        <a:pt x="82" y="114"/>
                      </a:lnTo>
                      <a:lnTo>
                        <a:pt x="81" y="114"/>
                      </a:lnTo>
                      <a:lnTo>
                        <a:pt x="79" y="114"/>
                      </a:lnTo>
                      <a:lnTo>
                        <a:pt x="79" y="113"/>
                      </a:lnTo>
                      <a:lnTo>
                        <a:pt x="78" y="113"/>
                      </a:lnTo>
                      <a:lnTo>
                        <a:pt x="77" y="112"/>
                      </a:lnTo>
                      <a:lnTo>
                        <a:pt x="75" y="111"/>
                      </a:lnTo>
                      <a:lnTo>
                        <a:pt x="74" y="110"/>
                      </a:lnTo>
                      <a:lnTo>
                        <a:pt x="72" y="110"/>
                      </a:lnTo>
                      <a:lnTo>
                        <a:pt x="71" y="108"/>
                      </a:lnTo>
                      <a:lnTo>
                        <a:pt x="71" y="107"/>
                      </a:lnTo>
                      <a:lnTo>
                        <a:pt x="70" y="107"/>
                      </a:lnTo>
                      <a:lnTo>
                        <a:pt x="69" y="107"/>
                      </a:lnTo>
                      <a:lnTo>
                        <a:pt x="69" y="106"/>
                      </a:lnTo>
                      <a:lnTo>
                        <a:pt x="65" y="103"/>
                      </a:lnTo>
                      <a:lnTo>
                        <a:pt x="64" y="103"/>
                      </a:lnTo>
                      <a:lnTo>
                        <a:pt x="64" y="101"/>
                      </a:lnTo>
                      <a:lnTo>
                        <a:pt x="64" y="100"/>
                      </a:lnTo>
                      <a:lnTo>
                        <a:pt x="63" y="100"/>
                      </a:lnTo>
                      <a:lnTo>
                        <a:pt x="62" y="100"/>
                      </a:lnTo>
                      <a:lnTo>
                        <a:pt x="61" y="100"/>
                      </a:lnTo>
                      <a:lnTo>
                        <a:pt x="61" y="99"/>
                      </a:lnTo>
                      <a:lnTo>
                        <a:pt x="62" y="99"/>
                      </a:lnTo>
                      <a:lnTo>
                        <a:pt x="61" y="98"/>
                      </a:lnTo>
                      <a:lnTo>
                        <a:pt x="57" y="96"/>
                      </a:lnTo>
                      <a:lnTo>
                        <a:pt x="53" y="92"/>
                      </a:lnTo>
                      <a:lnTo>
                        <a:pt x="49" y="89"/>
                      </a:lnTo>
                      <a:lnTo>
                        <a:pt x="48" y="87"/>
                      </a:lnTo>
                      <a:lnTo>
                        <a:pt x="47" y="86"/>
                      </a:lnTo>
                      <a:lnTo>
                        <a:pt x="47" y="85"/>
                      </a:lnTo>
                      <a:lnTo>
                        <a:pt x="46" y="85"/>
                      </a:lnTo>
                      <a:lnTo>
                        <a:pt x="46" y="84"/>
                      </a:lnTo>
                      <a:lnTo>
                        <a:pt x="45" y="84"/>
                      </a:lnTo>
                      <a:lnTo>
                        <a:pt x="42" y="82"/>
                      </a:lnTo>
                      <a:lnTo>
                        <a:pt x="41" y="80"/>
                      </a:lnTo>
                      <a:lnTo>
                        <a:pt x="39" y="79"/>
                      </a:lnTo>
                      <a:lnTo>
                        <a:pt x="38" y="79"/>
                      </a:lnTo>
                      <a:lnTo>
                        <a:pt x="36" y="79"/>
                      </a:lnTo>
                      <a:lnTo>
                        <a:pt x="36" y="78"/>
                      </a:lnTo>
                      <a:lnTo>
                        <a:pt x="38" y="78"/>
                      </a:lnTo>
                      <a:lnTo>
                        <a:pt x="36" y="78"/>
                      </a:lnTo>
                      <a:lnTo>
                        <a:pt x="36" y="77"/>
                      </a:lnTo>
                      <a:lnTo>
                        <a:pt x="35" y="77"/>
                      </a:lnTo>
                      <a:lnTo>
                        <a:pt x="34" y="76"/>
                      </a:lnTo>
                      <a:lnTo>
                        <a:pt x="33" y="76"/>
                      </a:lnTo>
                      <a:lnTo>
                        <a:pt x="35" y="77"/>
                      </a:lnTo>
                      <a:lnTo>
                        <a:pt x="35" y="78"/>
                      </a:lnTo>
                      <a:lnTo>
                        <a:pt x="35" y="77"/>
                      </a:lnTo>
                      <a:lnTo>
                        <a:pt x="34" y="77"/>
                      </a:lnTo>
                      <a:lnTo>
                        <a:pt x="33" y="77"/>
                      </a:lnTo>
                      <a:lnTo>
                        <a:pt x="27" y="75"/>
                      </a:lnTo>
                      <a:lnTo>
                        <a:pt x="22" y="73"/>
                      </a:lnTo>
                      <a:lnTo>
                        <a:pt x="22" y="72"/>
                      </a:lnTo>
                      <a:lnTo>
                        <a:pt x="24" y="72"/>
                      </a:lnTo>
                      <a:lnTo>
                        <a:pt x="22" y="71"/>
                      </a:lnTo>
                      <a:lnTo>
                        <a:pt x="22" y="70"/>
                      </a:lnTo>
                      <a:lnTo>
                        <a:pt x="24" y="70"/>
                      </a:lnTo>
                      <a:lnTo>
                        <a:pt x="22" y="70"/>
                      </a:lnTo>
                      <a:lnTo>
                        <a:pt x="21" y="69"/>
                      </a:lnTo>
                      <a:lnTo>
                        <a:pt x="20" y="68"/>
                      </a:lnTo>
                      <a:lnTo>
                        <a:pt x="19" y="66"/>
                      </a:lnTo>
                      <a:lnTo>
                        <a:pt x="14" y="64"/>
                      </a:lnTo>
                      <a:lnTo>
                        <a:pt x="8" y="62"/>
                      </a:lnTo>
                      <a:lnTo>
                        <a:pt x="5" y="61"/>
                      </a:lnTo>
                      <a:lnTo>
                        <a:pt x="4" y="59"/>
                      </a:lnTo>
                      <a:lnTo>
                        <a:pt x="4" y="58"/>
                      </a:lnTo>
                      <a:lnTo>
                        <a:pt x="4" y="57"/>
                      </a:lnTo>
                      <a:lnTo>
                        <a:pt x="4" y="56"/>
                      </a:lnTo>
                      <a:lnTo>
                        <a:pt x="3" y="56"/>
                      </a:lnTo>
                      <a:lnTo>
                        <a:pt x="3" y="55"/>
                      </a:lnTo>
                      <a:lnTo>
                        <a:pt x="1" y="55"/>
                      </a:lnTo>
                      <a:lnTo>
                        <a:pt x="0" y="54"/>
                      </a:lnTo>
                      <a:lnTo>
                        <a:pt x="1" y="52"/>
                      </a:lnTo>
                      <a:lnTo>
                        <a:pt x="1" y="51"/>
                      </a:lnTo>
                      <a:lnTo>
                        <a:pt x="3" y="51"/>
                      </a:lnTo>
                      <a:lnTo>
                        <a:pt x="3" y="50"/>
                      </a:lnTo>
                      <a:lnTo>
                        <a:pt x="4" y="50"/>
                      </a:lnTo>
                      <a:lnTo>
                        <a:pt x="4" y="49"/>
                      </a:lnTo>
                      <a:lnTo>
                        <a:pt x="3" y="49"/>
                      </a:lnTo>
                      <a:lnTo>
                        <a:pt x="4" y="49"/>
                      </a:lnTo>
                      <a:lnTo>
                        <a:pt x="4" y="48"/>
                      </a:lnTo>
                      <a:lnTo>
                        <a:pt x="5" y="48"/>
                      </a:lnTo>
                      <a:lnTo>
                        <a:pt x="4" y="48"/>
                      </a:lnTo>
                      <a:lnTo>
                        <a:pt x="4" y="47"/>
                      </a:lnTo>
                      <a:lnTo>
                        <a:pt x="5" y="45"/>
                      </a:lnTo>
                      <a:lnTo>
                        <a:pt x="5" y="44"/>
                      </a:lnTo>
                      <a:lnTo>
                        <a:pt x="6" y="44"/>
                      </a:lnTo>
                      <a:lnTo>
                        <a:pt x="8" y="43"/>
                      </a:lnTo>
                      <a:lnTo>
                        <a:pt x="8" y="42"/>
                      </a:lnTo>
                      <a:lnTo>
                        <a:pt x="11" y="40"/>
                      </a:lnTo>
                      <a:lnTo>
                        <a:pt x="12" y="38"/>
                      </a:lnTo>
                      <a:lnTo>
                        <a:pt x="17" y="35"/>
                      </a:lnTo>
                      <a:lnTo>
                        <a:pt x="18" y="34"/>
                      </a:lnTo>
                      <a:lnTo>
                        <a:pt x="19" y="34"/>
                      </a:lnTo>
                      <a:lnTo>
                        <a:pt x="20" y="33"/>
                      </a:lnTo>
                      <a:lnTo>
                        <a:pt x="24" y="28"/>
                      </a:lnTo>
                      <a:lnTo>
                        <a:pt x="25" y="27"/>
                      </a:lnTo>
                      <a:lnTo>
                        <a:pt x="27" y="26"/>
                      </a:lnTo>
                      <a:lnTo>
                        <a:pt x="27" y="19"/>
                      </a:lnTo>
                      <a:lnTo>
                        <a:pt x="27" y="17"/>
                      </a:lnTo>
                      <a:lnTo>
                        <a:pt x="28" y="17"/>
                      </a:lnTo>
                      <a:lnTo>
                        <a:pt x="28" y="16"/>
                      </a:lnTo>
                      <a:lnTo>
                        <a:pt x="29" y="16"/>
                      </a:lnTo>
                      <a:lnTo>
                        <a:pt x="29" y="15"/>
                      </a:lnTo>
                      <a:lnTo>
                        <a:pt x="31" y="14"/>
                      </a:lnTo>
                      <a:lnTo>
                        <a:pt x="32" y="14"/>
                      </a:lnTo>
                      <a:lnTo>
                        <a:pt x="34" y="14"/>
                      </a:lnTo>
                      <a:lnTo>
                        <a:pt x="35" y="14"/>
                      </a:lnTo>
                      <a:lnTo>
                        <a:pt x="36" y="13"/>
                      </a:lnTo>
                      <a:lnTo>
                        <a:pt x="36" y="12"/>
                      </a:lnTo>
                      <a:lnTo>
                        <a:pt x="36" y="10"/>
                      </a:lnTo>
                      <a:lnTo>
                        <a:pt x="36" y="9"/>
                      </a:lnTo>
                      <a:lnTo>
                        <a:pt x="36" y="8"/>
                      </a:lnTo>
                      <a:lnTo>
                        <a:pt x="38" y="5"/>
                      </a:lnTo>
                      <a:lnTo>
                        <a:pt x="38" y="2"/>
                      </a:lnTo>
                      <a:lnTo>
                        <a:pt x="39" y="2"/>
                      </a:lnTo>
                      <a:lnTo>
                        <a:pt x="40" y="3"/>
                      </a:lnTo>
                      <a:lnTo>
                        <a:pt x="40" y="2"/>
                      </a:lnTo>
                      <a:lnTo>
                        <a:pt x="41" y="1"/>
                      </a:lnTo>
                      <a:lnTo>
                        <a:pt x="42" y="1"/>
                      </a:lnTo>
                      <a:lnTo>
                        <a:pt x="43" y="2"/>
                      </a:lnTo>
                      <a:lnTo>
                        <a:pt x="45" y="2"/>
                      </a:lnTo>
                      <a:lnTo>
                        <a:pt x="45" y="5"/>
                      </a:lnTo>
                      <a:lnTo>
                        <a:pt x="46" y="5"/>
                      </a:lnTo>
                      <a:lnTo>
                        <a:pt x="47" y="3"/>
                      </a:lnTo>
                      <a:lnTo>
                        <a:pt x="48" y="2"/>
                      </a:lnTo>
                      <a:lnTo>
                        <a:pt x="49" y="2"/>
                      </a:lnTo>
                      <a:lnTo>
                        <a:pt x="50" y="2"/>
                      </a:lnTo>
                      <a:lnTo>
                        <a:pt x="51" y="2"/>
                      </a:lnTo>
                      <a:lnTo>
                        <a:pt x="53" y="2"/>
                      </a:lnTo>
                      <a:lnTo>
                        <a:pt x="53" y="1"/>
                      </a:lnTo>
                      <a:lnTo>
                        <a:pt x="54" y="0"/>
                      </a:lnTo>
                      <a:lnTo>
                        <a:pt x="54" y="1"/>
                      </a:lnTo>
                      <a:lnTo>
                        <a:pt x="55" y="2"/>
                      </a:lnTo>
                      <a:lnTo>
                        <a:pt x="55" y="3"/>
                      </a:lnTo>
                      <a:lnTo>
                        <a:pt x="55" y="5"/>
                      </a:lnTo>
                      <a:lnTo>
                        <a:pt x="56" y="3"/>
                      </a:lnTo>
                      <a:lnTo>
                        <a:pt x="56" y="2"/>
                      </a:lnTo>
                      <a:lnTo>
                        <a:pt x="57" y="2"/>
                      </a:lnTo>
                      <a:lnTo>
                        <a:pt x="57" y="3"/>
                      </a:lnTo>
                      <a:lnTo>
                        <a:pt x="58" y="3"/>
                      </a:lnTo>
                      <a:lnTo>
                        <a:pt x="57" y="5"/>
                      </a:lnTo>
                      <a:lnTo>
                        <a:pt x="57" y="6"/>
                      </a:lnTo>
                      <a:lnTo>
                        <a:pt x="58" y="6"/>
                      </a:lnTo>
                      <a:lnTo>
                        <a:pt x="60" y="5"/>
                      </a:lnTo>
                      <a:lnTo>
                        <a:pt x="60" y="6"/>
                      </a:lnTo>
                      <a:lnTo>
                        <a:pt x="62" y="6"/>
                      </a:lnTo>
                      <a:lnTo>
                        <a:pt x="62" y="7"/>
                      </a:lnTo>
                      <a:lnTo>
                        <a:pt x="63" y="7"/>
                      </a:lnTo>
                      <a:lnTo>
                        <a:pt x="62" y="7"/>
                      </a:lnTo>
                      <a:lnTo>
                        <a:pt x="62" y="8"/>
                      </a:lnTo>
                      <a:lnTo>
                        <a:pt x="62" y="9"/>
                      </a:lnTo>
                      <a:lnTo>
                        <a:pt x="62" y="10"/>
                      </a:lnTo>
                      <a:lnTo>
                        <a:pt x="62" y="12"/>
                      </a:lnTo>
                      <a:lnTo>
                        <a:pt x="62" y="13"/>
                      </a:lnTo>
                      <a:lnTo>
                        <a:pt x="63" y="13"/>
                      </a:lnTo>
                      <a:lnTo>
                        <a:pt x="64" y="15"/>
                      </a:lnTo>
                      <a:lnTo>
                        <a:pt x="64" y="16"/>
                      </a:lnTo>
                      <a:lnTo>
                        <a:pt x="63" y="16"/>
                      </a:lnTo>
                      <a:lnTo>
                        <a:pt x="63" y="17"/>
                      </a:lnTo>
                      <a:lnTo>
                        <a:pt x="64" y="16"/>
                      </a:lnTo>
                      <a:lnTo>
                        <a:pt x="65" y="16"/>
                      </a:lnTo>
                      <a:lnTo>
                        <a:pt x="65" y="17"/>
                      </a:lnTo>
                      <a:lnTo>
                        <a:pt x="65" y="19"/>
                      </a:lnTo>
                      <a:lnTo>
                        <a:pt x="64" y="20"/>
                      </a:lnTo>
                      <a:lnTo>
                        <a:pt x="64" y="21"/>
                      </a:lnTo>
                      <a:lnTo>
                        <a:pt x="64" y="22"/>
                      </a:lnTo>
                      <a:lnTo>
                        <a:pt x="65" y="23"/>
                      </a:lnTo>
                      <a:lnTo>
                        <a:pt x="67" y="24"/>
                      </a:lnTo>
                      <a:lnTo>
                        <a:pt x="68" y="26"/>
                      </a:lnTo>
                      <a:lnTo>
                        <a:pt x="67" y="27"/>
                      </a:lnTo>
                      <a:lnTo>
                        <a:pt x="67" y="28"/>
                      </a:lnTo>
                      <a:lnTo>
                        <a:pt x="67" y="29"/>
                      </a:lnTo>
                      <a:lnTo>
                        <a:pt x="68" y="30"/>
                      </a:lnTo>
                      <a:lnTo>
                        <a:pt x="67" y="30"/>
                      </a:lnTo>
                      <a:lnTo>
                        <a:pt x="67" y="31"/>
                      </a:lnTo>
                      <a:lnTo>
                        <a:pt x="67" y="33"/>
                      </a:lnTo>
                      <a:lnTo>
                        <a:pt x="65" y="33"/>
                      </a:lnTo>
                      <a:lnTo>
                        <a:pt x="67" y="34"/>
                      </a:lnTo>
                      <a:lnTo>
                        <a:pt x="65" y="34"/>
                      </a:lnTo>
                      <a:lnTo>
                        <a:pt x="65" y="35"/>
                      </a:lnTo>
                      <a:lnTo>
                        <a:pt x="64" y="36"/>
                      </a:lnTo>
                      <a:lnTo>
                        <a:pt x="64" y="37"/>
                      </a:lnTo>
                      <a:lnTo>
                        <a:pt x="63" y="37"/>
                      </a:lnTo>
                      <a:lnTo>
                        <a:pt x="63" y="38"/>
                      </a:lnTo>
                      <a:lnTo>
                        <a:pt x="64" y="37"/>
                      </a:lnTo>
                      <a:lnTo>
                        <a:pt x="65" y="36"/>
                      </a:lnTo>
                      <a:lnTo>
                        <a:pt x="65" y="37"/>
                      </a:lnTo>
                      <a:lnTo>
                        <a:pt x="67" y="37"/>
                      </a:lnTo>
                      <a:lnTo>
                        <a:pt x="67" y="36"/>
                      </a:lnTo>
                      <a:lnTo>
                        <a:pt x="68" y="36"/>
                      </a:lnTo>
                      <a:lnTo>
                        <a:pt x="69" y="36"/>
                      </a:lnTo>
                      <a:lnTo>
                        <a:pt x="69" y="37"/>
                      </a:lnTo>
                      <a:lnTo>
                        <a:pt x="70" y="37"/>
                      </a:lnTo>
                      <a:lnTo>
                        <a:pt x="71" y="37"/>
                      </a:lnTo>
                      <a:lnTo>
                        <a:pt x="72" y="38"/>
                      </a:lnTo>
                      <a:lnTo>
                        <a:pt x="72" y="40"/>
                      </a:lnTo>
                      <a:lnTo>
                        <a:pt x="74" y="41"/>
                      </a:lnTo>
                      <a:lnTo>
                        <a:pt x="75" y="41"/>
                      </a:lnTo>
                      <a:lnTo>
                        <a:pt x="75" y="42"/>
                      </a:lnTo>
                      <a:lnTo>
                        <a:pt x="76" y="42"/>
                      </a:lnTo>
                      <a:lnTo>
                        <a:pt x="75" y="43"/>
                      </a:lnTo>
                      <a:lnTo>
                        <a:pt x="76" y="43"/>
                      </a:lnTo>
                      <a:lnTo>
                        <a:pt x="77" y="43"/>
                      </a:lnTo>
                      <a:lnTo>
                        <a:pt x="77" y="42"/>
                      </a:lnTo>
                      <a:lnTo>
                        <a:pt x="78" y="42"/>
                      </a:lnTo>
                      <a:lnTo>
                        <a:pt x="79" y="42"/>
                      </a:lnTo>
                      <a:lnTo>
                        <a:pt x="79" y="41"/>
                      </a:lnTo>
                      <a:lnTo>
                        <a:pt x="81" y="41"/>
                      </a:lnTo>
                      <a:lnTo>
                        <a:pt x="82" y="42"/>
                      </a:lnTo>
                      <a:lnTo>
                        <a:pt x="83" y="41"/>
                      </a:lnTo>
                      <a:lnTo>
                        <a:pt x="84" y="41"/>
                      </a:lnTo>
                      <a:lnTo>
                        <a:pt x="84" y="40"/>
                      </a:lnTo>
                      <a:lnTo>
                        <a:pt x="83" y="38"/>
                      </a:lnTo>
                      <a:lnTo>
                        <a:pt x="84" y="37"/>
                      </a:lnTo>
                      <a:lnTo>
                        <a:pt x="84" y="36"/>
                      </a:lnTo>
                      <a:lnTo>
                        <a:pt x="85" y="36"/>
                      </a:lnTo>
                      <a:lnTo>
                        <a:pt x="85" y="35"/>
                      </a:lnTo>
                      <a:lnTo>
                        <a:pt x="86" y="34"/>
                      </a:lnTo>
                      <a:lnTo>
                        <a:pt x="88" y="34"/>
                      </a:lnTo>
                      <a:lnTo>
                        <a:pt x="88" y="33"/>
                      </a:lnTo>
                      <a:lnTo>
                        <a:pt x="88" y="31"/>
                      </a:lnTo>
                      <a:lnTo>
                        <a:pt x="88" y="30"/>
                      </a:lnTo>
                      <a:lnTo>
                        <a:pt x="88" y="29"/>
                      </a:lnTo>
                      <a:lnTo>
                        <a:pt x="89" y="28"/>
                      </a:lnTo>
                      <a:lnTo>
                        <a:pt x="89" y="27"/>
                      </a:lnTo>
                      <a:lnTo>
                        <a:pt x="92" y="27"/>
                      </a:lnTo>
                      <a:lnTo>
                        <a:pt x="92" y="29"/>
                      </a:lnTo>
                      <a:lnTo>
                        <a:pt x="93" y="30"/>
                      </a:lnTo>
                      <a:lnTo>
                        <a:pt x="95" y="31"/>
                      </a:lnTo>
                      <a:lnTo>
                        <a:pt x="96" y="3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7" name="Freeform 97">
                  <a:extLst>
                    <a:ext uri="{FF2B5EF4-FFF2-40B4-BE49-F238E27FC236}">
                      <a16:creationId xmlns:a16="http://schemas.microsoft.com/office/drawing/2014/main" id="{BDFF9A6B-F9AA-A888-3F89-6D20BBE6DA47}"/>
                    </a:ext>
                  </a:extLst>
                </p:cNvPr>
                <p:cNvSpPr>
                  <a:spLocks/>
                </p:cNvSpPr>
                <p:nvPr/>
              </p:nvSpPr>
              <p:spPr bwMode="auto">
                <a:xfrm>
                  <a:off x="6539557" y="2588158"/>
                  <a:ext cx="551683" cy="528967"/>
                </a:xfrm>
                <a:custGeom>
                  <a:avLst/>
                  <a:gdLst>
                    <a:gd name="T0" fmla="*/ 501 w 510"/>
                    <a:gd name="T1" fmla="*/ 76 h 489"/>
                    <a:gd name="T2" fmla="*/ 503 w 510"/>
                    <a:gd name="T3" fmla="*/ 95 h 489"/>
                    <a:gd name="T4" fmla="*/ 497 w 510"/>
                    <a:gd name="T5" fmla="*/ 108 h 489"/>
                    <a:gd name="T6" fmla="*/ 498 w 510"/>
                    <a:gd name="T7" fmla="*/ 126 h 489"/>
                    <a:gd name="T8" fmla="*/ 504 w 510"/>
                    <a:gd name="T9" fmla="*/ 147 h 489"/>
                    <a:gd name="T10" fmla="*/ 504 w 510"/>
                    <a:gd name="T11" fmla="*/ 211 h 489"/>
                    <a:gd name="T12" fmla="*/ 504 w 510"/>
                    <a:gd name="T13" fmla="*/ 291 h 489"/>
                    <a:gd name="T14" fmla="*/ 504 w 510"/>
                    <a:gd name="T15" fmla="*/ 384 h 489"/>
                    <a:gd name="T16" fmla="*/ 504 w 510"/>
                    <a:gd name="T17" fmla="*/ 434 h 489"/>
                    <a:gd name="T18" fmla="*/ 504 w 510"/>
                    <a:gd name="T19" fmla="*/ 468 h 489"/>
                    <a:gd name="T20" fmla="*/ 477 w 510"/>
                    <a:gd name="T21" fmla="*/ 472 h 489"/>
                    <a:gd name="T22" fmla="*/ 456 w 510"/>
                    <a:gd name="T23" fmla="*/ 480 h 489"/>
                    <a:gd name="T24" fmla="*/ 422 w 510"/>
                    <a:gd name="T25" fmla="*/ 462 h 489"/>
                    <a:gd name="T26" fmla="*/ 385 w 510"/>
                    <a:gd name="T27" fmla="*/ 443 h 489"/>
                    <a:gd name="T28" fmla="*/ 351 w 510"/>
                    <a:gd name="T29" fmla="*/ 424 h 489"/>
                    <a:gd name="T30" fmla="*/ 318 w 510"/>
                    <a:gd name="T31" fmla="*/ 408 h 489"/>
                    <a:gd name="T32" fmla="*/ 283 w 510"/>
                    <a:gd name="T33" fmla="*/ 389 h 489"/>
                    <a:gd name="T34" fmla="*/ 247 w 510"/>
                    <a:gd name="T35" fmla="*/ 371 h 489"/>
                    <a:gd name="T36" fmla="*/ 216 w 510"/>
                    <a:gd name="T37" fmla="*/ 354 h 489"/>
                    <a:gd name="T38" fmla="*/ 199 w 510"/>
                    <a:gd name="T39" fmla="*/ 363 h 489"/>
                    <a:gd name="T40" fmla="*/ 184 w 510"/>
                    <a:gd name="T41" fmla="*/ 370 h 489"/>
                    <a:gd name="T42" fmla="*/ 150 w 510"/>
                    <a:gd name="T43" fmla="*/ 374 h 489"/>
                    <a:gd name="T44" fmla="*/ 121 w 510"/>
                    <a:gd name="T45" fmla="*/ 360 h 489"/>
                    <a:gd name="T46" fmla="*/ 97 w 510"/>
                    <a:gd name="T47" fmla="*/ 354 h 489"/>
                    <a:gd name="T48" fmla="*/ 74 w 510"/>
                    <a:gd name="T49" fmla="*/ 325 h 489"/>
                    <a:gd name="T50" fmla="*/ 38 w 510"/>
                    <a:gd name="T51" fmla="*/ 319 h 489"/>
                    <a:gd name="T52" fmla="*/ 26 w 510"/>
                    <a:gd name="T53" fmla="*/ 301 h 489"/>
                    <a:gd name="T54" fmla="*/ 4 w 510"/>
                    <a:gd name="T55" fmla="*/ 260 h 489"/>
                    <a:gd name="T56" fmla="*/ 20 w 510"/>
                    <a:gd name="T57" fmla="*/ 239 h 489"/>
                    <a:gd name="T58" fmla="*/ 15 w 510"/>
                    <a:gd name="T59" fmla="*/ 217 h 489"/>
                    <a:gd name="T60" fmla="*/ 21 w 510"/>
                    <a:gd name="T61" fmla="*/ 199 h 489"/>
                    <a:gd name="T62" fmla="*/ 13 w 510"/>
                    <a:gd name="T63" fmla="*/ 135 h 489"/>
                    <a:gd name="T64" fmla="*/ 19 w 510"/>
                    <a:gd name="T65" fmla="*/ 107 h 489"/>
                    <a:gd name="T66" fmla="*/ 31 w 510"/>
                    <a:gd name="T67" fmla="*/ 80 h 489"/>
                    <a:gd name="T68" fmla="*/ 39 w 510"/>
                    <a:gd name="T69" fmla="*/ 56 h 489"/>
                    <a:gd name="T70" fmla="*/ 46 w 510"/>
                    <a:gd name="T71" fmla="*/ 46 h 489"/>
                    <a:gd name="T72" fmla="*/ 71 w 510"/>
                    <a:gd name="T73" fmla="*/ 29 h 489"/>
                    <a:gd name="T74" fmla="*/ 69 w 510"/>
                    <a:gd name="T75" fmla="*/ 10 h 489"/>
                    <a:gd name="T76" fmla="*/ 79 w 510"/>
                    <a:gd name="T77" fmla="*/ 3 h 489"/>
                    <a:gd name="T78" fmla="*/ 95 w 510"/>
                    <a:gd name="T79" fmla="*/ 11 h 489"/>
                    <a:gd name="T80" fmla="*/ 127 w 510"/>
                    <a:gd name="T81" fmla="*/ 10 h 489"/>
                    <a:gd name="T82" fmla="*/ 157 w 510"/>
                    <a:gd name="T83" fmla="*/ 18 h 489"/>
                    <a:gd name="T84" fmla="*/ 172 w 510"/>
                    <a:gd name="T85" fmla="*/ 27 h 489"/>
                    <a:gd name="T86" fmla="*/ 192 w 510"/>
                    <a:gd name="T87" fmla="*/ 34 h 489"/>
                    <a:gd name="T88" fmla="*/ 195 w 510"/>
                    <a:gd name="T89" fmla="*/ 45 h 489"/>
                    <a:gd name="T90" fmla="*/ 239 w 510"/>
                    <a:gd name="T91" fmla="*/ 73 h 489"/>
                    <a:gd name="T92" fmla="*/ 268 w 510"/>
                    <a:gd name="T93" fmla="*/ 81 h 489"/>
                    <a:gd name="T94" fmla="*/ 287 w 510"/>
                    <a:gd name="T95" fmla="*/ 91 h 489"/>
                    <a:gd name="T96" fmla="*/ 311 w 510"/>
                    <a:gd name="T97" fmla="*/ 108 h 489"/>
                    <a:gd name="T98" fmla="*/ 337 w 510"/>
                    <a:gd name="T99" fmla="*/ 100 h 489"/>
                    <a:gd name="T100" fmla="*/ 349 w 510"/>
                    <a:gd name="T101" fmla="*/ 73 h 489"/>
                    <a:gd name="T102" fmla="*/ 342 w 510"/>
                    <a:gd name="T103" fmla="*/ 56 h 489"/>
                    <a:gd name="T104" fmla="*/ 347 w 510"/>
                    <a:gd name="T105" fmla="*/ 37 h 489"/>
                    <a:gd name="T106" fmla="*/ 378 w 510"/>
                    <a:gd name="T107" fmla="*/ 15 h 489"/>
                    <a:gd name="T108" fmla="*/ 401 w 510"/>
                    <a:gd name="T109" fmla="*/ 8 h 489"/>
                    <a:gd name="T110" fmla="*/ 416 w 510"/>
                    <a:gd name="T111" fmla="*/ 10 h 489"/>
                    <a:gd name="T112" fmla="*/ 437 w 510"/>
                    <a:gd name="T113" fmla="*/ 17 h 489"/>
                    <a:gd name="T114" fmla="*/ 444 w 510"/>
                    <a:gd name="T115" fmla="*/ 22 h 489"/>
                    <a:gd name="T116" fmla="*/ 444 w 510"/>
                    <a:gd name="T117" fmla="*/ 27 h 489"/>
                    <a:gd name="T118" fmla="*/ 451 w 510"/>
                    <a:gd name="T119" fmla="*/ 36 h 489"/>
                    <a:gd name="T120" fmla="*/ 473 w 510"/>
                    <a:gd name="T121" fmla="*/ 41 h 489"/>
                    <a:gd name="T122" fmla="*/ 496 w 510"/>
                    <a:gd name="T123" fmla="*/ 43 h 489"/>
                    <a:gd name="T124" fmla="*/ 506 w 510"/>
                    <a:gd name="T125" fmla="*/ 5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0" h="489">
                      <a:moveTo>
                        <a:pt x="510" y="57"/>
                      </a:moveTo>
                      <a:lnTo>
                        <a:pt x="508" y="58"/>
                      </a:lnTo>
                      <a:lnTo>
                        <a:pt x="506" y="59"/>
                      </a:lnTo>
                      <a:lnTo>
                        <a:pt x="505" y="63"/>
                      </a:lnTo>
                      <a:lnTo>
                        <a:pt x="501" y="67"/>
                      </a:lnTo>
                      <a:lnTo>
                        <a:pt x="501" y="69"/>
                      </a:lnTo>
                      <a:lnTo>
                        <a:pt x="501" y="70"/>
                      </a:lnTo>
                      <a:lnTo>
                        <a:pt x="501" y="73"/>
                      </a:lnTo>
                      <a:lnTo>
                        <a:pt x="501" y="76"/>
                      </a:lnTo>
                      <a:lnTo>
                        <a:pt x="502" y="80"/>
                      </a:lnTo>
                      <a:lnTo>
                        <a:pt x="503" y="83"/>
                      </a:lnTo>
                      <a:lnTo>
                        <a:pt x="503" y="85"/>
                      </a:lnTo>
                      <a:lnTo>
                        <a:pt x="504" y="87"/>
                      </a:lnTo>
                      <a:lnTo>
                        <a:pt x="505" y="90"/>
                      </a:lnTo>
                      <a:lnTo>
                        <a:pt x="504" y="91"/>
                      </a:lnTo>
                      <a:lnTo>
                        <a:pt x="504" y="92"/>
                      </a:lnTo>
                      <a:lnTo>
                        <a:pt x="504" y="93"/>
                      </a:lnTo>
                      <a:lnTo>
                        <a:pt x="503" y="95"/>
                      </a:lnTo>
                      <a:lnTo>
                        <a:pt x="503" y="98"/>
                      </a:lnTo>
                      <a:lnTo>
                        <a:pt x="503" y="99"/>
                      </a:lnTo>
                      <a:lnTo>
                        <a:pt x="502" y="100"/>
                      </a:lnTo>
                      <a:lnTo>
                        <a:pt x="502" y="101"/>
                      </a:lnTo>
                      <a:lnTo>
                        <a:pt x="499" y="104"/>
                      </a:lnTo>
                      <a:lnTo>
                        <a:pt x="498" y="105"/>
                      </a:lnTo>
                      <a:lnTo>
                        <a:pt x="498" y="106"/>
                      </a:lnTo>
                      <a:lnTo>
                        <a:pt x="497" y="107"/>
                      </a:lnTo>
                      <a:lnTo>
                        <a:pt x="497" y="108"/>
                      </a:lnTo>
                      <a:lnTo>
                        <a:pt x="496" y="111"/>
                      </a:lnTo>
                      <a:lnTo>
                        <a:pt x="495" y="112"/>
                      </a:lnTo>
                      <a:lnTo>
                        <a:pt x="495" y="113"/>
                      </a:lnTo>
                      <a:lnTo>
                        <a:pt x="495" y="114"/>
                      </a:lnTo>
                      <a:lnTo>
                        <a:pt x="496" y="115"/>
                      </a:lnTo>
                      <a:lnTo>
                        <a:pt x="499" y="122"/>
                      </a:lnTo>
                      <a:lnTo>
                        <a:pt x="499" y="123"/>
                      </a:lnTo>
                      <a:lnTo>
                        <a:pt x="499" y="125"/>
                      </a:lnTo>
                      <a:lnTo>
                        <a:pt x="498" y="126"/>
                      </a:lnTo>
                      <a:lnTo>
                        <a:pt x="498" y="128"/>
                      </a:lnTo>
                      <a:lnTo>
                        <a:pt x="501" y="130"/>
                      </a:lnTo>
                      <a:lnTo>
                        <a:pt x="501" y="132"/>
                      </a:lnTo>
                      <a:lnTo>
                        <a:pt x="501" y="133"/>
                      </a:lnTo>
                      <a:lnTo>
                        <a:pt x="501" y="135"/>
                      </a:lnTo>
                      <a:lnTo>
                        <a:pt x="501" y="136"/>
                      </a:lnTo>
                      <a:lnTo>
                        <a:pt x="501" y="139"/>
                      </a:lnTo>
                      <a:lnTo>
                        <a:pt x="504" y="144"/>
                      </a:lnTo>
                      <a:lnTo>
                        <a:pt x="504" y="147"/>
                      </a:lnTo>
                      <a:lnTo>
                        <a:pt x="504" y="149"/>
                      </a:lnTo>
                      <a:lnTo>
                        <a:pt x="504" y="153"/>
                      </a:lnTo>
                      <a:lnTo>
                        <a:pt x="504" y="160"/>
                      </a:lnTo>
                      <a:lnTo>
                        <a:pt x="504" y="174"/>
                      </a:lnTo>
                      <a:lnTo>
                        <a:pt x="504" y="189"/>
                      </a:lnTo>
                      <a:lnTo>
                        <a:pt x="504" y="191"/>
                      </a:lnTo>
                      <a:lnTo>
                        <a:pt x="504" y="204"/>
                      </a:lnTo>
                      <a:lnTo>
                        <a:pt x="504" y="205"/>
                      </a:lnTo>
                      <a:lnTo>
                        <a:pt x="504" y="211"/>
                      </a:lnTo>
                      <a:lnTo>
                        <a:pt x="504" y="223"/>
                      </a:lnTo>
                      <a:lnTo>
                        <a:pt x="504" y="226"/>
                      </a:lnTo>
                      <a:lnTo>
                        <a:pt x="504" y="233"/>
                      </a:lnTo>
                      <a:lnTo>
                        <a:pt x="504" y="240"/>
                      </a:lnTo>
                      <a:lnTo>
                        <a:pt x="504" y="251"/>
                      </a:lnTo>
                      <a:lnTo>
                        <a:pt x="504" y="261"/>
                      </a:lnTo>
                      <a:lnTo>
                        <a:pt x="504" y="272"/>
                      </a:lnTo>
                      <a:lnTo>
                        <a:pt x="504" y="281"/>
                      </a:lnTo>
                      <a:lnTo>
                        <a:pt x="504" y="291"/>
                      </a:lnTo>
                      <a:lnTo>
                        <a:pt x="504" y="302"/>
                      </a:lnTo>
                      <a:lnTo>
                        <a:pt x="504" y="312"/>
                      </a:lnTo>
                      <a:lnTo>
                        <a:pt x="504" y="323"/>
                      </a:lnTo>
                      <a:lnTo>
                        <a:pt x="504" y="332"/>
                      </a:lnTo>
                      <a:lnTo>
                        <a:pt x="504" y="343"/>
                      </a:lnTo>
                      <a:lnTo>
                        <a:pt x="504" y="353"/>
                      </a:lnTo>
                      <a:lnTo>
                        <a:pt x="504" y="364"/>
                      </a:lnTo>
                      <a:lnTo>
                        <a:pt x="504" y="373"/>
                      </a:lnTo>
                      <a:lnTo>
                        <a:pt x="504" y="384"/>
                      </a:lnTo>
                      <a:lnTo>
                        <a:pt x="504" y="393"/>
                      </a:lnTo>
                      <a:lnTo>
                        <a:pt x="504" y="403"/>
                      </a:lnTo>
                      <a:lnTo>
                        <a:pt x="504" y="408"/>
                      </a:lnTo>
                      <a:lnTo>
                        <a:pt x="504" y="412"/>
                      </a:lnTo>
                      <a:lnTo>
                        <a:pt x="504" y="416"/>
                      </a:lnTo>
                      <a:lnTo>
                        <a:pt x="504" y="421"/>
                      </a:lnTo>
                      <a:lnTo>
                        <a:pt x="504" y="424"/>
                      </a:lnTo>
                      <a:lnTo>
                        <a:pt x="504" y="429"/>
                      </a:lnTo>
                      <a:lnTo>
                        <a:pt x="504" y="434"/>
                      </a:lnTo>
                      <a:lnTo>
                        <a:pt x="504" y="437"/>
                      </a:lnTo>
                      <a:lnTo>
                        <a:pt x="504" y="442"/>
                      </a:lnTo>
                      <a:lnTo>
                        <a:pt x="504" y="447"/>
                      </a:lnTo>
                      <a:lnTo>
                        <a:pt x="504" y="450"/>
                      </a:lnTo>
                      <a:lnTo>
                        <a:pt x="504" y="455"/>
                      </a:lnTo>
                      <a:lnTo>
                        <a:pt x="504" y="458"/>
                      </a:lnTo>
                      <a:lnTo>
                        <a:pt x="504" y="461"/>
                      </a:lnTo>
                      <a:lnTo>
                        <a:pt x="504" y="464"/>
                      </a:lnTo>
                      <a:lnTo>
                        <a:pt x="504" y="468"/>
                      </a:lnTo>
                      <a:lnTo>
                        <a:pt x="504" y="471"/>
                      </a:lnTo>
                      <a:lnTo>
                        <a:pt x="504" y="472"/>
                      </a:lnTo>
                      <a:lnTo>
                        <a:pt x="501" y="472"/>
                      </a:lnTo>
                      <a:lnTo>
                        <a:pt x="496" y="472"/>
                      </a:lnTo>
                      <a:lnTo>
                        <a:pt x="492" y="472"/>
                      </a:lnTo>
                      <a:lnTo>
                        <a:pt x="488" y="472"/>
                      </a:lnTo>
                      <a:lnTo>
                        <a:pt x="484" y="472"/>
                      </a:lnTo>
                      <a:lnTo>
                        <a:pt x="481" y="472"/>
                      </a:lnTo>
                      <a:lnTo>
                        <a:pt x="477" y="472"/>
                      </a:lnTo>
                      <a:lnTo>
                        <a:pt x="473" y="472"/>
                      </a:lnTo>
                      <a:lnTo>
                        <a:pt x="473" y="476"/>
                      </a:lnTo>
                      <a:lnTo>
                        <a:pt x="473" y="480"/>
                      </a:lnTo>
                      <a:lnTo>
                        <a:pt x="473" y="484"/>
                      </a:lnTo>
                      <a:lnTo>
                        <a:pt x="473" y="489"/>
                      </a:lnTo>
                      <a:lnTo>
                        <a:pt x="468" y="486"/>
                      </a:lnTo>
                      <a:lnTo>
                        <a:pt x="465" y="485"/>
                      </a:lnTo>
                      <a:lnTo>
                        <a:pt x="461" y="483"/>
                      </a:lnTo>
                      <a:lnTo>
                        <a:pt x="456" y="480"/>
                      </a:lnTo>
                      <a:lnTo>
                        <a:pt x="453" y="478"/>
                      </a:lnTo>
                      <a:lnTo>
                        <a:pt x="448" y="477"/>
                      </a:lnTo>
                      <a:lnTo>
                        <a:pt x="445" y="475"/>
                      </a:lnTo>
                      <a:lnTo>
                        <a:pt x="441" y="472"/>
                      </a:lnTo>
                      <a:lnTo>
                        <a:pt x="437" y="470"/>
                      </a:lnTo>
                      <a:lnTo>
                        <a:pt x="433" y="468"/>
                      </a:lnTo>
                      <a:lnTo>
                        <a:pt x="430" y="466"/>
                      </a:lnTo>
                      <a:lnTo>
                        <a:pt x="425" y="464"/>
                      </a:lnTo>
                      <a:lnTo>
                        <a:pt x="422" y="462"/>
                      </a:lnTo>
                      <a:lnTo>
                        <a:pt x="417" y="459"/>
                      </a:lnTo>
                      <a:lnTo>
                        <a:pt x="413" y="458"/>
                      </a:lnTo>
                      <a:lnTo>
                        <a:pt x="410" y="456"/>
                      </a:lnTo>
                      <a:lnTo>
                        <a:pt x="405" y="454"/>
                      </a:lnTo>
                      <a:lnTo>
                        <a:pt x="402" y="451"/>
                      </a:lnTo>
                      <a:lnTo>
                        <a:pt x="397" y="449"/>
                      </a:lnTo>
                      <a:lnTo>
                        <a:pt x="394" y="448"/>
                      </a:lnTo>
                      <a:lnTo>
                        <a:pt x="390" y="445"/>
                      </a:lnTo>
                      <a:lnTo>
                        <a:pt x="385" y="443"/>
                      </a:lnTo>
                      <a:lnTo>
                        <a:pt x="382" y="441"/>
                      </a:lnTo>
                      <a:lnTo>
                        <a:pt x="377" y="440"/>
                      </a:lnTo>
                      <a:lnTo>
                        <a:pt x="374" y="437"/>
                      </a:lnTo>
                      <a:lnTo>
                        <a:pt x="370" y="435"/>
                      </a:lnTo>
                      <a:lnTo>
                        <a:pt x="366" y="433"/>
                      </a:lnTo>
                      <a:lnTo>
                        <a:pt x="362" y="430"/>
                      </a:lnTo>
                      <a:lnTo>
                        <a:pt x="358" y="429"/>
                      </a:lnTo>
                      <a:lnTo>
                        <a:pt x="354" y="427"/>
                      </a:lnTo>
                      <a:lnTo>
                        <a:pt x="351" y="424"/>
                      </a:lnTo>
                      <a:lnTo>
                        <a:pt x="346" y="422"/>
                      </a:lnTo>
                      <a:lnTo>
                        <a:pt x="342" y="421"/>
                      </a:lnTo>
                      <a:lnTo>
                        <a:pt x="338" y="419"/>
                      </a:lnTo>
                      <a:lnTo>
                        <a:pt x="334" y="416"/>
                      </a:lnTo>
                      <a:lnTo>
                        <a:pt x="331" y="414"/>
                      </a:lnTo>
                      <a:lnTo>
                        <a:pt x="326" y="412"/>
                      </a:lnTo>
                      <a:lnTo>
                        <a:pt x="323" y="410"/>
                      </a:lnTo>
                      <a:lnTo>
                        <a:pt x="319" y="408"/>
                      </a:lnTo>
                      <a:lnTo>
                        <a:pt x="318" y="408"/>
                      </a:lnTo>
                      <a:lnTo>
                        <a:pt x="314" y="406"/>
                      </a:lnTo>
                      <a:lnTo>
                        <a:pt x="311" y="403"/>
                      </a:lnTo>
                      <a:lnTo>
                        <a:pt x="306" y="401"/>
                      </a:lnTo>
                      <a:lnTo>
                        <a:pt x="303" y="400"/>
                      </a:lnTo>
                      <a:lnTo>
                        <a:pt x="298" y="398"/>
                      </a:lnTo>
                      <a:lnTo>
                        <a:pt x="295" y="395"/>
                      </a:lnTo>
                      <a:lnTo>
                        <a:pt x="291" y="393"/>
                      </a:lnTo>
                      <a:lnTo>
                        <a:pt x="287" y="392"/>
                      </a:lnTo>
                      <a:lnTo>
                        <a:pt x="283" y="389"/>
                      </a:lnTo>
                      <a:lnTo>
                        <a:pt x="278" y="387"/>
                      </a:lnTo>
                      <a:lnTo>
                        <a:pt x="275" y="385"/>
                      </a:lnTo>
                      <a:lnTo>
                        <a:pt x="271" y="382"/>
                      </a:lnTo>
                      <a:lnTo>
                        <a:pt x="267" y="381"/>
                      </a:lnTo>
                      <a:lnTo>
                        <a:pt x="263" y="379"/>
                      </a:lnTo>
                      <a:lnTo>
                        <a:pt x="259" y="377"/>
                      </a:lnTo>
                      <a:lnTo>
                        <a:pt x="255" y="374"/>
                      </a:lnTo>
                      <a:lnTo>
                        <a:pt x="252" y="372"/>
                      </a:lnTo>
                      <a:lnTo>
                        <a:pt x="247" y="371"/>
                      </a:lnTo>
                      <a:lnTo>
                        <a:pt x="243" y="368"/>
                      </a:lnTo>
                      <a:lnTo>
                        <a:pt x="239" y="366"/>
                      </a:lnTo>
                      <a:lnTo>
                        <a:pt x="235" y="364"/>
                      </a:lnTo>
                      <a:lnTo>
                        <a:pt x="232" y="361"/>
                      </a:lnTo>
                      <a:lnTo>
                        <a:pt x="227" y="360"/>
                      </a:lnTo>
                      <a:lnTo>
                        <a:pt x="224" y="358"/>
                      </a:lnTo>
                      <a:lnTo>
                        <a:pt x="219" y="356"/>
                      </a:lnTo>
                      <a:lnTo>
                        <a:pt x="217" y="354"/>
                      </a:lnTo>
                      <a:lnTo>
                        <a:pt x="216" y="354"/>
                      </a:lnTo>
                      <a:lnTo>
                        <a:pt x="214" y="354"/>
                      </a:lnTo>
                      <a:lnTo>
                        <a:pt x="212" y="356"/>
                      </a:lnTo>
                      <a:lnTo>
                        <a:pt x="211" y="357"/>
                      </a:lnTo>
                      <a:lnTo>
                        <a:pt x="209" y="358"/>
                      </a:lnTo>
                      <a:lnTo>
                        <a:pt x="207" y="358"/>
                      </a:lnTo>
                      <a:lnTo>
                        <a:pt x="205" y="359"/>
                      </a:lnTo>
                      <a:lnTo>
                        <a:pt x="204" y="360"/>
                      </a:lnTo>
                      <a:lnTo>
                        <a:pt x="202" y="361"/>
                      </a:lnTo>
                      <a:lnTo>
                        <a:pt x="199" y="363"/>
                      </a:lnTo>
                      <a:lnTo>
                        <a:pt x="198" y="363"/>
                      </a:lnTo>
                      <a:lnTo>
                        <a:pt x="196" y="364"/>
                      </a:lnTo>
                      <a:lnTo>
                        <a:pt x="195" y="365"/>
                      </a:lnTo>
                      <a:lnTo>
                        <a:pt x="192" y="366"/>
                      </a:lnTo>
                      <a:lnTo>
                        <a:pt x="190" y="367"/>
                      </a:lnTo>
                      <a:lnTo>
                        <a:pt x="189" y="367"/>
                      </a:lnTo>
                      <a:lnTo>
                        <a:pt x="186" y="368"/>
                      </a:lnTo>
                      <a:lnTo>
                        <a:pt x="185" y="370"/>
                      </a:lnTo>
                      <a:lnTo>
                        <a:pt x="184" y="370"/>
                      </a:lnTo>
                      <a:lnTo>
                        <a:pt x="178" y="373"/>
                      </a:lnTo>
                      <a:lnTo>
                        <a:pt x="174" y="375"/>
                      </a:lnTo>
                      <a:lnTo>
                        <a:pt x="168" y="379"/>
                      </a:lnTo>
                      <a:lnTo>
                        <a:pt x="162" y="381"/>
                      </a:lnTo>
                      <a:lnTo>
                        <a:pt x="161" y="382"/>
                      </a:lnTo>
                      <a:lnTo>
                        <a:pt x="160" y="382"/>
                      </a:lnTo>
                      <a:lnTo>
                        <a:pt x="159" y="381"/>
                      </a:lnTo>
                      <a:lnTo>
                        <a:pt x="154" y="378"/>
                      </a:lnTo>
                      <a:lnTo>
                        <a:pt x="150" y="374"/>
                      </a:lnTo>
                      <a:lnTo>
                        <a:pt x="146" y="371"/>
                      </a:lnTo>
                      <a:lnTo>
                        <a:pt x="142" y="367"/>
                      </a:lnTo>
                      <a:lnTo>
                        <a:pt x="140" y="366"/>
                      </a:lnTo>
                      <a:lnTo>
                        <a:pt x="136" y="364"/>
                      </a:lnTo>
                      <a:lnTo>
                        <a:pt x="133" y="363"/>
                      </a:lnTo>
                      <a:lnTo>
                        <a:pt x="131" y="363"/>
                      </a:lnTo>
                      <a:lnTo>
                        <a:pt x="127" y="361"/>
                      </a:lnTo>
                      <a:lnTo>
                        <a:pt x="125" y="360"/>
                      </a:lnTo>
                      <a:lnTo>
                        <a:pt x="121" y="360"/>
                      </a:lnTo>
                      <a:lnTo>
                        <a:pt x="119" y="359"/>
                      </a:lnTo>
                      <a:lnTo>
                        <a:pt x="117" y="359"/>
                      </a:lnTo>
                      <a:lnTo>
                        <a:pt x="113" y="358"/>
                      </a:lnTo>
                      <a:lnTo>
                        <a:pt x="111" y="358"/>
                      </a:lnTo>
                      <a:lnTo>
                        <a:pt x="107" y="357"/>
                      </a:lnTo>
                      <a:lnTo>
                        <a:pt x="105" y="356"/>
                      </a:lnTo>
                      <a:lnTo>
                        <a:pt x="102" y="356"/>
                      </a:lnTo>
                      <a:lnTo>
                        <a:pt x="99" y="354"/>
                      </a:lnTo>
                      <a:lnTo>
                        <a:pt x="97" y="354"/>
                      </a:lnTo>
                      <a:lnTo>
                        <a:pt x="93" y="353"/>
                      </a:lnTo>
                      <a:lnTo>
                        <a:pt x="91" y="353"/>
                      </a:lnTo>
                      <a:lnTo>
                        <a:pt x="88" y="352"/>
                      </a:lnTo>
                      <a:lnTo>
                        <a:pt x="85" y="347"/>
                      </a:lnTo>
                      <a:lnTo>
                        <a:pt x="83" y="343"/>
                      </a:lnTo>
                      <a:lnTo>
                        <a:pt x="79" y="336"/>
                      </a:lnTo>
                      <a:lnTo>
                        <a:pt x="77" y="331"/>
                      </a:lnTo>
                      <a:lnTo>
                        <a:pt x="75" y="326"/>
                      </a:lnTo>
                      <a:lnTo>
                        <a:pt x="74" y="325"/>
                      </a:lnTo>
                      <a:lnTo>
                        <a:pt x="72" y="324"/>
                      </a:lnTo>
                      <a:lnTo>
                        <a:pt x="71" y="324"/>
                      </a:lnTo>
                      <a:lnTo>
                        <a:pt x="62" y="321"/>
                      </a:lnTo>
                      <a:lnTo>
                        <a:pt x="54" y="318"/>
                      </a:lnTo>
                      <a:lnTo>
                        <a:pt x="48" y="316"/>
                      </a:lnTo>
                      <a:lnTo>
                        <a:pt x="47" y="316"/>
                      </a:lnTo>
                      <a:lnTo>
                        <a:pt x="42" y="317"/>
                      </a:lnTo>
                      <a:lnTo>
                        <a:pt x="39" y="319"/>
                      </a:lnTo>
                      <a:lnTo>
                        <a:pt x="38" y="319"/>
                      </a:lnTo>
                      <a:lnTo>
                        <a:pt x="38" y="318"/>
                      </a:lnTo>
                      <a:lnTo>
                        <a:pt x="33" y="316"/>
                      </a:lnTo>
                      <a:lnTo>
                        <a:pt x="33" y="315"/>
                      </a:lnTo>
                      <a:lnTo>
                        <a:pt x="32" y="314"/>
                      </a:lnTo>
                      <a:lnTo>
                        <a:pt x="32" y="310"/>
                      </a:lnTo>
                      <a:lnTo>
                        <a:pt x="31" y="309"/>
                      </a:lnTo>
                      <a:lnTo>
                        <a:pt x="26" y="307"/>
                      </a:lnTo>
                      <a:lnTo>
                        <a:pt x="26" y="305"/>
                      </a:lnTo>
                      <a:lnTo>
                        <a:pt x="26" y="301"/>
                      </a:lnTo>
                      <a:lnTo>
                        <a:pt x="25" y="296"/>
                      </a:lnTo>
                      <a:lnTo>
                        <a:pt x="25" y="291"/>
                      </a:lnTo>
                      <a:lnTo>
                        <a:pt x="25" y="289"/>
                      </a:lnTo>
                      <a:lnTo>
                        <a:pt x="24" y="287"/>
                      </a:lnTo>
                      <a:lnTo>
                        <a:pt x="19" y="280"/>
                      </a:lnTo>
                      <a:lnTo>
                        <a:pt x="14" y="274"/>
                      </a:lnTo>
                      <a:lnTo>
                        <a:pt x="10" y="268"/>
                      </a:lnTo>
                      <a:lnTo>
                        <a:pt x="5" y="261"/>
                      </a:lnTo>
                      <a:lnTo>
                        <a:pt x="4" y="260"/>
                      </a:lnTo>
                      <a:lnTo>
                        <a:pt x="5" y="258"/>
                      </a:lnTo>
                      <a:lnTo>
                        <a:pt x="6" y="255"/>
                      </a:lnTo>
                      <a:lnTo>
                        <a:pt x="7" y="254"/>
                      </a:lnTo>
                      <a:lnTo>
                        <a:pt x="7" y="253"/>
                      </a:lnTo>
                      <a:lnTo>
                        <a:pt x="19" y="247"/>
                      </a:lnTo>
                      <a:lnTo>
                        <a:pt x="21" y="242"/>
                      </a:lnTo>
                      <a:lnTo>
                        <a:pt x="21" y="241"/>
                      </a:lnTo>
                      <a:lnTo>
                        <a:pt x="20" y="240"/>
                      </a:lnTo>
                      <a:lnTo>
                        <a:pt x="20" y="239"/>
                      </a:lnTo>
                      <a:lnTo>
                        <a:pt x="21" y="235"/>
                      </a:lnTo>
                      <a:lnTo>
                        <a:pt x="21" y="234"/>
                      </a:lnTo>
                      <a:lnTo>
                        <a:pt x="20" y="234"/>
                      </a:lnTo>
                      <a:lnTo>
                        <a:pt x="19" y="233"/>
                      </a:lnTo>
                      <a:lnTo>
                        <a:pt x="19" y="232"/>
                      </a:lnTo>
                      <a:lnTo>
                        <a:pt x="18" y="228"/>
                      </a:lnTo>
                      <a:lnTo>
                        <a:pt x="15" y="219"/>
                      </a:lnTo>
                      <a:lnTo>
                        <a:pt x="15" y="218"/>
                      </a:lnTo>
                      <a:lnTo>
                        <a:pt x="15" y="217"/>
                      </a:lnTo>
                      <a:lnTo>
                        <a:pt x="17" y="214"/>
                      </a:lnTo>
                      <a:lnTo>
                        <a:pt x="17" y="213"/>
                      </a:lnTo>
                      <a:lnTo>
                        <a:pt x="18" y="212"/>
                      </a:lnTo>
                      <a:lnTo>
                        <a:pt x="18" y="211"/>
                      </a:lnTo>
                      <a:lnTo>
                        <a:pt x="18" y="210"/>
                      </a:lnTo>
                      <a:lnTo>
                        <a:pt x="18" y="209"/>
                      </a:lnTo>
                      <a:lnTo>
                        <a:pt x="19" y="207"/>
                      </a:lnTo>
                      <a:lnTo>
                        <a:pt x="21" y="200"/>
                      </a:lnTo>
                      <a:lnTo>
                        <a:pt x="21" y="199"/>
                      </a:lnTo>
                      <a:lnTo>
                        <a:pt x="21" y="198"/>
                      </a:lnTo>
                      <a:lnTo>
                        <a:pt x="17" y="186"/>
                      </a:lnTo>
                      <a:lnTo>
                        <a:pt x="17" y="184"/>
                      </a:lnTo>
                      <a:lnTo>
                        <a:pt x="18" y="171"/>
                      </a:lnTo>
                      <a:lnTo>
                        <a:pt x="19" y="164"/>
                      </a:lnTo>
                      <a:lnTo>
                        <a:pt x="19" y="158"/>
                      </a:lnTo>
                      <a:lnTo>
                        <a:pt x="18" y="153"/>
                      </a:lnTo>
                      <a:lnTo>
                        <a:pt x="15" y="143"/>
                      </a:lnTo>
                      <a:lnTo>
                        <a:pt x="13" y="135"/>
                      </a:lnTo>
                      <a:lnTo>
                        <a:pt x="8" y="128"/>
                      </a:lnTo>
                      <a:lnTo>
                        <a:pt x="5" y="121"/>
                      </a:lnTo>
                      <a:lnTo>
                        <a:pt x="3" y="120"/>
                      </a:lnTo>
                      <a:lnTo>
                        <a:pt x="1" y="118"/>
                      </a:lnTo>
                      <a:lnTo>
                        <a:pt x="0" y="116"/>
                      </a:lnTo>
                      <a:lnTo>
                        <a:pt x="7" y="112"/>
                      </a:lnTo>
                      <a:lnTo>
                        <a:pt x="15" y="108"/>
                      </a:lnTo>
                      <a:lnTo>
                        <a:pt x="18" y="107"/>
                      </a:lnTo>
                      <a:lnTo>
                        <a:pt x="19" y="107"/>
                      </a:lnTo>
                      <a:lnTo>
                        <a:pt x="22" y="101"/>
                      </a:lnTo>
                      <a:lnTo>
                        <a:pt x="26" y="97"/>
                      </a:lnTo>
                      <a:lnTo>
                        <a:pt x="29" y="93"/>
                      </a:lnTo>
                      <a:lnTo>
                        <a:pt x="32" y="88"/>
                      </a:lnTo>
                      <a:lnTo>
                        <a:pt x="32" y="87"/>
                      </a:lnTo>
                      <a:lnTo>
                        <a:pt x="32" y="86"/>
                      </a:lnTo>
                      <a:lnTo>
                        <a:pt x="31" y="84"/>
                      </a:lnTo>
                      <a:lnTo>
                        <a:pt x="31" y="83"/>
                      </a:lnTo>
                      <a:lnTo>
                        <a:pt x="31" y="80"/>
                      </a:lnTo>
                      <a:lnTo>
                        <a:pt x="29" y="78"/>
                      </a:lnTo>
                      <a:lnTo>
                        <a:pt x="28" y="74"/>
                      </a:lnTo>
                      <a:lnTo>
                        <a:pt x="26" y="67"/>
                      </a:lnTo>
                      <a:lnTo>
                        <a:pt x="27" y="64"/>
                      </a:lnTo>
                      <a:lnTo>
                        <a:pt x="29" y="62"/>
                      </a:lnTo>
                      <a:lnTo>
                        <a:pt x="32" y="57"/>
                      </a:lnTo>
                      <a:lnTo>
                        <a:pt x="33" y="56"/>
                      </a:lnTo>
                      <a:lnTo>
                        <a:pt x="36" y="56"/>
                      </a:lnTo>
                      <a:lnTo>
                        <a:pt x="39" y="56"/>
                      </a:lnTo>
                      <a:lnTo>
                        <a:pt x="39" y="55"/>
                      </a:lnTo>
                      <a:lnTo>
                        <a:pt x="40" y="53"/>
                      </a:lnTo>
                      <a:lnTo>
                        <a:pt x="40" y="52"/>
                      </a:lnTo>
                      <a:lnTo>
                        <a:pt x="41" y="51"/>
                      </a:lnTo>
                      <a:lnTo>
                        <a:pt x="42" y="50"/>
                      </a:lnTo>
                      <a:lnTo>
                        <a:pt x="42" y="46"/>
                      </a:lnTo>
                      <a:lnTo>
                        <a:pt x="43" y="46"/>
                      </a:lnTo>
                      <a:lnTo>
                        <a:pt x="44" y="46"/>
                      </a:lnTo>
                      <a:lnTo>
                        <a:pt x="46" y="46"/>
                      </a:lnTo>
                      <a:lnTo>
                        <a:pt x="47" y="45"/>
                      </a:lnTo>
                      <a:lnTo>
                        <a:pt x="48" y="45"/>
                      </a:lnTo>
                      <a:lnTo>
                        <a:pt x="49" y="44"/>
                      </a:lnTo>
                      <a:lnTo>
                        <a:pt x="50" y="41"/>
                      </a:lnTo>
                      <a:lnTo>
                        <a:pt x="50" y="39"/>
                      </a:lnTo>
                      <a:lnTo>
                        <a:pt x="61" y="35"/>
                      </a:lnTo>
                      <a:lnTo>
                        <a:pt x="69" y="31"/>
                      </a:lnTo>
                      <a:lnTo>
                        <a:pt x="71" y="30"/>
                      </a:lnTo>
                      <a:lnTo>
                        <a:pt x="71" y="29"/>
                      </a:lnTo>
                      <a:lnTo>
                        <a:pt x="72" y="29"/>
                      </a:lnTo>
                      <a:lnTo>
                        <a:pt x="72" y="28"/>
                      </a:lnTo>
                      <a:lnTo>
                        <a:pt x="72" y="25"/>
                      </a:lnTo>
                      <a:lnTo>
                        <a:pt x="72" y="24"/>
                      </a:lnTo>
                      <a:lnTo>
                        <a:pt x="70" y="22"/>
                      </a:lnTo>
                      <a:lnTo>
                        <a:pt x="69" y="21"/>
                      </a:lnTo>
                      <a:lnTo>
                        <a:pt x="69" y="18"/>
                      </a:lnTo>
                      <a:lnTo>
                        <a:pt x="70" y="15"/>
                      </a:lnTo>
                      <a:lnTo>
                        <a:pt x="69" y="10"/>
                      </a:lnTo>
                      <a:lnTo>
                        <a:pt x="70" y="8"/>
                      </a:lnTo>
                      <a:lnTo>
                        <a:pt x="70" y="6"/>
                      </a:lnTo>
                      <a:lnTo>
                        <a:pt x="71" y="2"/>
                      </a:lnTo>
                      <a:lnTo>
                        <a:pt x="71" y="0"/>
                      </a:lnTo>
                      <a:lnTo>
                        <a:pt x="72" y="1"/>
                      </a:lnTo>
                      <a:lnTo>
                        <a:pt x="74" y="1"/>
                      </a:lnTo>
                      <a:lnTo>
                        <a:pt x="74" y="2"/>
                      </a:lnTo>
                      <a:lnTo>
                        <a:pt x="75" y="3"/>
                      </a:lnTo>
                      <a:lnTo>
                        <a:pt x="79" y="3"/>
                      </a:lnTo>
                      <a:lnTo>
                        <a:pt x="81" y="3"/>
                      </a:lnTo>
                      <a:lnTo>
                        <a:pt x="79" y="3"/>
                      </a:lnTo>
                      <a:lnTo>
                        <a:pt x="77" y="2"/>
                      </a:lnTo>
                      <a:lnTo>
                        <a:pt x="78" y="2"/>
                      </a:lnTo>
                      <a:lnTo>
                        <a:pt x="82" y="3"/>
                      </a:lnTo>
                      <a:lnTo>
                        <a:pt x="90" y="8"/>
                      </a:lnTo>
                      <a:lnTo>
                        <a:pt x="91" y="10"/>
                      </a:lnTo>
                      <a:lnTo>
                        <a:pt x="92" y="10"/>
                      </a:lnTo>
                      <a:lnTo>
                        <a:pt x="95" y="11"/>
                      </a:lnTo>
                      <a:lnTo>
                        <a:pt x="97" y="13"/>
                      </a:lnTo>
                      <a:lnTo>
                        <a:pt x="98" y="14"/>
                      </a:lnTo>
                      <a:lnTo>
                        <a:pt x="111" y="15"/>
                      </a:lnTo>
                      <a:lnTo>
                        <a:pt x="113" y="14"/>
                      </a:lnTo>
                      <a:lnTo>
                        <a:pt x="121" y="11"/>
                      </a:lnTo>
                      <a:lnTo>
                        <a:pt x="122" y="11"/>
                      </a:lnTo>
                      <a:lnTo>
                        <a:pt x="124" y="10"/>
                      </a:lnTo>
                      <a:lnTo>
                        <a:pt x="125" y="10"/>
                      </a:lnTo>
                      <a:lnTo>
                        <a:pt x="127" y="10"/>
                      </a:lnTo>
                      <a:lnTo>
                        <a:pt x="131" y="10"/>
                      </a:lnTo>
                      <a:lnTo>
                        <a:pt x="138" y="14"/>
                      </a:lnTo>
                      <a:lnTo>
                        <a:pt x="139" y="15"/>
                      </a:lnTo>
                      <a:lnTo>
                        <a:pt x="145" y="14"/>
                      </a:lnTo>
                      <a:lnTo>
                        <a:pt x="146" y="15"/>
                      </a:lnTo>
                      <a:lnTo>
                        <a:pt x="148" y="15"/>
                      </a:lnTo>
                      <a:lnTo>
                        <a:pt x="150" y="16"/>
                      </a:lnTo>
                      <a:lnTo>
                        <a:pt x="157" y="17"/>
                      </a:lnTo>
                      <a:lnTo>
                        <a:pt x="157" y="18"/>
                      </a:lnTo>
                      <a:lnTo>
                        <a:pt x="159" y="18"/>
                      </a:lnTo>
                      <a:lnTo>
                        <a:pt x="160" y="20"/>
                      </a:lnTo>
                      <a:lnTo>
                        <a:pt x="161" y="21"/>
                      </a:lnTo>
                      <a:lnTo>
                        <a:pt x="164" y="23"/>
                      </a:lnTo>
                      <a:lnTo>
                        <a:pt x="166" y="24"/>
                      </a:lnTo>
                      <a:lnTo>
                        <a:pt x="167" y="24"/>
                      </a:lnTo>
                      <a:lnTo>
                        <a:pt x="171" y="25"/>
                      </a:lnTo>
                      <a:lnTo>
                        <a:pt x="172" y="25"/>
                      </a:lnTo>
                      <a:lnTo>
                        <a:pt x="172" y="27"/>
                      </a:lnTo>
                      <a:lnTo>
                        <a:pt x="174" y="27"/>
                      </a:lnTo>
                      <a:lnTo>
                        <a:pt x="175" y="28"/>
                      </a:lnTo>
                      <a:lnTo>
                        <a:pt x="181" y="28"/>
                      </a:lnTo>
                      <a:lnTo>
                        <a:pt x="188" y="29"/>
                      </a:lnTo>
                      <a:lnTo>
                        <a:pt x="189" y="29"/>
                      </a:lnTo>
                      <a:lnTo>
                        <a:pt x="190" y="30"/>
                      </a:lnTo>
                      <a:lnTo>
                        <a:pt x="191" y="31"/>
                      </a:lnTo>
                      <a:lnTo>
                        <a:pt x="192" y="32"/>
                      </a:lnTo>
                      <a:lnTo>
                        <a:pt x="192" y="34"/>
                      </a:lnTo>
                      <a:lnTo>
                        <a:pt x="193" y="35"/>
                      </a:lnTo>
                      <a:lnTo>
                        <a:pt x="193" y="36"/>
                      </a:lnTo>
                      <a:lnTo>
                        <a:pt x="195" y="38"/>
                      </a:lnTo>
                      <a:lnTo>
                        <a:pt x="196" y="38"/>
                      </a:lnTo>
                      <a:lnTo>
                        <a:pt x="196" y="39"/>
                      </a:lnTo>
                      <a:lnTo>
                        <a:pt x="195" y="41"/>
                      </a:lnTo>
                      <a:lnTo>
                        <a:pt x="195" y="42"/>
                      </a:lnTo>
                      <a:lnTo>
                        <a:pt x="195" y="43"/>
                      </a:lnTo>
                      <a:lnTo>
                        <a:pt x="195" y="45"/>
                      </a:lnTo>
                      <a:lnTo>
                        <a:pt x="196" y="48"/>
                      </a:lnTo>
                      <a:lnTo>
                        <a:pt x="199" y="57"/>
                      </a:lnTo>
                      <a:lnTo>
                        <a:pt x="200" y="58"/>
                      </a:lnTo>
                      <a:lnTo>
                        <a:pt x="204" y="63"/>
                      </a:lnTo>
                      <a:lnTo>
                        <a:pt x="206" y="65"/>
                      </a:lnTo>
                      <a:lnTo>
                        <a:pt x="209" y="67"/>
                      </a:lnTo>
                      <a:lnTo>
                        <a:pt x="217" y="72"/>
                      </a:lnTo>
                      <a:lnTo>
                        <a:pt x="227" y="73"/>
                      </a:lnTo>
                      <a:lnTo>
                        <a:pt x="239" y="73"/>
                      </a:lnTo>
                      <a:lnTo>
                        <a:pt x="246" y="74"/>
                      </a:lnTo>
                      <a:lnTo>
                        <a:pt x="253" y="77"/>
                      </a:lnTo>
                      <a:lnTo>
                        <a:pt x="259" y="78"/>
                      </a:lnTo>
                      <a:lnTo>
                        <a:pt x="260" y="78"/>
                      </a:lnTo>
                      <a:lnTo>
                        <a:pt x="260" y="79"/>
                      </a:lnTo>
                      <a:lnTo>
                        <a:pt x="261" y="79"/>
                      </a:lnTo>
                      <a:lnTo>
                        <a:pt x="262" y="80"/>
                      </a:lnTo>
                      <a:lnTo>
                        <a:pt x="263" y="80"/>
                      </a:lnTo>
                      <a:lnTo>
                        <a:pt x="268" y="81"/>
                      </a:lnTo>
                      <a:lnTo>
                        <a:pt x="270" y="84"/>
                      </a:lnTo>
                      <a:lnTo>
                        <a:pt x="273" y="84"/>
                      </a:lnTo>
                      <a:lnTo>
                        <a:pt x="275" y="85"/>
                      </a:lnTo>
                      <a:lnTo>
                        <a:pt x="276" y="85"/>
                      </a:lnTo>
                      <a:lnTo>
                        <a:pt x="276" y="86"/>
                      </a:lnTo>
                      <a:lnTo>
                        <a:pt x="277" y="87"/>
                      </a:lnTo>
                      <a:lnTo>
                        <a:pt x="281" y="87"/>
                      </a:lnTo>
                      <a:lnTo>
                        <a:pt x="285" y="90"/>
                      </a:lnTo>
                      <a:lnTo>
                        <a:pt x="287" y="91"/>
                      </a:lnTo>
                      <a:lnTo>
                        <a:pt x="288" y="91"/>
                      </a:lnTo>
                      <a:lnTo>
                        <a:pt x="290" y="94"/>
                      </a:lnTo>
                      <a:lnTo>
                        <a:pt x="298" y="100"/>
                      </a:lnTo>
                      <a:lnTo>
                        <a:pt x="300" y="102"/>
                      </a:lnTo>
                      <a:lnTo>
                        <a:pt x="302" y="104"/>
                      </a:lnTo>
                      <a:lnTo>
                        <a:pt x="303" y="105"/>
                      </a:lnTo>
                      <a:lnTo>
                        <a:pt x="305" y="105"/>
                      </a:lnTo>
                      <a:lnTo>
                        <a:pt x="310" y="108"/>
                      </a:lnTo>
                      <a:lnTo>
                        <a:pt x="311" y="108"/>
                      </a:lnTo>
                      <a:lnTo>
                        <a:pt x="314" y="109"/>
                      </a:lnTo>
                      <a:lnTo>
                        <a:pt x="317" y="109"/>
                      </a:lnTo>
                      <a:lnTo>
                        <a:pt x="320" y="108"/>
                      </a:lnTo>
                      <a:lnTo>
                        <a:pt x="321" y="108"/>
                      </a:lnTo>
                      <a:lnTo>
                        <a:pt x="323" y="107"/>
                      </a:lnTo>
                      <a:lnTo>
                        <a:pt x="326" y="106"/>
                      </a:lnTo>
                      <a:lnTo>
                        <a:pt x="330" y="104"/>
                      </a:lnTo>
                      <a:lnTo>
                        <a:pt x="332" y="104"/>
                      </a:lnTo>
                      <a:lnTo>
                        <a:pt x="337" y="100"/>
                      </a:lnTo>
                      <a:lnTo>
                        <a:pt x="341" y="93"/>
                      </a:lnTo>
                      <a:lnTo>
                        <a:pt x="344" y="91"/>
                      </a:lnTo>
                      <a:lnTo>
                        <a:pt x="344" y="90"/>
                      </a:lnTo>
                      <a:lnTo>
                        <a:pt x="345" y="88"/>
                      </a:lnTo>
                      <a:lnTo>
                        <a:pt x="346" y="88"/>
                      </a:lnTo>
                      <a:lnTo>
                        <a:pt x="347" y="84"/>
                      </a:lnTo>
                      <a:lnTo>
                        <a:pt x="349" y="80"/>
                      </a:lnTo>
                      <a:lnTo>
                        <a:pt x="349" y="78"/>
                      </a:lnTo>
                      <a:lnTo>
                        <a:pt x="349" y="73"/>
                      </a:lnTo>
                      <a:lnTo>
                        <a:pt x="348" y="72"/>
                      </a:lnTo>
                      <a:lnTo>
                        <a:pt x="348" y="70"/>
                      </a:lnTo>
                      <a:lnTo>
                        <a:pt x="347" y="69"/>
                      </a:lnTo>
                      <a:lnTo>
                        <a:pt x="346" y="67"/>
                      </a:lnTo>
                      <a:lnTo>
                        <a:pt x="345" y="66"/>
                      </a:lnTo>
                      <a:lnTo>
                        <a:pt x="342" y="60"/>
                      </a:lnTo>
                      <a:lnTo>
                        <a:pt x="342" y="59"/>
                      </a:lnTo>
                      <a:lnTo>
                        <a:pt x="342" y="57"/>
                      </a:lnTo>
                      <a:lnTo>
                        <a:pt x="342" y="56"/>
                      </a:lnTo>
                      <a:lnTo>
                        <a:pt x="341" y="55"/>
                      </a:lnTo>
                      <a:lnTo>
                        <a:pt x="341" y="53"/>
                      </a:lnTo>
                      <a:lnTo>
                        <a:pt x="341" y="51"/>
                      </a:lnTo>
                      <a:lnTo>
                        <a:pt x="342" y="48"/>
                      </a:lnTo>
                      <a:lnTo>
                        <a:pt x="342" y="46"/>
                      </a:lnTo>
                      <a:lnTo>
                        <a:pt x="342" y="45"/>
                      </a:lnTo>
                      <a:lnTo>
                        <a:pt x="342" y="44"/>
                      </a:lnTo>
                      <a:lnTo>
                        <a:pt x="346" y="38"/>
                      </a:lnTo>
                      <a:lnTo>
                        <a:pt x="347" y="37"/>
                      </a:lnTo>
                      <a:lnTo>
                        <a:pt x="353" y="31"/>
                      </a:lnTo>
                      <a:lnTo>
                        <a:pt x="353" y="30"/>
                      </a:lnTo>
                      <a:lnTo>
                        <a:pt x="355" y="28"/>
                      </a:lnTo>
                      <a:lnTo>
                        <a:pt x="356" y="28"/>
                      </a:lnTo>
                      <a:lnTo>
                        <a:pt x="358" y="27"/>
                      </a:lnTo>
                      <a:lnTo>
                        <a:pt x="362" y="23"/>
                      </a:lnTo>
                      <a:lnTo>
                        <a:pt x="370" y="20"/>
                      </a:lnTo>
                      <a:lnTo>
                        <a:pt x="374" y="16"/>
                      </a:lnTo>
                      <a:lnTo>
                        <a:pt x="378" y="15"/>
                      </a:lnTo>
                      <a:lnTo>
                        <a:pt x="380" y="14"/>
                      </a:lnTo>
                      <a:lnTo>
                        <a:pt x="385" y="15"/>
                      </a:lnTo>
                      <a:lnTo>
                        <a:pt x="387" y="14"/>
                      </a:lnTo>
                      <a:lnTo>
                        <a:pt x="390" y="14"/>
                      </a:lnTo>
                      <a:lnTo>
                        <a:pt x="391" y="13"/>
                      </a:lnTo>
                      <a:lnTo>
                        <a:pt x="396" y="8"/>
                      </a:lnTo>
                      <a:lnTo>
                        <a:pt x="398" y="8"/>
                      </a:lnTo>
                      <a:lnTo>
                        <a:pt x="399" y="8"/>
                      </a:lnTo>
                      <a:lnTo>
                        <a:pt x="401" y="8"/>
                      </a:lnTo>
                      <a:lnTo>
                        <a:pt x="402" y="9"/>
                      </a:lnTo>
                      <a:lnTo>
                        <a:pt x="403" y="9"/>
                      </a:lnTo>
                      <a:lnTo>
                        <a:pt x="404" y="9"/>
                      </a:lnTo>
                      <a:lnTo>
                        <a:pt x="412" y="9"/>
                      </a:lnTo>
                      <a:lnTo>
                        <a:pt x="412" y="8"/>
                      </a:lnTo>
                      <a:lnTo>
                        <a:pt x="413" y="8"/>
                      </a:lnTo>
                      <a:lnTo>
                        <a:pt x="415" y="8"/>
                      </a:lnTo>
                      <a:lnTo>
                        <a:pt x="415" y="9"/>
                      </a:lnTo>
                      <a:lnTo>
                        <a:pt x="416" y="10"/>
                      </a:lnTo>
                      <a:lnTo>
                        <a:pt x="417" y="10"/>
                      </a:lnTo>
                      <a:lnTo>
                        <a:pt x="419" y="10"/>
                      </a:lnTo>
                      <a:lnTo>
                        <a:pt x="420" y="10"/>
                      </a:lnTo>
                      <a:lnTo>
                        <a:pt x="424" y="13"/>
                      </a:lnTo>
                      <a:lnTo>
                        <a:pt x="425" y="14"/>
                      </a:lnTo>
                      <a:lnTo>
                        <a:pt x="426" y="14"/>
                      </a:lnTo>
                      <a:lnTo>
                        <a:pt x="427" y="14"/>
                      </a:lnTo>
                      <a:lnTo>
                        <a:pt x="434" y="16"/>
                      </a:lnTo>
                      <a:lnTo>
                        <a:pt x="437" y="17"/>
                      </a:lnTo>
                      <a:lnTo>
                        <a:pt x="438" y="17"/>
                      </a:lnTo>
                      <a:lnTo>
                        <a:pt x="439" y="18"/>
                      </a:lnTo>
                      <a:lnTo>
                        <a:pt x="440" y="18"/>
                      </a:lnTo>
                      <a:lnTo>
                        <a:pt x="441" y="18"/>
                      </a:lnTo>
                      <a:lnTo>
                        <a:pt x="442" y="18"/>
                      </a:lnTo>
                      <a:lnTo>
                        <a:pt x="444" y="20"/>
                      </a:lnTo>
                      <a:lnTo>
                        <a:pt x="445" y="20"/>
                      </a:lnTo>
                      <a:lnTo>
                        <a:pt x="445" y="21"/>
                      </a:lnTo>
                      <a:lnTo>
                        <a:pt x="444" y="22"/>
                      </a:lnTo>
                      <a:lnTo>
                        <a:pt x="444" y="24"/>
                      </a:lnTo>
                      <a:lnTo>
                        <a:pt x="445" y="24"/>
                      </a:lnTo>
                      <a:lnTo>
                        <a:pt x="445" y="25"/>
                      </a:lnTo>
                      <a:lnTo>
                        <a:pt x="446" y="25"/>
                      </a:lnTo>
                      <a:lnTo>
                        <a:pt x="445" y="27"/>
                      </a:lnTo>
                      <a:lnTo>
                        <a:pt x="445" y="29"/>
                      </a:lnTo>
                      <a:lnTo>
                        <a:pt x="445" y="28"/>
                      </a:lnTo>
                      <a:lnTo>
                        <a:pt x="444" y="28"/>
                      </a:lnTo>
                      <a:lnTo>
                        <a:pt x="444" y="27"/>
                      </a:lnTo>
                      <a:lnTo>
                        <a:pt x="444" y="30"/>
                      </a:lnTo>
                      <a:lnTo>
                        <a:pt x="444" y="31"/>
                      </a:lnTo>
                      <a:lnTo>
                        <a:pt x="446" y="32"/>
                      </a:lnTo>
                      <a:lnTo>
                        <a:pt x="447" y="32"/>
                      </a:lnTo>
                      <a:lnTo>
                        <a:pt x="447" y="34"/>
                      </a:lnTo>
                      <a:lnTo>
                        <a:pt x="448" y="34"/>
                      </a:lnTo>
                      <a:lnTo>
                        <a:pt x="448" y="35"/>
                      </a:lnTo>
                      <a:lnTo>
                        <a:pt x="449" y="36"/>
                      </a:lnTo>
                      <a:lnTo>
                        <a:pt x="451" y="36"/>
                      </a:lnTo>
                      <a:lnTo>
                        <a:pt x="451" y="37"/>
                      </a:lnTo>
                      <a:lnTo>
                        <a:pt x="451" y="35"/>
                      </a:lnTo>
                      <a:lnTo>
                        <a:pt x="451" y="36"/>
                      </a:lnTo>
                      <a:lnTo>
                        <a:pt x="453" y="36"/>
                      </a:lnTo>
                      <a:lnTo>
                        <a:pt x="454" y="36"/>
                      </a:lnTo>
                      <a:lnTo>
                        <a:pt x="458" y="37"/>
                      </a:lnTo>
                      <a:lnTo>
                        <a:pt x="462" y="37"/>
                      </a:lnTo>
                      <a:lnTo>
                        <a:pt x="468" y="38"/>
                      </a:lnTo>
                      <a:lnTo>
                        <a:pt x="473" y="41"/>
                      </a:lnTo>
                      <a:lnTo>
                        <a:pt x="472" y="41"/>
                      </a:lnTo>
                      <a:lnTo>
                        <a:pt x="473" y="42"/>
                      </a:lnTo>
                      <a:lnTo>
                        <a:pt x="475" y="43"/>
                      </a:lnTo>
                      <a:lnTo>
                        <a:pt x="476" y="43"/>
                      </a:lnTo>
                      <a:lnTo>
                        <a:pt x="482" y="43"/>
                      </a:lnTo>
                      <a:lnTo>
                        <a:pt x="490" y="44"/>
                      </a:lnTo>
                      <a:lnTo>
                        <a:pt x="494" y="43"/>
                      </a:lnTo>
                      <a:lnTo>
                        <a:pt x="495" y="43"/>
                      </a:lnTo>
                      <a:lnTo>
                        <a:pt x="496" y="43"/>
                      </a:lnTo>
                      <a:lnTo>
                        <a:pt x="497" y="43"/>
                      </a:lnTo>
                      <a:lnTo>
                        <a:pt x="498" y="43"/>
                      </a:lnTo>
                      <a:lnTo>
                        <a:pt x="499" y="44"/>
                      </a:lnTo>
                      <a:lnTo>
                        <a:pt x="501" y="44"/>
                      </a:lnTo>
                      <a:lnTo>
                        <a:pt x="504" y="45"/>
                      </a:lnTo>
                      <a:lnTo>
                        <a:pt x="505" y="45"/>
                      </a:lnTo>
                      <a:lnTo>
                        <a:pt x="506" y="46"/>
                      </a:lnTo>
                      <a:lnTo>
                        <a:pt x="505" y="49"/>
                      </a:lnTo>
                      <a:lnTo>
                        <a:pt x="506" y="50"/>
                      </a:lnTo>
                      <a:lnTo>
                        <a:pt x="508" y="51"/>
                      </a:lnTo>
                      <a:lnTo>
                        <a:pt x="509" y="53"/>
                      </a:lnTo>
                      <a:lnTo>
                        <a:pt x="509" y="55"/>
                      </a:lnTo>
                      <a:lnTo>
                        <a:pt x="510" y="56"/>
                      </a:lnTo>
                      <a:lnTo>
                        <a:pt x="510" y="57"/>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8" name="Freeform 98">
                  <a:extLst>
                    <a:ext uri="{FF2B5EF4-FFF2-40B4-BE49-F238E27FC236}">
                      <a16:creationId xmlns:a16="http://schemas.microsoft.com/office/drawing/2014/main" id="{FFBC53A5-DB63-5E93-A721-55C6684F4F41}"/>
                    </a:ext>
                  </a:extLst>
                </p:cNvPr>
                <p:cNvSpPr>
                  <a:spLocks/>
                </p:cNvSpPr>
                <p:nvPr/>
              </p:nvSpPr>
              <p:spPr bwMode="auto">
                <a:xfrm>
                  <a:off x="7153980" y="4808952"/>
                  <a:ext cx="82211" cy="80048"/>
                </a:xfrm>
                <a:custGeom>
                  <a:avLst/>
                  <a:gdLst>
                    <a:gd name="T0" fmla="*/ 57 w 76"/>
                    <a:gd name="T1" fmla="*/ 7 h 74"/>
                    <a:gd name="T2" fmla="*/ 62 w 76"/>
                    <a:gd name="T3" fmla="*/ 13 h 74"/>
                    <a:gd name="T4" fmla="*/ 64 w 76"/>
                    <a:gd name="T5" fmla="*/ 14 h 74"/>
                    <a:gd name="T6" fmla="*/ 71 w 76"/>
                    <a:gd name="T7" fmla="*/ 18 h 74"/>
                    <a:gd name="T8" fmla="*/ 73 w 76"/>
                    <a:gd name="T9" fmla="*/ 22 h 74"/>
                    <a:gd name="T10" fmla="*/ 75 w 76"/>
                    <a:gd name="T11" fmla="*/ 27 h 74"/>
                    <a:gd name="T12" fmla="*/ 75 w 76"/>
                    <a:gd name="T13" fmla="*/ 29 h 74"/>
                    <a:gd name="T14" fmla="*/ 72 w 76"/>
                    <a:gd name="T15" fmla="*/ 31 h 74"/>
                    <a:gd name="T16" fmla="*/ 71 w 76"/>
                    <a:gd name="T17" fmla="*/ 35 h 74"/>
                    <a:gd name="T18" fmla="*/ 68 w 76"/>
                    <a:gd name="T19" fmla="*/ 38 h 74"/>
                    <a:gd name="T20" fmla="*/ 65 w 76"/>
                    <a:gd name="T21" fmla="*/ 43 h 74"/>
                    <a:gd name="T22" fmla="*/ 66 w 76"/>
                    <a:gd name="T23" fmla="*/ 46 h 74"/>
                    <a:gd name="T24" fmla="*/ 65 w 76"/>
                    <a:gd name="T25" fmla="*/ 49 h 74"/>
                    <a:gd name="T26" fmla="*/ 54 w 76"/>
                    <a:gd name="T27" fmla="*/ 55 h 74"/>
                    <a:gd name="T28" fmla="*/ 46 w 76"/>
                    <a:gd name="T29" fmla="*/ 56 h 74"/>
                    <a:gd name="T30" fmla="*/ 41 w 76"/>
                    <a:gd name="T31" fmla="*/ 58 h 74"/>
                    <a:gd name="T32" fmla="*/ 39 w 76"/>
                    <a:gd name="T33" fmla="*/ 60 h 74"/>
                    <a:gd name="T34" fmla="*/ 37 w 76"/>
                    <a:gd name="T35" fmla="*/ 63 h 74"/>
                    <a:gd name="T36" fmla="*/ 35 w 76"/>
                    <a:gd name="T37" fmla="*/ 67 h 74"/>
                    <a:gd name="T38" fmla="*/ 34 w 76"/>
                    <a:gd name="T39" fmla="*/ 71 h 74"/>
                    <a:gd name="T40" fmla="*/ 33 w 76"/>
                    <a:gd name="T41" fmla="*/ 73 h 74"/>
                    <a:gd name="T42" fmla="*/ 28 w 76"/>
                    <a:gd name="T43" fmla="*/ 74 h 74"/>
                    <a:gd name="T44" fmla="*/ 26 w 76"/>
                    <a:gd name="T45" fmla="*/ 73 h 74"/>
                    <a:gd name="T46" fmla="*/ 20 w 76"/>
                    <a:gd name="T47" fmla="*/ 70 h 74"/>
                    <a:gd name="T48" fmla="*/ 18 w 76"/>
                    <a:gd name="T49" fmla="*/ 66 h 74"/>
                    <a:gd name="T50" fmla="*/ 14 w 76"/>
                    <a:gd name="T51" fmla="*/ 63 h 74"/>
                    <a:gd name="T52" fmla="*/ 12 w 76"/>
                    <a:gd name="T53" fmla="*/ 63 h 74"/>
                    <a:gd name="T54" fmla="*/ 11 w 76"/>
                    <a:gd name="T55" fmla="*/ 59 h 74"/>
                    <a:gd name="T56" fmla="*/ 9 w 76"/>
                    <a:gd name="T57" fmla="*/ 56 h 74"/>
                    <a:gd name="T58" fmla="*/ 8 w 76"/>
                    <a:gd name="T59" fmla="*/ 52 h 74"/>
                    <a:gd name="T60" fmla="*/ 2 w 76"/>
                    <a:gd name="T61" fmla="*/ 42 h 74"/>
                    <a:gd name="T62" fmla="*/ 0 w 76"/>
                    <a:gd name="T63" fmla="*/ 39 h 74"/>
                    <a:gd name="T64" fmla="*/ 1 w 76"/>
                    <a:gd name="T65" fmla="*/ 37 h 74"/>
                    <a:gd name="T66" fmla="*/ 2 w 76"/>
                    <a:gd name="T67" fmla="*/ 37 h 74"/>
                    <a:gd name="T68" fmla="*/ 6 w 76"/>
                    <a:gd name="T69" fmla="*/ 36 h 74"/>
                    <a:gd name="T70" fmla="*/ 9 w 76"/>
                    <a:gd name="T71" fmla="*/ 34 h 74"/>
                    <a:gd name="T72" fmla="*/ 11 w 76"/>
                    <a:gd name="T73" fmla="*/ 32 h 74"/>
                    <a:gd name="T74" fmla="*/ 13 w 76"/>
                    <a:gd name="T75" fmla="*/ 29 h 74"/>
                    <a:gd name="T76" fmla="*/ 13 w 76"/>
                    <a:gd name="T77" fmla="*/ 28 h 74"/>
                    <a:gd name="T78" fmla="*/ 14 w 76"/>
                    <a:gd name="T79" fmla="*/ 25 h 74"/>
                    <a:gd name="T80" fmla="*/ 15 w 76"/>
                    <a:gd name="T81" fmla="*/ 23 h 74"/>
                    <a:gd name="T82" fmla="*/ 20 w 76"/>
                    <a:gd name="T83" fmla="*/ 18 h 74"/>
                    <a:gd name="T84" fmla="*/ 20 w 76"/>
                    <a:gd name="T85" fmla="*/ 17 h 74"/>
                    <a:gd name="T86" fmla="*/ 20 w 76"/>
                    <a:gd name="T87" fmla="*/ 16 h 74"/>
                    <a:gd name="T88" fmla="*/ 22 w 76"/>
                    <a:gd name="T89" fmla="*/ 15 h 74"/>
                    <a:gd name="T90" fmla="*/ 22 w 76"/>
                    <a:gd name="T91" fmla="*/ 14 h 74"/>
                    <a:gd name="T92" fmla="*/ 27 w 76"/>
                    <a:gd name="T93" fmla="*/ 11 h 74"/>
                    <a:gd name="T94" fmla="*/ 29 w 76"/>
                    <a:gd name="T95" fmla="*/ 10 h 74"/>
                    <a:gd name="T96" fmla="*/ 32 w 76"/>
                    <a:gd name="T97" fmla="*/ 10 h 74"/>
                    <a:gd name="T98" fmla="*/ 35 w 76"/>
                    <a:gd name="T99" fmla="*/ 6 h 74"/>
                    <a:gd name="T100" fmla="*/ 40 w 76"/>
                    <a:gd name="T101" fmla="*/ 4 h 74"/>
                    <a:gd name="T102" fmla="*/ 43 w 76"/>
                    <a:gd name="T103" fmla="*/ 2 h 74"/>
                    <a:gd name="T104" fmla="*/ 51 w 76"/>
                    <a:gd name="T105" fmla="*/ 1 h 74"/>
                    <a:gd name="T106" fmla="*/ 55 w 76"/>
                    <a:gd name="T10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 h="74">
                      <a:moveTo>
                        <a:pt x="55" y="4"/>
                      </a:moveTo>
                      <a:lnTo>
                        <a:pt x="55" y="7"/>
                      </a:lnTo>
                      <a:lnTo>
                        <a:pt x="56" y="7"/>
                      </a:lnTo>
                      <a:lnTo>
                        <a:pt x="56" y="7"/>
                      </a:lnTo>
                      <a:lnTo>
                        <a:pt x="57" y="7"/>
                      </a:lnTo>
                      <a:lnTo>
                        <a:pt x="57" y="7"/>
                      </a:lnTo>
                      <a:lnTo>
                        <a:pt x="57" y="7"/>
                      </a:lnTo>
                      <a:lnTo>
                        <a:pt x="57" y="7"/>
                      </a:lnTo>
                      <a:lnTo>
                        <a:pt x="58" y="8"/>
                      </a:lnTo>
                      <a:lnTo>
                        <a:pt x="58" y="8"/>
                      </a:lnTo>
                      <a:lnTo>
                        <a:pt x="59" y="10"/>
                      </a:lnTo>
                      <a:lnTo>
                        <a:pt x="62" y="13"/>
                      </a:lnTo>
                      <a:lnTo>
                        <a:pt x="62" y="13"/>
                      </a:lnTo>
                      <a:lnTo>
                        <a:pt x="63" y="13"/>
                      </a:lnTo>
                      <a:lnTo>
                        <a:pt x="63" y="13"/>
                      </a:lnTo>
                      <a:lnTo>
                        <a:pt x="63" y="13"/>
                      </a:lnTo>
                      <a:lnTo>
                        <a:pt x="63" y="14"/>
                      </a:lnTo>
                      <a:lnTo>
                        <a:pt x="64" y="14"/>
                      </a:lnTo>
                      <a:lnTo>
                        <a:pt x="64" y="15"/>
                      </a:lnTo>
                      <a:lnTo>
                        <a:pt x="65" y="15"/>
                      </a:lnTo>
                      <a:lnTo>
                        <a:pt x="65" y="15"/>
                      </a:lnTo>
                      <a:lnTo>
                        <a:pt x="69" y="17"/>
                      </a:lnTo>
                      <a:lnTo>
                        <a:pt x="70" y="18"/>
                      </a:lnTo>
                      <a:lnTo>
                        <a:pt x="71" y="18"/>
                      </a:lnTo>
                      <a:lnTo>
                        <a:pt x="71" y="18"/>
                      </a:lnTo>
                      <a:lnTo>
                        <a:pt x="72" y="21"/>
                      </a:lnTo>
                      <a:lnTo>
                        <a:pt x="72" y="21"/>
                      </a:lnTo>
                      <a:lnTo>
                        <a:pt x="72" y="22"/>
                      </a:lnTo>
                      <a:lnTo>
                        <a:pt x="73" y="22"/>
                      </a:lnTo>
                      <a:lnTo>
                        <a:pt x="73" y="22"/>
                      </a:lnTo>
                      <a:lnTo>
                        <a:pt x="73" y="24"/>
                      </a:lnTo>
                      <a:lnTo>
                        <a:pt x="75" y="25"/>
                      </a:lnTo>
                      <a:lnTo>
                        <a:pt x="75" y="25"/>
                      </a:lnTo>
                      <a:lnTo>
                        <a:pt x="75" y="25"/>
                      </a:lnTo>
                      <a:lnTo>
                        <a:pt x="75" y="27"/>
                      </a:lnTo>
                      <a:lnTo>
                        <a:pt x="75" y="27"/>
                      </a:lnTo>
                      <a:lnTo>
                        <a:pt x="75" y="27"/>
                      </a:lnTo>
                      <a:lnTo>
                        <a:pt x="76" y="28"/>
                      </a:lnTo>
                      <a:lnTo>
                        <a:pt x="76" y="28"/>
                      </a:lnTo>
                      <a:lnTo>
                        <a:pt x="76" y="28"/>
                      </a:lnTo>
                      <a:lnTo>
                        <a:pt x="75" y="29"/>
                      </a:lnTo>
                      <a:lnTo>
                        <a:pt x="75" y="29"/>
                      </a:lnTo>
                      <a:lnTo>
                        <a:pt x="75" y="30"/>
                      </a:lnTo>
                      <a:lnTo>
                        <a:pt x="75" y="30"/>
                      </a:lnTo>
                      <a:lnTo>
                        <a:pt x="75" y="31"/>
                      </a:lnTo>
                      <a:lnTo>
                        <a:pt x="75" y="31"/>
                      </a:lnTo>
                      <a:lnTo>
                        <a:pt x="73" y="31"/>
                      </a:lnTo>
                      <a:lnTo>
                        <a:pt x="72" y="31"/>
                      </a:lnTo>
                      <a:lnTo>
                        <a:pt x="71" y="32"/>
                      </a:lnTo>
                      <a:lnTo>
                        <a:pt x="71" y="32"/>
                      </a:lnTo>
                      <a:lnTo>
                        <a:pt x="70" y="34"/>
                      </a:lnTo>
                      <a:lnTo>
                        <a:pt x="70" y="35"/>
                      </a:lnTo>
                      <a:lnTo>
                        <a:pt x="70" y="35"/>
                      </a:lnTo>
                      <a:lnTo>
                        <a:pt x="71" y="35"/>
                      </a:lnTo>
                      <a:lnTo>
                        <a:pt x="71" y="36"/>
                      </a:lnTo>
                      <a:lnTo>
                        <a:pt x="71" y="36"/>
                      </a:lnTo>
                      <a:lnTo>
                        <a:pt x="71" y="37"/>
                      </a:lnTo>
                      <a:lnTo>
                        <a:pt x="71" y="37"/>
                      </a:lnTo>
                      <a:lnTo>
                        <a:pt x="70" y="38"/>
                      </a:lnTo>
                      <a:lnTo>
                        <a:pt x="68" y="38"/>
                      </a:lnTo>
                      <a:lnTo>
                        <a:pt x="66" y="39"/>
                      </a:lnTo>
                      <a:lnTo>
                        <a:pt x="66" y="41"/>
                      </a:lnTo>
                      <a:lnTo>
                        <a:pt x="66" y="41"/>
                      </a:lnTo>
                      <a:lnTo>
                        <a:pt x="65" y="42"/>
                      </a:lnTo>
                      <a:lnTo>
                        <a:pt x="65" y="42"/>
                      </a:lnTo>
                      <a:lnTo>
                        <a:pt x="65" y="43"/>
                      </a:lnTo>
                      <a:lnTo>
                        <a:pt x="65" y="44"/>
                      </a:lnTo>
                      <a:lnTo>
                        <a:pt x="65" y="45"/>
                      </a:lnTo>
                      <a:lnTo>
                        <a:pt x="65" y="45"/>
                      </a:lnTo>
                      <a:lnTo>
                        <a:pt x="66" y="45"/>
                      </a:lnTo>
                      <a:lnTo>
                        <a:pt x="66" y="46"/>
                      </a:lnTo>
                      <a:lnTo>
                        <a:pt x="66" y="46"/>
                      </a:lnTo>
                      <a:lnTo>
                        <a:pt x="66" y="46"/>
                      </a:lnTo>
                      <a:lnTo>
                        <a:pt x="66" y="48"/>
                      </a:lnTo>
                      <a:lnTo>
                        <a:pt x="66" y="48"/>
                      </a:lnTo>
                      <a:lnTo>
                        <a:pt x="66" y="49"/>
                      </a:lnTo>
                      <a:lnTo>
                        <a:pt x="66" y="49"/>
                      </a:lnTo>
                      <a:lnTo>
                        <a:pt x="65" y="49"/>
                      </a:lnTo>
                      <a:lnTo>
                        <a:pt x="65" y="49"/>
                      </a:lnTo>
                      <a:lnTo>
                        <a:pt x="62" y="50"/>
                      </a:lnTo>
                      <a:lnTo>
                        <a:pt x="61" y="51"/>
                      </a:lnTo>
                      <a:lnTo>
                        <a:pt x="57" y="53"/>
                      </a:lnTo>
                      <a:lnTo>
                        <a:pt x="56" y="55"/>
                      </a:lnTo>
                      <a:lnTo>
                        <a:pt x="54" y="55"/>
                      </a:lnTo>
                      <a:lnTo>
                        <a:pt x="50" y="56"/>
                      </a:lnTo>
                      <a:lnTo>
                        <a:pt x="49" y="56"/>
                      </a:lnTo>
                      <a:lnTo>
                        <a:pt x="48" y="56"/>
                      </a:lnTo>
                      <a:lnTo>
                        <a:pt x="48" y="55"/>
                      </a:lnTo>
                      <a:lnTo>
                        <a:pt x="47" y="56"/>
                      </a:lnTo>
                      <a:lnTo>
                        <a:pt x="46" y="56"/>
                      </a:lnTo>
                      <a:lnTo>
                        <a:pt x="44" y="57"/>
                      </a:lnTo>
                      <a:lnTo>
                        <a:pt x="43" y="56"/>
                      </a:lnTo>
                      <a:lnTo>
                        <a:pt x="43" y="56"/>
                      </a:lnTo>
                      <a:lnTo>
                        <a:pt x="42" y="57"/>
                      </a:lnTo>
                      <a:lnTo>
                        <a:pt x="42" y="57"/>
                      </a:lnTo>
                      <a:lnTo>
                        <a:pt x="41" y="58"/>
                      </a:lnTo>
                      <a:lnTo>
                        <a:pt x="41" y="59"/>
                      </a:lnTo>
                      <a:lnTo>
                        <a:pt x="41" y="59"/>
                      </a:lnTo>
                      <a:lnTo>
                        <a:pt x="40" y="59"/>
                      </a:lnTo>
                      <a:lnTo>
                        <a:pt x="40" y="59"/>
                      </a:lnTo>
                      <a:lnTo>
                        <a:pt x="40" y="60"/>
                      </a:lnTo>
                      <a:lnTo>
                        <a:pt x="39" y="60"/>
                      </a:lnTo>
                      <a:lnTo>
                        <a:pt x="39" y="60"/>
                      </a:lnTo>
                      <a:lnTo>
                        <a:pt x="37" y="60"/>
                      </a:lnTo>
                      <a:lnTo>
                        <a:pt x="37" y="62"/>
                      </a:lnTo>
                      <a:lnTo>
                        <a:pt x="37" y="62"/>
                      </a:lnTo>
                      <a:lnTo>
                        <a:pt x="37" y="63"/>
                      </a:lnTo>
                      <a:lnTo>
                        <a:pt x="37" y="63"/>
                      </a:lnTo>
                      <a:lnTo>
                        <a:pt x="39" y="63"/>
                      </a:lnTo>
                      <a:lnTo>
                        <a:pt x="39" y="64"/>
                      </a:lnTo>
                      <a:lnTo>
                        <a:pt x="37" y="65"/>
                      </a:lnTo>
                      <a:lnTo>
                        <a:pt x="37" y="65"/>
                      </a:lnTo>
                      <a:lnTo>
                        <a:pt x="35" y="67"/>
                      </a:lnTo>
                      <a:lnTo>
                        <a:pt x="35" y="67"/>
                      </a:lnTo>
                      <a:lnTo>
                        <a:pt x="35" y="67"/>
                      </a:lnTo>
                      <a:lnTo>
                        <a:pt x="35" y="69"/>
                      </a:lnTo>
                      <a:lnTo>
                        <a:pt x="35" y="69"/>
                      </a:lnTo>
                      <a:lnTo>
                        <a:pt x="35" y="69"/>
                      </a:lnTo>
                      <a:lnTo>
                        <a:pt x="35" y="71"/>
                      </a:lnTo>
                      <a:lnTo>
                        <a:pt x="34" y="71"/>
                      </a:lnTo>
                      <a:lnTo>
                        <a:pt x="34" y="71"/>
                      </a:lnTo>
                      <a:lnTo>
                        <a:pt x="34" y="72"/>
                      </a:lnTo>
                      <a:lnTo>
                        <a:pt x="34" y="72"/>
                      </a:lnTo>
                      <a:lnTo>
                        <a:pt x="34" y="72"/>
                      </a:lnTo>
                      <a:lnTo>
                        <a:pt x="33" y="72"/>
                      </a:lnTo>
                      <a:lnTo>
                        <a:pt x="33" y="73"/>
                      </a:lnTo>
                      <a:lnTo>
                        <a:pt x="33" y="73"/>
                      </a:lnTo>
                      <a:lnTo>
                        <a:pt x="33" y="74"/>
                      </a:lnTo>
                      <a:lnTo>
                        <a:pt x="33" y="74"/>
                      </a:lnTo>
                      <a:lnTo>
                        <a:pt x="33" y="74"/>
                      </a:lnTo>
                      <a:lnTo>
                        <a:pt x="29" y="74"/>
                      </a:lnTo>
                      <a:lnTo>
                        <a:pt x="28" y="74"/>
                      </a:lnTo>
                      <a:lnTo>
                        <a:pt x="27" y="73"/>
                      </a:lnTo>
                      <a:lnTo>
                        <a:pt x="27" y="73"/>
                      </a:lnTo>
                      <a:lnTo>
                        <a:pt x="27" y="73"/>
                      </a:lnTo>
                      <a:lnTo>
                        <a:pt x="27" y="73"/>
                      </a:lnTo>
                      <a:lnTo>
                        <a:pt x="26" y="73"/>
                      </a:lnTo>
                      <a:lnTo>
                        <a:pt x="26" y="73"/>
                      </a:lnTo>
                      <a:lnTo>
                        <a:pt x="26" y="73"/>
                      </a:lnTo>
                      <a:lnTo>
                        <a:pt x="25" y="73"/>
                      </a:lnTo>
                      <a:lnTo>
                        <a:pt x="23" y="73"/>
                      </a:lnTo>
                      <a:lnTo>
                        <a:pt x="22" y="73"/>
                      </a:lnTo>
                      <a:lnTo>
                        <a:pt x="22" y="72"/>
                      </a:lnTo>
                      <a:lnTo>
                        <a:pt x="20" y="70"/>
                      </a:lnTo>
                      <a:lnTo>
                        <a:pt x="18" y="69"/>
                      </a:lnTo>
                      <a:lnTo>
                        <a:pt x="18" y="69"/>
                      </a:lnTo>
                      <a:lnTo>
                        <a:pt x="18" y="69"/>
                      </a:lnTo>
                      <a:lnTo>
                        <a:pt x="18" y="67"/>
                      </a:lnTo>
                      <a:lnTo>
                        <a:pt x="18" y="67"/>
                      </a:lnTo>
                      <a:lnTo>
                        <a:pt x="18" y="66"/>
                      </a:lnTo>
                      <a:lnTo>
                        <a:pt x="16" y="65"/>
                      </a:lnTo>
                      <a:lnTo>
                        <a:pt x="16" y="65"/>
                      </a:lnTo>
                      <a:lnTo>
                        <a:pt x="16" y="65"/>
                      </a:lnTo>
                      <a:lnTo>
                        <a:pt x="15" y="64"/>
                      </a:lnTo>
                      <a:lnTo>
                        <a:pt x="14" y="64"/>
                      </a:lnTo>
                      <a:lnTo>
                        <a:pt x="14" y="63"/>
                      </a:lnTo>
                      <a:lnTo>
                        <a:pt x="14" y="63"/>
                      </a:lnTo>
                      <a:lnTo>
                        <a:pt x="14" y="63"/>
                      </a:lnTo>
                      <a:lnTo>
                        <a:pt x="13" y="63"/>
                      </a:lnTo>
                      <a:lnTo>
                        <a:pt x="13" y="63"/>
                      </a:lnTo>
                      <a:lnTo>
                        <a:pt x="12" y="63"/>
                      </a:lnTo>
                      <a:lnTo>
                        <a:pt x="12" y="63"/>
                      </a:lnTo>
                      <a:lnTo>
                        <a:pt x="12" y="63"/>
                      </a:lnTo>
                      <a:lnTo>
                        <a:pt x="12" y="63"/>
                      </a:lnTo>
                      <a:lnTo>
                        <a:pt x="11" y="63"/>
                      </a:lnTo>
                      <a:lnTo>
                        <a:pt x="11" y="62"/>
                      </a:lnTo>
                      <a:lnTo>
                        <a:pt x="11" y="59"/>
                      </a:lnTo>
                      <a:lnTo>
                        <a:pt x="11" y="59"/>
                      </a:lnTo>
                      <a:lnTo>
                        <a:pt x="11" y="57"/>
                      </a:lnTo>
                      <a:lnTo>
                        <a:pt x="12" y="57"/>
                      </a:lnTo>
                      <a:lnTo>
                        <a:pt x="12" y="56"/>
                      </a:lnTo>
                      <a:lnTo>
                        <a:pt x="11" y="56"/>
                      </a:lnTo>
                      <a:lnTo>
                        <a:pt x="11" y="56"/>
                      </a:lnTo>
                      <a:lnTo>
                        <a:pt x="9" y="56"/>
                      </a:lnTo>
                      <a:lnTo>
                        <a:pt x="9" y="56"/>
                      </a:lnTo>
                      <a:lnTo>
                        <a:pt x="9" y="56"/>
                      </a:lnTo>
                      <a:lnTo>
                        <a:pt x="8" y="55"/>
                      </a:lnTo>
                      <a:lnTo>
                        <a:pt x="8" y="55"/>
                      </a:lnTo>
                      <a:lnTo>
                        <a:pt x="8" y="53"/>
                      </a:lnTo>
                      <a:lnTo>
                        <a:pt x="8" y="52"/>
                      </a:lnTo>
                      <a:lnTo>
                        <a:pt x="6" y="51"/>
                      </a:lnTo>
                      <a:lnTo>
                        <a:pt x="6" y="50"/>
                      </a:lnTo>
                      <a:lnTo>
                        <a:pt x="5" y="49"/>
                      </a:lnTo>
                      <a:lnTo>
                        <a:pt x="2" y="42"/>
                      </a:lnTo>
                      <a:lnTo>
                        <a:pt x="2" y="42"/>
                      </a:lnTo>
                      <a:lnTo>
                        <a:pt x="2" y="42"/>
                      </a:lnTo>
                      <a:lnTo>
                        <a:pt x="2" y="42"/>
                      </a:lnTo>
                      <a:lnTo>
                        <a:pt x="1" y="41"/>
                      </a:lnTo>
                      <a:lnTo>
                        <a:pt x="0" y="39"/>
                      </a:lnTo>
                      <a:lnTo>
                        <a:pt x="0" y="39"/>
                      </a:lnTo>
                      <a:lnTo>
                        <a:pt x="0" y="39"/>
                      </a:lnTo>
                      <a:lnTo>
                        <a:pt x="0" y="39"/>
                      </a:lnTo>
                      <a:lnTo>
                        <a:pt x="0" y="38"/>
                      </a:lnTo>
                      <a:lnTo>
                        <a:pt x="0" y="37"/>
                      </a:lnTo>
                      <a:lnTo>
                        <a:pt x="0" y="37"/>
                      </a:lnTo>
                      <a:lnTo>
                        <a:pt x="0" y="37"/>
                      </a:lnTo>
                      <a:lnTo>
                        <a:pt x="1" y="38"/>
                      </a:lnTo>
                      <a:lnTo>
                        <a:pt x="1" y="37"/>
                      </a:lnTo>
                      <a:lnTo>
                        <a:pt x="1" y="37"/>
                      </a:lnTo>
                      <a:lnTo>
                        <a:pt x="1" y="37"/>
                      </a:lnTo>
                      <a:lnTo>
                        <a:pt x="1" y="37"/>
                      </a:lnTo>
                      <a:lnTo>
                        <a:pt x="1" y="37"/>
                      </a:lnTo>
                      <a:lnTo>
                        <a:pt x="2" y="37"/>
                      </a:lnTo>
                      <a:lnTo>
                        <a:pt x="2" y="37"/>
                      </a:lnTo>
                      <a:lnTo>
                        <a:pt x="2" y="37"/>
                      </a:lnTo>
                      <a:lnTo>
                        <a:pt x="4" y="36"/>
                      </a:lnTo>
                      <a:lnTo>
                        <a:pt x="4" y="36"/>
                      </a:lnTo>
                      <a:lnTo>
                        <a:pt x="5" y="36"/>
                      </a:lnTo>
                      <a:lnTo>
                        <a:pt x="5" y="36"/>
                      </a:lnTo>
                      <a:lnTo>
                        <a:pt x="6" y="36"/>
                      </a:lnTo>
                      <a:lnTo>
                        <a:pt x="6" y="35"/>
                      </a:lnTo>
                      <a:lnTo>
                        <a:pt x="7" y="35"/>
                      </a:lnTo>
                      <a:lnTo>
                        <a:pt x="8" y="35"/>
                      </a:lnTo>
                      <a:lnTo>
                        <a:pt x="8" y="34"/>
                      </a:lnTo>
                      <a:lnTo>
                        <a:pt x="9" y="34"/>
                      </a:lnTo>
                      <a:lnTo>
                        <a:pt x="9" y="34"/>
                      </a:lnTo>
                      <a:lnTo>
                        <a:pt x="9" y="34"/>
                      </a:lnTo>
                      <a:lnTo>
                        <a:pt x="9" y="34"/>
                      </a:lnTo>
                      <a:lnTo>
                        <a:pt x="9" y="32"/>
                      </a:lnTo>
                      <a:lnTo>
                        <a:pt x="9" y="32"/>
                      </a:lnTo>
                      <a:lnTo>
                        <a:pt x="11" y="32"/>
                      </a:lnTo>
                      <a:lnTo>
                        <a:pt x="11" y="32"/>
                      </a:lnTo>
                      <a:lnTo>
                        <a:pt x="11" y="31"/>
                      </a:lnTo>
                      <a:lnTo>
                        <a:pt x="11" y="31"/>
                      </a:lnTo>
                      <a:lnTo>
                        <a:pt x="12" y="30"/>
                      </a:lnTo>
                      <a:lnTo>
                        <a:pt x="13" y="30"/>
                      </a:lnTo>
                      <a:lnTo>
                        <a:pt x="13" y="29"/>
                      </a:lnTo>
                      <a:lnTo>
                        <a:pt x="13" y="29"/>
                      </a:lnTo>
                      <a:lnTo>
                        <a:pt x="13" y="29"/>
                      </a:lnTo>
                      <a:lnTo>
                        <a:pt x="12" y="29"/>
                      </a:lnTo>
                      <a:lnTo>
                        <a:pt x="12" y="28"/>
                      </a:lnTo>
                      <a:lnTo>
                        <a:pt x="12" y="28"/>
                      </a:lnTo>
                      <a:lnTo>
                        <a:pt x="13" y="28"/>
                      </a:lnTo>
                      <a:lnTo>
                        <a:pt x="13" y="28"/>
                      </a:lnTo>
                      <a:lnTo>
                        <a:pt x="13" y="28"/>
                      </a:lnTo>
                      <a:lnTo>
                        <a:pt x="13" y="27"/>
                      </a:lnTo>
                      <a:lnTo>
                        <a:pt x="13" y="27"/>
                      </a:lnTo>
                      <a:lnTo>
                        <a:pt x="14" y="25"/>
                      </a:lnTo>
                      <a:lnTo>
                        <a:pt x="14" y="25"/>
                      </a:lnTo>
                      <a:lnTo>
                        <a:pt x="14" y="25"/>
                      </a:lnTo>
                      <a:lnTo>
                        <a:pt x="15" y="25"/>
                      </a:lnTo>
                      <a:lnTo>
                        <a:pt x="15" y="24"/>
                      </a:lnTo>
                      <a:lnTo>
                        <a:pt x="16" y="24"/>
                      </a:lnTo>
                      <a:lnTo>
                        <a:pt x="16" y="24"/>
                      </a:lnTo>
                      <a:lnTo>
                        <a:pt x="15" y="23"/>
                      </a:lnTo>
                      <a:lnTo>
                        <a:pt x="15" y="23"/>
                      </a:lnTo>
                      <a:lnTo>
                        <a:pt x="16" y="23"/>
                      </a:lnTo>
                      <a:lnTo>
                        <a:pt x="16" y="22"/>
                      </a:lnTo>
                      <a:lnTo>
                        <a:pt x="16" y="22"/>
                      </a:lnTo>
                      <a:lnTo>
                        <a:pt x="16" y="22"/>
                      </a:lnTo>
                      <a:lnTo>
                        <a:pt x="19" y="20"/>
                      </a:lnTo>
                      <a:lnTo>
                        <a:pt x="20" y="18"/>
                      </a:lnTo>
                      <a:lnTo>
                        <a:pt x="19" y="18"/>
                      </a:lnTo>
                      <a:lnTo>
                        <a:pt x="19" y="18"/>
                      </a:lnTo>
                      <a:lnTo>
                        <a:pt x="20" y="17"/>
                      </a:lnTo>
                      <a:lnTo>
                        <a:pt x="20" y="18"/>
                      </a:lnTo>
                      <a:lnTo>
                        <a:pt x="20" y="17"/>
                      </a:lnTo>
                      <a:lnTo>
                        <a:pt x="20" y="17"/>
                      </a:lnTo>
                      <a:lnTo>
                        <a:pt x="20" y="17"/>
                      </a:lnTo>
                      <a:lnTo>
                        <a:pt x="20" y="17"/>
                      </a:lnTo>
                      <a:lnTo>
                        <a:pt x="20" y="17"/>
                      </a:lnTo>
                      <a:lnTo>
                        <a:pt x="20" y="16"/>
                      </a:lnTo>
                      <a:lnTo>
                        <a:pt x="20" y="16"/>
                      </a:lnTo>
                      <a:lnTo>
                        <a:pt x="20" y="16"/>
                      </a:lnTo>
                      <a:lnTo>
                        <a:pt x="21" y="16"/>
                      </a:lnTo>
                      <a:lnTo>
                        <a:pt x="21" y="15"/>
                      </a:lnTo>
                      <a:lnTo>
                        <a:pt x="21" y="15"/>
                      </a:lnTo>
                      <a:lnTo>
                        <a:pt x="21" y="15"/>
                      </a:lnTo>
                      <a:lnTo>
                        <a:pt x="22" y="15"/>
                      </a:lnTo>
                      <a:lnTo>
                        <a:pt x="22" y="15"/>
                      </a:lnTo>
                      <a:lnTo>
                        <a:pt x="22" y="15"/>
                      </a:lnTo>
                      <a:lnTo>
                        <a:pt x="22" y="15"/>
                      </a:lnTo>
                      <a:lnTo>
                        <a:pt x="22" y="14"/>
                      </a:lnTo>
                      <a:lnTo>
                        <a:pt x="22" y="14"/>
                      </a:lnTo>
                      <a:lnTo>
                        <a:pt x="22" y="14"/>
                      </a:lnTo>
                      <a:lnTo>
                        <a:pt x="22" y="14"/>
                      </a:lnTo>
                      <a:lnTo>
                        <a:pt x="22" y="13"/>
                      </a:lnTo>
                      <a:lnTo>
                        <a:pt x="22" y="13"/>
                      </a:lnTo>
                      <a:lnTo>
                        <a:pt x="23" y="13"/>
                      </a:lnTo>
                      <a:lnTo>
                        <a:pt x="23" y="13"/>
                      </a:lnTo>
                      <a:lnTo>
                        <a:pt x="27" y="13"/>
                      </a:lnTo>
                      <a:lnTo>
                        <a:pt x="27" y="11"/>
                      </a:lnTo>
                      <a:lnTo>
                        <a:pt x="28" y="11"/>
                      </a:lnTo>
                      <a:lnTo>
                        <a:pt x="28" y="10"/>
                      </a:lnTo>
                      <a:lnTo>
                        <a:pt x="28" y="10"/>
                      </a:lnTo>
                      <a:lnTo>
                        <a:pt x="28" y="10"/>
                      </a:lnTo>
                      <a:lnTo>
                        <a:pt x="29" y="10"/>
                      </a:lnTo>
                      <a:lnTo>
                        <a:pt x="29" y="10"/>
                      </a:lnTo>
                      <a:lnTo>
                        <a:pt x="29" y="11"/>
                      </a:lnTo>
                      <a:lnTo>
                        <a:pt x="30" y="11"/>
                      </a:lnTo>
                      <a:lnTo>
                        <a:pt x="30" y="11"/>
                      </a:lnTo>
                      <a:lnTo>
                        <a:pt x="32" y="11"/>
                      </a:lnTo>
                      <a:lnTo>
                        <a:pt x="32" y="10"/>
                      </a:lnTo>
                      <a:lnTo>
                        <a:pt x="32" y="10"/>
                      </a:lnTo>
                      <a:lnTo>
                        <a:pt x="32" y="10"/>
                      </a:lnTo>
                      <a:lnTo>
                        <a:pt x="33" y="9"/>
                      </a:lnTo>
                      <a:lnTo>
                        <a:pt x="34" y="7"/>
                      </a:lnTo>
                      <a:lnTo>
                        <a:pt x="34" y="7"/>
                      </a:lnTo>
                      <a:lnTo>
                        <a:pt x="35" y="6"/>
                      </a:lnTo>
                      <a:lnTo>
                        <a:pt x="35" y="6"/>
                      </a:lnTo>
                      <a:lnTo>
                        <a:pt x="35" y="4"/>
                      </a:lnTo>
                      <a:lnTo>
                        <a:pt x="36" y="4"/>
                      </a:lnTo>
                      <a:lnTo>
                        <a:pt x="37" y="4"/>
                      </a:lnTo>
                      <a:lnTo>
                        <a:pt x="37" y="4"/>
                      </a:lnTo>
                      <a:lnTo>
                        <a:pt x="39" y="4"/>
                      </a:lnTo>
                      <a:lnTo>
                        <a:pt x="40" y="4"/>
                      </a:lnTo>
                      <a:lnTo>
                        <a:pt x="40" y="4"/>
                      </a:lnTo>
                      <a:lnTo>
                        <a:pt x="41" y="4"/>
                      </a:lnTo>
                      <a:lnTo>
                        <a:pt x="41" y="4"/>
                      </a:lnTo>
                      <a:lnTo>
                        <a:pt x="42" y="2"/>
                      </a:lnTo>
                      <a:lnTo>
                        <a:pt x="43" y="2"/>
                      </a:lnTo>
                      <a:lnTo>
                        <a:pt x="43" y="2"/>
                      </a:lnTo>
                      <a:lnTo>
                        <a:pt x="48" y="1"/>
                      </a:lnTo>
                      <a:lnTo>
                        <a:pt x="48" y="1"/>
                      </a:lnTo>
                      <a:lnTo>
                        <a:pt x="50" y="0"/>
                      </a:lnTo>
                      <a:lnTo>
                        <a:pt x="50" y="0"/>
                      </a:lnTo>
                      <a:lnTo>
                        <a:pt x="51" y="1"/>
                      </a:lnTo>
                      <a:lnTo>
                        <a:pt x="51" y="1"/>
                      </a:lnTo>
                      <a:lnTo>
                        <a:pt x="51" y="2"/>
                      </a:lnTo>
                      <a:lnTo>
                        <a:pt x="52" y="2"/>
                      </a:lnTo>
                      <a:lnTo>
                        <a:pt x="52" y="3"/>
                      </a:lnTo>
                      <a:lnTo>
                        <a:pt x="52" y="4"/>
                      </a:lnTo>
                      <a:lnTo>
                        <a:pt x="54" y="4"/>
                      </a:lnTo>
                      <a:lnTo>
                        <a:pt x="55"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9" name="Freeform 101">
                  <a:extLst>
                    <a:ext uri="{FF2B5EF4-FFF2-40B4-BE49-F238E27FC236}">
                      <a16:creationId xmlns:a16="http://schemas.microsoft.com/office/drawing/2014/main" id="{097CD6E6-B9C3-BAC5-81E8-7FC5A5E6FDE0}"/>
                    </a:ext>
                  </a:extLst>
                </p:cNvPr>
                <p:cNvSpPr>
                  <a:spLocks/>
                </p:cNvSpPr>
                <p:nvPr/>
              </p:nvSpPr>
              <p:spPr bwMode="auto">
                <a:xfrm>
                  <a:off x="5800733" y="2918086"/>
                  <a:ext cx="567910" cy="538702"/>
                </a:xfrm>
                <a:custGeom>
                  <a:avLst/>
                  <a:gdLst>
                    <a:gd name="T0" fmla="*/ 525 w 525"/>
                    <a:gd name="T1" fmla="*/ 265 h 498"/>
                    <a:gd name="T2" fmla="*/ 518 w 525"/>
                    <a:gd name="T3" fmla="*/ 304 h 498"/>
                    <a:gd name="T4" fmla="*/ 489 w 525"/>
                    <a:gd name="T5" fmla="*/ 323 h 498"/>
                    <a:gd name="T6" fmla="*/ 445 w 525"/>
                    <a:gd name="T7" fmla="*/ 328 h 498"/>
                    <a:gd name="T8" fmla="*/ 406 w 525"/>
                    <a:gd name="T9" fmla="*/ 339 h 498"/>
                    <a:gd name="T10" fmla="*/ 367 w 525"/>
                    <a:gd name="T11" fmla="*/ 336 h 498"/>
                    <a:gd name="T12" fmla="*/ 324 w 525"/>
                    <a:gd name="T13" fmla="*/ 367 h 498"/>
                    <a:gd name="T14" fmla="*/ 296 w 525"/>
                    <a:gd name="T15" fmla="*/ 384 h 498"/>
                    <a:gd name="T16" fmla="*/ 282 w 525"/>
                    <a:gd name="T17" fmla="*/ 397 h 498"/>
                    <a:gd name="T18" fmla="*/ 267 w 525"/>
                    <a:gd name="T19" fmla="*/ 391 h 498"/>
                    <a:gd name="T20" fmla="*/ 256 w 525"/>
                    <a:gd name="T21" fmla="*/ 397 h 498"/>
                    <a:gd name="T22" fmla="*/ 255 w 525"/>
                    <a:gd name="T23" fmla="*/ 414 h 498"/>
                    <a:gd name="T24" fmla="*/ 250 w 525"/>
                    <a:gd name="T25" fmla="*/ 427 h 498"/>
                    <a:gd name="T26" fmla="*/ 235 w 525"/>
                    <a:gd name="T27" fmla="*/ 438 h 498"/>
                    <a:gd name="T28" fmla="*/ 224 w 525"/>
                    <a:gd name="T29" fmla="*/ 445 h 498"/>
                    <a:gd name="T30" fmla="*/ 224 w 525"/>
                    <a:gd name="T31" fmla="*/ 466 h 498"/>
                    <a:gd name="T32" fmla="*/ 218 w 525"/>
                    <a:gd name="T33" fmla="*/ 489 h 498"/>
                    <a:gd name="T34" fmla="*/ 196 w 525"/>
                    <a:gd name="T35" fmla="*/ 495 h 498"/>
                    <a:gd name="T36" fmla="*/ 196 w 525"/>
                    <a:gd name="T37" fmla="*/ 482 h 498"/>
                    <a:gd name="T38" fmla="*/ 183 w 525"/>
                    <a:gd name="T39" fmla="*/ 484 h 498"/>
                    <a:gd name="T40" fmla="*/ 179 w 525"/>
                    <a:gd name="T41" fmla="*/ 493 h 498"/>
                    <a:gd name="T42" fmla="*/ 163 w 525"/>
                    <a:gd name="T43" fmla="*/ 496 h 498"/>
                    <a:gd name="T44" fmla="*/ 148 w 525"/>
                    <a:gd name="T45" fmla="*/ 491 h 498"/>
                    <a:gd name="T46" fmla="*/ 139 w 525"/>
                    <a:gd name="T47" fmla="*/ 495 h 498"/>
                    <a:gd name="T48" fmla="*/ 128 w 525"/>
                    <a:gd name="T49" fmla="*/ 477 h 498"/>
                    <a:gd name="T50" fmla="*/ 118 w 525"/>
                    <a:gd name="T51" fmla="*/ 469 h 498"/>
                    <a:gd name="T52" fmla="*/ 125 w 525"/>
                    <a:gd name="T53" fmla="*/ 460 h 498"/>
                    <a:gd name="T54" fmla="*/ 112 w 525"/>
                    <a:gd name="T55" fmla="*/ 442 h 498"/>
                    <a:gd name="T56" fmla="*/ 106 w 525"/>
                    <a:gd name="T57" fmla="*/ 428 h 498"/>
                    <a:gd name="T58" fmla="*/ 96 w 525"/>
                    <a:gd name="T59" fmla="*/ 430 h 498"/>
                    <a:gd name="T60" fmla="*/ 76 w 525"/>
                    <a:gd name="T61" fmla="*/ 438 h 498"/>
                    <a:gd name="T62" fmla="*/ 62 w 525"/>
                    <a:gd name="T63" fmla="*/ 434 h 498"/>
                    <a:gd name="T64" fmla="*/ 49 w 525"/>
                    <a:gd name="T65" fmla="*/ 441 h 498"/>
                    <a:gd name="T66" fmla="*/ 33 w 525"/>
                    <a:gd name="T67" fmla="*/ 441 h 498"/>
                    <a:gd name="T68" fmla="*/ 29 w 525"/>
                    <a:gd name="T69" fmla="*/ 426 h 498"/>
                    <a:gd name="T70" fmla="*/ 28 w 525"/>
                    <a:gd name="T71" fmla="*/ 411 h 498"/>
                    <a:gd name="T72" fmla="*/ 22 w 525"/>
                    <a:gd name="T73" fmla="*/ 399 h 498"/>
                    <a:gd name="T74" fmla="*/ 11 w 525"/>
                    <a:gd name="T75" fmla="*/ 392 h 498"/>
                    <a:gd name="T76" fmla="*/ 8 w 525"/>
                    <a:gd name="T77" fmla="*/ 368 h 498"/>
                    <a:gd name="T78" fmla="*/ 1 w 525"/>
                    <a:gd name="T79" fmla="*/ 353 h 498"/>
                    <a:gd name="T80" fmla="*/ 14 w 525"/>
                    <a:gd name="T81" fmla="*/ 347 h 498"/>
                    <a:gd name="T82" fmla="*/ 19 w 525"/>
                    <a:gd name="T83" fmla="*/ 326 h 498"/>
                    <a:gd name="T84" fmla="*/ 46 w 525"/>
                    <a:gd name="T85" fmla="*/ 334 h 498"/>
                    <a:gd name="T86" fmla="*/ 68 w 525"/>
                    <a:gd name="T87" fmla="*/ 330 h 498"/>
                    <a:gd name="T88" fmla="*/ 92 w 525"/>
                    <a:gd name="T89" fmla="*/ 326 h 498"/>
                    <a:gd name="T90" fmla="*/ 168 w 525"/>
                    <a:gd name="T91" fmla="*/ 325 h 498"/>
                    <a:gd name="T92" fmla="*/ 218 w 525"/>
                    <a:gd name="T93" fmla="*/ 311 h 498"/>
                    <a:gd name="T94" fmla="*/ 210 w 525"/>
                    <a:gd name="T95" fmla="*/ 279 h 498"/>
                    <a:gd name="T96" fmla="*/ 203 w 525"/>
                    <a:gd name="T97" fmla="*/ 226 h 498"/>
                    <a:gd name="T98" fmla="*/ 196 w 525"/>
                    <a:gd name="T99" fmla="*/ 166 h 498"/>
                    <a:gd name="T100" fmla="*/ 188 w 525"/>
                    <a:gd name="T101" fmla="*/ 95 h 498"/>
                    <a:gd name="T102" fmla="*/ 179 w 525"/>
                    <a:gd name="T103" fmla="*/ 27 h 498"/>
                    <a:gd name="T104" fmla="*/ 235 w 525"/>
                    <a:gd name="T105" fmla="*/ 3 h 498"/>
                    <a:gd name="T106" fmla="*/ 282 w 525"/>
                    <a:gd name="T107" fmla="*/ 35 h 498"/>
                    <a:gd name="T108" fmla="*/ 332 w 525"/>
                    <a:gd name="T109" fmla="*/ 69 h 498"/>
                    <a:gd name="T110" fmla="*/ 382 w 525"/>
                    <a:gd name="T111" fmla="*/ 104 h 498"/>
                    <a:gd name="T112" fmla="*/ 426 w 525"/>
                    <a:gd name="T113" fmla="*/ 136 h 498"/>
                    <a:gd name="T114" fmla="*/ 441 w 525"/>
                    <a:gd name="T115" fmla="*/ 152 h 498"/>
                    <a:gd name="T116" fmla="*/ 459 w 525"/>
                    <a:gd name="T117" fmla="*/ 161 h 498"/>
                    <a:gd name="T118" fmla="*/ 491 w 525"/>
                    <a:gd name="T119" fmla="*/ 184 h 498"/>
                    <a:gd name="T120" fmla="*/ 490 w 525"/>
                    <a:gd name="T121" fmla="*/ 201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5" h="498">
                      <a:moveTo>
                        <a:pt x="525" y="199"/>
                      </a:moveTo>
                      <a:lnTo>
                        <a:pt x="525" y="203"/>
                      </a:lnTo>
                      <a:lnTo>
                        <a:pt x="525" y="207"/>
                      </a:lnTo>
                      <a:lnTo>
                        <a:pt x="525" y="212"/>
                      </a:lnTo>
                      <a:lnTo>
                        <a:pt x="525" y="215"/>
                      </a:lnTo>
                      <a:lnTo>
                        <a:pt x="525" y="220"/>
                      </a:lnTo>
                      <a:lnTo>
                        <a:pt x="525" y="223"/>
                      </a:lnTo>
                      <a:lnTo>
                        <a:pt x="525" y="228"/>
                      </a:lnTo>
                      <a:lnTo>
                        <a:pt x="525" y="233"/>
                      </a:lnTo>
                      <a:lnTo>
                        <a:pt x="525" y="236"/>
                      </a:lnTo>
                      <a:lnTo>
                        <a:pt x="525" y="238"/>
                      </a:lnTo>
                      <a:lnTo>
                        <a:pt x="525" y="241"/>
                      </a:lnTo>
                      <a:lnTo>
                        <a:pt x="525" y="244"/>
                      </a:lnTo>
                      <a:lnTo>
                        <a:pt x="525" y="249"/>
                      </a:lnTo>
                      <a:lnTo>
                        <a:pt x="525" y="252"/>
                      </a:lnTo>
                      <a:lnTo>
                        <a:pt x="525" y="257"/>
                      </a:lnTo>
                      <a:lnTo>
                        <a:pt x="525" y="260"/>
                      </a:lnTo>
                      <a:lnTo>
                        <a:pt x="525" y="265"/>
                      </a:lnTo>
                      <a:lnTo>
                        <a:pt x="525" y="267"/>
                      </a:lnTo>
                      <a:lnTo>
                        <a:pt x="525" y="271"/>
                      </a:lnTo>
                      <a:lnTo>
                        <a:pt x="524" y="271"/>
                      </a:lnTo>
                      <a:lnTo>
                        <a:pt x="524" y="272"/>
                      </a:lnTo>
                      <a:lnTo>
                        <a:pt x="524" y="276"/>
                      </a:lnTo>
                      <a:lnTo>
                        <a:pt x="524" y="277"/>
                      </a:lnTo>
                      <a:lnTo>
                        <a:pt x="524" y="279"/>
                      </a:lnTo>
                      <a:lnTo>
                        <a:pt x="524" y="284"/>
                      </a:lnTo>
                      <a:lnTo>
                        <a:pt x="524" y="286"/>
                      </a:lnTo>
                      <a:lnTo>
                        <a:pt x="524" y="290"/>
                      </a:lnTo>
                      <a:lnTo>
                        <a:pt x="524" y="291"/>
                      </a:lnTo>
                      <a:lnTo>
                        <a:pt x="523" y="291"/>
                      </a:lnTo>
                      <a:lnTo>
                        <a:pt x="522" y="292"/>
                      </a:lnTo>
                      <a:lnTo>
                        <a:pt x="520" y="293"/>
                      </a:lnTo>
                      <a:lnTo>
                        <a:pt x="520" y="294"/>
                      </a:lnTo>
                      <a:lnTo>
                        <a:pt x="517" y="301"/>
                      </a:lnTo>
                      <a:lnTo>
                        <a:pt x="517" y="302"/>
                      </a:lnTo>
                      <a:lnTo>
                        <a:pt x="518" y="304"/>
                      </a:lnTo>
                      <a:lnTo>
                        <a:pt x="518" y="305"/>
                      </a:lnTo>
                      <a:lnTo>
                        <a:pt x="516" y="306"/>
                      </a:lnTo>
                      <a:lnTo>
                        <a:pt x="516" y="307"/>
                      </a:lnTo>
                      <a:lnTo>
                        <a:pt x="515" y="311"/>
                      </a:lnTo>
                      <a:lnTo>
                        <a:pt x="515" y="312"/>
                      </a:lnTo>
                      <a:lnTo>
                        <a:pt x="515" y="313"/>
                      </a:lnTo>
                      <a:lnTo>
                        <a:pt x="513" y="314"/>
                      </a:lnTo>
                      <a:lnTo>
                        <a:pt x="512" y="315"/>
                      </a:lnTo>
                      <a:lnTo>
                        <a:pt x="510" y="315"/>
                      </a:lnTo>
                      <a:lnTo>
                        <a:pt x="509" y="316"/>
                      </a:lnTo>
                      <a:lnTo>
                        <a:pt x="506" y="319"/>
                      </a:lnTo>
                      <a:lnTo>
                        <a:pt x="503" y="320"/>
                      </a:lnTo>
                      <a:lnTo>
                        <a:pt x="503" y="321"/>
                      </a:lnTo>
                      <a:lnTo>
                        <a:pt x="503" y="325"/>
                      </a:lnTo>
                      <a:lnTo>
                        <a:pt x="502" y="325"/>
                      </a:lnTo>
                      <a:lnTo>
                        <a:pt x="498" y="325"/>
                      </a:lnTo>
                      <a:lnTo>
                        <a:pt x="492" y="323"/>
                      </a:lnTo>
                      <a:lnTo>
                        <a:pt x="489" y="323"/>
                      </a:lnTo>
                      <a:lnTo>
                        <a:pt x="488" y="323"/>
                      </a:lnTo>
                      <a:lnTo>
                        <a:pt x="487" y="323"/>
                      </a:lnTo>
                      <a:lnTo>
                        <a:pt x="487" y="325"/>
                      </a:lnTo>
                      <a:lnTo>
                        <a:pt x="487" y="326"/>
                      </a:lnTo>
                      <a:lnTo>
                        <a:pt x="485" y="326"/>
                      </a:lnTo>
                      <a:lnTo>
                        <a:pt x="482" y="326"/>
                      </a:lnTo>
                      <a:lnTo>
                        <a:pt x="478" y="326"/>
                      </a:lnTo>
                      <a:lnTo>
                        <a:pt x="476" y="326"/>
                      </a:lnTo>
                      <a:lnTo>
                        <a:pt x="473" y="327"/>
                      </a:lnTo>
                      <a:lnTo>
                        <a:pt x="469" y="327"/>
                      </a:lnTo>
                      <a:lnTo>
                        <a:pt x="467" y="327"/>
                      </a:lnTo>
                      <a:lnTo>
                        <a:pt x="463" y="327"/>
                      </a:lnTo>
                      <a:lnTo>
                        <a:pt x="460" y="327"/>
                      </a:lnTo>
                      <a:lnTo>
                        <a:pt x="458" y="327"/>
                      </a:lnTo>
                      <a:lnTo>
                        <a:pt x="454" y="327"/>
                      </a:lnTo>
                      <a:lnTo>
                        <a:pt x="451" y="327"/>
                      </a:lnTo>
                      <a:lnTo>
                        <a:pt x="448" y="328"/>
                      </a:lnTo>
                      <a:lnTo>
                        <a:pt x="445" y="328"/>
                      </a:lnTo>
                      <a:lnTo>
                        <a:pt x="442" y="328"/>
                      </a:lnTo>
                      <a:lnTo>
                        <a:pt x="439" y="328"/>
                      </a:lnTo>
                      <a:lnTo>
                        <a:pt x="435" y="328"/>
                      </a:lnTo>
                      <a:lnTo>
                        <a:pt x="433" y="328"/>
                      </a:lnTo>
                      <a:lnTo>
                        <a:pt x="432" y="328"/>
                      </a:lnTo>
                      <a:lnTo>
                        <a:pt x="432" y="329"/>
                      </a:lnTo>
                      <a:lnTo>
                        <a:pt x="430" y="332"/>
                      </a:lnTo>
                      <a:lnTo>
                        <a:pt x="427" y="334"/>
                      </a:lnTo>
                      <a:lnTo>
                        <a:pt x="425" y="335"/>
                      </a:lnTo>
                      <a:lnTo>
                        <a:pt x="423" y="337"/>
                      </a:lnTo>
                      <a:lnTo>
                        <a:pt x="421" y="339"/>
                      </a:lnTo>
                      <a:lnTo>
                        <a:pt x="420" y="339"/>
                      </a:lnTo>
                      <a:lnTo>
                        <a:pt x="416" y="339"/>
                      </a:lnTo>
                      <a:lnTo>
                        <a:pt x="414" y="339"/>
                      </a:lnTo>
                      <a:lnTo>
                        <a:pt x="413" y="340"/>
                      </a:lnTo>
                      <a:lnTo>
                        <a:pt x="412" y="340"/>
                      </a:lnTo>
                      <a:lnTo>
                        <a:pt x="407" y="339"/>
                      </a:lnTo>
                      <a:lnTo>
                        <a:pt x="406" y="339"/>
                      </a:lnTo>
                      <a:lnTo>
                        <a:pt x="404" y="339"/>
                      </a:lnTo>
                      <a:lnTo>
                        <a:pt x="403" y="339"/>
                      </a:lnTo>
                      <a:lnTo>
                        <a:pt x="398" y="339"/>
                      </a:lnTo>
                      <a:lnTo>
                        <a:pt x="398" y="340"/>
                      </a:lnTo>
                      <a:lnTo>
                        <a:pt x="398" y="341"/>
                      </a:lnTo>
                      <a:lnTo>
                        <a:pt x="390" y="339"/>
                      </a:lnTo>
                      <a:lnTo>
                        <a:pt x="385" y="336"/>
                      </a:lnTo>
                      <a:lnTo>
                        <a:pt x="383" y="336"/>
                      </a:lnTo>
                      <a:lnTo>
                        <a:pt x="382" y="336"/>
                      </a:lnTo>
                      <a:lnTo>
                        <a:pt x="380" y="337"/>
                      </a:lnTo>
                      <a:lnTo>
                        <a:pt x="378" y="339"/>
                      </a:lnTo>
                      <a:lnTo>
                        <a:pt x="377" y="339"/>
                      </a:lnTo>
                      <a:lnTo>
                        <a:pt x="377" y="337"/>
                      </a:lnTo>
                      <a:lnTo>
                        <a:pt x="376" y="336"/>
                      </a:lnTo>
                      <a:lnTo>
                        <a:pt x="376" y="335"/>
                      </a:lnTo>
                      <a:lnTo>
                        <a:pt x="375" y="335"/>
                      </a:lnTo>
                      <a:lnTo>
                        <a:pt x="368" y="336"/>
                      </a:lnTo>
                      <a:lnTo>
                        <a:pt x="367" y="336"/>
                      </a:lnTo>
                      <a:lnTo>
                        <a:pt x="366" y="336"/>
                      </a:lnTo>
                      <a:lnTo>
                        <a:pt x="364" y="339"/>
                      </a:lnTo>
                      <a:lnTo>
                        <a:pt x="357" y="344"/>
                      </a:lnTo>
                      <a:lnTo>
                        <a:pt x="356" y="346"/>
                      </a:lnTo>
                      <a:lnTo>
                        <a:pt x="355" y="346"/>
                      </a:lnTo>
                      <a:lnTo>
                        <a:pt x="349" y="347"/>
                      </a:lnTo>
                      <a:lnTo>
                        <a:pt x="348" y="348"/>
                      </a:lnTo>
                      <a:lnTo>
                        <a:pt x="338" y="355"/>
                      </a:lnTo>
                      <a:lnTo>
                        <a:pt x="335" y="356"/>
                      </a:lnTo>
                      <a:lnTo>
                        <a:pt x="333" y="356"/>
                      </a:lnTo>
                      <a:lnTo>
                        <a:pt x="330" y="356"/>
                      </a:lnTo>
                      <a:lnTo>
                        <a:pt x="328" y="356"/>
                      </a:lnTo>
                      <a:lnTo>
                        <a:pt x="327" y="356"/>
                      </a:lnTo>
                      <a:lnTo>
                        <a:pt x="327" y="357"/>
                      </a:lnTo>
                      <a:lnTo>
                        <a:pt x="327" y="365"/>
                      </a:lnTo>
                      <a:lnTo>
                        <a:pt x="326" y="365"/>
                      </a:lnTo>
                      <a:lnTo>
                        <a:pt x="325" y="367"/>
                      </a:lnTo>
                      <a:lnTo>
                        <a:pt x="324" y="367"/>
                      </a:lnTo>
                      <a:lnTo>
                        <a:pt x="323" y="367"/>
                      </a:lnTo>
                      <a:lnTo>
                        <a:pt x="316" y="363"/>
                      </a:lnTo>
                      <a:lnTo>
                        <a:pt x="313" y="363"/>
                      </a:lnTo>
                      <a:lnTo>
                        <a:pt x="311" y="363"/>
                      </a:lnTo>
                      <a:lnTo>
                        <a:pt x="309" y="364"/>
                      </a:lnTo>
                      <a:lnTo>
                        <a:pt x="307" y="365"/>
                      </a:lnTo>
                      <a:lnTo>
                        <a:pt x="306" y="368"/>
                      </a:lnTo>
                      <a:lnTo>
                        <a:pt x="305" y="368"/>
                      </a:lnTo>
                      <a:lnTo>
                        <a:pt x="300" y="370"/>
                      </a:lnTo>
                      <a:lnTo>
                        <a:pt x="300" y="372"/>
                      </a:lnTo>
                      <a:lnTo>
                        <a:pt x="299" y="376"/>
                      </a:lnTo>
                      <a:lnTo>
                        <a:pt x="298" y="377"/>
                      </a:lnTo>
                      <a:lnTo>
                        <a:pt x="298" y="378"/>
                      </a:lnTo>
                      <a:lnTo>
                        <a:pt x="298" y="381"/>
                      </a:lnTo>
                      <a:lnTo>
                        <a:pt x="299" y="383"/>
                      </a:lnTo>
                      <a:lnTo>
                        <a:pt x="298" y="384"/>
                      </a:lnTo>
                      <a:lnTo>
                        <a:pt x="297" y="384"/>
                      </a:lnTo>
                      <a:lnTo>
                        <a:pt x="296" y="384"/>
                      </a:lnTo>
                      <a:lnTo>
                        <a:pt x="295" y="384"/>
                      </a:lnTo>
                      <a:lnTo>
                        <a:pt x="295" y="385"/>
                      </a:lnTo>
                      <a:lnTo>
                        <a:pt x="293" y="385"/>
                      </a:lnTo>
                      <a:lnTo>
                        <a:pt x="293" y="384"/>
                      </a:lnTo>
                      <a:lnTo>
                        <a:pt x="292" y="383"/>
                      </a:lnTo>
                      <a:lnTo>
                        <a:pt x="291" y="383"/>
                      </a:lnTo>
                      <a:lnTo>
                        <a:pt x="290" y="383"/>
                      </a:lnTo>
                      <a:lnTo>
                        <a:pt x="289" y="382"/>
                      </a:lnTo>
                      <a:lnTo>
                        <a:pt x="288" y="382"/>
                      </a:lnTo>
                      <a:lnTo>
                        <a:pt x="286" y="382"/>
                      </a:lnTo>
                      <a:lnTo>
                        <a:pt x="288" y="383"/>
                      </a:lnTo>
                      <a:lnTo>
                        <a:pt x="288" y="385"/>
                      </a:lnTo>
                      <a:lnTo>
                        <a:pt x="288" y="386"/>
                      </a:lnTo>
                      <a:lnTo>
                        <a:pt x="286" y="388"/>
                      </a:lnTo>
                      <a:lnTo>
                        <a:pt x="288" y="396"/>
                      </a:lnTo>
                      <a:lnTo>
                        <a:pt x="283" y="396"/>
                      </a:lnTo>
                      <a:lnTo>
                        <a:pt x="282" y="396"/>
                      </a:lnTo>
                      <a:lnTo>
                        <a:pt x="282" y="397"/>
                      </a:lnTo>
                      <a:lnTo>
                        <a:pt x="282" y="398"/>
                      </a:lnTo>
                      <a:lnTo>
                        <a:pt x="282" y="399"/>
                      </a:lnTo>
                      <a:lnTo>
                        <a:pt x="281" y="399"/>
                      </a:lnTo>
                      <a:lnTo>
                        <a:pt x="279" y="399"/>
                      </a:lnTo>
                      <a:lnTo>
                        <a:pt x="278" y="399"/>
                      </a:lnTo>
                      <a:lnTo>
                        <a:pt x="278" y="398"/>
                      </a:lnTo>
                      <a:lnTo>
                        <a:pt x="277" y="398"/>
                      </a:lnTo>
                      <a:lnTo>
                        <a:pt x="275" y="397"/>
                      </a:lnTo>
                      <a:lnTo>
                        <a:pt x="272" y="396"/>
                      </a:lnTo>
                      <a:lnTo>
                        <a:pt x="270" y="393"/>
                      </a:lnTo>
                      <a:lnTo>
                        <a:pt x="269" y="393"/>
                      </a:lnTo>
                      <a:lnTo>
                        <a:pt x="268" y="392"/>
                      </a:lnTo>
                      <a:lnTo>
                        <a:pt x="267" y="392"/>
                      </a:lnTo>
                      <a:lnTo>
                        <a:pt x="266" y="392"/>
                      </a:lnTo>
                      <a:lnTo>
                        <a:pt x="264" y="392"/>
                      </a:lnTo>
                      <a:lnTo>
                        <a:pt x="266" y="392"/>
                      </a:lnTo>
                      <a:lnTo>
                        <a:pt x="266" y="391"/>
                      </a:lnTo>
                      <a:lnTo>
                        <a:pt x="267" y="391"/>
                      </a:lnTo>
                      <a:lnTo>
                        <a:pt x="267" y="390"/>
                      </a:lnTo>
                      <a:lnTo>
                        <a:pt x="266" y="390"/>
                      </a:lnTo>
                      <a:lnTo>
                        <a:pt x="266" y="389"/>
                      </a:lnTo>
                      <a:lnTo>
                        <a:pt x="264" y="389"/>
                      </a:lnTo>
                      <a:lnTo>
                        <a:pt x="264" y="390"/>
                      </a:lnTo>
                      <a:lnTo>
                        <a:pt x="266" y="390"/>
                      </a:lnTo>
                      <a:lnTo>
                        <a:pt x="264" y="390"/>
                      </a:lnTo>
                      <a:lnTo>
                        <a:pt x="264" y="391"/>
                      </a:lnTo>
                      <a:lnTo>
                        <a:pt x="263" y="391"/>
                      </a:lnTo>
                      <a:lnTo>
                        <a:pt x="262" y="392"/>
                      </a:lnTo>
                      <a:lnTo>
                        <a:pt x="261" y="392"/>
                      </a:lnTo>
                      <a:lnTo>
                        <a:pt x="261" y="393"/>
                      </a:lnTo>
                      <a:lnTo>
                        <a:pt x="260" y="395"/>
                      </a:lnTo>
                      <a:lnTo>
                        <a:pt x="260" y="396"/>
                      </a:lnTo>
                      <a:lnTo>
                        <a:pt x="259" y="396"/>
                      </a:lnTo>
                      <a:lnTo>
                        <a:pt x="257" y="396"/>
                      </a:lnTo>
                      <a:lnTo>
                        <a:pt x="257" y="397"/>
                      </a:lnTo>
                      <a:lnTo>
                        <a:pt x="256" y="397"/>
                      </a:lnTo>
                      <a:lnTo>
                        <a:pt x="256" y="398"/>
                      </a:lnTo>
                      <a:lnTo>
                        <a:pt x="257" y="399"/>
                      </a:lnTo>
                      <a:lnTo>
                        <a:pt x="256" y="399"/>
                      </a:lnTo>
                      <a:lnTo>
                        <a:pt x="254" y="399"/>
                      </a:lnTo>
                      <a:lnTo>
                        <a:pt x="254" y="400"/>
                      </a:lnTo>
                      <a:lnTo>
                        <a:pt x="254" y="402"/>
                      </a:lnTo>
                      <a:lnTo>
                        <a:pt x="253" y="402"/>
                      </a:lnTo>
                      <a:lnTo>
                        <a:pt x="254" y="402"/>
                      </a:lnTo>
                      <a:lnTo>
                        <a:pt x="254" y="403"/>
                      </a:lnTo>
                      <a:lnTo>
                        <a:pt x="255" y="405"/>
                      </a:lnTo>
                      <a:lnTo>
                        <a:pt x="256" y="406"/>
                      </a:lnTo>
                      <a:lnTo>
                        <a:pt x="257" y="406"/>
                      </a:lnTo>
                      <a:lnTo>
                        <a:pt x="257" y="407"/>
                      </a:lnTo>
                      <a:lnTo>
                        <a:pt x="257" y="410"/>
                      </a:lnTo>
                      <a:lnTo>
                        <a:pt x="257" y="411"/>
                      </a:lnTo>
                      <a:lnTo>
                        <a:pt x="257" y="413"/>
                      </a:lnTo>
                      <a:lnTo>
                        <a:pt x="256" y="414"/>
                      </a:lnTo>
                      <a:lnTo>
                        <a:pt x="255" y="414"/>
                      </a:lnTo>
                      <a:lnTo>
                        <a:pt x="254" y="414"/>
                      </a:lnTo>
                      <a:lnTo>
                        <a:pt x="253" y="413"/>
                      </a:lnTo>
                      <a:lnTo>
                        <a:pt x="252" y="413"/>
                      </a:lnTo>
                      <a:lnTo>
                        <a:pt x="250" y="414"/>
                      </a:lnTo>
                      <a:lnTo>
                        <a:pt x="249" y="414"/>
                      </a:lnTo>
                      <a:lnTo>
                        <a:pt x="249" y="417"/>
                      </a:lnTo>
                      <a:lnTo>
                        <a:pt x="250" y="418"/>
                      </a:lnTo>
                      <a:lnTo>
                        <a:pt x="252" y="418"/>
                      </a:lnTo>
                      <a:lnTo>
                        <a:pt x="252" y="420"/>
                      </a:lnTo>
                      <a:lnTo>
                        <a:pt x="253" y="420"/>
                      </a:lnTo>
                      <a:lnTo>
                        <a:pt x="252" y="421"/>
                      </a:lnTo>
                      <a:lnTo>
                        <a:pt x="252" y="423"/>
                      </a:lnTo>
                      <a:lnTo>
                        <a:pt x="250" y="423"/>
                      </a:lnTo>
                      <a:lnTo>
                        <a:pt x="250" y="424"/>
                      </a:lnTo>
                      <a:lnTo>
                        <a:pt x="252" y="426"/>
                      </a:lnTo>
                      <a:lnTo>
                        <a:pt x="252" y="427"/>
                      </a:lnTo>
                      <a:lnTo>
                        <a:pt x="250" y="428"/>
                      </a:lnTo>
                      <a:lnTo>
                        <a:pt x="250" y="427"/>
                      </a:lnTo>
                      <a:lnTo>
                        <a:pt x="249" y="427"/>
                      </a:lnTo>
                      <a:lnTo>
                        <a:pt x="249" y="428"/>
                      </a:lnTo>
                      <a:lnTo>
                        <a:pt x="249" y="430"/>
                      </a:lnTo>
                      <a:lnTo>
                        <a:pt x="246" y="432"/>
                      </a:lnTo>
                      <a:lnTo>
                        <a:pt x="247" y="433"/>
                      </a:lnTo>
                      <a:lnTo>
                        <a:pt x="246" y="433"/>
                      </a:lnTo>
                      <a:lnTo>
                        <a:pt x="245" y="434"/>
                      </a:lnTo>
                      <a:lnTo>
                        <a:pt x="245" y="435"/>
                      </a:lnTo>
                      <a:lnTo>
                        <a:pt x="243" y="435"/>
                      </a:lnTo>
                      <a:lnTo>
                        <a:pt x="242" y="435"/>
                      </a:lnTo>
                      <a:lnTo>
                        <a:pt x="242" y="437"/>
                      </a:lnTo>
                      <a:lnTo>
                        <a:pt x="241" y="437"/>
                      </a:lnTo>
                      <a:lnTo>
                        <a:pt x="241" y="438"/>
                      </a:lnTo>
                      <a:lnTo>
                        <a:pt x="240" y="438"/>
                      </a:lnTo>
                      <a:lnTo>
                        <a:pt x="239" y="438"/>
                      </a:lnTo>
                      <a:lnTo>
                        <a:pt x="238" y="438"/>
                      </a:lnTo>
                      <a:lnTo>
                        <a:pt x="236" y="438"/>
                      </a:lnTo>
                      <a:lnTo>
                        <a:pt x="235" y="438"/>
                      </a:lnTo>
                      <a:lnTo>
                        <a:pt x="234" y="438"/>
                      </a:lnTo>
                      <a:lnTo>
                        <a:pt x="233" y="439"/>
                      </a:lnTo>
                      <a:lnTo>
                        <a:pt x="232" y="439"/>
                      </a:lnTo>
                      <a:lnTo>
                        <a:pt x="231" y="439"/>
                      </a:lnTo>
                      <a:lnTo>
                        <a:pt x="229" y="439"/>
                      </a:lnTo>
                      <a:lnTo>
                        <a:pt x="228" y="440"/>
                      </a:lnTo>
                      <a:lnTo>
                        <a:pt x="227" y="440"/>
                      </a:lnTo>
                      <a:lnTo>
                        <a:pt x="226" y="441"/>
                      </a:lnTo>
                      <a:lnTo>
                        <a:pt x="225" y="442"/>
                      </a:lnTo>
                      <a:lnTo>
                        <a:pt x="225" y="444"/>
                      </a:lnTo>
                      <a:lnTo>
                        <a:pt x="224" y="444"/>
                      </a:lnTo>
                      <a:lnTo>
                        <a:pt x="222" y="444"/>
                      </a:lnTo>
                      <a:lnTo>
                        <a:pt x="221" y="444"/>
                      </a:lnTo>
                      <a:lnTo>
                        <a:pt x="220" y="444"/>
                      </a:lnTo>
                      <a:lnTo>
                        <a:pt x="220" y="445"/>
                      </a:lnTo>
                      <a:lnTo>
                        <a:pt x="221" y="445"/>
                      </a:lnTo>
                      <a:lnTo>
                        <a:pt x="222" y="445"/>
                      </a:lnTo>
                      <a:lnTo>
                        <a:pt x="224" y="445"/>
                      </a:lnTo>
                      <a:lnTo>
                        <a:pt x="224" y="446"/>
                      </a:lnTo>
                      <a:lnTo>
                        <a:pt x="224" y="447"/>
                      </a:lnTo>
                      <a:lnTo>
                        <a:pt x="225" y="447"/>
                      </a:lnTo>
                      <a:lnTo>
                        <a:pt x="224" y="448"/>
                      </a:lnTo>
                      <a:lnTo>
                        <a:pt x="224" y="449"/>
                      </a:lnTo>
                      <a:lnTo>
                        <a:pt x="224" y="451"/>
                      </a:lnTo>
                      <a:lnTo>
                        <a:pt x="225" y="451"/>
                      </a:lnTo>
                      <a:lnTo>
                        <a:pt x="226" y="452"/>
                      </a:lnTo>
                      <a:lnTo>
                        <a:pt x="226" y="453"/>
                      </a:lnTo>
                      <a:lnTo>
                        <a:pt x="226" y="455"/>
                      </a:lnTo>
                      <a:lnTo>
                        <a:pt x="226" y="456"/>
                      </a:lnTo>
                      <a:lnTo>
                        <a:pt x="226" y="458"/>
                      </a:lnTo>
                      <a:lnTo>
                        <a:pt x="225" y="458"/>
                      </a:lnTo>
                      <a:lnTo>
                        <a:pt x="225" y="459"/>
                      </a:lnTo>
                      <a:lnTo>
                        <a:pt x="225" y="462"/>
                      </a:lnTo>
                      <a:lnTo>
                        <a:pt x="225" y="463"/>
                      </a:lnTo>
                      <a:lnTo>
                        <a:pt x="224" y="465"/>
                      </a:lnTo>
                      <a:lnTo>
                        <a:pt x="224" y="466"/>
                      </a:lnTo>
                      <a:lnTo>
                        <a:pt x="222" y="467"/>
                      </a:lnTo>
                      <a:lnTo>
                        <a:pt x="221" y="467"/>
                      </a:lnTo>
                      <a:lnTo>
                        <a:pt x="218" y="468"/>
                      </a:lnTo>
                      <a:lnTo>
                        <a:pt x="218" y="469"/>
                      </a:lnTo>
                      <a:lnTo>
                        <a:pt x="218" y="470"/>
                      </a:lnTo>
                      <a:lnTo>
                        <a:pt x="218" y="472"/>
                      </a:lnTo>
                      <a:lnTo>
                        <a:pt x="219" y="473"/>
                      </a:lnTo>
                      <a:lnTo>
                        <a:pt x="219" y="474"/>
                      </a:lnTo>
                      <a:lnTo>
                        <a:pt x="220" y="475"/>
                      </a:lnTo>
                      <a:lnTo>
                        <a:pt x="219" y="477"/>
                      </a:lnTo>
                      <a:lnTo>
                        <a:pt x="219" y="479"/>
                      </a:lnTo>
                      <a:lnTo>
                        <a:pt x="218" y="481"/>
                      </a:lnTo>
                      <a:lnTo>
                        <a:pt x="219" y="482"/>
                      </a:lnTo>
                      <a:lnTo>
                        <a:pt x="219" y="483"/>
                      </a:lnTo>
                      <a:lnTo>
                        <a:pt x="219" y="484"/>
                      </a:lnTo>
                      <a:lnTo>
                        <a:pt x="218" y="486"/>
                      </a:lnTo>
                      <a:lnTo>
                        <a:pt x="218" y="487"/>
                      </a:lnTo>
                      <a:lnTo>
                        <a:pt x="218" y="489"/>
                      </a:lnTo>
                      <a:lnTo>
                        <a:pt x="217" y="489"/>
                      </a:lnTo>
                      <a:lnTo>
                        <a:pt x="215" y="488"/>
                      </a:lnTo>
                      <a:lnTo>
                        <a:pt x="214" y="488"/>
                      </a:lnTo>
                      <a:lnTo>
                        <a:pt x="212" y="489"/>
                      </a:lnTo>
                      <a:lnTo>
                        <a:pt x="208" y="489"/>
                      </a:lnTo>
                      <a:lnTo>
                        <a:pt x="206" y="491"/>
                      </a:lnTo>
                      <a:lnTo>
                        <a:pt x="205" y="491"/>
                      </a:lnTo>
                      <a:lnTo>
                        <a:pt x="205" y="493"/>
                      </a:lnTo>
                      <a:lnTo>
                        <a:pt x="205" y="494"/>
                      </a:lnTo>
                      <a:lnTo>
                        <a:pt x="205" y="495"/>
                      </a:lnTo>
                      <a:lnTo>
                        <a:pt x="203" y="494"/>
                      </a:lnTo>
                      <a:lnTo>
                        <a:pt x="203" y="495"/>
                      </a:lnTo>
                      <a:lnTo>
                        <a:pt x="203" y="496"/>
                      </a:lnTo>
                      <a:lnTo>
                        <a:pt x="202" y="496"/>
                      </a:lnTo>
                      <a:lnTo>
                        <a:pt x="202" y="497"/>
                      </a:lnTo>
                      <a:lnTo>
                        <a:pt x="199" y="497"/>
                      </a:lnTo>
                      <a:lnTo>
                        <a:pt x="196" y="496"/>
                      </a:lnTo>
                      <a:lnTo>
                        <a:pt x="196" y="495"/>
                      </a:lnTo>
                      <a:lnTo>
                        <a:pt x="195" y="495"/>
                      </a:lnTo>
                      <a:lnTo>
                        <a:pt x="195" y="494"/>
                      </a:lnTo>
                      <a:lnTo>
                        <a:pt x="195" y="493"/>
                      </a:lnTo>
                      <a:lnTo>
                        <a:pt x="196" y="494"/>
                      </a:lnTo>
                      <a:lnTo>
                        <a:pt x="196" y="493"/>
                      </a:lnTo>
                      <a:lnTo>
                        <a:pt x="196" y="491"/>
                      </a:lnTo>
                      <a:lnTo>
                        <a:pt x="196" y="490"/>
                      </a:lnTo>
                      <a:lnTo>
                        <a:pt x="196" y="489"/>
                      </a:lnTo>
                      <a:lnTo>
                        <a:pt x="196" y="488"/>
                      </a:lnTo>
                      <a:lnTo>
                        <a:pt x="196" y="487"/>
                      </a:lnTo>
                      <a:lnTo>
                        <a:pt x="195" y="487"/>
                      </a:lnTo>
                      <a:lnTo>
                        <a:pt x="193" y="487"/>
                      </a:lnTo>
                      <a:lnTo>
                        <a:pt x="193" y="486"/>
                      </a:lnTo>
                      <a:lnTo>
                        <a:pt x="195" y="486"/>
                      </a:lnTo>
                      <a:lnTo>
                        <a:pt x="195" y="484"/>
                      </a:lnTo>
                      <a:lnTo>
                        <a:pt x="195" y="483"/>
                      </a:lnTo>
                      <a:lnTo>
                        <a:pt x="196" y="483"/>
                      </a:lnTo>
                      <a:lnTo>
                        <a:pt x="196" y="482"/>
                      </a:lnTo>
                      <a:lnTo>
                        <a:pt x="195" y="482"/>
                      </a:lnTo>
                      <a:lnTo>
                        <a:pt x="193" y="482"/>
                      </a:lnTo>
                      <a:lnTo>
                        <a:pt x="195" y="481"/>
                      </a:lnTo>
                      <a:lnTo>
                        <a:pt x="193" y="480"/>
                      </a:lnTo>
                      <a:lnTo>
                        <a:pt x="192" y="480"/>
                      </a:lnTo>
                      <a:lnTo>
                        <a:pt x="191" y="481"/>
                      </a:lnTo>
                      <a:lnTo>
                        <a:pt x="190" y="481"/>
                      </a:lnTo>
                      <a:lnTo>
                        <a:pt x="189" y="481"/>
                      </a:lnTo>
                      <a:lnTo>
                        <a:pt x="188" y="482"/>
                      </a:lnTo>
                      <a:lnTo>
                        <a:pt x="188" y="483"/>
                      </a:lnTo>
                      <a:lnTo>
                        <a:pt x="189" y="483"/>
                      </a:lnTo>
                      <a:lnTo>
                        <a:pt x="189" y="484"/>
                      </a:lnTo>
                      <a:lnTo>
                        <a:pt x="189" y="486"/>
                      </a:lnTo>
                      <a:lnTo>
                        <a:pt x="188" y="486"/>
                      </a:lnTo>
                      <a:lnTo>
                        <a:pt x="186" y="486"/>
                      </a:lnTo>
                      <a:lnTo>
                        <a:pt x="185" y="486"/>
                      </a:lnTo>
                      <a:lnTo>
                        <a:pt x="185" y="484"/>
                      </a:lnTo>
                      <a:lnTo>
                        <a:pt x="183" y="484"/>
                      </a:lnTo>
                      <a:lnTo>
                        <a:pt x="183" y="483"/>
                      </a:lnTo>
                      <a:lnTo>
                        <a:pt x="182" y="483"/>
                      </a:lnTo>
                      <a:lnTo>
                        <a:pt x="182" y="482"/>
                      </a:lnTo>
                      <a:lnTo>
                        <a:pt x="181" y="482"/>
                      </a:lnTo>
                      <a:lnTo>
                        <a:pt x="181" y="483"/>
                      </a:lnTo>
                      <a:lnTo>
                        <a:pt x="179" y="483"/>
                      </a:lnTo>
                      <a:lnTo>
                        <a:pt x="179" y="484"/>
                      </a:lnTo>
                      <a:lnTo>
                        <a:pt x="181" y="484"/>
                      </a:lnTo>
                      <a:lnTo>
                        <a:pt x="181" y="486"/>
                      </a:lnTo>
                      <a:lnTo>
                        <a:pt x="179" y="487"/>
                      </a:lnTo>
                      <a:lnTo>
                        <a:pt x="179" y="488"/>
                      </a:lnTo>
                      <a:lnTo>
                        <a:pt x="181" y="489"/>
                      </a:lnTo>
                      <a:lnTo>
                        <a:pt x="182" y="489"/>
                      </a:lnTo>
                      <a:lnTo>
                        <a:pt x="182" y="490"/>
                      </a:lnTo>
                      <a:lnTo>
                        <a:pt x="181" y="490"/>
                      </a:lnTo>
                      <a:lnTo>
                        <a:pt x="181" y="491"/>
                      </a:lnTo>
                      <a:lnTo>
                        <a:pt x="181" y="493"/>
                      </a:lnTo>
                      <a:lnTo>
                        <a:pt x="179" y="493"/>
                      </a:lnTo>
                      <a:lnTo>
                        <a:pt x="178" y="491"/>
                      </a:lnTo>
                      <a:lnTo>
                        <a:pt x="177" y="491"/>
                      </a:lnTo>
                      <a:lnTo>
                        <a:pt x="176" y="491"/>
                      </a:lnTo>
                      <a:lnTo>
                        <a:pt x="175" y="493"/>
                      </a:lnTo>
                      <a:lnTo>
                        <a:pt x="174" y="493"/>
                      </a:lnTo>
                      <a:lnTo>
                        <a:pt x="172" y="493"/>
                      </a:lnTo>
                      <a:lnTo>
                        <a:pt x="171" y="493"/>
                      </a:lnTo>
                      <a:lnTo>
                        <a:pt x="170" y="495"/>
                      </a:lnTo>
                      <a:lnTo>
                        <a:pt x="170" y="496"/>
                      </a:lnTo>
                      <a:lnTo>
                        <a:pt x="171" y="496"/>
                      </a:lnTo>
                      <a:lnTo>
                        <a:pt x="171" y="497"/>
                      </a:lnTo>
                      <a:lnTo>
                        <a:pt x="171" y="498"/>
                      </a:lnTo>
                      <a:lnTo>
                        <a:pt x="170" y="498"/>
                      </a:lnTo>
                      <a:lnTo>
                        <a:pt x="169" y="498"/>
                      </a:lnTo>
                      <a:lnTo>
                        <a:pt x="168" y="498"/>
                      </a:lnTo>
                      <a:lnTo>
                        <a:pt x="168" y="497"/>
                      </a:lnTo>
                      <a:lnTo>
                        <a:pt x="167" y="497"/>
                      </a:lnTo>
                      <a:lnTo>
                        <a:pt x="163" y="496"/>
                      </a:lnTo>
                      <a:lnTo>
                        <a:pt x="161" y="496"/>
                      </a:lnTo>
                      <a:lnTo>
                        <a:pt x="160" y="496"/>
                      </a:lnTo>
                      <a:lnTo>
                        <a:pt x="158" y="496"/>
                      </a:lnTo>
                      <a:lnTo>
                        <a:pt x="158" y="495"/>
                      </a:lnTo>
                      <a:lnTo>
                        <a:pt x="158" y="493"/>
                      </a:lnTo>
                      <a:lnTo>
                        <a:pt x="157" y="493"/>
                      </a:lnTo>
                      <a:lnTo>
                        <a:pt x="156" y="493"/>
                      </a:lnTo>
                      <a:lnTo>
                        <a:pt x="155" y="491"/>
                      </a:lnTo>
                      <a:lnTo>
                        <a:pt x="155" y="490"/>
                      </a:lnTo>
                      <a:lnTo>
                        <a:pt x="155" y="489"/>
                      </a:lnTo>
                      <a:lnTo>
                        <a:pt x="154" y="489"/>
                      </a:lnTo>
                      <a:lnTo>
                        <a:pt x="153" y="490"/>
                      </a:lnTo>
                      <a:lnTo>
                        <a:pt x="151" y="490"/>
                      </a:lnTo>
                      <a:lnTo>
                        <a:pt x="150" y="490"/>
                      </a:lnTo>
                      <a:lnTo>
                        <a:pt x="149" y="489"/>
                      </a:lnTo>
                      <a:lnTo>
                        <a:pt x="149" y="490"/>
                      </a:lnTo>
                      <a:lnTo>
                        <a:pt x="148" y="490"/>
                      </a:lnTo>
                      <a:lnTo>
                        <a:pt x="148" y="491"/>
                      </a:lnTo>
                      <a:lnTo>
                        <a:pt x="148" y="490"/>
                      </a:lnTo>
                      <a:lnTo>
                        <a:pt x="148" y="491"/>
                      </a:lnTo>
                      <a:lnTo>
                        <a:pt x="147" y="491"/>
                      </a:lnTo>
                      <a:lnTo>
                        <a:pt x="147" y="493"/>
                      </a:lnTo>
                      <a:lnTo>
                        <a:pt x="146" y="493"/>
                      </a:lnTo>
                      <a:lnTo>
                        <a:pt x="146" y="494"/>
                      </a:lnTo>
                      <a:lnTo>
                        <a:pt x="146" y="495"/>
                      </a:lnTo>
                      <a:lnTo>
                        <a:pt x="144" y="495"/>
                      </a:lnTo>
                      <a:lnTo>
                        <a:pt x="144" y="496"/>
                      </a:lnTo>
                      <a:lnTo>
                        <a:pt x="143" y="497"/>
                      </a:lnTo>
                      <a:lnTo>
                        <a:pt x="142" y="497"/>
                      </a:lnTo>
                      <a:lnTo>
                        <a:pt x="142" y="498"/>
                      </a:lnTo>
                      <a:lnTo>
                        <a:pt x="141" y="498"/>
                      </a:lnTo>
                      <a:lnTo>
                        <a:pt x="140" y="498"/>
                      </a:lnTo>
                      <a:lnTo>
                        <a:pt x="139" y="498"/>
                      </a:lnTo>
                      <a:lnTo>
                        <a:pt x="140" y="497"/>
                      </a:lnTo>
                      <a:lnTo>
                        <a:pt x="140" y="496"/>
                      </a:lnTo>
                      <a:lnTo>
                        <a:pt x="139" y="495"/>
                      </a:lnTo>
                      <a:lnTo>
                        <a:pt x="139" y="494"/>
                      </a:lnTo>
                      <a:lnTo>
                        <a:pt x="138" y="493"/>
                      </a:lnTo>
                      <a:lnTo>
                        <a:pt x="136" y="493"/>
                      </a:lnTo>
                      <a:lnTo>
                        <a:pt x="135" y="493"/>
                      </a:lnTo>
                      <a:lnTo>
                        <a:pt x="134" y="493"/>
                      </a:lnTo>
                      <a:lnTo>
                        <a:pt x="134" y="491"/>
                      </a:lnTo>
                      <a:lnTo>
                        <a:pt x="134" y="490"/>
                      </a:lnTo>
                      <a:lnTo>
                        <a:pt x="133" y="490"/>
                      </a:lnTo>
                      <a:lnTo>
                        <a:pt x="132" y="490"/>
                      </a:lnTo>
                      <a:lnTo>
                        <a:pt x="131" y="490"/>
                      </a:lnTo>
                      <a:lnTo>
                        <a:pt x="131" y="489"/>
                      </a:lnTo>
                      <a:lnTo>
                        <a:pt x="129" y="488"/>
                      </a:lnTo>
                      <a:lnTo>
                        <a:pt x="129" y="487"/>
                      </a:lnTo>
                      <a:lnTo>
                        <a:pt x="128" y="481"/>
                      </a:lnTo>
                      <a:lnTo>
                        <a:pt x="128" y="480"/>
                      </a:lnTo>
                      <a:lnTo>
                        <a:pt x="127" y="480"/>
                      </a:lnTo>
                      <a:lnTo>
                        <a:pt x="127" y="479"/>
                      </a:lnTo>
                      <a:lnTo>
                        <a:pt x="128" y="477"/>
                      </a:lnTo>
                      <a:lnTo>
                        <a:pt x="128" y="476"/>
                      </a:lnTo>
                      <a:lnTo>
                        <a:pt x="128" y="473"/>
                      </a:lnTo>
                      <a:lnTo>
                        <a:pt x="128" y="472"/>
                      </a:lnTo>
                      <a:lnTo>
                        <a:pt x="127" y="472"/>
                      </a:lnTo>
                      <a:lnTo>
                        <a:pt x="127" y="470"/>
                      </a:lnTo>
                      <a:lnTo>
                        <a:pt x="126" y="470"/>
                      </a:lnTo>
                      <a:lnTo>
                        <a:pt x="125" y="470"/>
                      </a:lnTo>
                      <a:lnTo>
                        <a:pt x="124" y="470"/>
                      </a:lnTo>
                      <a:lnTo>
                        <a:pt x="122" y="470"/>
                      </a:lnTo>
                      <a:lnTo>
                        <a:pt x="121" y="472"/>
                      </a:lnTo>
                      <a:lnTo>
                        <a:pt x="121" y="473"/>
                      </a:lnTo>
                      <a:lnTo>
                        <a:pt x="120" y="473"/>
                      </a:lnTo>
                      <a:lnTo>
                        <a:pt x="119" y="473"/>
                      </a:lnTo>
                      <a:lnTo>
                        <a:pt x="118" y="473"/>
                      </a:lnTo>
                      <a:lnTo>
                        <a:pt x="117" y="474"/>
                      </a:lnTo>
                      <a:lnTo>
                        <a:pt x="115" y="473"/>
                      </a:lnTo>
                      <a:lnTo>
                        <a:pt x="117" y="472"/>
                      </a:lnTo>
                      <a:lnTo>
                        <a:pt x="118" y="469"/>
                      </a:lnTo>
                      <a:lnTo>
                        <a:pt x="118" y="468"/>
                      </a:lnTo>
                      <a:lnTo>
                        <a:pt x="119" y="468"/>
                      </a:lnTo>
                      <a:lnTo>
                        <a:pt x="120" y="467"/>
                      </a:lnTo>
                      <a:lnTo>
                        <a:pt x="120" y="466"/>
                      </a:lnTo>
                      <a:lnTo>
                        <a:pt x="120" y="465"/>
                      </a:lnTo>
                      <a:lnTo>
                        <a:pt x="121" y="465"/>
                      </a:lnTo>
                      <a:lnTo>
                        <a:pt x="122" y="465"/>
                      </a:lnTo>
                      <a:lnTo>
                        <a:pt x="122" y="463"/>
                      </a:lnTo>
                      <a:lnTo>
                        <a:pt x="122" y="462"/>
                      </a:lnTo>
                      <a:lnTo>
                        <a:pt x="124" y="463"/>
                      </a:lnTo>
                      <a:lnTo>
                        <a:pt x="125" y="463"/>
                      </a:lnTo>
                      <a:lnTo>
                        <a:pt x="126" y="463"/>
                      </a:lnTo>
                      <a:lnTo>
                        <a:pt x="126" y="462"/>
                      </a:lnTo>
                      <a:lnTo>
                        <a:pt x="126" y="461"/>
                      </a:lnTo>
                      <a:lnTo>
                        <a:pt x="125" y="461"/>
                      </a:lnTo>
                      <a:lnTo>
                        <a:pt x="125" y="460"/>
                      </a:lnTo>
                      <a:lnTo>
                        <a:pt x="126" y="460"/>
                      </a:lnTo>
                      <a:lnTo>
                        <a:pt x="125" y="460"/>
                      </a:lnTo>
                      <a:lnTo>
                        <a:pt x="125" y="459"/>
                      </a:lnTo>
                      <a:lnTo>
                        <a:pt x="122" y="459"/>
                      </a:lnTo>
                      <a:lnTo>
                        <a:pt x="121" y="459"/>
                      </a:lnTo>
                      <a:lnTo>
                        <a:pt x="121" y="458"/>
                      </a:lnTo>
                      <a:lnTo>
                        <a:pt x="120" y="458"/>
                      </a:lnTo>
                      <a:lnTo>
                        <a:pt x="120" y="456"/>
                      </a:lnTo>
                      <a:lnTo>
                        <a:pt x="119" y="456"/>
                      </a:lnTo>
                      <a:lnTo>
                        <a:pt x="117" y="456"/>
                      </a:lnTo>
                      <a:lnTo>
                        <a:pt x="117" y="455"/>
                      </a:lnTo>
                      <a:lnTo>
                        <a:pt x="115" y="454"/>
                      </a:lnTo>
                      <a:lnTo>
                        <a:pt x="115" y="452"/>
                      </a:lnTo>
                      <a:lnTo>
                        <a:pt x="114" y="451"/>
                      </a:lnTo>
                      <a:lnTo>
                        <a:pt x="114" y="452"/>
                      </a:lnTo>
                      <a:lnTo>
                        <a:pt x="113" y="452"/>
                      </a:lnTo>
                      <a:lnTo>
                        <a:pt x="112" y="452"/>
                      </a:lnTo>
                      <a:lnTo>
                        <a:pt x="112" y="451"/>
                      </a:lnTo>
                      <a:lnTo>
                        <a:pt x="111" y="451"/>
                      </a:lnTo>
                      <a:lnTo>
                        <a:pt x="112" y="442"/>
                      </a:lnTo>
                      <a:lnTo>
                        <a:pt x="112" y="441"/>
                      </a:lnTo>
                      <a:lnTo>
                        <a:pt x="112" y="440"/>
                      </a:lnTo>
                      <a:lnTo>
                        <a:pt x="112" y="439"/>
                      </a:lnTo>
                      <a:lnTo>
                        <a:pt x="111" y="439"/>
                      </a:lnTo>
                      <a:lnTo>
                        <a:pt x="110" y="439"/>
                      </a:lnTo>
                      <a:lnTo>
                        <a:pt x="108" y="439"/>
                      </a:lnTo>
                      <a:lnTo>
                        <a:pt x="108" y="438"/>
                      </a:lnTo>
                      <a:lnTo>
                        <a:pt x="108" y="437"/>
                      </a:lnTo>
                      <a:lnTo>
                        <a:pt x="108" y="435"/>
                      </a:lnTo>
                      <a:lnTo>
                        <a:pt x="108" y="434"/>
                      </a:lnTo>
                      <a:lnTo>
                        <a:pt x="107" y="433"/>
                      </a:lnTo>
                      <a:lnTo>
                        <a:pt x="107" y="434"/>
                      </a:lnTo>
                      <a:lnTo>
                        <a:pt x="106" y="434"/>
                      </a:lnTo>
                      <a:lnTo>
                        <a:pt x="106" y="433"/>
                      </a:lnTo>
                      <a:lnTo>
                        <a:pt x="106" y="432"/>
                      </a:lnTo>
                      <a:lnTo>
                        <a:pt x="106" y="431"/>
                      </a:lnTo>
                      <a:lnTo>
                        <a:pt x="106" y="430"/>
                      </a:lnTo>
                      <a:lnTo>
                        <a:pt x="106" y="428"/>
                      </a:lnTo>
                      <a:lnTo>
                        <a:pt x="106" y="427"/>
                      </a:lnTo>
                      <a:lnTo>
                        <a:pt x="105" y="427"/>
                      </a:lnTo>
                      <a:lnTo>
                        <a:pt x="100" y="425"/>
                      </a:lnTo>
                      <a:lnTo>
                        <a:pt x="99" y="425"/>
                      </a:lnTo>
                      <a:lnTo>
                        <a:pt x="97" y="424"/>
                      </a:lnTo>
                      <a:lnTo>
                        <a:pt x="96" y="425"/>
                      </a:lnTo>
                      <a:lnTo>
                        <a:pt x="96" y="424"/>
                      </a:lnTo>
                      <a:lnTo>
                        <a:pt x="94" y="424"/>
                      </a:lnTo>
                      <a:lnTo>
                        <a:pt x="94" y="425"/>
                      </a:lnTo>
                      <a:lnTo>
                        <a:pt x="93" y="425"/>
                      </a:lnTo>
                      <a:lnTo>
                        <a:pt x="92" y="425"/>
                      </a:lnTo>
                      <a:lnTo>
                        <a:pt x="92" y="426"/>
                      </a:lnTo>
                      <a:lnTo>
                        <a:pt x="93" y="426"/>
                      </a:lnTo>
                      <a:lnTo>
                        <a:pt x="93" y="427"/>
                      </a:lnTo>
                      <a:lnTo>
                        <a:pt x="94" y="427"/>
                      </a:lnTo>
                      <a:lnTo>
                        <a:pt x="94" y="428"/>
                      </a:lnTo>
                      <a:lnTo>
                        <a:pt x="96" y="428"/>
                      </a:lnTo>
                      <a:lnTo>
                        <a:pt x="96" y="430"/>
                      </a:lnTo>
                      <a:lnTo>
                        <a:pt x="94" y="430"/>
                      </a:lnTo>
                      <a:lnTo>
                        <a:pt x="94" y="431"/>
                      </a:lnTo>
                      <a:lnTo>
                        <a:pt x="94" y="432"/>
                      </a:lnTo>
                      <a:lnTo>
                        <a:pt x="92" y="432"/>
                      </a:lnTo>
                      <a:lnTo>
                        <a:pt x="91" y="432"/>
                      </a:lnTo>
                      <a:lnTo>
                        <a:pt x="90" y="432"/>
                      </a:lnTo>
                      <a:lnTo>
                        <a:pt x="90" y="433"/>
                      </a:lnTo>
                      <a:lnTo>
                        <a:pt x="89" y="433"/>
                      </a:lnTo>
                      <a:lnTo>
                        <a:pt x="85" y="434"/>
                      </a:lnTo>
                      <a:lnTo>
                        <a:pt x="84" y="435"/>
                      </a:lnTo>
                      <a:lnTo>
                        <a:pt x="84" y="437"/>
                      </a:lnTo>
                      <a:lnTo>
                        <a:pt x="84" y="438"/>
                      </a:lnTo>
                      <a:lnTo>
                        <a:pt x="83" y="439"/>
                      </a:lnTo>
                      <a:lnTo>
                        <a:pt x="80" y="439"/>
                      </a:lnTo>
                      <a:lnTo>
                        <a:pt x="79" y="439"/>
                      </a:lnTo>
                      <a:lnTo>
                        <a:pt x="78" y="439"/>
                      </a:lnTo>
                      <a:lnTo>
                        <a:pt x="77" y="439"/>
                      </a:lnTo>
                      <a:lnTo>
                        <a:pt x="76" y="438"/>
                      </a:lnTo>
                      <a:lnTo>
                        <a:pt x="75" y="438"/>
                      </a:lnTo>
                      <a:lnTo>
                        <a:pt x="74" y="437"/>
                      </a:lnTo>
                      <a:lnTo>
                        <a:pt x="72" y="437"/>
                      </a:lnTo>
                      <a:lnTo>
                        <a:pt x="72" y="435"/>
                      </a:lnTo>
                      <a:lnTo>
                        <a:pt x="71" y="435"/>
                      </a:lnTo>
                      <a:lnTo>
                        <a:pt x="70" y="435"/>
                      </a:lnTo>
                      <a:lnTo>
                        <a:pt x="70" y="434"/>
                      </a:lnTo>
                      <a:lnTo>
                        <a:pt x="69" y="434"/>
                      </a:lnTo>
                      <a:lnTo>
                        <a:pt x="68" y="434"/>
                      </a:lnTo>
                      <a:lnTo>
                        <a:pt x="67" y="434"/>
                      </a:lnTo>
                      <a:lnTo>
                        <a:pt x="65" y="434"/>
                      </a:lnTo>
                      <a:lnTo>
                        <a:pt x="65" y="433"/>
                      </a:lnTo>
                      <a:lnTo>
                        <a:pt x="64" y="434"/>
                      </a:lnTo>
                      <a:lnTo>
                        <a:pt x="63" y="434"/>
                      </a:lnTo>
                      <a:lnTo>
                        <a:pt x="62" y="434"/>
                      </a:lnTo>
                      <a:lnTo>
                        <a:pt x="63" y="435"/>
                      </a:lnTo>
                      <a:lnTo>
                        <a:pt x="62" y="435"/>
                      </a:lnTo>
                      <a:lnTo>
                        <a:pt x="62" y="434"/>
                      </a:lnTo>
                      <a:lnTo>
                        <a:pt x="61" y="435"/>
                      </a:lnTo>
                      <a:lnTo>
                        <a:pt x="60" y="435"/>
                      </a:lnTo>
                      <a:lnTo>
                        <a:pt x="60" y="437"/>
                      </a:lnTo>
                      <a:lnTo>
                        <a:pt x="58" y="437"/>
                      </a:lnTo>
                      <a:lnTo>
                        <a:pt x="57" y="437"/>
                      </a:lnTo>
                      <a:lnTo>
                        <a:pt x="57" y="438"/>
                      </a:lnTo>
                      <a:lnTo>
                        <a:pt x="57" y="439"/>
                      </a:lnTo>
                      <a:lnTo>
                        <a:pt x="56" y="440"/>
                      </a:lnTo>
                      <a:lnTo>
                        <a:pt x="56" y="441"/>
                      </a:lnTo>
                      <a:lnTo>
                        <a:pt x="55" y="441"/>
                      </a:lnTo>
                      <a:lnTo>
                        <a:pt x="54" y="441"/>
                      </a:lnTo>
                      <a:lnTo>
                        <a:pt x="54" y="442"/>
                      </a:lnTo>
                      <a:lnTo>
                        <a:pt x="54" y="444"/>
                      </a:lnTo>
                      <a:lnTo>
                        <a:pt x="53" y="444"/>
                      </a:lnTo>
                      <a:lnTo>
                        <a:pt x="53" y="445"/>
                      </a:lnTo>
                      <a:lnTo>
                        <a:pt x="51" y="445"/>
                      </a:lnTo>
                      <a:lnTo>
                        <a:pt x="50" y="444"/>
                      </a:lnTo>
                      <a:lnTo>
                        <a:pt x="49" y="441"/>
                      </a:lnTo>
                      <a:lnTo>
                        <a:pt x="48" y="440"/>
                      </a:lnTo>
                      <a:lnTo>
                        <a:pt x="48" y="439"/>
                      </a:lnTo>
                      <a:lnTo>
                        <a:pt x="48" y="438"/>
                      </a:lnTo>
                      <a:lnTo>
                        <a:pt x="47" y="437"/>
                      </a:lnTo>
                      <a:lnTo>
                        <a:pt x="46" y="437"/>
                      </a:lnTo>
                      <a:lnTo>
                        <a:pt x="44" y="434"/>
                      </a:lnTo>
                      <a:lnTo>
                        <a:pt x="43" y="434"/>
                      </a:lnTo>
                      <a:lnTo>
                        <a:pt x="41" y="434"/>
                      </a:lnTo>
                      <a:lnTo>
                        <a:pt x="40" y="434"/>
                      </a:lnTo>
                      <a:lnTo>
                        <a:pt x="40" y="437"/>
                      </a:lnTo>
                      <a:lnTo>
                        <a:pt x="39" y="438"/>
                      </a:lnTo>
                      <a:lnTo>
                        <a:pt x="37" y="438"/>
                      </a:lnTo>
                      <a:lnTo>
                        <a:pt x="37" y="439"/>
                      </a:lnTo>
                      <a:lnTo>
                        <a:pt x="36" y="439"/>
                      </a:lnTo>
                      <a:lnTo>
                        <a:pt x="36" y="440"/>
                      </a:lnTo>
                      <a:lnTo>
                        <a:pt x="35" y="441"/>
                      </a:lnTo>
                      <a:lnTo>
                        <a:pt x="34" y="441"/>
                      </a:lnTo>
                      <a:lnTo>
                        <a:pt x="33" y="441"/>
                      </a:lnTo>
                      <a:lnTo>
                        <a:pt x="32" y="441"/>
                      </a:lnTo>
                      <a:lnTo>
                        <a:pt x="32" y="440"/>
                      </a:lnTo>
                      <a:lnTo>
                        <a:pt x="30" y="440"/>
                      </a:lnTo>
                      <a:lnTo>
                        <a:pt x="29" y="438"/>
                      </a:lnTo>
                      <a:lnTo>
                        <a:pt x="27" y="437"/>
                      </a:lnTo>
                      <a:lnTo>
                        <a:pt x="26" y="437"/>
                      </a:lnTo>
                      <a:lnTo>
                        <a:pt x="26" y="435"/>
                      </a:lnTo>
                      <a:lnTo>
                        <a:pt x="26" y="434"/>
                      </a:lnTo>
                      <a:lnTo>
                        <a:pt x="27" y="433"/>
                      </a:lnTo>
                      <a:lnTo>
                        <a:pt x="28" y="432"/>
                      </a:lnTo>
                      <a:lnTo>
                        <a:pt x="28" y="431"/>
                      </a:lnTo>
                      <a:lnTo>
                        <a:pt x="27" y="430"/>
                      </a:lnTo>
                      <a:lnTo>
                        <a:pt x="28" y="428"/>
                      </a:lnTo>
                      <a:lnTo>
                        <a:pt x="29" y="428"/>
                      </a:lnTo>
                      <a:lnTo>
                        <a:pt x="29" y="427"/>
                      </a:lnTo>
                      <a:lnTo>
                        <a:pt x="29" y="426"/>
                      </a:lnTo>
                      <a:lnTo>
                        <a:pt x="29" y="425"/>
                      </a:lnTo>
                      <a:lnTo>
                        <a:pt x="29" y="426"/>
                      </a:lnTo>
                      <a:lnTo>
                        <a:pt x="29" y="425"/>
                      </a:lnTo>
                      <a:lnTo>
                        <a:pt x="28" y="425"/>
                      </a:lnTo>
                      <a:lnTo>
                        <a:pt x="28" y="424"/>
                      </a:lnTo>
                      <a:lnTo>
                        <a:pt x="28" y="425"/>
                      </a:lnTo>
                      <a:lnTo>
                        <a:pt x="27" y="424"/>
                      </a:lnTo>
                      <a:lnTo>
                        <a:pt x="28" y="423"/>
                      </a:lnTo>
                      <a:lnTo>
                        <a:pt x="28" y="421"/>
                      </a:lnTo>
                      <a:lnTo>
                        <a:pt x="28" y="420"/>
                      </a:lnTo>
                      <a:lnTo>
                        <a:pt x="27" y="420"/>
                      </a:lnTo>
                      <a:lnTo>
                        <a:pt x="27" y="419"/>
                      </a:lnTo>
                      <a:lnTo>
                        <a:pt x="28" y="418"/>
                      </a:lnTo>
                      <a:lnTo>
                        <a:pt x="29" y="418"/>
                      </a:lnTo>
                      <a:lnTo>
                        <a:pt x="28" y="417"/>
                      </a:lnTo>
                      <a:lnTo>
                        <a:pt x="28" y="416"/>
                      </a:lnTo>
                      <a:lnTo>
                        <a:pt x="28" y="414"/>
                      </a:lnTo>
                      <a:lnTo>
                        <a:pt x="28" y="413"/>
                      </a:lnTo>
                      <a:lnTo>
                        <a:pt x="28" y="412"/>
                      </a:lnTo>
                      <a:lnTo>
                        <a:pt x="28" y="411"/>
                      </a:lnTo>
                      <a:lnTo>
                        <a:pt x="29" y="411"/>
                      </a:lnTo>
                      <a:lnTo>
                        <a:pt x="29" y="410"/>
                      </a:lnTo>
                      <a:lnTo>
                        <a:pt x="28" y="409"/>
                      </a:lnTo>
                      <a:lnTo>
                        <a:pt x="28" y="410"/>
                      </a:lnTo>
                      <a:lnTo>
                        <a:pt x="27" y="410"/>
                      </a:lnTo>
                      <a:lnTo>
                        <a:pt x="28" y="410"/>
                      </a:lnTo>
                      <a:lnTo>
                        <a:pt x="28" y="409"/>
                      </a:lnTo>
                      <a:lnTo>
                        <a:pt x="27" y="409"/>
                      </a:lnTo>
                      <a:lnTo>
                        <a:pt x="27" y="407"/>
                      </a:lnTo>
                      <a:lnTo>
                        <a:pt x="27" y="406"/>
                      </a:lnTo>
                      <a:lnTo>
                        <a:pt x="26" y="406"/>
                      </a:lnTo>
                      <a:lnTo>
                        <a:pt x="26" y="405"/>
                      </a:lnTo>
                      <a:lnTo>
                        <a:pt x="25" y="405"/>
                      </a:lnTo>
                      <a:lnTo>
                        <a:pt x="25" y="404"/>
                      </a:lnTo>
                      <a:lnTo>
                        <a:pt x="23" y="403"/>
                      </a:lnTo>
                      <a:lnTo>
                        <a:pt x="23" y="402"/>
                      </a:lnTo>
                      <a:lnTo>
                        <a:pt x="23" y="400"/>
                      </a:lnTo>
                      <a:lnTo>
                        <a:pt x="22" y="399"/>
                      </a:lnTo>
                      <a:lnTo>
                        <a:pt x="22" y="398"/>
                      </a:lnTo>
                      <a:lnTo>
                        <a:pt x="21" y="398"/>
                      </a:lnTo>
                      <a:lnTo>
                        <a:pt x="21" y="397"/>
                      </a:lnTo>
                      <a:lnTo>
                        <a:pt x="20" y="396"/>
                      </a:lnTo>
                      <a:lnTo>
                        <a:pt x="19" y="397"/>
                      </a:lnTo>
                      <a:lnTo>
                        <a:pt x="19" y="396"/>
                      </a:lnTo>
                      <a:lnTo>
                        <a:pt x="18" y="396"/>
                      </a:lnTo>
                      <a:lnTo>
                        <a:pt x="16" y="397"/>
                      </a:lnTo>
                      <a:lnTo>
                        <a:pt x="16" y="398"/>
                      </a:lnTo>
                      <a:lnTo>
                        <a:pt x="15" y="399"/>
                      </a:lnTo>
                      <a:lnTo>
                        <a:pt x="14" y="398"/>
                      </a:lnTo>
                      <a:lnTo>
                        <a:pt x="14" y="397"/>
                      </a:lnTo>
                      <a:lnTo>
                        <a:pt x="13" y="397"/>
                      </a:lnTo>
                      <a:lnTo>
                        <a:pt x="13" y="395"/>
                      </a:lnTo>
                      <a:lnTo>
                        <a:pt x="13" y="393"/>
                      </a:lnTo>
                      <a:lnTo>
                        <a:pt x="12" y="393"/>
                      </a:lnTo>
                      <a:lnTo>
                        <a:pt x="12" y="392"/>
                      </a:lnTo>
                      <a:lnTo>
                        <a:pt x="11" y="392"/>
                      </a:lnTo>
                      <a:lnTo>
                        <a:pt x="10" y="391"/>
                      </a:lnTo>
                      <a:lnTo>
                        <a:pt x="8" y="391"/>
                      </a:lnTo>
                      <a:lnTo>
                        <a:pt x="8" y="390"/>
                      </a:lnTo>
                      <a:lnTo>
                        <a:pt x="7" y="389"/>
                      </a:lnTo>
                      <a:lnTo>
                        <a:pt x="7" y="388"/>
                      </a:lnTo>
                      <a:lnTo>
                        <a:pt x="6" y="386"/>
                      </a:lnTo>
                      <a:lnTo>
                        <a:pt x="8" y="384"/>
                      </a:lnTo>
                      <a:lnTo>
                        <a:pt x="10" y="383"/>
                      </a:lnTo>
                      <a:lnTo>
                        <a:pt x="11" y="382"/>
                      </a:lnTo>
                      <a:lnTo>
                        <a:pt x="11" y="381"/>
                      </a:lnTo>
                      <a:lnTo>
                        <a:pt x="11" y="379"/>
                      </a:lnTo>
                      <a:lnTo>
                        <a:pt x="10" y="378"/>
                      </a:lnTo>
                      <a:lnTo>
                        <a:pt x="8" y="378"/>
                      </a:lnTo>
                      <a:lnTo>
                        <a:pt x="8" y="377"/>
                      </a:lnTo>
                      <a:lnTo>
                        <a:pt x="8" y="376"/>
                      </a:lnTo>
                      <a:lnTo>
                        <a:pt x="8" y="372"/>
                      </a:lnTo>
                      <a:lnTo>
                        <a:pt x="10" y="371"/>
                      </a:lnTo>
                      <a:lnTo>
                        <a:pt x="8" y="368"/>
                      </a:lnTo>
                      <a:lnTo>
                        <a:pt x="7" y="368"/>
                      </a:lnTo>
                      <a:lnTo>
                        <a:pt x="6" y="367"/>
                      </a:lnTo>
                      <a:lnTo>
                        <a:pt x="5" y="367"/>
                      </a:lnTo>
                      <a:lnTo>
                        <a:pt x="5" y="365"/>
                      </a:lnTo>
                      <a:lnTo>
                        <a:pt x="5" y="364"/>
                      </a:lnTo>
                      <a:lnTo>
                        <a:pt x="3" y="364"/>
                      </a:lnTo>
                      <a:lnTo>
                        <a:pt x="1" y="364"/>
                      </a:lnTo>
                      <a:lnTo>
                        <a:pt x="1" y="362"/>
                      </a:lnTo>
                      <a:lnTo>
                        <a:pt x="1" y="360"/>
                      </a:lnTo>
                      <a:lnTo>
                        <a:pt x="1" y="358"/>
                      </a:lnTo>
                      <a:lnTo>
                        <a:pt x="3" y="358"/>
                      </a:lnTo>
                      <a:lnTo>
                        <a:pt x="3" y="357"/>
                      </a:lnTo>
                      <a:lnTo>
                        <a:pt x="4" y="356"/>
                      </a:lnTo>
                      <a:lnTo>
                        <a:pt x="4" y="355"/>
                      </a:lnTo>
                      <a:lnTo>
                        <a:pt x="3" y="355"/>
                      </a:lnTo>
                      <a:lnTo>
                        <a:pt x="3" y="354"/>
                      </a:lnTo>
                      <a:lnTo>
                        <a:pt x="1" y="354"/>
                      </a:lnTo>
                      <a:lnTo>
                        <a:pt x="1" y="353"/>
                      </a:lnTo>
                      <a:lnTo>
                        <a:pt x="0" y="353"/>
                      </a:lnTo>
                      <a:lnTo>
                        <a:pt x="0" y="351"/>
                      </a:lnTo>
                      <a:lnTo>
                        <a:pt x="1" y="351"/>
                      </a:lnTo>
                      <a:lnTo>
                        <a:pt x="3" y="351"/>
                      </a:lnTo>
                      <a:lnTo>
                        <a:pt x="4" y="351"/>
                      </a:lnTo>
                      <a:lnTo>
                        <a:pt x="4" y="350"/>
                      </a:lnTo>
                      <a:lnTo>
                        <a:pt x="5" y="351"/>
                      </a:lnTo>
                      <a:lnTo>
                        <a:pt x="6" y="353"/>
                      </a:lnTo>
                      <a:lnTo>
                        <a:pt x="7" y="351"/>
                      </a:lnTo>
                      <a:lnTo>
                        <a:pt x="8" y="351"/>
                      </a:lnTo>
                      <a:lnTo>
                        <a:pt x="10" y="350"/>
                      </a:lnTo>
                      <a:lnTo>
                        <a:pt x="11" y="350"/>
                      </a:lnTo>
                      <a:lnTo>
                        <a:pt x="11" y="349"/>
                      </a:lnTo>
                      <a:lnTo>
                        <a:pt x="12" y="349"/>
                      </a:lnTo>
                      <a:lnTo>
                        <a:pt x="13" y="349"/>
                      </a:lnTo>
                      <a:lnTo>
                        <a:pt x="13" y="348"/>
                      </a:lnTo>
                      <a:lnTo>
                        <a:pt x="13" y="347"/>
                      </a:lnTo>
                      <a:lnTo>
                        <a:pt x="14" y="347"/>
                      </a:lnTo>
                      <a:lnTo>
                        <a:pt x="14" y="346"/>
                      </a:lnTo>
                      <a:lnTo>
                        <a:pt x="14" y="344"/>
                      </a:lnTo>
                      <a:lnTo>
                        <a:pt x="14" y="343"/>
                      </a:lnTo>
                      <a:lnTo>
                        <a:pt x="14" y="342"/>
                      </a:lnTo>
                      <a:lnTo>
                        <a:pt x="13" y="342"/>
                      </a:lnTo>
                      <a:lnTo>
                        <a:pt x="13" y="341"/>
                      </a:lnTo>
                      <a:lnTo>
                        <a:pt x="13" y="340"/>
                      </a:lnTo>
                      <a:lnTo>
                        <a:pt x="13" y="339"/>
                      </a:lnTo>
                      <a:lnTo>
                        <a:pt x="13" y="337"/>
                      </a:lnTo>
                      <a:lnTo>
                        <a:pt x="14" y="336"/>
                      </a:lnTo>
                      <a:lnTo>
                        <a:pt x="14" y="334"/>
                      </a:lnTo>
                      <a:lnTo>
                        <a:pt x="15" y="332"/>
                      </a:lnTo>
                      <a:lnTo>
                        <a:pt x="15" y="329"/>
                      </a:lnTo>
                      <a:lnTo>
                        <a:pt x="16" y="328"/>
                      </a:lnTo>
                      <a:lnTo>
                        <a:pt x="16" y="327"/>
                      </a:lnTo>
                      <a:lnTo>
                        <a:pt x="16" y="326"/>
                      </a:lnTo>
                      <a:lnTo>
                        <a:pt x="18" y="326"/>
                      </a:lnTo>
                      <a:lnTo>
                        <a:pt x="19" y="326"/>
                      </a:lnTo>
                      <a:lnTo>
                        <a:pt x="20" y="326"/>
                      </a:lnTo>
                      <a:lnTo>
                        <a:pt x="21" y="325"/>
                      </a:lnTo>
                      <a:lnTo>
                        <a:pt x="22" y="323"/>
                      </a:lnTo>
                      <a:lnTo>
                        <a:pt x="23" y="323"/>
                      </a:lnTo>
                      <a:lnTo>
                        <a:pt x="23" y="322"/>
                      </a:lnTo>
                      <a:lnTo>
                        <a:pt x="26" y="322"/>
                      </a:lnTo>
                      <a:lnTo>
                        <a:pt x="27" y="323"/>
                      </a:lnTo>
                      <a:lnTo>
                        <a:pt x="30" y="328"/>
                      </a:lnTo>
                      <a:lnTo>
                        <a:pt x="39" y="334"/>
                      </a:lnTo>
                      <a:lnTo>
                        <a:pt x="40" y="335"/>
                      </a:lnTo>
                      <a:lnTo>
                        <a:pt x="41" y="337"/>
                      </a:lnTo>
                      <a:lnTo>
                        <a:pt x="42" y="337"/>
                      </a:lnTo>
                      <a:lnTo>
                        <a:pt x="43" y="340"/>
                      </a:lnTo>
                      <a:lnTo>
                        <a:pt x="43" y="339"/>
                      </a:lnTo>
                      <a:lnTo>
                        <a:pt x="43" y="337"/>
                      </a:lnTo>
                      <a:lnTo>
                        <a:pt x="44" y="336"/>
                      </a:lnTo>
                      <a:lnTo>
                        <a:pt x="46" y="335"/>
                      </a:lnTo>
                      <a:lnTo>
                        <a:pt x="46" y="334"/>
                      </a:lnTo>
                      <a:lnTo>
                        <a:pt x="47" y="333"/>
                      </a:lnTo>
                      <a:lnTo>
                        <a:pt x="48" y="333"/>
                      </a:lnTo>
                      <a:lnTo>
                        <a:pt x="48" y="332"/>
                      </a:lnTo>
                      <a:lnTo>
                        <a:pt x="48" y="330"/>
                      </a:lnTo>
                      <a:lnTo>
                        <a:pt x="48" y="329"/>
                      </a:lnTo>
                      <a:lnTo>
                        <a:pt x="49" y="329"/>
                      </a:lnTo>
                      <a:lnTo>
                        <a:pt x="49" y="328"/>
                      </a:lnTo>
                      <a:lnTo>
                        <a:pt x="51" y="329"/>
                      </a:lnTo>
                      <a:lnTo>
                        <a:pt x="53" y="329"/>
                      </a:lnTo>
                      <a:lnTo>
                        <a:pt x="54" y="329"/>
                      </a:lnTo>
                      <a:lnTo>
                        <a:pt x="55" y="328"/>
                      </a:lnTo>
                      <a:lnTo>
                        <a:pt x="56" y="328"/>
                      </a:lnTo>
                      <a:lnTo>
                        <a:pt x="60" y="328"/>
                      </a:lnTo>
                      <a:lnTo>
                        <a:pt x="61" y="328"/>
                      </a:lnTo>
                      <a:lnTo>
                        <a:pt x="62" y="328"/>
                      </a:lnTo>
                      <a:lnTo>
                        <a:pt x="65" y="329"/>
                      </a:lnTo>
                      <a:lnTo>
                        <a:pt x="67" y="329"/>
                      </a:lnTo>
                      <a:lnTo>
                        <a:pt x="68" y="330"/>
                      </a:lnTo>
                      <a:lnTo>
                        <a:pt x="69" y="330"/>
                      </a:lnTo>
                      <a:lnTo>
                        <a:pt x="70" y="330"/>
                      </a:lnTo>
                      <a:lnTo>
                        <a:pt x="74" y="330"/>
                      </a:lnTo>
                      <a:lnTo>
                        <a:pt x="77" y="330"/>
                      </a:lnTo>
                      <a:lnTo>
                        <a:pt x="78" y="330"/>
                      </a:lnTo>
                      <a:lnTo>
                        <a:pt x="80" y="329"/>
                      </a:lnTo>
                      <a:lnTo>
                        <a:pt x="80" y="328"/>
                      </a:lnTo>
                      <a:lnTo>
                        <a:pt x="83" y="328"/>
                      </a:lnTo>
                      <a:lnTo>
                        <a:pt x="90" y="328"/>
                      </a:lnTo>
                      <a:lnTo>
                        <a:pt x="90" y="326"/>
                      </a:lnTo>
                      <a:lnTo>
                        <a:pt x="90" y="323"/>
                      </a:lnTo>
                      <a:lnTo>
                        <a:pt x="90" y="322"/>
                      </a:lnTo>
                      <a:lnTo>
                        <a:pt x="92" y="320"/>
                      </a:lnTo>
                      <a:lnTo>
                        <a:pt x="92" y="319"/>
                      </a:lnTo>
                      <a:lnTo>
                        <a:pt x="93" y="320"/>
                      </a:lnTo>
                      <a:lnTo>
                        <a:pt x="93" y="321"/>
                      </a:lnTo>
                      <a:lnTo>
                        <a:pt x="93" y="322"/>
                      </a:lnTo>
                      <a:lnTo>
                        <a:pt x="92" y="326"/>
                      </a:lnTo>
                      <a:lnTo>
                        <a:pt x="98" y="326"/>
                      </a:lnTo>
                      <a:lnTo>
                        <a:pt x="99" y="326"/>
                      </a:lnTo>
                      <a:lnTo>
                        <a:pt x="104" y="326"/>
                      </a:lnTo>
                      <a:lnTo>
                        <a:pt x="106" y="326"/>
                      </a:lnTo>
                      <a:lnTo>
                        <a:pt x="108" y="326"/>
                      </a:lnTo>
                      <a:lnTo>
                        <a:pt x="111" y="326"/>
                      </a:lnTo>
                      <a:lnTo>
                        <a:pt x="114" y="326"/>
                      </a:lnTo>
                      <a:lnTo>
                        <a:pt x="117" y="326"/>
                      </a:lnTo>
                      <a:lnTo>
                        <a:pt x="121" y="326"/>
                      </a:lnTo>
                      <a:lnTo>
                        <a:pt x="125" y="326"/>
                      </a:lnTo>
                      <a:lnTo>
                        <a:pt x="131" y="326"/>
                      </a:lnTo>
                      <a:lnTo>
                        <a:pt x="135" y="326"/>
                      </a:lnTo>
                      <a:lnTo>
                        <a:pt x="140" y="325"/>
                      </a:lnTo>
                      <a:lnTo>
                        <a:pt x="146" y="325"/>
                      </a:lnTo>
                      <a:lnTo>
                        <a:pt x="151" y="325"/>
                      </a:lnTo>
                      <a:lnTo>
                        <a:pt x="156" y="325"/>
                      </a:lnTo>
                      <a:lnTo>
                        <a:pt x="162" y="325"/>
                      </a:lnTo>
                      <a:lnTo>
                        <a:pt x="168" y="325"/>
                      </a:lnTo>
                      <a:lnTo>
                        <a:pt x="172" y="325"/>
                      </a:lnTo>
                      <a:lnTo>
                        <a:pt x="178" y="325"/>
                      </a:lnTo>
                      <a:lnTo>
                        <a:pt x="183" y="325"/>
                      </a:lnTo>
                      <a:lnTo>
                        <a:pt x="188" y="325"/>
                      </a:lnTo>
                      <a:lnTo>
                        <a:pt x="189" y="325"/>
                      </a:lnTo>
                      <a:lnTo>
                        <a:pt x="192" y="325"/>
                      </a:lnTo>
                      <a:lnTo>
                        <a:pt x="197" y="325"/>
                      </a:lnTo>
                      <a:lnTo>
                        <a:pt x="199" y="325"/>
                      </a:lnTo>
                      <a:lnTo>
                        <a:pt x="202" y="325"/>
                      </a:lnTo>
                      <a:lnTo>
                        <a:pt x="204" y="325"/>
                      </a:lnTo>
                      <a:lnTo>
                        <a:pt x="206" y="325"/>
                      </a:lnTo>
                      <a:lnTo>
                        <a:pt x="210" y="325"/>
                      </a:lnTo>
                      <a:lnTo>
                        <a:pt x="215" y="325"/>
                      </a:lnTo>
                      <a:lnTo>
                        <a:pt x="215" y="323"/>
                      </a:lnTo>
                      <a:lnTo>
                        <a:pt x="215" y="320"/>
                      </a:lnTo>
                      <a:lnTo>
                        <a:pt x="217" y="316"/>
                      </a:lnTo>
                      <a:lnTo>
                        <a:pt x="217" y="314"/>
                      </a:lnTo>
                      <a:lnTo>
                        <a:pt x="218" y="311"/>
                      </a:lnTo>
                      <a:lnTo>
                        <a:pt x="218" y="307"/>
                      </a:lnTo>
                      <a:lnTo>
                        <a:pt x="219" y="305"/>
                      </a:lnTo>
                      <a:lnTo>
                        <a:pt x="219" y="301"/>
                      </a:lnTo>
                      <a:lnTo>
                        <a:pt x="220" y="298"/>
                      </a:lnTo>
                      <a:lnTo>
                        <a:pt x="220" y="297"/>
                      </a:lnTo>
                      <a:lnTo>
                        <a:pt x="219" y="297"/>
                      </a:lnTo>
                      <a:lnTo>
                        <a:pt x="218" y="295"/>
                      </a:lnTo>
                      <a:lnTo>
                        <a:pt x="217" y="294"/>
                      </a:lnTo>
                      <a:lnTo>
                        <a:pt x="215" y="293"/>
                      </a:lnTo>
                      <a:lnTo>
                        <a:pt x="214" y="293"/>
                      </a:lnTo>
                      <a:lnTo>
                        <a:pt x="213" y="292"/>
                      </a:lnTo>
                      <a:lnTo>
                        <a:pt x="212" y="291"/>
                      </a:lnTo>
                      <a:lnTo>
                        <a:pt x="211" y="291"/>
                      </a:lnTo>
                      <a:lnTo>
                        <a:pt x="211" y="290"/>
                      </a:lnTo>
                      <a:lnTo>
                        <a:pt x="211" y="288"/>
                      </a:lnTo>
                      <a:lnTo>
                        <a:pt x="211" y="286"/>
                      </a:lnTo>
                      <a:lnTo>
                        <a:pt x="210" y="283"/>
                      </a:lnTo>
                      <a:lnTo>
                        <a:pt x="210" y="279"/>
                      </a:lnTo>
                      <a:lnTo>
                        <a:pt x="210" y="277"/>
                      </a:lnTo>
                      <a:lnTo>
                        <a:pt x="208" y="273"/>
                      </a:lnTo>
                      <a:lnTo>
                        <a:pt x="208" y="271"/>
                      </a:lnTo>
                      <a:lnTo>
                        <a:pt x="208" y="267"/>
                      </a:lnTo>
                      <a:lnTo>
                        <a:pt x="208" y="265"/>
                      </a:lnTo>
                      <a:lnTo>
                        <a:pt x="207" y="262"/>
                      </a:lnTo>
                      <a:lnTo>
                        <a:pt x="207" y="258"/>
                      </a:lnTo>
                      <a:lnTo>
                        <a:pt x="207" y="256"/>
                      </a:lnTo>
                      <a:lnTo>
                        <a:pt x="206" y="252"/>
                      </a:lnTo>
                      <a:lnTo>
                        <a:pt x="206" y="250"/>
                      </a:lnTo>
                      <a:lnTo>
                        <a:pt x="206" y="247"/>
                      </a:lnTo>
                      <a:lnTo>
                        <a:pt x="205" y="244"/>
                      </a:lnTo>
                      <a:lnTo>
                        <a:pt x="205" y="241"/>
                      </a:lnTo>
                      <a:lnTo>
                        <a:pt x="205" y="237"/>
                      </a:lnTo>
                      <a:lnTo>
                        <a:pt x="204" y="235"/>
                      </a:lnTo>
                      <a:lnTo>
                        <a:pt x="204" y="231"/>
                      </a:lnTo>
                      <a:lnTo>
                        <a:pt x="204" y="228"/>
                      </a:lnTo>
                      <a:lnTo>
                        <a:pt x="203" y="226"/>
                      </a:lnTo>
                      <a:lnTo>
                        <a:pt x="203" y="222"/>
                      </a:lnTo>
                      <a:lnTo>
                        <a:pt x="203" y="219"/>
                      </a:lnTo>
                      <a:lnTo>
                        <a:pt x="203" y="216"/>
                      </a:lnTo>
                      <a:lnTo>
                        <a:pt x="202" y="213"/>
                      </a:lnTo>
                      <a:lnTo>
                        <a:pt x="202" y="209"/>
                      </a:lnTo>
                      <a:lnTo>
                        <a:pt x="202" y="207"/>
                      </a:lnTo>
                      <a:lnTo>
                        <a:pt x="200" y="203"/>
                      </a:lnTo>
                      <a:lnTo>
                        <a:pt x="200" y="201"/>
                      </a:lnTo>
                      <a:lnTo>
                        <a:pt x="200" y="200"/>
                      </a:lnTo>
                      <a:lnTo>
                        <a:pt x="200" y="198"/>
                      </a:lnTo>
                      <a:lnTo>
                        <a:pt x="199" y="195"/>
                      </a:lnTo>
                      <a:lnTo>
                        <a:pt x="199" y="191"/>
                      </a:lnTo>
                      <a:lnTo>
                        <a:pt x="199" y="187"/>
                      </a:lnTo>
                      <a:lnTo>
                        <a:pt x="198" y="182"/>
                      </a:lnTo>
                      <a:lnTo>
                        <a:pt x="198" y="178"/>
                      </a:lnTo>
                      <a:lnTo>
                        <a:pt x="197" y="174"/>
                      </a:lnTo>
                      <a:lnTo>
                        <a:pt x="197" y="170"/>
                      </a:lnTo>
                      <a:lnTo>
                        <a:pt x="196" y="166"/>
                      </a:lnTo>
                      <a:lnTo>
                        <a:pt x="196" y="161"/>
                      </a:lnTo>
                      <a:lnTo>
                        <a:pt x="195" y="157"/>
                      </a:lnTo>
                      <a:lnTo>
                        <a:pt x="195" y="153"/>
                      </a:lnTo>
                      <a:lnTo>
                        <a:pt x="195" y="151"/>
                      </a:lnTo>
                      <a:lnTo>
                        <a:pt x="193" y="147"/>
                      </a:lnTo>
                      <a:lnTo>
                        <a:pt x="193" y="143"/>
                      </a:lnTo>
                      <a:lnTo>
                        <a:pt x="193" y="140"/>
                      </a:lnTo>
                      <a:lnTo>
                        <a:pt x="192" y="137"/>
                      </a:lnTo>
                      <a:lnTo>
                        <a:pt x="192" y="132"/>
                      </a:lnTo>
                      <a:lnTo>
                        <a:pt x="191" y="129"/>
                      </a:lnTo>
                      <a:lnTo>
                        <a:pt x="191" y="124"/>
                      </a:lnTo>
                      <a:lnTo>
                        <a:pt x="190" y="121"/>
                      </a:lnTo>
                      <a:lnTo>
                        <a:pt x="190" y="116"/>
                      </a:lnTo>
                      <a:lnTo>
                        <a:pt x="190" y="111"/>
                      </a:lnTo>
                      <a:lnTo>
                        <a:pt x="189" y="108"/>
                      </a:lnTo>
                      <a:lnTo>
                        <a:pt x="189" y="103"/>
                      </a:lnTo>
                      <a:lnTo>
                        <a:pt x="188" y="100"/>
                      </a:lnTo>
                      <a:lnTo>
                        <a:pt x="188" y="95"/>
                      </a:lnTo>
                      <a:lnTo>
                        <a:pt x="186" y="91"/>
                      </a:lnTo>
                      <a:lnTo>
                        <a:pt x="186" y="87"/>
                      </a:lnTo>
                      <a:lnTo>
                        <a:pt x="186" y="83"/>
                      </a:lnTo>
                      <a:lnTo>
                        <a:pt x="185" y="79"/>
                      </a:lnTo>
                      <a:lnTo>
                        <a:pt x="185" y="74"/>
                      </a:lnTo>
                      <a:lnTo>
                        <a:pt x="184" y="70"/>
                      </a:lnTo>
                      <a:lnTo>
                        <a:pt x="184" y="67"/>
                      </a:lnTo>
                      <a:lnTo>
                        <a:pt x="184" y="66"/>
                      </a:lnTo>
                      <a:lnTo>
                        <a:pt x="183" y="62"/>
                      </a:lnTo>
                      <a:lnTo>
                        <a:pt x="183" y="58"/>
                      </a:lnTo>
                      <a:lnTo>
                        <a:pt x="182" y="53"/>
                      </a:lnTo>
                      <a:lnTo>
                        <a:pt x="182" y="49"/>
                      </a:lnTo>
                      <a:lnTo>
                        <a:pt x="182" y="45"/>
                      </a:lnTo>
                      <a:lnTo>
                        <a:pt x="181" y="41"/>
                      </a:lnTo>
                      <a:lnTo>
                        <a:pt x="181" y="39"/>
                      </a:lnTo>
                      <a:lnTo>
                        <a:pt x="179" y="34"/>
                      </a:lnTo>
                      <a:lnTo>
                        <a:pt x="179" y="30"/>
                      </a:lnTo>
                      <a:lnTo>
                        <a:pt x="179" y="27"/>
                      </a:lnTo>
                      <a:lnTo>
                        <a:pt x="178" y="24"/>
                      </a:lnTo>
                      <a:lnTo>
                        <a:pt x="178" y="21"/>
                      </a:lnTo>
                      <a:lnTo>
                        <a:pt x="178" y="18"/>
                      </a:lnTo>
                      <a:lnTo>
                        <a:pt x="177" y="16"/>
                      </a:lnTo>
                      <a:lnTo>
                        <a:pt x="177" y="13"/>
                      </a:lnTo>
                      <a:lnTo>
                        <a:pt x="177" y="10"/>
                      </a:lnTo>
                      <a:lnTo>
                        <a:pt x="177" y="7"/>
                      </a:lnTo>
                      <a:lnTo>
                        <a:pt x="176" y="4"/>
                      </a:lnTo>
                      <a:lnTo>
                        <a:pt x="176" y="2"/>
                      </a:lnTo>
                      <a:lnTo>
                        <a:pt x="183" y="2"/>
                      </a:lnTo>
                      <a:lnTo>
                        <a:pt x="190" y="2"/>
                      </a:lnTo>
                      <a:lnTo>
                        <a:pt x="197" y="2"/>
                      </a:lnTo>
                      <a:lnTo>
                        <a:pt x="204" y="2"/>
                      </a:lnTo>
                      <a:lnTo>
                        <a:pt x="211" y="2"/>
                      </a:lnTo>
                      <a:lnTo>
                        <a:pt x="218" y="0"/>
                      </a:lnTo>
                      <a:lnTo>
                        <a:pt x="226" y="0"/>
                      </a:lnTo>
                      <a:lnTo>
                        <a:pt x="233" y="0"/>
                      </a:lnTo>
                      <a:lnTo>
                        <a:pt x="235" y="3"/>
                      </a:lnTo>
                      <a:lnTo>
                        <a:pt x="238" y="4"/>
                      </a:lnTo>
                      <a:lnTo>
                        <a:pt x="240" y="6"/>
                      </a:lnTo>
                      <a:lnTo>
                        <a:pt x="242" y="7"/>
                      </a:lnTo>
                      <a:lnTo>
                        <a:pt x="246" y="10"/>
                      </a:lnTo>
                      <a:lnTo>
                        <a:pt x="248" y="12"/>
                      </a:lnTo>
                      <a:lnTo>
                        <a:pt x="252" y="13"/>
                      </a:lnTo>
                      <a:lnTo>
                        <a:pt x="254" y="16"/>
                      </a:lnTo>
                      <a:lnTo>
                        <a:pt x="256" y="17"/>
                      </a:lnTo>
                      <a:lnTo>
                        <a:pt x="259" y="19"/>
                      </a:lnTo>
                      <a:lnTo>
                        <a:pt x="262" y="20"/>
                      </a:lnTo>
                      <a:lnTo>
                        <a:pt x="264" y="23"/>
                      </a:lnTo>
                      <a:lnTo>
                        <a:pt x="267" y="24"/>
                      </a:lnTo>
                      <a:lnTo>
                        <a:pt x="269" y="26"/>
                      </a:lnTo>
                      <a:lnTo>
                        <a:pt x="271" y="27"/>
                      </a:lnTo>
                      <a:lnTo>
                        <a:pt x="275" y="30"/>
                      </a:lnTo>
                      <a:lnTo>
                        <a:pt x="277" y="32"/>
                      </a:lnTo>
                      <a:lnTo>
                        <a:pt x="279" y="33"/>
                      </a:lnTo>
                      <a:lnTo>
                        <a:pt x="282" y="35"/>
                      </a:lnTo>
                      <a:lnTo>
                        <a:pt x="284" y="37"/>
                      </a:lnTo>
                      <a:lnTo>
                        <a:pt x="288" y="39"/>
                      </a:lnTo>
                      <a:lnTo>
                        <a:pt x="290" y="40"/>
                      </a:lnTo>
                      <a:lnTo>
                        <a:pt x="293" y="42"/>
                      </a:lnTo>
                      <a:lnTo>
                        <a:pt x="296" y="45"/>
                      </a:lnTo>
                      <a:lnTo>
                        <a:pt x="298" y="46"/>
                      </a:lnTo>
                      <a:lnTo>
                        <a:pt x="302" y="48"/>
                      </a:lnTo>
                      <a:lnTo>
                        <a:pt x="304" y="51"/>
                      </a:lnTo>
                      <a:lnTo>
                        <a:pt x="307" y="52"/>
                      </a:lnTo>
                      <a:lnTo>
                        <a:pt x="310" y="54"/>
                      </a:lnTo>
                      <a:lnTo>
                        <a:pt x="312" y="56"/>
                      </a:lnTo>
                      <a:lnTo>
                        <a:pt x="316" y="58"/>
                      </a:lnTo>
                      <a:lnTo>
                        <a:pt x="318" y="60"/>
                      </a:lnTo>
                      <a:lnTo>
                        <a:pt x="321" y="62"/>
                      </a:lnTo>
                      <a:lnTo>
                        <a:pt x="324" y="63"/>
                      </a:lnTo>
                      <a:lnTo>
                        <a:pt x="326" y="66"/>
                      </a:lnTo>
                      <a:lnTo>
                        <a:pt x="330" y="68"/>
                      </a:lnTo>
                      <a:lnTo>
                        <a:pt x="332" y="69"/>
                      </a:lnTo>
                      <a:lnTo>
                        <a:pt x="335" y="72"/>
                      </a:lnTo>
                      <a:lnTo>
                        <a:pt x="338" y="74"/>
                      </a:lnTo>
                      <a:lnTo>
                        <a:pt x="340" y="75"/>
                      </a:lnTo>
                      <a:lnTo>
                        <a:pt x="343" y="77"/>
                      </a:lnTo>
                      <a:lnTo>
                        <a:pt x="346" y="79"/>
                      </a:lnTo>
                      <a:lnTo>
                        <a:pt x="349" y="81"/>
                      </a:lnTo>
                      <a:lnTo>
                        <a:pt x="352" y="83"/>
                      </a:lnTo>
                      <a:lnTo>
                        <a:pt x="354" y="84"/>
                      </a:lnTo>
                      <a:lnTo>
                        <a:pt x="357" y="87"/>
                      </a:lnTo>
                      <a:lnTo>
                        <a:pt x="360" y="89"/>
                      </a:lnTo>
                      <a:lnTo>
                        <a:pt x="363" y="90"/>
                      </a:lnTo>
                      <a:lnTo>
                        <a:pt x="366" y="93"/>
                      </a:lnTo>
                      <a:lnTo>
                        <a:pt x="368" y="95"/>
                      </a:lnTo>
                      <a:lnTo>
                        <a:pt x="371" y="96"/>
                      </a:lnTo>
                      <a:lnTo>
                        <a:pt x="374" y="98"/>
                      </a:lnTo>
                      <a:lnTo>
                        <a:pt x="377" y="101"/>
                      </a:lnTo>
                      <a:lnTo>
                        <a:pt x="380" y="102"/>
                      </a:lnTo>
                      <a:lnTo>
                        <a:pt x="382" y="104"/>
                      </a:lnTo>
                      <a:lnTo>
                        <a:pt x="385" y="107"/>
                      </a:lnTo>
                      <a:lnTo>
                        <a:pt x="388" y="108"/>
                      </a:lnTo>
                      <a:lnTo>
                        <a:pt x="389" y="108"/>
                      </a:lnTo>
                      <a:lnTo>
                        <a:pt x="391" y="110"/>
                      </a:lnTo>
                      <a:lnTo>
                        <a:pt x="394" y="111"/>
                      </a:lnTo>
                      <a:lnTo>
                        <a:pt x="396" y="114"/>
                      </a:lnTo>
                      <a:lnTo>
                        <a:pt x="399" y="116"/>
                      </a:lnTo>
                      <a:lnTo>
                        <a:pt x="402" y="117"/>
                      </a:lnTo>
                      <a:lnTo>
                        <a:pt x="405" y="119"/>
                      </a:lnTo>
                      <a:lnTo>
                        <a:pt x="407" y="122"/>
                      </a:lnTo>
                      <a:lnTo>
                        <a:pt x="410" y="123"/>
                      </a:lnTo>
                      <a:lnTo>
                        <a:pt x="413" y="125"/>
                      </a:lnTo>
                      <a:lnTo>
                        <a:pt x="416" y="128"/>
                      </a:lnTo>
                      <a:lnTo>
                        <a:pt x="419" y="129"/>
                      </a:lnTo>
                      <a:lnTo>
                        <a:pt x="421" y="131"/>
                      </a:lnTo>
                      <a:lnTo>
                        <a:pt x="425" y="133"/>
                      </a:lnTo>
                      <a:lnTo>
                        <a:pt x="426" y="135"/>
                      </a:lnTo>
                      <a:lnTo>
                        <a:pt x="426" y="136"/>
                      </a:lnTo>
                      <a:lnTo>
                        <a:pt x="426" y="137"/>
                      </a:lnTo>
                      <a:lnTo>
                        <a:pt x="426" y="140"/>
                      </a:lnTo>
                      <a:lnTo>
                        <a:pt x="425" y="144"/>
                      </a:lnTo>
                      <a:lnTo>
                        <a:pt x="425" y="145"/>
                      </a:lnTo>
                      <a:lnTo>
                        <a:pt x="426" y="146"/>
                      </a:lnTo>
                      <a:lnTo>
                        <a:pt x="427" y="146"/>
                      </a:lnTo>
                      <a:lnTo>
                        <a:pt x="428" y="146"/>
                      </a:lnTo>
                      <a:lnTo>
                        <a:pt x="430" y="146"/>
                      </a:lnTo>
                      <a:lnTo>
                        <a:pt x="431" y="146"/>
                      </a:lnTo>
                      <a:lnTo>
                        <a:pt x="432" y="147"/>
                      </a:lnTo>
                      <a:lnTo>
                        <a:pt x="432" y="149"/>
                      </a:lnTo>
                      <a:lnTo>
                        <a:pt x="434" y="149"/>
                      </a:lnTo>
                      <a:lnTo>
                        <a:pt x="435" y="149"/>
                      </a:lnTo>
                      <a:lnTo>
                        <a:pt x="435" y="150"/>
                      </a:lnTo>
                      <a:lnTo>
                        <a:pt x="437" y="150"/>
                      </a:lnTo>
                      <a:lnTo>
                        <a:pt x="438" y="150"/>
                      </a:lnTo>
                      <a:lnTo>
                        <a:pt x="439" y="151"/>
                      </a:lnTo>
                      <a:lnTo>
                        <a:pt x="441" y="152"/>
                      </a:lnTo>
                      <a:lnTo>
                        <a:pt x="441" y="153"/>
                      </a:lnTo>
                      <a:lnTo>
                        <a:pt x="441" y="154"/>
                      </a:lnTo>
                      <a:lnTo>
                        <a:pt x="441" y="157"/>
                      </a:lnTo>
                      <a:lnTo>
                        <a:pt x="442" y="157"/>
                      </a:lnTo>
                      <a:lnTo>
                        <a:pt x="446" y="160"/>
                      </a:lnTo>
                      <a:lnTo>
                        <a:pt x="447" y="160"/>
                      </a:lnTo>
                      <a:lnTo>
                        <a:pt x="448" y="160"/>
                      </a:lnTo>
                      <a:lnTo>
                        <a:pt x="448" y="161"/>
                      </a:lnTo>
                      <a:lnTo>
                        <a:pt x="449" y="161"/>
                      </a:lnTo>
                      <a:lnTo>
                        <a:pt x="449" y="163"/>
                      </a:lnTo>
                      <a:lnTo>
                        <a:pt x="451" y="163"/>
                      </a:lnTo>
                      <a:lnTo>
                        <a:pt x="452" y="161"/>
                      </a:lnTo>
                      <a:lnTo>
                        <a:pt x="452" y="163"/>
                      </a:lnTo>
                      <a:lnTo>
                        <a:pt x="453" y="163"/>
                      </a:lnTo>
                      <a:lnTo>
                        <a:pt x="455" y="164"/>
                      </a:lnTo>
                      <a:lnTo>
                        <a:pt x="456" y="163"/>
                      </a:lnTo>
                      <a:lnTo>
                        <a:pt x="458" y="161"/>
                      </a:lnTo>
                      <a:lnTo>
                        <a:pt x="459" y="161"/>
                      </a:lnTo>
                      <a:lnTo>
                        <a:pt x="460" y="161"/>
                      </a:lnTo>
                      <a:lnTo>
                        <a:pt x="462" y="163"/>
                      </a:lnTo>
                      <a:lnTo>
                        <a:pt x="463" y="165"/>
                      </a:lnTo>
                      <a:lnTo>
                        <a:pt x="464" y="166"/>
                      </a:lnTo>
                      <a:lnTo>
                        <a:pt x="466" y="168"/>
                      </a:lnTo>
                      <a:lnTo>
                        <a:pt x="467" y="168"/>
                      </a:lnTo>
                      <a:lnTo>
                        <a:pt x="468" y="170"/>
                      </a:lnTo>
                      <a:lnTo>
                        <a:pt x="469" y="170"/>
                      </a:lnTo>
                      <a:lnTo>
                        <a:pt x="470" y="170"/>
                      </a:lnTo>
                      <a:lnTo>
                        <a:pt x="473" y="171"/>
                      </a:lnTo>
                      <a:lnTo>
                        <a:pt x="475" y="171"/>
                      </a:lnTo>
                      <a:lnTo>
                        <a:pt x="483" y="172"/>
                      </a:lnTo>
                      <a:lnTo>
                        <a:pt x="488" y="174"/>
                      </a:lnTo>
                      <a:lnTo>
                        <a:pt x="489" y="175"/>
                      </a:lnTo>
                      <a:lnTo>
                        <a:pt x="490" y="175"/>
                      </a:lnTo>
                      <a:lnTo>
                        <a:pt x="491" y="177"/>
                      </a:lnTo>
                      <a:lnTo>
                        <a:pt x="492" y="178"/>
                      </a:lnTo>
                      <a:lnTo>
                        <a:pt x="491" y="184"/>
                      </a:lnTo>
                      <a:lnTo>
                        <a:pt x="491" y="185"/>
                      </a:lnTo>
                      <a:lnTo>
                        <a:pt x="492" y="187"/>
                      </a:lnTo>
                      <a:lnTo>
                        <a:pt x="492" y="188"/>
                      </a:lnTo>
                      <a:lnTo>
                        <a:pt x="492" y="189"/>
                      </a:lnTo>
                      <a:lnTo>
                        <a:pt x="494" y="189"/>
                      </a:lnTo>
                      <a:lnTo>
                        <a:pt x="494" y="191"/>
                      </a:lnTo>
                      <a:lnTo>
                        <a:pt x="494" y="192"/>
                      </a:lnTo>
                      <a:lnTo>
                        <a:pt x="492" y="192"/>
                      </a:lnTo>
                      <a:lnTo>
                        <a:pt x="492" y="193"/>
                      </a:lnTo>
                      <a:lnTo>
                        <a:pt x="491" y="193"/>
                      </a:lnTo>
                      <a:lnTo>
                        <a:pt x="491" y="194"/>
                      </a:lnTo>
                      <a:lnTo>
                        <a:pt x="491" y="195"/>
                      </a:lnTo>
                      <a:lnTo>
                        <a:pt x="490" y="196"/>
                      </a:lnTo>
                      <a:lnTo>
                        <a:pt x="489" y="196"/>
                      </a:lnTo>
                      <a:lnTo>
                        <a:pt x="489" y="198"/>
                      </a:lnTo>
                      <a:lnTo>
                        <a:pt x="489" y="199"/>
                      </a:lnTo>
                      <a:lnTo>
                        <a:pt x="489" y="200"/>
                      </a:lnTo>
                      <a:lnTo>
                        <a:pt x="490" y="201"/>
                      </a:lnTo>
                      <a:lnTo>
                        <a:pt x="491" y="201"/>
                      </a:lnTo>
                      <a:lnTo>
                        <a:pt x="492" y="202"/>
                      </a:lnTo>
                      <a:lnTo>
                        <a:pt x="495" y="205"/>
                      </a:lnTo>
                      <a:lnTo>
                        <a:pt x="496" y="205"/>
                      </a:lnTo>
                      <a:lnTo>
                        <a:pt x="497" y="205"/>
                      </a:lnTo>
                      <a:lnTo>
                        <a:pt x="499" y="205"/>
                      </a:lnTo>
                      <a:lnTo>
                        <a:pt x="503" y="203"/>
                      </a:lnTo>
                      <a:lnTo>
                        <a:pt x="508" y="202"/>
                      </a:lnTo>
                      <a:lnTo>
                        <a:pt x="511" y="202"/>
                      </a:lnTo>
                      <a:lnTo>
                        <a:pt x="513" y="201"/>
                      </a:lnTo>
                      <a:lnTo>
                        <a:pt x="519" y="200"/>
                      </a:lnTo>
                      <a:lnTo>
                        <a:pt x="525" y="199"/>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0" name="Freeform 103">
                  <a:extLst>
                    <a:ext uri="{FF2B5EF4-FFF2-40B4-BE49-F238E27FC236}">
                      <a16:creationId xmlns:a16="http://schemas.microsoft.com/office/drawing/2014/main" id="{5CE30428-BC6B-0772-A0D3-8A201026D0F0}"/>
                    </a:ext>
                  </a:extLst>
                </p:cNvPr>
                <p:cNvSpPr>
                  <a:spLocks noEditPoints="1"/>
                </p:cNvSpPr>
                <p:nvPr/>
              </p:nvSpPr>
              <p:spPr bwMode="auto">
                <a:xfrm>
                  <a:off x="5630902" y="2832630"/>
                  <a:ext cx="421875" cy="467307"/>
                </a:xfrm>
                <a:custGeom>
                  <a:avLst/>
                  <a:gdLst>
                    <a:gd name="T0" fmla="*/ 20 w 390"/>
                    <a:gd name="T1" fmla="*/ 267 h 432"/>
                    <a:gd name="T2" fmla="*/ 21 w 390"/>
                    <a:gd name="T3" fmla="*/ 266 h 432"/>
                    <a:gd name="T4" fmla="*/ 350 w 390"/>
                    <a:gd name="T5" fmla="*/ 219 h 432"/>
                    <a:gd name="T6" fmla="*/ 356 w 390"/>
                    <a:gd name="T7" fmla="*/ 266 h 432"/>
                    <a:gd name="T8" fmla="*/ 360 w 390"/>
                    <a:gd name="T9" fmla="*/ 301 h 432"/>
                    <a:gd name="T10" fmla="*/ 364 w 390"/>
                    <a:gd name="T11" fmla="*/ 337 h 432"/>
                    <a:gd name="T12" fmla="*/ 368 w 390"/>
                    <a:gd name="T13" fmla="*/ 370 h 432"/>
                    <a:gd name="T14" fmla="*/ 375 w 390"/>
                    <a:gd name="T15" fmla="*/ 386 h 432"/>
                    <a:gd name="T16" fmla="*/ 354 w 390"/>
                    <a:gd name="T17" fmla="*/ 404 h 432"/>
                    <a:gd name="T18" fmla="*/ 297 w 390"/>
                    <a:gd name="T19" fmla="*/ 404 h 432"/>
                    <a:gd name="T20" fmla="*/ 255 w 390"/>
                    <a:gd name="T21" fmla="*/ 405 h 432"/>
                    <a:gd name="T22" fmla="*/ 237 w 390"/>
                    <a:gd name="T23" fmla="*/ 407 h 432"/>
                    <a:gd name="T24" fmla="*/ 217 w 390"/>
                    <a:gd name="T25" fmla="*/ 407 h 432"/>
                    <a:gd name="T26" fmla="*/ 204 w 390"/>
                    <a:gd name="T27" fmla="*/ 412 h 432"/>
                    <a:gd name="T28" fmla="*/ 184 w 390"/>
                    <a:gd name="T29" fmla="*/ 402 h 432"/>
                    <a:gd name="T30" fmla="*/ 172 w 390"/>
                    <a:gd name="T31" fmla="*/ 408 h 432"/>
                    <a:gd name="T32" fmla="*/ 171 w 390"/>
                    <a:gd name="T33" fmla="*/ 425 h 432"/>
                    <a:gd name="T34" fmla="*/ 162 w 390"/>
                    <a:gd name="T35" fmla="*/ 430 h 432"/>
                    <a:gd name="T36" fmla="*/ 149 w 390"/>
                    <a:gd name="T37" fmla="*/ 422 h 432"/>
                    <a:gd name="T38" fmla="*/ 140 w 390"/>
                    <a:gd name="T39" fmla="*/ 415 h 432"/>
                    <a:gd name="T40" fmla="*/ 135 w 390"/>
                    <a:gd name="T41" fmla="*/ 407 h 432"/>
                    <a:gd name="T42" fmla="*/ 127 w 390"/>
                    <a:gd name="T43" fmla="*/ 402 h 432"/>
                    <a:gd name="T44" fmla="*/ 122 w 390"/>
                    <a:gd name="T45" fmla="*/ 392 h 432"/>
                    <a:gd name="T46" fmla="*/ 116 w 390"/>
                    <a:gd name="T47" fmla="*/ 386 h 432"/>
                    <a:gd name="T48" fmla="*/ 109 w 390"/>
                    <a:gd name="T49" fmla="*/ 385 h 432"/>
                    <a:gd name="T50" fmla="*/ 103 w 390"/>
                    <a:gd name="T51" fmla="*/ 383 h 432"/>
                    <a:gd name="T52" fmla="*/ 93 w 390"/>
                    <a:gd name="T53" fmla="*/ 373 h 432"/>
                    <a:gd name="T54" fmla="*/ 82 w 390"/>
                    <a:gd name="T55" fmla="*/ 370 h 432"/>
                    <a:gd name="T56" fmla="*/ 65 w 390"/>
                    <a:gd name="T57" fmla="*/ 370 h 432"/>
                    <a:gd name="T58" fmla="*/ 55 w 390"/>
                    <a:gd name="T59" fmla="*/ 372 h 432"/>
                    <a:gd name="T60" fmla="*/ 42 w 390"/>
                    <a:gd name="T61" fmla="*/ 374 h 432"/>
                    <a:gd name="T62" fmla="*/ 28 w 390"/>
                    <a:gd name="T63" fmla="*/ 374 h 432"/>
                    <a:gd name="T64" fmla="*/ 21 w 390"/>
                    <a:gd name="T65" fmla="*/ 395 h 432"/>
                    <a:gd name="T66" fmla="*/ 22 w 390"/>
                    <a:gd name="T67" fmla="*/ 372 h 432"/>
                    <a:gd name="T68" fmla="*/ 35 w 390"/>
                    <a:gd name="T69" fmla="*/ 327 h 432"/>
                    <a:gd name="T70" fmla="*/ 25 w 390"/>
                    <a:gd name="T71" fmla="*/ 286 h 432"/>
                    <a:gd name="T72" fmla="*/ 25 w 390"/>
                    <a:gd name="T73" fmla="*/ 277 h 432"/>
                    <a:gd name="T74" fmla="*/ 20 w 390"/>
                    <a:gd name="T75" fmla="*/ 277 h 432"/>
                    <a:gd name="T76" fmla="*/ 27 w 390"/>
                    <a:gd name="T77" fmla="*/ 263 h 432"/>
                    <a:gd name="T78" fmla="*/ 28 w 390"/>
                    <a:gd name="T79" fmla="*/ 252 h 432"/>
                    <a:gd name="T80" fmla="*/ 21 w 390"/>
                    <a:gd name="T81" fmla="*/ 239 h 432"/>
                    <a:gd name="T82" fmla="*/ 18 w 390"/>
                    <a:gd name="T83" fmla="*/ 238 h 432"/>
                    <a:gd name="T84" fmla="*/ 11 w 390"/>
                    <a:gd name="T85" fmla="*/ 231 h 432"/>
                    <a:gd name="T86" fmla="*/ 6 w 390"/>
                    <a:gd name="T87" fmla="*/ 221 h 432"/>
                    <a:gd name="T88" fmla="*/ 0 w 390"/>
                    <a:gd name="T89" fmla="*/ 229 h 432"/>
                    <a:gd name="T90" fmla="*/ 7 w 390"/>
                    <a:gd name="T91" fmla="*/ 214 h 432"/>
                    <a:gd name="T92" fmla="*/ 98 w 390"/>
                    <a:gd name="T93" fmla="*/ 211 h 432"/>
                    <a:gd name="T94" fmla="*/ 126 w 390"/>
                    <a:gd name="T95" fmla="*/ 169 h 432"/>
                    <a:gd name="T96" fmla="*/ 148 w 390"/>
                    <a:gd name="T97" fmla="*/ 142 h 432"/>
                    <a:gd name="T98" fmla="*/ 160 w 390"/>
                    <a:gd name="T99" fmla="*/ 117 h 432"/>
                    <a:gd name="T100" fmla="*/ 160 w 390"/>
                    <a:gd name="T101" fmla="*/ 85 h 432"/>
                    <a:gd name="T102" fmla="*/ 158 w 390"/>
                    <a:gd name="T103" fmla="*/ 54 h 432"/>
                    <a:gd name="T104" fmla="*/ 191 w 390"/>
                    <a:gd name="T105" fmla="*/ 48 h 432"/>
                    <a:gd name="T106" fmla="*/ 229 w 390"/>
                    <a:gd name="T107" fmla="*/ 47 h 432"/>
                    <a:gd name="T108" fmla="*/ 265 w 390"/>
                    <a:gd name="T109" fmla="*/ 46 h 432"/>
                    <a:gd name="T110" fmla="*/ 264 w 390"/>
                    <a:gd name="T111" fmla="*/ 11 h 432"/>
                    <a:gd name="T112" fmla="*/ 315 w 390"/>
                    <a:gd name="T113" fmla="*/ 33 h 432"/>
                    <a:gd name="T114" fmla="*/ 378 w 390"/>
                    <a:gd name="T115" fmla="*/ 72 h 432"/>
                    <a:gd name="T116" fmla="*/ 334 w 390"/>
                    <a:gd name="T117" fmla="*/ 86 h 432"/>
                    <a:gd name="T118" fmla="*/ 339 w 390"/>
                    <a:gd name="T119" fmla="*/ 124 h 432"/>
                    <a:gd name="T120" fmla="*/ 343 w 390"/>
                    <a:gd name="T121" fmla="*/ 17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432">
                      <a:moveTo>
                        <a:pt x="22" y="272"/>
                      </a:moveTo>
                      <a:lnTo>
                        <a:pt x="23" y="270"/>
                      </a:lnTo>
                      <a:lnTo>
                        <a:pt x="25" y="267"/>
                      </a:lnTo>
                      <a:lnTo>
                        <a:pt x="26" y="268"/>
                      </a:lnTo>
                      <a:lnTo>
                        <a:pt x="25" y="268"/>
                      </a:lnTo>
                      <a:lnTo>
                        <a:pt x="25" y="270"/>
                      </a:lnTo>
                      <a:lnTo>
                        <a:pt x="23" y="271"/>
                      </a:lnTo>
                      <a:lnTo>
                        <a:pt x="22" y="272"/>
                      </a:lnTo>
                      <a:close/>
                      <a:moveTo>
                        <a:pt x="20" y="270"/>
                      </a:moveTo>
                      <a:lnTo>
                        <a:pt x="19" y="270"/>
                      </a:lnTo>
                      <a:lnTo>
                        <a:pt x="19" y="268"/>
                      </a:lnTo>
                      <a:lnTo>
                        <a:pt x="20" y="267"/>
                      </a:lnTo>
                      <a:lnTo>
                        <a:pt x="20" y="268"/>
                      </a:lnTo>
                      <a:lnTo>
                        <a:pt x="20" y="270"/>
                      </a:lnTo>
                      <a:close/>
                      <a:moveTo>
                        <a:pt x="25" y="264"/>
                      </a:moveTo>
                      <a:lnTo>
                        <a:pt x="23" y="268"/>
                      </a:lnTo>
                      <a:lnTo>
                        <a:pt x="22" y="270"/>
                      </a:lnTo>
                      <a:lnTo>
                        <a:pt x="21" y="272"/>
                      </a:lnTo>
                      <a:lnTo>
                        <a:pt x="21" y="271"/>
                      </a:lnTo>
                      <a:lnTo>
                        <a:pt x="21" y="270"/>
                      </a:lnTo>
                      <a:lnTo>
                        <a:pt x="20" y="270"/>
                      </a:lnTo>
                      <a:lnTo>
                        <a:pt x="20" y="268"/>
                      </a:lnTo>
                      <a:lnTo>
                        <a:pt x="21" y="267"/>
                      </a:lnTo>
                      <a:lnTo>
                        <a:pt x="21" y="266"/>
                      </a:lnTo>
                      <a:lnTo>
                        <a:pt x="21" y="265"/>
                      </a:lnTo>
                      <a:lnTo>
                        <a:pt x="22" y="265"/>
                      </a:lnTo>
                      <a:lnTo>
                        <a:pt x="23" y="264"/>
                      </a:lnTo>
                      <a:lnTo>
                        <a:pt x="23" y="263"/>
                      </a:lnTo>
                      <a:lnTo>
                        <a:pt x="25" y="264"/>
                      </a:lnTo>
                      <a:close/>
                      <a:moveTo>
                        <a:pt x="20" y="239"/>
                      </a:moveTo>
                      <a:lnTo>
                        <a:pt x="19" y="238"/>
                      </a:lnTo>
                      <a:lnTo>
                        <a:pt x="20" y="238"/>
                      </a:lnTo>
                      <a:lnTo>
                        <a:pt x="20" y="239"/>
                      </a:lnTo>
                      <a:close/>
                      <a:moveTo>
                        <a:pt x="349" y="211"/>
                      </a:moveTo>
                      <a:lnTo>
                        <a:pt x="349" y="216"/>
                      </a:lnTo>
                      <a:lnTo>
                        <a:pt x="350" y="219"/>
                      </a:lnTo>
                      <a:lnTo>
                        <a:pt x="350" y="222"/>
                      </a:lnTo>
                      <a:lnTo>
                        <a:pt x="350" y="226"/>
                      </a:lnTo>
                      <a:lnTo>
                        <a:pt x="352" y="230"/>
                      </a:lnTo>
                      <a:lnTo>
                        <a:pt x="352" y="232"/>
                      </a:lnTo>
                      <a:lnTo>
                        <a:pt x="352" y="236"/>
                      </a:lnTo>
                      <a:lnTo>
                        <a:pt x="353" y="240"/>
                      </a:lnTo>
                      <a:lnTo>
                        <a:pt x="353" y="245"/>
                      </a:lnTo>
                      <a:lnTo>
                        <a:pt x="354" y="249"/>
                      </a:lnTo>
                      <a:lnTo>
                        <a:pt x="354" y="253"/>
                      </a:lnTo>
                      <a:lnTo>
                        <a:pt x="355" y="257"/>
                      </a:lnTo>
                      <a:lnTo>
                        <a:pt x="355" y="261"/>
                      </a:lnTo>
                      <a:lnTo>
                        <a:pt x="356" y="266"/>
                      </a:lnTo>
                      <a:lnTo>
                        <a:pt x="356" y="270"/>
                      </a:lnTo>
                      <a:lnTo>
                        <a:pt x="356" y="274"/>
                      </a:lnTo>
                      <a:lnTo>
                        <a:pt x="357" y="277"/>
                      </a:lnTo>
                      <a:lnTo>
                        <a:pt x="357" y="279"/>
                      </a:lnTo>
                      <a:lnTo>
                        <a:pt x="357" y="280"/>
                      </a:lnTo>
                      <a:lnTo>
                        <a:pt x="357" y="282"/>
                      </a:lnTo>
                      <a:lnTo>
                        <a:pt x="359" y="286"/>
                      </a:lnTo>
                      <a:lnTo>
                        <a:pt x="359" y="288"/>
                      </a:lnTo>
                      <a:lnTo>
                        <a:pt x="359" y="292"/>
                      </a:lnTo>
                      <a:lnTo>
                        <a:pt x="360" y="295"/>
                      </a:lnTo>
                      <a:lnTo>
                        <a:pt x="360" y="298"/>
                      </a:lnTo>
                      <a:lnTo>
                        <a:pt x="360" y="301"/>
                      </a:lnTo>
                      <a:lnTo>
                        <a:pt x="360" y="305"/>
                      </a:lnTo>
                      <a:lnTo>
                        <a:pt x="361" y="307"/>
                      </a:lnTo>
                      <a:lnTo>
                        <a:pt x="361" y="310"/>
                      </a:lnTo>
                      <a:lnTo>
                        <a:pt x="361" y="314"/>
                      </a:lnTo>
                      <a:lnTo>
                        <a:pt x="362" y="316"/>
                      </a:lnTo>
                      <a:lnTo>
                        <a:pt x="362" y="320"/>
                      </a:lnTo>
                      <a:lnTo>
                        <a:pt x="362" y="323"/>
                      </a:lnTo>
                      <a:lnTo>
                        <a:pt x="363" y="326"/>
                      </a:lnTo>
                      <a:lnTo>
                        <a:pt x="363" y="329"/>
                      </a:lnTo>
                      <a:lnTo>
                        <a:pt x="363" y="331"/>
                      </a:lnTo>
                      <a:lnTo>
                        <a:pt x="364" y="335"/>
                      </a:lnTo>
                      <a:lnTo>
                        <a:pt x="364" y="337"/>
                      </a:lnTo>
                      <a:lnTo>
                        <a:pt x="364" y="341"/>
                      </a:lnTo>
                      <a:lnTo>
                        <a:pt x="365" y="344"/>
                      </a:lnTo>
                      <a:lnTo>
                        <a:pt x="365" y="346"/>
                      </a:lnTo>
                      <a:lnTo>
                        <a:pt x="365" y="350"/>
                      </a:lnTo>
                      <a:lnTo>
                        <a:pt x="365" y="352"/>
                      </a:lnTo>
                      <a:lnTo>
                        <a:pt x="367" y="356"/>
                      </a:lnTo>
                      <a:lnTo>
                        <a:pt x="367" y="358"/>
                      </a:lnTo>
                      <a:lnTo>
                        <a:pt x="367" y="362"/>
                      </a:lnTo>
                      <a:lnTo>
                        <a:pt x="368" y="365"/>
                      </a:lnTo>
                      <a:lnTo>
                        <a:pt x="368" y="367"/>
                      </a:lnTo>
                      <a:lnTo>
                        <a:pt x="368" y="369"/>
                      </a:lnTo>
                      <a:lnTo>
                        <a:pt x="368" y="370"/>
                      </a:lnTo>
                      <a:lnTo>
                        <a:pt x="369" y="370"/>
                      </a:lnTo>
                      <a:lnTo>
                        <a:pt x="370" y="371"/>
                      </a:lnTo>
                      <a:lnTo>
                        <a:pt x="371" y="372"/>
                      </a:lnTo>
                      <a:lnTo>
                        <a:pt x="372" y="372"/>
                      </a:lnTo>
                      <a:lnTo>
                        <a:pt x="374" y="373"/>
                      </a:lnTo>
                      <a:lnTo>
                        <a:pt x="375" y="374"/>
                      </a:lnTo>
                      <a:lnTo>
                        <a:pt x="376" y="376"/>
                      </a:lnTo>
                      <a:lnTo>
                        <a:pt x="377" y="376"/>
                      </a:lnTo>
                      <a:lnTo>
                        <a:pt x="377" y="377"/>
                      </a:lnTo>
                      <a:lnTo>
                        <a:pt x="376" y="380"/>
                      </a:lnTo>
                      <a:lnTo>
                        <a:pt x="376" y="384"/>
                      </a:lnTo>
                      <a:lnTo>
                        <a:pt x="375" y="386"/>
                      </a:lnTo>
                      <a:lnTo>
                        <a:pt x="375" y="390"/>
                      </a:lnTo>
                      <a:lnTo>
                        <a:pt x="374" y="393"/>
                      </a:lnTo>
                      <a:lnTo>
                        <a:pt x="374" y="395"/>
                      </a:lnTo>
                      <a:lnTo>
                        <a:pt x="372" y="399"/>
                      </a:lnTo>
                      <a:lnTo>
                        <a:pt x="372" y="402"/>
                      </a:lnTo>
                      <a:lnTo>
                        <a:pt x="372" y="404"/>
                      </a:lnTo>
                      <a:lnTo>
                        <a:pt x="367" y="404"/>
                      </a:lnTo>
                      <a:lnTo>
                        <a:pt x="363" y="404"/>
                      </a:lnTo>
                      <a:lnTo>
                        <a:pt x="361" y="404"/>
                      </a:lnTo>
                      <a:lnTo>
                        <a:pt x="359" y="404"/>
                      </a:lnTo>
                      <a:lnTo>
                        <a:pt x="356" y="404"/>
                      </a:lnTo>
                      <a:lnTo>
                        <a:pt x="354" y="404"/>
                      </a:lnTo>
                      <a:lnTo>
                        <a:pt x="349" y="404"/>
                      </a:lnTo>
                      <a:lnTo>
                        <a:pt x="346" y="404"/>
                      </a:lnTo>
                      <a:lnTo>
                        <a:pt x="345" y="404"/>
                      </a:lnTo>
                      <a:lnTo>
                        <a:pt x="340" y="404"/>
                      </a:lnTo>
                      <a:lnTo>
                        <a:pt x="335" y="404"/>
                      </a:lnTo>
                      <a:lnTo>
                        <a:pt x="329" y="404"/>
                      </a:lnTo>
                      <a:lnTo>
                        <a:pt x="325" y="404"/>
                      </a:lnTo>
                      <a:lnTo>
                        <a:pt x="319" y="404"/>
                      </a:lnTo>
                      <a:lnTo>
                        <a:pt x="313" y="404"/>
                      </a:lnTo>
                      <a:lnTo>
                        <a:pt x="308" y="404"/>
                      </a:lnTo>
                      <a:lnTo>
                        <a:pt x="303" y="404"/>
                      </a:lnTo>
                      <a:lnTo>
                        <a:pt x="297" y="404"/>
                      </a:lnTo>
                      <a:lnTo>
                        <a:pt x="292" y="405"/>
                      </a:lnTo>
                      <a:lnTo>
                        <a:pt x="288" y="405"/>
                      </a:lnTo>
                      <a:lnTo>
                        <a:pt x="282" y="405"/>
                      </a:lnTo>
                      <a:lnTo>
                        <a:pt x="278" y="405"/>
                      </a:lnTo>
                      <a:lnTo>
                        <a:pt x="274" y="405"/>
                      </a:lnTo>
                      <a:lnTo>
                        <a:pt x="271" y="405"/>
                      </a:lnTo>
                      <a:lnTo>
                        <a:pt x="268" y="405"/>
                      </a:lnTo>
                      <a:lnTo>
                        <a:pt x="265" y="405"/>
                      </a:lnTo>
                      <a:lnTo>
                        <a:pt x="263" y="405"/>
                      </a:lnTo>
                      <a:lnTo>
                        <a:pt x="261" y="405"/>
                      </a:lnTo>
                      <a:lnTo>
                        <a:pt x="256" y="405"/>
                      </a:lnTo>
                      <a:lnTo>
                        <a:pt x="255" y="405"/>
                      </a:lnTo>
                      <a:lnTo>
                        <a:pt x="249" y="405"/>
                      </a:lnTo>
                      <a:lnTo>
                        <a:pt x="250" y="401"/>
                      </a:lnTo>
                      <a:lnTo>
                        <a:pt x="250" y="400"/>
                      </a:lnTo>
                      <a:lnTo>
                        <a:pt x="250" y="399"/>
                      </a:lnTo>
                      <a:lnTo>
                        <a:pt x="249" y="398"/>
                      </a:lnTo>
                      <a:lnTo>
                        <a:pt x="249" y="399"/>
                      </a:lnTo>
                      <a:lnTo>
                        <a:pt x="247" y="401"/>
                      </a:lnTo>
                      <a:lnTo>
                        <a:pt x="247" y="402"/>
                      </a:lnTo>
                      <a:lnTo>
                        <a:pt x="247" y="405"/>
                      </a:lnTo>
                      <a:lnTo>
                        <a:pt x="247" y="407"/>
                      </a:lnTo>
                      <a:lnTo>
                        <a:pt x="240" y="407"/>
                      </a:lnTo>
                      <a:lnTo>
                        <a:pt x="237" y="407"/>
                      </a:lnTo>
                      <a:lnTo>
                        <a:pt x="237" y="408"/>
                      </a:lnTo>
                      <a:lnTo>
                        <a:pt x="235" y="409"/>
                      </a:lnTo>
                      <a:lnTo>
                        <a:pt x="234" y="409"/>
                      </a:lnTo>
                      <a:lnTo>
                        <a:pt x="231" y="409"/>
                      </a:lnTo>
                      <a:lnTo>
                        <a:pt x="227" y="409"/>
                      </a:lnTo>
                      <a:lnTo>
                        <a:pt x="226" y="409"/>
                      </a:lnTo>
                      <a:lnTo>
                        <a:pt x="225" y="409"/>
                      </a:lnTo>
                      <a:lnTo>
                        <a:pt x="224" y="408"/>
                      </a:lnTo>
                      <a:lnTo>
                        <a:pt x="222" y="408"/>
                      </a:lnTo>
                      <a:lnTo>
                        <a:pt x="219" y="407"/>
                      </a:lnTo>
                      <a:lnTo>
                        <a:pt x="218" y="407"/>
                      </a:lnTo>
                      <a:lnTo>
                        <a:pt x="217" y="407"/>
                      </a:lnTo>
                      <a:lnTo>
                        <a:pt x="213" y="407"/>
                      </a:lnTo>
                      <a:lnTo>
                        <a:pt x="212" y="407"/>
                      </a:lnTo>
                      <a:lnTo>
                        <a:pt x="211" y="408"/>
                      </a:lnTo>
                      <a:lnTo>
                        <a:pt x="210" y="408"/>
                      </a:lnTo>
                      <a:lnTo>
                        <a:pt x="208" y="408"/>
                      </a:lnTo>
                      <a:lnTo>
                        <a:pt x="206" y="407"/>
                      </a:lnTo>
                      <a:lnTo>
                        <a:pt x="206" y="408"/>
                      </a:lnTo>
                      <a:lnTo>
                        <a:pt x="205" y="408"/>
                      </a:lnTo>
                      <a:lnTo>
                        <a:pt x="205" y="409"/>
                      </a:lnTo>
                      <a:lnTo>
                        <a:pt x="205" y="411"/>
                      </a:lnTo>
                      <a:lnTo>
                        <a:pt x="205" y="412"/>
                      </a:lnTo>
                      <a:lnTo>
                        <a:pt x="204" y="412"/>
                      </a:lnTo>
                      <a:lnTo>
                        <a:pt x="203" y="413"/>
                      </a:lnTo>
                      <a:lnTo>
                        <a:pt x="203" y="414"/>
                      </a:lnTo>
                      <a:lnTo>
                        <a:pt x="201" y="415"/>
                      </a:lnTo>
                      <a:lnTo>
                        <a:pt x="200" y="416"/>
                      </a:lnTo>
                      <a:lnTo>
                        <a:pt x="200" y="418"/>
                      </a:lnTo>
                      <a:lnTo>
                        <a:pt x="200" y="419"/>
                      </a:lnTo>
                      <a:lnTo>
                        <a:pt x="199" y="416"/>
                      </a:lnTo>
                      <a:lnTo>
                        <a:pt x="198" y="416"/>
                      </a:lnTo>
                      <a:lnTo>
                        <a:pt x="197" y="414"/>
                      </a:lnTo>
                      <a:lnTo>
                        <a:pt x="196" y="413"/>
                      </a:lnTo>
                      <a:lnTo>
                        <a:pt x="187" y="407"/>
                      </a:lnTo>
                      <a:lnTo>
                        <a:pt x="184" y="402"/>
                      </a:lnTo>
                      <a:lnTo>
                        <a:pt x="183" y="401"/>
                      </a:lnTo>
                      <a:lnTo>
                        <a:pt x="180" y="401"/>
                      </a:lnTo>
                      <a:lnTo>
                        <a:pt x="180" y="402"/>
                      </a:lnTo>
                      <a:lnTo>
                        <a:pt x="179" y="402"/>
                      </a:lnTo>
                      <a:lnTo>
                        <a:pt x="178" y="404"/>
                      </a:lnTo>
                      <a:lnTo>
                        <a:pt x="177" y="405"/>
                      </a:lnTo>
                      <a:lnTo>
                        <a:pt x="176" y="405"/>
                      </a:lnTo>
                      <a:lnTo>
                        <a:pt x="175" y="405"/>
                      </a:lnTo>
                      <a:lnTo>
                        <a:pt x="173" y="405"/>
                      </a:lnTo>
                      <a:lnTo>
                        <a:pt x="173" y="406"/>
                      </a:lnTo>
                      <a:lnTo>
                        <a:pt x="173" y="407"/>
                      </a:lnTo>
                      <a:lnTo>
                        <a:pt x="172" y="408"/>
                      </a:lnTo>
                      <a:lnTo>
                        <a:pt x="172" y="411"/>
                      </a:lnTo>
                      <a:lnTo>
                        <a:pt x="171" y="413"/>
                      </a:lnTo>
                      <a:lnTo>
                        <a:pt x="171" y="415"/>
                      </a:lnTo>
                      <a:lnTo>
                        <a:pt x="170" y="416"/>
                      </a:lnTo>
                      <a:lnTo>
                        <a:pt x="170" y="418"/>
                      </a:lnTo>
                      <a:lnTo>
                        <a:pt x="170" y="419"/>
                      </a:lnTo>
                      <a:lnTo>
                        <a:pt x="170" y="420"/>
                      </a:lnTo>
                      <a:lnTo>
                        <a:pt x="170" y="421"/>
                      </a:lnTo>
                      <a:lnTo>
                        <a:pt x="171" y="421"/>
                      </a:lnTo>
                      <a:lnTo>
                        <a:pt x="171" y="422"/>
                      </a:lnTo>
                      <a:lnTo>
                        <a:pt x="171" y="423"/>
                      </a:lnTo>
                      <a:lnTo>
                        <a:pt x="171" y="425"/>
                      </a:lnTo>
                      <a:lnTo>
                        <a:pt x="171" y="426"/>
                      </a:lnTo>
                      <a:lnTo>
                        <a:pt x="170" y="426"/>
                      </a:lnTo>
                      <a:lnTo>
                        <a:pt x="170" y="427"/>
                      </a:lnTo>
                      <a:lnTo>
                        <a:pt x="170" y="428"/>
                      </a:lnTo>
                      <a:lnTo>
                        <a:pt x="169" y="428"/>
                      </a:lnTo>
                      <a:lnTo>
                        <a:pt x="168" y="428"/>
                      </a:lnTo>
                      <a:lnTo>
                        <a:pt x="168" y="429"/>
                      </a:lnTo>
                      <a:lnTo>
                        <a:pt x="167" y="429"/>
                      </a:lnTo>
                      <a:lnTo>
                        <a:pt x="165" y="430"/>
                      </a:lnTo>
                      <a:lnTo>
                        <a:pt x="164" y="430"/>
                      </a:lnTo>
                      <a:lnTo>
                        <a:pt x="163" y="432"/>
                      </a:lnTo>
                      <a:lnTo>
                        <a:pt x="162" y="430"/>
                      </a:lnTo>
                      <a:lnTo>
                        <a:pt x="161" y="429"/>
                      </a:lnTo>
                      <a:lnTo>
                        <a:pt x="161" y="430"/>
                      </a:lnTo>
                      <a:lnTo>
                        <a:pt x="160" y="430"/>
                      </a:lnTo>
                      <a:lnTo>
                        <a:pt x="158" y="430"/>
                      </a:lnTo>
                      <a:lnTo>
                        <a:pt x="157" y="430"/>
                      </a:lnTo>
                      <a:lnTo>
                        <a:pt x="155" y="429"/>
                      </a:lnTo>
                      <a:lnTo>
                        <a:pt x="154" y="428"/>
                      </a:lnTo>
                      <a:lnTo>
                        <a:pt x="153" y="427"/>
                      </a:lnTo>
                      <a:lnTo>
                        <a:pt x="151" y="426"/>
                      </a:lnTo>
                      <a:lnTo>
                        <a:pt x="150" y="423"/>
                      </a:lnTo>
                      <a:lnTo>
                        <a:pt x="150" y="422"/>
                      </a:lnTo>
                      <a:lnTo>
                        <a:pt x="149" y="422"/>
                      </a:lnTo>
                      <a:lnTo>
                        <a:pt x="148" y="421"/>
                      </a:lnTo>
                      <a:lnTo>
                        <a:pt x="147" y="420"/>
                      </a:lnTo>
                      <a:lnTo>
                        <a:pt x="146" y="420"/>
                      </a:lnTo>
                      <a:lnTo>
                        <a:pt x="144" y="420"/>
                      </a:lnTo>
                      <a:lnTo>
                        <a:pt x="143" y="420"/>
                      </a:lnTo>
                      <a:lnTo>
                        <a:pt x="142" y="420"/>
                      </a:lnTo>
                      <a:lnTo>
                        <a:pt x="142" y="419"/>
                      </a:lnTo>
                      <a:lnTo>
                        <a:pt x="141" y="419"/>
                      </a:lnTo>
                      <a:lnTo>
                        <a:pt x="141" y="418"/>
                      </a:lnTo>
                      <a:lnTo>
                        <a:pt x="141" y="416"/>
                      </a:lnTo>
                      <a:lnTo>
                        <a:pt x="140" y="416"/>
                      </a:lnTo>
                      <a:lnTo>
                        <a:pt x="140" y="415"/>
                      </a:lnTo>
                      <a:lnTo>
                        <a:pt x="139" y="415"/>
                      </a:lnTo>
                      <a:lnTo>
                        <a:pt x="137" y="415"/>
                      </a:lnTo>
                      <a:lnTo>
                        <a:pt x="136" y="414"/>
                      </a:lnTo>
                      <a:lnTo>
                        <a:pt x="137" y="414"/>
                      </a:lnTo>
                      <a:lnTo>
                        <a:pt x="139" y="414"/>
                      </a:lnTo>
                      <a:lnTo>
                        <a:pt x="139" y="413"/>
                      </a:lnTo>
                      <a:lnTo>
                        <a:pt x="136" y="412"/>
                      </a:lnTo>
                      <a:lnTo>
                        <a:pt x="136" y="411"/>
                      </a:lnTo>
                      <a:lnTo>
                        <a:pt x="135" y="411"/>
                      </a:lnTo>
                      <a:lnTo>
                        <a:pt x="135" y="409"/>
                      </a:lnTo>
                      <a:lnTo>
                        <a:pt x="135" y="408"/>
                      </a:lnTo>
                      <a:lnTo>
                        <a:pt x="135" y="407"/>
                      </a:lnTo>
                      <a:lnTo>
                        <a:pt x="134" y="406"/>
                      </a:lnTo>
                      <a:lnTo>
                        <a:pt x="133" y="406"/>
                      </a:lnTo>
                      <a:lnTo>
                        <a:pt x="133" y="407"/>
                      </a:lnTo>
                      <a:lnTo>
                        <a:pt x="132" y="407"/>
                      </a:lnTo>
                      <a:lnTo>
                        <a:pt x="130" y="407"/>
                      </a:lnTo>
                      <a:lnTo>
                        <a:pt x="130" y="406"/>
                      </a:lnTo>
                      <a:lnTo>
                        <a:pt x="130" y="405"/>
                      </a:lnTo>
                      <a:lnTo>
                        <a:pt x="130" y="404"/>
                      </a:lnTo>
                      <a:lnTo>
                        <a:pt x="129" y="404"/>
                      </a:lnTo>
                      <a:lnTo>
                        <a:pt x="128" y="404"/>
                      </a:lnTo>
                      <a:lnTo>
                        <a:pt x="128" y="402"/>
                      </a:lnTo>
                      <a:lnTo>
                        <a:pt x="127" y="402"/>
                      </a:lnTo>
                      <a:lnTo>
                        <a:pt x="126" y="402"/>
                      </a:lnTo>
                      <a:lnTo>
                        <a:pt x="126" y="401"/>
                      </a:lnTo>
                      <a:lnTo>
                        <a:pt x="126" y="400"/>
                      </a:lnTo>
                      <a:lnTo>
                        <a:pt x="126" y="399"/>
                      </a:lnTo>
                      <a:lnTo>
                        <a:pt x="125" y="399"/>
                      </a:lnTo>
                      <a:lnTo>
                        <a:pt x="125" y="398"/>
                      </a:lnTo>
                      <a:lnTo>
                        <a:pt x="123" y="398"/>
                      </a:lnTo>
                      <a:lnTo>
                        <a:pt x="125" y="397"/>
                      </a:lnTo>
                      <a:lnTo>
                        <a:pt x="123" y="395"/>
                      </a:lnTo>
                      <a:lnTo>
                        <a:pt x="123" y="394"/>
                      </a:lnTo>
                      <a:lnTo>
                        <a:pt x="123" y="393"/>
                      </a:lnTo>
                      <a:lnTo>
                        <a:pt x="122" y="392"/>
                      </a:lnTo>
                      <a:lnTo>
                        <a:pt x="121" y="392"/>
                      </a:lnTo>
                      <a:lnTo>
                        <a:pt x="121" y="391"/>
                      </a:lnTo>
                      <a:lnTo>
                        <a:pt x="121" y="390"/>
                      </a:lnTo>
                      <a:lnTo>
                        <a:pt x="121" y="388"/>
                      </a:lnTo>
                      <a:lnTo>
                        <a:pt x="120" y="388"/>
                      </a:lnTo>
                      <a:lnTo>
                        <a:pt x="119" y="387"/>
                      </a:lnTo>
                      <a:lnTo>
                        <a:pt x="118" y="387"/>
                      </a:lnTo>
                      <a:lnTo>
                        <a:pt x="116" y="387"/>
                      </a:lnTo>
                      <a:lnTo>
                        <a:pt x="118" y="386"/>
                      </a:lnTo>
                      <a:lnTo>
                        <a:pt x="118" y="385"/>
                      </a:lnTo>
                      <a:lnTo>
                        <a:pt x="116" y="385"/>
                      </a:lnTo>
                      <a:lnTo>
                        <a:pt x="116" y="386"/>
                      </a:lnTo>
                      <a:lnTo>
                        <a:pt x="115" y="386"/>
                      </a:lnTo>
                      <a:lnTo>
                        <a:pt x="114" y="386"/>
                      </a:lnTo>
                      <a:lnTo>
                        <a:pt x="113" y="386"/>
                      </a:lnTo>
                      <a:lnTo>
                        <a:pt x="112" y="387"/>
                      </a:lnTo>
                      <a:lnTo>
                        <a:pt x="111" y="387"/>
                      </a:lnTo>
                      <a:lnTo>
                        <a:pt x="111" y="386"/>
                      </a:lnTo>
                      <a:lnTo>
                        <a:pt x="109" y="386"/>
                      </a:lnTo>
                      <a:lnTo>
                        <a:pt x="109" y="385"/>
                      </a:lnTo>
                      <a:lnTo>
                        <a:pt x="111" y="385"/>
                      </a:lnTo>
                      <a:lnTo>
                        <a:pt x="111" y="384"/>
                      </a:lnTo>
                      <a:lnTo>
                        <a:pt x="109" y="384"/>
                      </a:lnTo>
                      <a:lnTo>
                        <a:pt x="109" y="385"/>
                      </a:lnTo>
                      <a:lnTo>
                        <a:pt x="108" y="385"/>
                      </a:lnTo>
                      <a:lnTo>
                        <a:pt x="108" y="386"/>
                      </a:lnTo>
                      <a:lnTo>
                        <a:pt x="107" y="386"/>
                      </a:lnTo>
                      <a:lnTo>
                        <a:pt x="107" y="387"/>
                      </a:lnTo>
                      <a:lnTo>
                        <a:pt x="106" y="387"/>
                      </a:lnTo>
                      <a:lnTo>
                        <a:pt x="106" y="386"/>
                      </a:lnTo>
                      <a:lnTo>
                        <a:pt x="105" y="386"/>
                      </a:lnTo>
                      <a:lnTo>
                        <a:pt x="105" y="385"/>
                      </a:lnTo>
                      <a:lnTo>
                        <a:pt x="105" y="384"/>
                      </a:lnTo>
                      <a:lnTo>
                        <a:pt x="104" y="384"/>
                      </a:lnTo>
                      <a:lnTo>
                        <a:pt x="103" y="384"/>
                      </a:lnTo>
                      <a:lnTo>
                        <a:pt x="103" y="383"/>
                      </a:lnTo>
                      <a:lnTo>
                        <a:pt x="103" y="381"/>
                      </a:lnTo>
                      <a:lnTo>
                        <a:pt x="101" y="381"/>
                      </a:lnTo>
                      <a:lnTo>
                        <a:pt x="101" y="380"/>
                      </a:lnTo>
                      <a:lnTo>
                        <a:pt x="101" y="379"/>
                      </a:lnTo>
                      <a:lnTo>
                        <a:pt x="100" y="379"/>
                      </a:lnTo>
                      <a:lnTo>
                        <a:pt x="100" y="378"/>
                      </a:lnTo>
                      <a:lnTo>
                        <a:pt x="99" y="378"/>
                      </a:lnTo>
                      <a:lnTo>
                        <a:pt x="97" y="376"/>
                      </a:lnTo>
                      <a:lnTo>
                        <a:pt x="96" y="374"/>
                      </a:lnTo>
                      <a:lnTo>
                        <a:pt x="94" y="374"/>
                      </a:lnTo>
                      <a:lnTo>
                        <a:pt x="94" y="373"/>
                      </a:lnTo>
                      <a:lnTo>
                        <a:pt x="93" y="373"/>
                      </a:lnTo>
                      <a:lnTo>
                        <a:pt x="92" y="373"/>
                      </a:lnTo>
                      <a:lnTo>
                        <a:pt x="92" y="372"/>
                      </a:lnTo>
                      <a:lnTo>
                        <a:pt x="91" y="372"/>
                      </a:lnTo>
                      <a:lnTo>
                        <a:pt x="90" y="372"/>
                      </a:lnTo>
                      <a:lnTo>
                        <a:pt x="90" y="371"/>
                      </a:lnTo>
                      <a:lnTo>
                        <a:pt x="90" y="370"/>
                      </a:lnTo>
                      <a:lnTo>
                        <a:pt x="87" y="369"/>
                      </a:lnTo>
                      <a:lnTo>
                        <a:pt x="86" y="370"/>
                      </a:lnTo>
                      <a:lnTo>
                        <a:pt x="85" y="370"/>
                      </a:lnTo>
                      <a:lnTo>
                        <a:pt x="84" y="370"/>
                      </a:lnTo>
                      <a:lnTo>
                        <a:pt x="83" y="370"/>
                      </a:lnTo>
                      <a:lnTo>
                        <a:pt x="82" y="370"/>
                      </a:lnTo>
                      <a:lnTo>
                        <a:pt x="80" y="370"/>
                      </a:lnTo>
                      <a:lnTo>
                        <a:pt x="79" y="370"/>
                      </a:lnTo>
                      <a:lnTo>
                        <a:pt x="78" y="370"/>
                      </a:lnTo>
                      <a:lnTo>
                        <a:pt x="72" y="370"/>
                      </a:lnTo>
                      <a:lnTo>
                        <a:pt x="71" y="370"/>
                      </a:lnTo>
                      <a:lnTo>
                        <a:pt x="70" y="369"/>
                      </a:lnTo>
                      <a:lnTo>
                        <a:pt x="69" y="369"/>
                      </a:lnTo>
                      <a:lnTo>
                        <a:pt x="69" y="370"/>
                      </a:lnTo>
                      <a:lnTo>
                        <a:pt x="68" y="370"/>
                      </a:lnTo>
                      <a:lnTo>
                        <a:pt x="68" y="371"/>
                      </a:lnTo>
                      <a:lnTo>
                        <a:pt x="66" y="370"/>
                      </a:lnTo>
                      <a:lnTo>
                        <a:pt x="65" y="370"/>
                      </a:lnTo>
                      <a:lnTo>
                        <a:pt x="65" y="371"/>
                      </a:lnTo>
                      <a:lnTo>
                        <a:pt x="66" y="371"/>
                      </a:lnTo>
                      <a:lnTo>
                        <a:pt x="65" y="372"/>
                      </a:lnTo>
                      <a:lnTo>
                        <a:pt x="62" y="373"/>
                      </a:lnTo>
                      <a:lnTo>
                        <a:pt x="61" y="373"/>
                      </a:lnTo>
                      <a:lnTo>
                        <a:pt x="59" y="372"/>
                      </a:lnTo>
                      <a:lnTo>
                        <a:pt x="58" y="372"/>
                      </a:lnTo>
                      <a:lnTo>
                        <a:pt x="58" y="373"/>
                      </a:lnTo>
                      <a:lnTo>
                        <a:pt x="57" y="373"/>
                      </a:lnTo>
                      <a:lnTo>
                        <a:pt x="56" y="373"/>
                      </a:lnTo>
                      <a:lnTo>
                        <a:pt x="55" y="373"/>
                      </a:lnTo>
                      <a:lnTo>
                        <a:pt x="55" y="372"/>
                      </a:lnTo>
                      <a:lnTo>
                        <a:pt x="54" y="372"/>
                      </a:lnTo>
                      <a:lnTo>
                        <a:pt x="54" y="373"/>
                      </a:lnTo>
                      <a:lnTo>
                        <a:pt x="52" y="374"/>
                      </a:lnTo>
                      <a:lnTo>
                        <a:pt x="51" y="374"/>
                      </a:lnTo>
                      <a:lnTo>
                        <a:pt x="50" y="374"/>
                      </a:lnTo>
                      <a:lnTo>
                        <a:pt x="49" y="374"/>
                      </a:lnTo>
                      <a:lnTo>
                        <a:pt x="48" y="376"/>
                      </a:lnTo>
                      <a:lnTo>
                        <a:pt x="47" y="376"/>
                      </a:lnTo>
                      <a:lnTo>
                        <a:pt x="45" y="376"/>
                      </a:lnTo>
                      <a:lnTo>
                        <a:pt x="44" y="376"/>
                      </a:lnTo>
                      <a:lnTo>
                        <a:pt x="43" y="374"/>
                      </a:lnTo>
                      <a:lnTo>
                        <a:pt x="42" y="374"/>
                      </a:lnTo>
                      <a:lnTo>
                        <a:pt x="41" y="374"/>
                      </a:lnTo>
                      <a:lnTo>
                        <a:pt x="40" y="374"/>
                      </a:lnTo>
                      <a:lnTo>
                        <a:pt x="39" y="376"/>
                      </a:lnTo>
                      <a:lnTo>
                        <a:pt x="37" y="376"/>
                      </a:lnTo>
                      <a:lnTo>
                        <a:pt x="36" y="376"/>
                      </a:lnTo>
                      <a:lnTo>
                        <a:pt x="35" y="376"/>
                      </a:lnTo>
                      <a:lnTo>
                        <a:pt x="34" y="374"/>
                      </a:lnTo>
                      <a:lnTo>
                        <a:pt x="33" y="373"/>
                      </a:lnTo>
                      <a:lnTo>
                        <a:pt x="32" y="374"/>
                      </a:lnTo>
                      <a:lnTo>
                        <a:pt x="30" y="374"/>
                      </a:lnTo>
                      <a:lnTo>
                        <a:pt x="29" y="374"/>
                      </a:lnTo>
                      <a:lnTo>
                        <a:pt x="28" y="374"/>
                      </a:lnTo>
                      <a:lnTo>
                        <a:pt x="28" y="376"/>
                      </a:lnTo>
                      <a:lnTo>
                        <a:pt x="27" y="376"/>
                      </a:lnTo>
                      <a:lnTo>
                        <a:pt x="27" y="377"/>
                      </a:lnTo>
                      <a:lnTo>
                        <a:pt x="26" y="378"/>
                      </a:lnTo>
                      <a:lnTo>
                        <a:pt x="25" y="384"/>
                      </a:lnTo>
                      <a:lnTo>
                        <a:pt x="25" y="385"/>
                      </a:lnTo>
                      <a:lnTo>
                        <a:pt x="23" y="385"/>
                      </a:lnTo>
                      <a:lnTo>
                        <a:pt x="22" y="386"/>
                      </a:lnTo>
                      <a:lnTo>
                        <a:pt x="22" y="388"/>
                      </a:lnTo>
                      <a:lnTo>
                        <a:pt x="22" y="390"/>
                      </a:lnTo>
                      <a:lnTo>
                        <a:pt x="21" y="392"/>
                      </a:lnTo>
                      <a:lnTo>
                        <a:pt x="21" y="395"/>
                      </a:lnTo>
                      <a:lnTo>
                        <a:pt x="21" y="398"/>
                      </a:lnTo>
                      <a:lnTo>
                        <a:pt x="20" y="399"/>
                      </a:lnTo>
                      <a:lnTo>
                        <a:pt x="21" y="393"/>
                      </a:lnTo>
                      <a:lnTo>
                        <a:pt x="20" y="390"/>
                      </a:lnTo>
                      <a:lnTo>
                        <a:pt x="20" y="384"/>
                      </a:lnTo>
                      <a:lnTo>
                        <a:pt x="20" y="381"/>
                      </a:lnTo>
                      <a:lnTo>
                        <a:pt x="20" y="380"/>
                      </a:lnTo>
                      <a:lnTo>
                        <a:pt x="21" y="379"/>
                      </a:lnTo>
                      <a:lnTo>
                        <a:pt x="21" y="377"/>
                      </a:lnTo>
                      <a:lnTo>
                        <a:pt x="22" y="377"/>
                      </a:lnTo>
                      <a:lnTo>
                        <a:pt x="22" y="376"/>
                      </a:lnTo>
                      <a:lnTo>
                        <a:pt x="22" y="372"/>
                      </a:lnTo>
                      <a:lnTo>
                        <a:pt x="22" y="371"/>
                      </a:lnTo>
                      <a:lnTo>
                        <a:pt x="25" y="364"/>
                      </a:lnTo>
                      <a:lnTo>
                        <a:pt x="26" y="363"/>
                      </a:lnTo>
                      <a:lnTo>
                        <a:pt x="26" y="360"/>
                      </a:lnTo>
                      <a:lnTo>
                        <a:pt x="26" y="359"/>
                      </a:lnTo>
                      <a:lnTo>
                        <a:pt x="28" y="358"/>
                      </a:lnTo>
                      <a:lnTo>
                        <a:pt x="30" y="351"/>
                      </a:lnTo>
                      <a:lnTo>
                        <a:pt x="32" y="350"/>
                      </a:lnTo>
                      <a:lnTo>
                        <a:pt x="34" y="341"/>
                      </a:lnTo>
                      <a:lnTo>
                        <a:pt x="35" y="337"/>
                      </a:lnTo>
                      <a:lnTo>
                        <a:pt x="35" y="333"/>
                      </a:lnTo>
                      <a:lnTo>
                        <a:pt x="35" y="327"/>
                      </a:lnTo>
                      <a:lnTo>
                        <a:pt x="35" y="321"/>
                      </a:lnTo>
                      <a:lnTo>
                        <a:pt x="34" y="309"/>
                      </a:lnTo>
                      <a:lnTo>
                        <a:pt x="33" y="308"/>
                      </a:lnTo>
                      <a:lnTo>
                        <a:pt x="32" y="305"/>
                      </a:lnTo>
                      <a:lnTo>
                        <a:pt x="30" y="300"/>
                      </a:lnTo>
                      <a:lnTo>
                        <a:pt x="30" y="299"/>
                      </a:lnTo>
                      <a:lnTo>
                        <a:pt x="30" y="298"/>
                      </a:lnTo>
                      <a:lnTo>
                        <a:pt x="29" y="293"/>
                      </a:lnTo>
                      <a:lnTo>
                        <a:pt x="29" y="292"/>
                      </a:lnTo>
                      <a:lnTo>
                        <a:pt x="28" y="291"/>
                      </a:lnTo>
                      <a:lnTo>
                        <a:pt x="26" y="288"/>
                      </a:lnTo>
                      <a:lnTo>
                        <a:pt x="25" y="286"/>
                      </a:lnTo>
                      <a:lnTo>
                        <a:pt x="23" y="285"/>
                      </a:lnTo>
                      <a:lnTo>
                        <a:pt x="22" y="285"/>
                      </a:lnTo>
                      <a:lnTo>
                        <a:pt x="21" y="284"/>
                      </a:lnTo>
                      <a:lnTo>
                        <a:pt x="20" y="284"/>
                      </a:lnTo>
                      <a:lnTo>
                        <a:pt x="20" y="281"/>
                      </a:lnTo>
                      <a:lnTo>
                        <a:pt x="19" y="280"/>
                      </a:lnTo>
                      <a:lnTo>
                        <a:pt x="18" y="280"/>
                      </a:lnTo>
                      <a:lnTo>
                        <a:pt x="19" y="279"/>
                      </a:lnTo>
                      <a:lnTo>
                        <a:pt x="20" y="279"/>
                      </a:lnTo>
                      <a:lnTo>
                        <a:pt x="22" y="279"/>
                      </a:lnTo>
                      <a:lnTo>
                        <a:pt x="23" y="278"/>
                      </a:lnTo>
                      <a:lnTo>
                        <a:pt x="25" y="277"/>
                      </a:lnTo>
                      <a:lnTo>
                        <a:pt x="26" y="275"/>
                      </a:lnTo>
                      <a:lnTo>
                        <a:pt x="26" y="274"/>
                      </a:lnTo>
                      <a:lnTo>
                        <a:pt x="23" y="275"/>
                      </a:lnTo>
                      <a:lnTo>
                        <a:pt x="22" y="277"/>
                      </a:lnTo>
                      <a:lnTo>
                        <a:pt x="23" y="274"/>
                      </a:lnTo>
                      <a:lnTo>
                        <a:pt x="22" y="275"/>
                      </a:lnTo>
                      <a:lnTo>
                        <a:pt x="21" y="277"/>
                      </a:lnTo>
                      <a:lnTo>
                        <a:pt x="21" y="278"/>
                      </a:lnTo>
                      <a:lnTo>
                        <a:pt x="21" y="279"/>
                      </a:lnTo>
                      <a:lnTo>
                        <a:pt x="20" y="279"/>
                      </a:lnTo>
                      <a:lnTo>
                        <a:pt x="20" y="278"/>
                      </a:lnTo>
                      <a:lnTo>
                        <a:pt x="20" y="277"/>
                      </a:lnTo>
                      <a:lnTo>
                        <a:pt x="21" y="275"/>
                      </a:lnTo>
                      <a:lnTo>
                        <a:pt x="21" y="274"/>
                      </a:lnTo>
                      <a:lnTo>
                        <a:pt x="22" y="273"/>
                      </a:lnTo>
                      <a:lnTo>
                        <a:pt x="26" y="268"/>
                      </a:lnTo>
                      <a:lnTo>
                        <a:pt x="26" y="267"/>
                      </a:lnTo>
                      <a:lnTo>
                        <a:pt x="27" y="267"/>
                      </a:lnTo>
                      <a:lnTo>
                        <a:pt x="27" y="266"/>
                      </a:lnTo>
                      <a:lnTo>
                        <a:pt x="27" y="265"/>
                      </a:lnTo>
                      <a:lnTo>
                        <a:pt x="27" y="264"/>
                      </a:lnTo>
                      <a:lnTo>
                        <a:pt x="27" y="263"/>
                      </a:lnTo>
                      <a:lnTo>
                        <a:pt x="27" y="264"/>
                      </a:lnTo>
                      <a:lnTo>
                        <a:pt x="27" y="263"/>
                      </a:lnTo>
                      <a:lnTo>
                        <a:pt x="27" y="261"/>
                      </a:lnTo>
                      <a:lnTo>
                        <a:pt x="26" y="261"/>
                      </a:lnTo>
                      <a:lnTo>
                        <a:pt x="26" y="263"/>
                      </a:lnTo>
                      <a:lnTo>
                        <a:pt x="25" y="263"/>
                      </a:lnTo>
                      <a:lnTo>
                        <a:pt x="25" y="261"/>
                      </a:lnTo>
                      <a:lnTo>
                        <a:pt x="26" y="261"/>
                      </a:lnTo>
                      <a:lnTo>
                        <a:pt x="27" y="259"/>
                      </a:lnTo>
                      <a:lnTo>
                        <a:pt x="28" y="258"/>
                      </a:lnTo>
                      <a:lnTo>
                        <a:pt x="28" y="257"/>
                      </a:lnTo>
                      <a:lnTo>
                        <a:pt x="27" y="254"/>
                      </a:lnTo>
                      <a:lnTo>
                        <a:pt x="27" y="253"/>
                      </a:lnTo>
                      <a:lnTo>
                        <a:pt x="28" y="252"/>
                      </a:lnTo>
                      <a:lnTo>
                        <a:pt x="28" y="251"/>
                      </a:lnTo>
                      <a:lnTo>
                        <a:pt x="28" y="250"/>
                      </a:lnTo>
                      <a:lnTo>
                        <a:pt x="27" y="249"/>
                      </a:lnTo>
                      <a:lnTo>
                        <a:pt x="26" y="249"/>
                      </a:lnTo>
                      <a:lnTo>
                        <a:pt x="26" y="247"/>
                      </a:lnTo>
                      <a:lnTo>
                        <a:pt x="25" y="247"/>
                      </a:lnTo>
                      <a:lnTo>
                        <a:pt x="25" y="245"/>
                      </a:lnTo>
                      <a:lnTo>
                        <a:pt x="23" y="245"/>
                      </a:lnTo>
                      <a:lnTo>
                        <a:pt x="23" y="244"/>
                      </a:lnTo>
                      <a:lnTo>
                        <a:pt x="23" y="243"/>
                      </a:lnTo>
                      <a:lnTo>
                        <a:pt x="22" y="239"/>
                      </a:lnTo>
                      <a:lnTo>
                        <a:pt x="21" y="239"/>
                      </a:lnTo>
                      <a:lnTo>
                        <a:pt x="21" y="238"/>
                      </a:lnTo>
                      <a:lnTo>
                        <a:pt x="21" y="237"/>
                      </a:lnTo>
                      <a:lnTo>
                        <a:pt x="20" y="237"/>
                      </a:lnTo>
                      <a:lnTo>
                        <a:pt x="20" y="236"/>
                      </a:lnTo>
                      <a:lnTo>
                        <a:pt x="21" y="236"/>
                      </a:lnTo>
                      <a:lnTo>
                        <a:pt x="20" y="236"/>
                      </a:lnTo>
                      <a:lnTo>
                        <a:pt x="19" y="236"/>
                      </a:lnTo>
                      <a:lnTo>
                        <a:pt x="19" y="235"/>
                      </a:lnTo>
                      <a:lnTo>
                        <a:pt x="19" y="233"/>
                      </a:lnTo>
                      <a:lnTo>
                        <a:pt x="18" y="233"/>
                      </a:lnTo>
                      <a:lnTo>
                        <a:pt x="18" y="235"/>
                      </a:lnTo>
                      <a:lnTo>
                        <a:pt x="18" y="238"/>
                      </a:lnTo>
                      <a:lnTo>
                        <a:pt x="18" y="239"/>
                      </a:lnTo>
                      <a:lnTo>
                        <a:pt x="16" y="239"/>
                      </a:lnTo>
                      <a:lnTo>
                        <a:pt x="16" y="238"/>
                      </a:lnTo>
                      <a:lnTo>
                        <a:pt x="15" y="238"/>
                      </a:lnTo>
                      <a:lnTo>
                        <a:pt x="15" y="237"/>
                      </a:lnTo>
                      <a:lnTo>
                        <a:pt x="14" y="237"/>
                      </a:lnTo>
                      <a:lnTo>
                        <a:pt x="13" y="236"/>
                      </a:lnTo>
                      <a:lnTo>
                        <a:pt x="13" y="235"/>
                      </a:lnTo>
                      <a:lnTo>
                        <a:pt x="13" y="233"/>
                      </a:lnTo>
                      <a:lnTo>
                        <a:pt x="12" y="232"/>
                      </a:lnTo>
                      <a:lnTo>
                        <a:pt x="12" y="231"/>
                      </a:lnTo>
                      <a:lnTo>
                        <a:pt x="11" y="231"/>
                      </a:lnTo>
                      <a:lnTo>
                        <a:pt x="11" y="229"/>
                      </a:lnTo>
                      <a:lnTo>
                        <a:pt x="9" y="229"/>
                      </a:lnTo>
                      <a:lnTo>
                        <a:pt x="9" y="228"/>
                      </a:lnTo>
                      <a:lnTo>
                        <a:pt x="9" y="226"/>
                      </a:lnTo>
                      <a:lnTo>
                        <a:pt x="9" y="228"/>
                      </a:lnTo>
                      <a:lnTo>
                        <a:pt x="8" y="226"/>
                      </a:lnTo>
                      <a:lnTo>
                        <a:pt x="8" y="225"/>
                      </a:lnTo>
                      <a:lnTo>
                        <a:pt x="7" y="225"/>
                      </a:lnTo>
                      <a:lnTo>
                        <a:pt x="7" y="224"/>
                      </a:lnTo>
                      <a:lnTo>
                        <a:pt x="6" y="223"/>
                      </a:lnTo>
                      <a:lnTo>
                        <a:pt x="6" y="222"/>
                      </a:lnTo>
                      <a:lnTo>
                        <a:pt x="6" y="221"/>
                      </a:lnTo>
                      <a:lnTo>
                        <a:pt x="5" y="221"/>
                      </a:lnTo>
                      <a:lnTo>
                        <a:pt x="5" y="219"/>
                      </a:lnTo>
                      <a:lnTo>
                        <a:pt x="4" y="222"/>
                      </a:lnTo>
                      <a:lnTo>
                        <a:pt x="2" y="223"/>
                      </a:lnTo>
                      <a:lnTo>
                        <a:pt x="1" y="223"/>
                      </a:lnTo>
                      <a:lnTo>
                        <a:pt x="1" y="224"/>
                      </a:lnTo>
                      <a:lnTo>
                        <a:pt x="2" y="224"/>
                      </a:lnTo>
                      <a:lnTo>
                        <a:pt x="2" y="225"/>
                      </a:lnTo>
                      <a:lnTo>
                        <a:pt x="2" y="226"/>
                      </a:lnTo>
                      <a:lnTo>
                        <a:pt x="2" y="228"/>
                      </a:lnTo>
                      <a:lnTo>
                        <a:pt x="1" y="228"/>
                      </a:lnTo>
                      <a:lnTo>
                        <a:pt x="0" y="229"/>
                      </a:lnTo>
                      <a:lnTo>
                        <a:pt x="1" y="229"/>
                      </a:lnTo>
                      <a:lnTo>
                        <a:pt x="1" y="230"/>
                      </a:lnTo>
                      <a:lnTo>
                        <a:pt x="1" y="232"/>
                      </a:lnTo>
                      <a:lnTo>
                        <a:pt x="0" y="233"/>
                      </a:lnTo>
                      <a:lnTo>
                        <a:pt x="0" y="229"/>
                      </a:lnTo>
                      <a:lnTo>
                        <a:pt x="0" y="225"/>
                      </a:lnTo>
                      <a:lnTo>
                        <a:pt x="0" y="224"/>
                      </a:lnTo>
                      <a:lnTo>
                        <a:pt x="2" y="221"/>
                      </a:lnTo>
                      <a:lnTo>
                        <a:pt x="2" y="217"/>
                      </a:lnTo>
                      <a:lnTo>
                        <a:pt x="2" y="214"/>
                      </a:lnTo>
                      <a:lnTo>
                        <a:pt x="4" y="214"/>
                      </a:lnTo>
                      <a:lnTo>
                        <a:pt x="7" y="214"/>
                      </a:lnTo>
                      <a:lnTo>
                        <a:pt x="8" y="214"/>
                      </a:lnTo>
                      <a:lnTo>
                        <a:pt x="12" y="214"/>
                      </a:lnTo>
                      <a:lnTo>
                        <a:pt x="18" y="214"/>
                      </a:lnTo>
                      <a:lnTo>
                        <a:pt x="26" y="214"/>
                      </a:lnTo>
                      <a:lnTo>
                        <a:pt x="34" y="212"/>
                      </a:lnTo>
                      <a:lnTo>
                        <a:pt x="44" y="212"/>
                      </a:lnTo>
                      <a:lnTo>
                        <a:pt x="55" y="212"/>
                      </a:lnTo>
                      <a:lnTo>
                        <a:pt x="65" y="212"/>
                      </a:lnTo>
                      <a:lnTo>
                        <a:pt x="77" y="212"/>
                      </a:lnTo>
                      <a:lnTo>
                        <a:pt x="87" y="212"/>
                      </a:lnTo>
                      <a:lnTo>
                        <a:pt x="89" y="211"/>
                      </a:lnTo>
                      <a:lnTo>
                        <a:pt x="98" y="211"/>
                      </a:lnTo>
                      <a:lnTo>
                        <a:pt x="106" y="211"/>
                      </a:lnTo>
                      <a:lnTo>
                        <a:pt x="114" y="211"/>
                      </a:lnTo>
                      <a:lnTo>
                        <a:pt x="120" y="211"/>
                      </a:lnTo>
                      <a:lnTo>
                        <a:pt x="123" y="211"/>
                      </a:lnTo>
                      <a:lnTo>
                        <a:pt x="125" y="211"/>
                      </a:lnTo>
                      <a:lnTo>
                        <a:pt x="129" y="211"/>
                      </a:lnTo>
                      <a:lnTo>
                        <a:pt x="129" y="205"/>
                      </a:lnTo>
                      <a:lnTo>
                        <a:pt x="128" y="203"/>
                      </a:lnTo>
                      <a:lnTo>
                        <a:pt x="127" y="188"/>
                      </a:lnTo>
                      <a:lnTo>
                        <a:pt x="127" y="180"/>
                      </a:lnTo>
                      <a:lnTo>
                        <a:pt x="126" y="172"/>
                      </a:lnTo>
                      <a:lnTo>
                        <a:pt x="126" y="169"/>
                      </a:lnTo>
                      <a:lnTo>
                        <a:pt x="123" y="165"/>
                      </a:lnTo>
                      <a:lnTo>
                        <a:pt x="123" y="162"/>
                      </a:lnTo>
                      <a:lnTo>
                        <a:pt x="123" y="160"/>
                      </a:lnTo>
                      <a:lnTo>
                        <a:pt x="125" y="158"/>
                      </a:lnTo>
                      <a:lnTo>
                        <a:pt x="128" y="154"/>
                      </a:lnTo>
                      <a:lnTo>
                        <a:pt x="128" y="153"/>
                      </a:lnTo>
                      <a:lnTo>
                        <a:pt x="132" y="151"/>
                      </a:lnTo>
                      <a:lnTo>
                        <a:pt x="135" y="148"/>
                      </a:lnTo>
                      <a:lnTo>
                        <a:pt x="139" y="146"/>
                      </a:lnTo>
                      <a:lnTo>
                        <a:pt x="141" y="144"/>
                      </a:lnTo>
                      <a:lnTo>
                        <a:pt x="143" y="144"/>
                      </a:lnTo>
                      <a:lnTo>
                        <a:pt x="148" y="142"/>
                      </a:lnTo>
                      <a:lnTo>
                        <a:pt x="149" y="142"/>
                      </a:lnTo>
                      <a:lnTo>
                        <a:pt x="156" y="139"/>
                      </a:lnTo>
                      <a:lnTo>
                        <a:pt x="160" y="138"/>
                      </a:lnTo>
                      <a:lnTo>
                        <a:pt x="160" y="137"/>
                      </a:lnTo>
                      <a:lnTo>
                        <a:pt x="160" y="135"/>
                      </a:lnTo>
                      <a:lnTo>
                        <a:pt x="160" y="133"/>
                      </a:lnTo>
                      <a:lnTo>
                        <a:pt x="160" y="131"/>
                      </a:lnTo>
                      <a:lnTo>
                        <a:pt x="160" y="128"/>
                      </a:lnTo>
                      <a:lnTo>
                        <a:pt x="160" y="125"/>
                      </a:lnTo>
                      <a:lnTo>
                        <a:pt x="160" y="123"/>
                      </a:lnTo>
                      <a:lnTo>
                        <a:pt x="160" y="120"/>
                      </a:lnTo>
                      <a:lnTo>
                        <a:pt x="160" y="117"/>
                      </a:lnTo>
                      <a:lnTo>
                        <a:pt x="160" y="114"/>
                      </a:lnTo>
                      <a:lnTo>
                        <a:pt x="160" y="112"/>
                      </a:lnTo>
                      <a:lnTo>
                        <a:pt x="160" y="110"/>
                      </a:lnTo>
                      <a:lnTo>
                        <a:pt x="160" y="106"/>
                      </a:lnTo>
                      <a:lnTo>
                        <a:pt x="160" y="104"/>
                      </a:lnTo>
                      <a:lnTo>
                        <a:pt x="160" y="102"/>
                      </a:lnTo>
                      <a:lnTo>
                        <a:pt x="160" y="99"/>
                      </a:lnTo>
                      <a:lnTo>
                        <a:pt x="160" y="96"/>
                      </a:lnTo>
                      <a:lnTo>
                        <a:pt x="160" y="93"/>
                      </a:lnTo>
                      <a:lnTo>
                        <a:pt x="160" y="91"/>
                      </a:lnTo>
                      <a:lnTo>
                        <a:pt x="160" y="88"/>
                      </a:lnTo>
                      <a:lnTo>
                        <a:pt x="160" y="85"/>
                      </a:lnTo>
                      <a:lnTo>
                        <a:pt x="160" y="83"/>
                      </a:lnTo>
                      <a:lnTo>
                        <a:pt x="160" y="81"/>
                      </a:lnTo>
                      <a:lnTo>
                        <a:pt x="160" y="77"/>
                      </a:lnTo>
                      <a:lnTo>
                        <a:pt x="158" y="75"/>
                      </a:lnTo>
                      <a:lnTo>
                        <a:pt x="158" y="72"/>
                      </a:lnTo>
                      <a:lnTo>
                        <a:pt x="158" y="69"/>
                      </a:lnTo>
                      <a:lnTo>
                        <a:pt x="158" y="67"/>
                      </a:lnTo>
                      <a:lnTo>
                        <a:pt x="158" y="64"/>
                      </a:lnTo>
                      <a:lnTo>
                        <a:pt x="158" y="62"/>
                      </a:lnTo>
                      <a:lnTo>
                        <a:pt x="158" y="58"/>
                      </a:lnTo>
                      <a:lnTo>
                        <a:pt x="158" y="56"/>
                      </a:lnTo>
                      <a:lnTo>
                        <a:pt x="158" y="54"/>
                      </a:lnTo>
                      <a:lnTo>
                        <a:pt x="158" y="50"/>
                      </a:lnTo>
                      <a:lnTo>
                        <a:pt x="158" y="48"/>
                      </a:lnTo>
                      <a:lnTo>
                        <a:pt x="162" y="48"/>
                      </a:lnTo>
                      <a:lnTo>
                        <a:pt x="165" y="48"/>
                      </a:lnTo>
                      <a:lnTo>
                        <a:pt x="168" y="48"/>
                      </a:lnTo>
                      <a:lnTo>
                        <a:pt x="171" y="48"/>
                      </a:lnTo>
                      <a:lnTo>
                        <a:pt x="175" y="48"/>
                      </a:lnTo>
                      <a:lnTo>
                        <a:pt x="178" y="48"/>
                      </a:lnTo>
                      <a:lnTo>
                        <a:pt x="182" y="48"/>
                      </a:lnTo>
                      <a:lnTo>
                        <a:pt x="184" y="48"/>
                      </a:lnTo>
                      <a:lnTo>
                        <a:pt x="187" y="48"/>
                      </a:lnTo>
                      <a:lnTo>
                        <a:pt x="191" y="48"/>
                      </a:lnTo>
                      <a:lnTo>
                        <a:pt x="194" y="48"/>
                      </a:lnTo>
                      <a:lnTo>
                        <a:pt x="197" y="48"/>
                      </a:lnTo>
                      <a:lnTo>
                        <a:pt x="200" y="47"/>
                      </a:lnTo>
                      <a:lnTo>
                        <a:pt x="204" y="47"/>
                      </a:lnTo>
                      <a:lnTo>
                        <a:pt x="207" y="47"/>
                      </a:lnTo>
                      <a:lnTo>
                        <a:pt x="210" y="47"/>
                      </a:lnTo>
                      <a:lnTo>
                        <a:pt x="213" y="47"/>
                      </a:lnTo>
                      <a:lnTo>
                        <a:pt x="217" y="47"/>
                      </a:lnTo>
                      <a:lnTo>
                        <a:pt x="220" y="47"/>
                      </a:lnTo>
                      <a:lnTo>
                        <a:pt x="224" y="47"/>
                      </a:lnTo>
                      <a:lnTo>
                        <a:pt x="226" y="47"/>
                      </a:lnTo>
                      <a:lnTo>
                        <a:pt x="229" y="47"/>
                      </a:lnTo>
                      <a:lnTo>
                        <a:pt x="233" y="47"/>
                      </a:lnTo>
                      <a:lnTo>
                        <a:pt x="236" y="47"/>
                      </a:lnTo>
                      <a:lnTo>
                        <a:pt x="239" y="47"/>
                      </a:lnTo>
                      <a:lnTo>
                        <a:pt x="242" y="47"/>
                      </a:lnTo>
                      <a:lnTo>
                        <a:pt x="246" y="47"/>
                      </a:lnTo>
                      <a:lnTo>
                        <a:pt x="249" y="47"/>
                      </a:lnTo>
                      <a:lnTo>
                        <a:pt x="253" y="47"/>
                      </a:lnTo>
                      <a:lnTo>
                        <a:pt x="255" y="47"/>
                      </a:lnTo>
                      <a:lnTo>
                        <a:pt x="258" y="47"/>
                      </a:lnTo>
                      <a:lnTo>
                        <a:pt x="262" y="47"/>
                      </a:lnTo>
                      <a:lnTo>
                        <a:pt x="264" y="47"/>
                      </a:lnTo>
                      <a:lnTo>
                        <a:pt x="265" y="46"/>
                      </a:lnTo>
                      <a:lnTo>
                        <a:pt x="265" y="44"/>
                      </a:lnTo>
                      <a:lnTo>
                        <a:pt x="265" y="43"/>
                      </a:lnTo>
                      <a:lnTo>
                        <a:pt x="265" y="42"/>
                      </a:lnTo>
                      <a:lnTo>
                        <a:pt x="265" y="40"/>
                      </a:lnTo>
                      <a:lnTo>
                        <a:pt x="265" y="37"/>
                      </a:lnTo>
                      <a:lnTo>
                        <a:pt x="265" y="34"/>
                      </a:lnTo>
                      <a:lnTo>
                        <a:pt x="265" y="30"/>
                      </a:lnTo>
                      <a:lnTo>
                        <a:pt x="265" y="26"/>
                      </a:lnTo>
                      <a:lnTo>
                        <a:pt x="265" y="22"/>
                      </a:lnTo>
                      <a:lnTo>
                        <a:pt x="265" y="18"/>
                      </a:lnTo>
                      <a:lnTo>
                        <a:pt x="264" y="14"/>
                      </a:lnTo>
                      <a:lnTo>
                        <a:pt x="264" y="11"/>
                      </a:lnTo>
                      <a:lnTo>
                        <a:pt x="264" y="7"/>
                      </a:lnTo>
                      <a:lnTo>
                        <a:pt x="264" y="4"/>
                      </a:lnTo>
                      <a:lnTo>
                        <a:pt x="264" y="2"/>
                      </a:lnTo>
                      <a:lnTo>
                        <a:pt x="264" y="0"/>
                      </a:lnTo>
                      <a:lnTo>
                        <a:pt x="271" y="4"/>
                      </a:lnTo>
                      <a:lnTo>
                        <a:pt x="277" y="8"/>
                      </a:lnTo>
                      <a:lnTo>
                        <a:pt x="284" y="12"/>
                      </a:lnTo>
                      <a:lnTo>
                        <a:pt x="290" y="16"/>
                      </a:lnTo>
                      <a:lnTo>
                        <a:pt x="297" y="20"/>
                      </a:lnTo>
                      <a:lnTo>
                        <a:pt x="303" y="25"/>
                      </a:lnTo>
                      <a:lnTo>
                        <a:pt x="310" y="28"/>
                      </a:lnTo>
                      <a:lnTo>
                        <a:pt x="315" y="33"/>
                      </a:lnTo>
                      <a:lnTo>
                        <a:pt x="322" y="36"/>
                      </a:lnTo>
                      <a:lnTo>
                        <a:pt x="328" y="41"/>
                      </a:lnTo>
                      <a:lnTo>
                        <a:pt x="335" y="44"/>
                      </a:lnTo>
                      <a:lnTo>
                        <a:pt x="341" y="49"/>
                      </a:lnTo>
                      <a:lnTo>
                        <a:pt x="347" y="53"/>
                      </a:lnTo>
                      <a:lnTo>
                        <a:pt x="353" y="56"/>
                      </a:lnTo>
                      <a:lnTo>
                        <a:pt x="357" y="60"/>
                      </a:lnTo>
                      <a:lnTo>
                        <a:pt x="362" y="62"/>
                      </a:lnTo>
                      <a:lnTo>
                        <a:pt x="363" y="63"/>
                      </a:lnTo>
                      <a:lnTo>
                        <a:pt x="367" y="65"/>
                      </a:lnTo>
                      <a:lnTo>
                        <a:pt x="372" y="69"/>
                      </a:lnTo>
                      <a:lnTo>
                        <a:pt x="378" y="72"/>
                      </a:lnTo>
                      <a:lnTo>
                        <a:pt x="384" y="76"/>
                      </a:lnTo>
                      <a:lnTo>
                        <a:pt x="390" y="79"/>
                      </a:lnTo>
                      <a:lnTo>
                        <a:pt x="383" y="79"/>
                      </a:lnTo>
                      <a:lnTo>
                        <a:pt x="375" y="79"/>
                      </a:lnTo>
                      <a:lnTo>
                        <a:pt x="368" y="81"/>
                      </a:lnTo>
                      <a:lnTo>
                        <a:pt x="361" y="81"/>
                      </a:lnTo>
                      <a:lnTo>
                        <a:pt x="354" y="81"/>
                      </a:lnTo>
                      <a:lnTo>
                        <a:pt x="347" y="81"/>
                      </a:lnTo>
                      <a:lnTo>
                        <a:pt x="340" y="81"/>
                      </a:lnTo>
                      <a:lnTo>
                        <a:pt x="333" y="81"/>
                      </a:lnTo>
                      <a:lnTo>
                        <a:pt x="333" y="83"/>
                      </a:lnTo>
                      <a:lnTo>
                        <a:pt x="334" y="86"/>
                      </a:lnTo>
                      <a:lnTo>
                        <a:pt x="334" y="89"/>
                      </a:lnTo>
                      <a:lnTo>
                        <a:pt x="334" y="92"/>
                      </a:lnTo>
                      <a:lnTo>
                        <a:pt x="334" y="95"/>
                      </a:lnTo>
                      <a:lnTo>
                        <a:pt x="335" y="97"/>
                      </a:lnTo>
                      <a:lnTo>
                        <a:pt x="335" y="100"/>
                      </a:lnTo>
                      <a:lnTo>
                        <a:pt x="335" y="103"/>
                      </a:lnTo>
                      <a:lnTo>
                        <a:pt x="336" y="106"/>
                      </a:lnTo>
                      <a:lnTo>
                        <a:pt x="336" y="109"/>
                      </a:lnTo>
                      <a:lnTo>
                        <a:pt x="336" y="113"/>
                      </a:lnTo>
                      <a:lnTo>
                        <a:pt x="338" y="118"/>
                      </a:lnTo>
                      <a:lnTo>
                        <a:pt x="338" y="120"/>
                      </a:lnTo>
                      <a:lnTo>
                        <a:pt x="339" y="124"/>
                      </a:lnTo>
                      <a:lnTo>
                        <a:pt x="339" y="128"/>
                      </a:lnTo>
                      <a:lnTo>
                        <a:pt x="339" y="132"/>
                      </a:lnTo>
                      <a:lnTo>
                        <a:pt x="340" y="137"/>
                      </a:lnTo>
                      <a:lnTo>
                        <a:pt x="340" y="141"/>
                      </a:lnTo>
                      <a:lnTo>
                        <a:pt x="341" y="145"/>
                      </a:lnTo>
                      <a:lnTo>
                        <a:pt x="341" y="146"/>
                      </a:lnTo>
                      <a:lnTo>
                        <a:pt x="341" y="149"/>
                      </a:lnTo>
                      <a:lnTo>
                        <a:pt x="342" y="153"/>
                      </a:lnTo>
                      <a:lnTo>
                        <a:pt x="342" y="158"/>
                      </a:lnTo>
                      <a:lnTo>
                        <a:pt x="343" y="162"/>
                      </a:lnTo>
                      <a:lnTo>
                        <a:pt x="343" y="166"/>
                      </a:lnTo>
                      <a:lnTo>
                        <a:pt x="343" y="170"/>
                      </a:lnTo>
                      <a:lnTo>
                        <a:pt x="345" y="174"/>
                      </a:lnTo>
                      <a:lnTo>
                        <a:pt x="345" y="179"/>
                      </a:lnTo>
                      <a:lnTo>
                        <a:pt x="346" y="182"/>
                      </a:lnTo>
                      <a:lnTo>
                        <a:pt x="346" y="187"/>
                      </a:lnTo>
                      <a:lnTo>
                        <a:pt x="347" y="190"/>
                      </a:lnTo>
                      <a:lnTo>
                        <a:pt x="347" y="195"/>
                      </a:lnTo>
                      <a:lnTo>
                        <a:pt x="347" y="200"/>
                      </a:lnTo>
                      <a:lnTo>
                        <a:pt x="348" y="203"/>
                      </a:lnTo>
                      <a:lnTo>
                        <a:pt x="348" y="208"/>
                      </a:lnTo>
                      <a:lnTo>
                        <a:pt x="349" y="21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1" name="Freeform 105">
                  <a:extLst>
                    <a:ext uri="{FF2B5EF4-FFF2-40B4-BE49-F238E27FC236}">
                      <a16:creationId xmlns:a16="http://schemas.microsoft.com/office/drawing/2014/main" id="{36C4CD36-0A04-3DBD-DBBD-618ABFFEA58F}"/>
                    </a:ext>
                  </a:extLst>
                </p:cNvPr>
                <p:cNvSpPr>
                  <a:spLocks/>
                </p:cNvSpPr>
                <p:nvPr/>
              </p:nvSpPr>
              <p:spPr bwMode="auto">
                <a:xfrm>
                  <a:off x="6634749" y="4383831"/>
                  <a:ext cx="459737" cy="440265"/>
                </a:xfrm>
                <a:custGeom>
                  <a:avLst/>
                  <a:gdLst>
                    <a:gd name="T0" fmla="*/ 381 w 425"/>
                    <a:gd name="T1" fmla="*/ 18 h 407"/>
                    <a:gd name="T2" fmla="*/ 398 w 425"/>
                    <a:gd name="T3" fmla="*/ 16 h 407"/>
                    <a:gd name="T4" fmla="*/ 410 w 425"/>
                    <a:gd name="T5" fmla="*/ 17 h 407"/>
                    <a:gd name="T6" fmla="*/ 422 w 425"/>
                    <a:gd name="T7" fmla="*/ 23 h 407"/>
                    <a:gd name="T8" fmla="*/ 417 w 425"/>
                    <a:gd name="T9" fmla="*/ 26 h 407"/>
                    <a:gd name="T10" fmla="*/ 404 w 425"/>
                    <a:gd name="T11" fmla="*/ 33 h 407"/>
                    <a:gd name="T12" fmla="*/ 394 w 425"/>
                    <a:gd name="T13" fmla="*/ 33 h 407"/>
                    <a:gd name="T14" fmla="*/ 381 w 425"/>
                    <a:gd name="T15" fmla="*/ 42 h 407"/>
                    <a:gd name="T16" fmla="*/ 372 w 425"/>
                    <a:gd name="T17" fmla="*/ 44 h 407"/>
                    <a:gd name="T18" fmla="*/ 364 w 425"/>
                    <a:gd name="T19" fmla="*/ 33 h 407"/>
                    <a:gd name="T20" fmla="*/ 330 w 425"/>
                    <a:gd name="T21" fmla="*/ 38 h 407"/>
                    <a:gd name="T22" fmla="*/ 302 w 425"/>
                    <a:gd name="T23" fmla="*/ 43 h 407"/>
                    <a:gd name="T24" fmla="*/ 290 w 425"/>
                    <a:gd name="T25" fmla="*/ 50 h 407"/>
                    <a:gd name="T26" fmla="*/ 290 w 425"/>
                    <a:gd name="T27" fmla="*/ 71 h 407"/>
                    <a:gd name="T28" fmla="*/ 292 w 425"/>
                    <a:gd name="T29" fmla="*/ 120 h 407"/>
                    <a:gd name="T30" fmla="*/ 292 w 425"/>
                    <a:gd name="T31" fmla="*/ 152 h 407"/>
                    <a:gd name="T32" fmla="*/ 260 w 425"/>
                    <a:gd name="T33" fmla="*/ 166 h 407"/>
                    <a:gd name="T34" fmla="*/ 260 w 425"/>
                    <a:gd name="T35" fmla="*/ 229 h 407"/>
                    <a:gd name="T36" fmla="*/ 260 w 425"/>
                    <a:gd name="T37" fmla="*/ 271 h 407"/>
                    <a:gd name="T38" fmla="*/ 260 w 425"/>
                    <a:gd name="T39" fmla="*/ 295 h 407"/>
                    <a:gd name="T40" fmla="*/ 260 w 425"/>
                    <a:gd name="T41" fmla="*/ 320 h 407"/>
                    <a:gd name="T42" fmla="*/ 260 w 425"/>
                    <a:gd name="T43" fmla="*/ 346 h 407"/>
                    <a:gd name="T44" fmla="*/ 260 w 425"/>
                    <a:gd name="T45" fmla="*/ 372 h 407"/>
                    <a:gd name="T46" fmla="*/ 256 w 425"/>
                    <a:gd name="T47" fmla="*/ 389 h 407"/>
                    <a:gd name="T48" fmla="*/ 240 w 425"/>
                    <a:gd name="T49" fmla="*/ 399 h 407"/>
                    <a:gd name="T50" fmla="*/ 232 w 425"/>
                    <a:gd name="T51" fmla="*/ 407 h 407"/>
                    <a:gd name="T52" fmla="*/ 209 w 425"/>
                    <a:gd name="T53" fmla="*/ 404 h 407"/>
                    <a:gd name="T54" fmla="*/ 188 w 425"/>
                    <a:gd name="T55" fmla="*/ 401 h 407"/>
                    <a:gd name="T56" fmla="*/ 179 w 425"/>
                    <a:gd name="T57" fmla="*/ 393 h 407"/>
                    <a:gd name="T58" fmla="*/ 178 w 425"/>
                    <a:gd name="T59" fmla="*/ 381 h 407"/>
                    <a:gd name="T60" fmla="*/ 167 w 425"/>
                    <a:gd name="T61" fmla="*/ 375 h 407"/>
                    <a:gd name="T62" fmla="*/ 161 w 425"/>
                    <a:gd name="T63" fmla="*/ 382 h 407"/>
                    <a:gd name="T64" fmla="*/ 154 w 425"/>
                    <a:gd name="T65" fmla="*/ 392 h 407"/>
                    <a:gd name="T66" fmla="*/ 139 w 425"/>
                    <a:gd name="T67" fmla="*/ 385 h 407"/>
                    <a:gd name="T68" fmla="*/ 122 w 425"/>
                    <a:gd name="T69" fmla="*/ 365 h 407"/>
                    <a:gd name="T70" fmla="*/ 112 w 425"/>
                    <a:gd name="T71" fmla="*/ 341 h 407"/>
                    <a:gd name="T72" fmla="*/ 107 w 425"/>
                    <a:gd name="T73" fmla="*/ 327 h 407"/>
                    <a:gd name="T74" fmla="*/ 105 w 425"/>
                    <a:gd name="T75" fmla="*/ 316 h 407"/>
                    <a:gd name="T76" fmla="*/ 100 w 425"/>
                    <a:gd name="T77" fmla="*/ 296 h 407"/>
                    <a:gd name="T78" fmla="*/ 98 w 425"/>
                    <a:gd name="T79" fmla="*/ 275 h 407"/>
                    <a:gd name="T80" fmla="*/ 91 w 425"/>
                    <a:gd name="T81" fmla="*/ 254 h 407"/>
                    <a:gd name="T82" fmla="*/ 87 w 425"/>
                    <a:gd name="T83" fmla="*/ 236 h 407"/>
                    <a:gd name="T84" fmla="*/ 87 w 425"/>
                    <a:gd name="T85" fmla="*/ 215 h 407"/>
                    <a:gd name="T86" fmla="*/ 86 w 425"/>
                    <a:gd name="T87" fmla="*/ 198 h 407"/>
                    <a:gd name="T88" fmla="*/ 88 w 425"/>
                    <a:gd name="T89" fmla="*/ 185 h 407"/>
                    <a:gd name="T90" fmla="*/ 72 w 425"/>
                    <a:gd name="T91" fmla="*/ 159 h 407"/>
                    <a:gd name="T92" fmla="*/ 55 w 425"/>
                    <a:gd name="T93" fmla="*/ 130 h 407"/>
                    <a:gd name="T94" fmla="*/ 43 w 425"/>
                    <a:gd name="T95" fmla="*/ 105 h 407"/>
                    <a:gd name="T96" fmla="*/ 30 w 425"/>
                    <a:gd name="T97" fmla="*/ 77 h 407"/>
                    <a:gd name="T98" fmla="*/ 12 w 425"/>
                    <a:gd name="T99" fmla="*/ 52 h 407"/>
                    <a:gd name="T100" fmla="*/ 3 w 425"/>
                    <a:gd name="T101" fmla="*/ 33 h 407"/>
                    <a:gd name="T102" fmla="*/ 7 w 425"/>
                    <a:gd name="T103" fmla="*/ 8 h 407"/>
                    <a:gd name="T104" fmla="*/ 22 w 425"/>
                    <a:gd name="T105" fmla="*/ 9 h 407"/>
                    <a:gd name="T106" fmla="*/ 36 w 425"/>
                    <a:gd name="T107" fmla="*/ 3 h 407"/>
                    <a:gd name="T108" fmla="*/ 52 w 425"/>
                    <a:gd name="T109" fmla="*/ 0 h 407"/>
                    <a:gd name="T110" fmla="*/ 71 w 425"/>
                    <a:gd name="T111" fmla="*/ 15 h 407"/>
                    <a:gd name="T112" fmla="*/ 121 w 425"/>
                    <a:gd name="T113" fmla="*/ 14 h 407"/>
                    <a:gd name="T114" fmla="*/ 210 w 425"/>
                    <a:gd name="T115" fmla="*/ 14 h 407"/>
                    <a:gd name="T116" fmla="*/ 225 w 425"/>
                    <a:gd name="T117" fmla="*/ 26 h 407"/>
                    <a:gd name="T118" fmla="*/ 253 w 425"/>
                    <a:gd name="T119" fmla="*/ 30 h 407"/>
                    <a:gd name="T120" fmla="*/ 270 w 425"/>
                    <a:gd name="T121" fmla="*/ 29 h 407"/>
                    <a:gd name="T122" fmla="*/ 283 w 425"/>
                    <a:gd name="T123" fmla="*/ 33 h 407"/>
                    <a:gd name="T124" fmla="*/ 302 w 425"/>
                    <a:gd name="T125" fmla="*/ 3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5" h="407">
                      <a:moveTo>
                        <a:pt x="366" y="22"/>
                      </a:moveTo>
                      <a:lnTo>
                        <a:pt x="367" y="21"/>
                      </a:lnTo>
                      <a:lnTo>
                        <a:pt x="368" y="21"/>
                      </a:lnTo>
                      <a:lnTo>
                        <a:pt x="370" y="21"/>
                      </a:lnTo>
                      <a:lnTo>
                        <a:pt x="371" y="21"/>
                      </a:lnTo>
                      <a:lnTo>
                        <a:pt x="372" y="21"/>
                      </a:lnTo>
                      <a:lnTo>
                        <a:pt x="373" y="21"/>
                      </a:lnTo>
                      <a:lnTo>
                        <a:pt x="374" y="19"/>
                      </a:lnTo>
                      <a:lnTo>
                        <a:pt x="375" y="19"/>
                      </a:lnTo>
                      <a:lnTo>
                        <a:pt x="377" y="19"/>
                      </a:lnTo>
                      <a:lnTo>
                        <a:pt x="378" y="19"/>
                      </a:lnTo>
                      <a:lnTo>
                        <a:pt x="380" y="18"/>
                      </a:lnTo>
                      <a:lnTo>
                        <a:pt x="381" y="18"/>
                      </a:lnTo>
                      <a:lnTo>
                        <a:pt x="382" y="18"/>
                      </a:lnTo>
                      <a:lnTo>
                        <a:pt x="384" y="18"/>
                      </a:lnTo>
                      <a:lnTo>
                        <a:pt x="385" y="17"/>
                      </a:lnTo>
                      <a:lnTo>
                        <a:pt x="386" y="17"/>
                      </a:lnTo>
                      <a:lnTo>
                        <a:pt x="388" y="17"/>
                      </a:lnTo>
                      <a:lnTo>
                        <a:pt x="389" y="17"/>
                      </a:lnTo>
                      <a:lnTo>
                        <a:pt x="391" y="16"/>
                      </a:lnTo>
                      <a:lnTo>
                        <a:pt x="392" y="16"/>
                      </a:lnTo>
                      <a:lnTo>
                        <a:pt x="393" y="16"/>
                      </a:lnTo>
                      <a:lnTo>
                        <a:pt x="394" y="16"/>
                      </a:lnTo>
                      <a:lnTo>
                        <a:pt x="395" y="16"/>
                      </a:lnTo>
                      <a:lnTo>
                        <a:pt x="396" y="16"/>
                      </a:lnTo>
                      <a:lnTo>
                        <a:pt x="398" y="16"/>
                      </a:lnTo>
                      <a:lnTo>
                        <a:pt x="399" y="16"/>
                      </a:lnTo>
                      <a:lnTo>
                        <a:pt x="400" y="16"/>
                      </a:lnTo>
                      <a:lnTo>
                        <a:pt x="401" y="16"/>
                      </a:lnTo>
                      <a:lnTo>
                        <a:pt x="401" y="17"/>
                      </a:lnTo>
                      <a:lnTo>
                        <a:pt x="402" y="17"/>
                      </a:lnTo>
                      <a:lnTo>
                        <a:pt x="403" y="17"/>
                      </a:lnTo>
                      <a:lnTo>
                        <a:pt x="403" y="18"/>
                      </a:lnTo>
                      <a:lnTo>
                        <a:pt x="404" y="18"/>
                      </a:lnTo>
                      <a:lnTo>
                        <a:pt x="404" y="17"/>
                      </a:lnTo>
                      <a:lnTo>
                        <a:pt x="406" y="17"/>
                      </a:lnTo>
                      <a:lnTo>
                        <a:pt x="406" y="16"/>
                      </a:lnTo>
                      <a:lnTo>
                        <a:pt x="407" y="16"/>
                      </a:lnTo>
                      <a:lnTo>
                        <a:pt x="410" y="17"/>
                      </a:lnTo>
                      <a:lnTo>
                        <a:pt x="411" y="17"/>
                      </a:lnTo>
                      <a:lnTo>
                        <a:pt x="414" y="18"/>
                      </a:lnTo>
                      <a:lnTo>
                        <a:pt x="415" y="18"/>
                      </a:lnTo>
                      <a:lnTo>
                        <a:pt x="416" y="18"/>
                      </a:lnTo>
                      <a:lnTo>
                        <a:pt x="416" y="19"/>
                      </a:lnTo>
                      <a:lnTo>
                        <a:pt x="417" y="19"/>
                      </a:lnTo>
                      <a:lnTo>
                        <a:pt x="418" y="19"/>
                      </a:lnTo>
                      <a:lnTo>
                        <a:pt x="418" y="21"/>
                      </a:lnTo>
                      <a:lnTo>
                        <a:pt x="420" y="21"/>
                      </a:lnTo>
                      <a:lnTo>
                        <a:pt x="420" y="22"/>
                      </a:lnTo>
                      <a:lnTo>
                        <a:pt x="420" y="23"/>
                      </a:lnTo>
                      <a:lnTo>
                        <a:pt x="421" y="23"/>
                      </a:lnTo>
                      <a:lnTo>
                        <a:pt x="422" y="23"/>
                      </a:lnTo>
                      <a:lnTo>
                        <a:pt x="422" y="24"/>
                      </a:lnTo>
                      <a:lnTo>
                        <a:pt x="423" y="24"/>
                      </a:lnTo>
                      <a:lnTo>
                        <a:pt x="423" y="25"/>
                      </a:lnTo>
                      <a:lnTo>
                        <a:pt x="424" y="25"/>
                      </a:lnTo>
                      <a:lnTo>
                        <a:pt x="425" y="26"/>
                      </a:lnTo>
                      <a:lnTo>
                        <a:pt x="423" y="26"/>
                      </a:lnTo>
                      <a:lnTo>
                        <a:pt x="422" y="26"/>
                      </a:lnTo>
                      <a:lnTo>
                        <a:pt x="421" y="26"/>
                      </a:lnTo>
                      <a:lnTo>
                        <a:pt x="420" y="28"/>
                      </a:lnTo>
                      <a:lnTo>
                        <a:pt x="418" y="28"/>
                      </a:lnTo>
                      <a:lnTo>
                        <a:pt x="418" y="26"/>
                      </a:lnTo>
                      <a:lnTo>
                        <a:pt x="417" y="28"/>
                      </a:lnTo>
                      <a:lnTo>
                        <a:pt x="417" y="26"/>
                      </a:lnTo>
                      <a:lnTo>
                        <a:pt x="416" y="28"/>
                      </a:lnTo>
                      <a:lnTo>
                        <a:pt x="416" y="26"/>
                      </a:lnTo>
                      <a:lnTo>
                        <a:pt x="415" y="26"/>
                      </a:lnTo>
                      <a:lnTo>
                        <a:pt x="413" y="28"/>
                      </a:lnTo>
                      <a:lnTo>
                        <a:pt x="411" y="28"/>
                      </a:lnTo>
                      <a:lnTo>
                        <a:pt x="410" y="29"/>
                      </a:lnTo>
                      <a:lnTo>
                        <a:pt x="409" y="29"/>
                      </a:lnTo>
                      <a:lnTo>
                        <a:pt x="409" y="30"/>
                      </a:lnTo>
                      <a:lnTo>
                        <a:pt x="408" y="30"/>
                      </a:lnTo>
                      <a:lnTo>
                        <a:pt x="408" y="31"/>
                      </a:lnTo>
                      <a:lnTo>
                        <a:pt x="407" y="31"/>
                      </a:lnTo>
                      <a:lnTo>
                        <a:pt x="406" y="32"/>
                      </a:lnTo>
                      <a:lnTo>
                        <a:pt x="404" y="33"/>
                      </a:lnTo>
                      <a:lnTo>
                        <a:pt x="404" y="35"/>
                      </a:lnTo>
                      <a:lnTo>
                        <a:pt x="403" y="35"/>
                      </a:lnTo>
                      <a:lnTo>
                        <a:pt x="402" y="35"/>
                      </a:lnTo>
                      <a:lnTo>
                        <a:pt x="401" y="35"/>
                      </a:lnTo>
                      <a:lnTo>
                        <a:pt x="401" y="33"/>
                      </a:lnTo>
                      <a:lnTo>
                        <a:pt x="400" y="33"/>
                      </a:lnTo>
                      <a:lnTo>
                        <a:pt x="400" y="32"/>
                      </a:lnTo>
                      <a:lnTo>
                        <a:pt x="399" y="31"/>
                      </a:lnTo>
                      <a:lnTo>
                        <a:pt x="398" y="31"/>
                      </a:lnTo>
                      <a:lnTo>
                        <a:pt x="396" y="31"/>
                      </a:lnTo>
                      <a:lnTo>
                        <a:pt x="396" y="32"/>
                      </a:lnTo>
                      <a:lnTo>
                        <a:pt x="395" y="33"/>
                      </a:lnTo>
                      <a:lnTo>
                        <a:pt x="394" y="33"/>
                      </a:lnTo>
                      <a:lnTo>
                        <a:pt x="393" y="33"/>
                      </a:lnTo>
                      <a:lnTo>
                        <a:pt x="392" y="35"/>
                      </a:lnTo>
                      <a:lnTo>
                        <a:pt x="389" y="36"/>
                      </a:lnTo>
                      <a:lnTo>
                        <a:pt x="389" y="37"/>
                      </a:lnTo>
                      <a:lnTo>
                        <a:pt x="388" y="37"/>
                      </a:lnTo>
                      <a:lnTo>
                        <a:pt x="387" y="37"/>
                      </a:lnTo>
                      <a:lnTo>
                        <a:pt x="387" y="38"/>
                      </a:lnTo>
                      <a:lnTo>
                        <a:pt x="386" y="38"/>
                      </a:lnTo>
                      <a:lnTo>
                        <a:pt x="385" y="39"/>
                      </a:lnTo>
                      <a:lnTo>
                        <a:pt x="384" y="39"/>
                      </a:lnTo>
                      <a:lnTo>
                        <a:pt x="382" y="40"/>
                      </a:lnTo>
                      <a:lnTo>
                        <a:pt x="382" y="42"/>
                      </a:lnTo>
                      <a:lnTo>
                        <a:pt x="381" y="42"/>
                      </a:lnTo>
                      <a:lnTo>
                        <a:pt x="381" y="43"/>
                      </a:lnTo>
                      <a:lnTo>
                        <a:pt x="380" y="43"/>
                      </a:lnTo>
                      <a:lnTo>
                        <a:pt x="380" y="44"/>
                      </a:lnTo>
                      <a:lnTo>
                        <a:pt x="377" y="47"/>
                      </a:lnTo>
                      <a:lnTo>
                        <a:pt x="375" y="47"/>
                      </a:lnTo>
                      <a:lnTo>
                        <a:pt x="375" y="49"/>
                      </a:lnTo>
                      <a:lnTo>
                        <a:pt x="374" y="49"/>
                      </a:lnTo>
                      <a:lnTo>
                        <a:pt x="373" y="49"/>
                      </a:lnTo>
                      <a:lnTo>
                        <a:pt x="372" y="49"/>
                      </a:lnTo>
                      <a:lnTo>
                        <a:pt x="372" y="47"/>
                      </a:lnTo>
                      <a:lnTo>
                        <a:pt x="372" y="46"/>
                      </a:lnTo>
                      <a:lnTo>
                        <a:pt x="372" y="45"/>
                      </a:lnTo>
                      <a:lnTo>
                        <a:pt x="372" y="44"/>
                      </a:lnTo>
                      <a:lnTo>
                        <a:pt x="371" y="43"/>
                      </a:lnTo>
                      <a:lnTo>
                        <a:pt x="371" y="42"/>
                      </a:lnTo>
                      <a:lnTo>
                        <a:pt x="370" y="40"/>
                      </a:lnTo>
                      <a:lnTo>
                        <a:pt x="368" y="40"/>
                      </a:lnTo>
                      <a:lnTo>
                        <a:pt x="368" y="39"/>
                      </a:lnTo>
                      <a:lnTo>
                        <a:pt x="367" y="39"/>
                      </a:lnTo>
                      <a:lnTo>
                        <a:pt x="367" y="38"/>
                      </a:lnTo>
                      <a:lnTo>
                        <a:pt x="366" y="38"/>
                      </a:lnTo>
                      <a:lnTo>
                        <a:pt x="366" y="37"/>
                      </a:lnTo>
                      <a:lnTo>
                        <a:pt x="365" y="36"/>
                      </a:lnTo>
                      <a:lnTo>
                        <a:pt x="365" y="35"/>
                      </a:lnTo>
                      <a:lnTo>
                        <a:pt x="364" y="35"/>
                      </a:lnTo>
                      <a:lnTo>
                        <a:pt x="364" y="33"/>
                      </a:lnTo>
                      <a:lnTo>
                        <a:pt x="363" y="33"/>
                      </a:lnTo>
                      <a:lnTo>
                        <a:pt x="360" y="33"/>
                      </a:lnTo>
                      <a:lnTo>
                        <a:pt x="358" y="33"/>
                      </a:lnTo>
                      <a:lnTo>
                        <a:pt x="353" y="33"/>
                      </a:lnTo>
                      <a:lnTo>
                        <a:pt x="351" y="35"/>
                      </a:lnTo>
                      <a:lnTo>
                        <a:pt x="349" y="35"/>
                      </a:lnTo>
                      <a:lnTo>
                        <a:pt x="345" y="36"/>
                      </a:lnTo>
                      <a:lnTo>
                        <a:pt x="343" y="36"/>
                      </a:lnTo>
                      <a:lnTo>
                        <a:pt x="340" y="37"/>
                      </a:lnTo>
                      <a:lnTo>
                        <a:pt x="338" y="37"/>
                      </a:lnTo>
                      <a:lnTo>
                        <a:pt x="335" y="37"/>
                      </a:lnTo>
                      <a:lnTo>
                        <a:pt x="332" y="38"/>
                      </a:lnTo>
                      <a:lnTo>
                        <a:pt x="330" y="38"/>
                      </a:lnTo>
                      <a:lnTo>
                        <a:pt x="328" y="39"/>
                      </a:lnTo>
                      <a:lnTo>
                        <a:pt x="324" y="39"/>
                      </a:lnTo>
                      <a:lnTo>
                        <a:pt x="322" y="40"/>
                      </a:lnTo>
                      <a:lnTo>
                        <a:pt x="320" y="40"/>
                      </a:lnTo>
                      <a:lnTo>
                        <a:pt x="316" y="42"/>
                      </a:lnTo>
                      <a:lnTo>
                        <a:pt x="314" y="42"/>
                      </a:lnTo>
                      <a:lnTo>
                        <a:pt x="311" y="42"/>
                      </a:lnTo>
                      <a:lnTo>
                        <a:pt x="309" y="43"/>
                      </a:lnTo>
                      <a:lnTo>
                        <a:pt x="308" y="43"/>
                      </a:lnTo>
                      <a:lnTo>
                        <a:pt x="307" y="43"/>
                      </a:lnTo>
                      <a:lnTo>
                        <a:pt x="306" y="43"/>
                      </a:lnTo>
                      <a:lnTo>
                        <a:pt x="303" y="43"/>
                      </a:lnTo>
                      <a:lnTo>
                        <a:pt x="302" y="43"/>
                      </a:lnTo>
                      <a:lnTo>
                        <a:pt x="301" y="43"/>
                      </a:lnTo>
                      <a:lnTo>
                        <a:pt x="300" y="44"/>
                      </a:lnTo>
                      <a:lnTo>
                        <a:pt x="297" y="44"/>
                      </a:lnTo>
                      <a:lnTo>
                        <a:pt x="296" y="44"/>
                      </a:lnTo>
                      <a:lnTo>
                        <a:pt x="294" y="44"/>
                      </a:lnTo>
                      <a:lnTo>
                        <a:pt x="293" y="44"/>
                      </a:lnTo>
                      <a:lnTo>
                        <a:pt x="292" y="44"/>
                      </a:lnTo>
                      <a:lnTo>
                        <a:pt x="290" y="44"/>
                      </a:lnTo>
                      <a:lnTo>
                        <a:pt x="290" y="45"/>
                      </a:lnTo>
                      <a:lnTo>
                        <a:pt x="290" y="46"/>
                      </a:lnTo>
                      <a:lnTo>
                        <a:pt x="290" y="47"/>
                      </a:lnTo>
                      <a:lnTo>
                        <a:pt x="290" y="49"/>
                      </a:lnTo>
                      <a:lnTo>
                        <a:pt x="290" y="50"/>
                      </a:lnTo>
                      <a:lnTo>
                        <a:pt x="290" y="51"/>
                      </a:lnTo>
                      <a:lnTo>
                        <a:pt x="290" y="53"/>
                      </a:lnTo>
                      <a:lnTo>
                        <a:pt x="290" y="54"/>
                      </a:lnTo>
                      <a:lnTo>
                        <a:pt x="290" y="56"/>
                      </a:lnTo>
                      <a:lnTo>
                        <a:pt x="290" y="57"/>
                      </a:lnTo>
                      <a:lnTo>
                        <a:pt x="290" y="58"/>
                      </a:lnTo>
                      <a:lnTo>
                        <a:pt x="290" y="59"/>
                      </a:lnTo>
                      <a:lnTo>
                        <a:pt x="290" y="60"/>
                      </a:lnTo>
                      <a:lnTo>
                        <a:pt x="290" y="63"/>
                      </a:lnTo>
                      <a:lnTo>
                        <a:pt x="290" y="64"/>
                      </a:lnTo>
                      <a:lnTo>
                        <a:pt x="290" y="65"/>
                      </a:lnTo>
                      <a:lnTo>
                        <a:pt x="290" y="66"/>
                      </a:lnTo>
                      <a:lnTo>
                        <a:pt x="290" y="71"/>
                      </a:lnTo>
                      <a:lnTo>
                        <a:pt x="290" y="72"/>
                      </a:lnTo>
                      <a:lnTo>
                        <a:pt x="290" y="74"/>
                      </a:lnTo>
                      <a:lnTo>
                        <a:pt x="290" y="79"/>
                      </a:lnTo>
                      <a:lnTo>
                        <a:pt x="290" y="82"/>
                      </a:lnTo>
                      <a:lnTo>
                        <a:pt x="290" y="87"/>
                      </a:lnTo>
                      <a:lnTo>
                        <a:pt x="290" y="91"/>
                      </a:lnTo>
                      <a:lnTo>
                        <a:pt x="290" y="95"/>
                      </a:lnTo>
                      <a:lnTo>
                        <a:pt x="290" y="100"/>
                      </a:lnTo>
                      <a:lnTo>
                        <a:pt x="290" y="103"/>
                      </a:lnTo>
                      <a:lnTo>
                        <a:pt x="290" y="108"/>
                      </a:lnTo>
                      <a:lnTo>
                        <a:pt x="290" y="112"/>
                      </a:lnTo>
                      <a:lnTo>
                        <a:pt x="292" y="116"/>
                      </a:lnTo>
                      <a:lnTo>
                        <a:pt x="292" y="120"/>
                      </a:lnTo>
                      <a:lnTo>
                        <a:pt x="292" y="124"/>
                      </a:lnTo>
                      <a:lnTo>
                        <a:pt x="292" y="129"/>
                      </a:lnTo>
                      <a:lnTo>
                        <a:pt x="292" y="133"/>
                      </a:lnTo>
                      <a:lnTo>
                        <a:pt x="292" y="135"/>
                      </a:lnTo>
                      <a:lnTo>
                        <a:pt x="292" y="136"/>
                      </a:lnTo>
                      <a:lnTo>
                        <a:pt x="292" y="138"/>
                      </a:lnTo>
                      <a:lnTo>
                        <a:pt x="292" y="141"/>
                      </a:lnTo>
                      <a:lnTo>
                        <a:pt x="292" y="142"/>
                      </a:lnTo>
                      <a:lnTo>
                        <a:pt x="292" y="144"/>
                      </a:lnTo>
                      <a:lnTo>
                        <a:pt x="292" y="147"/>
                      </a:lnTo>
                      <a:lnTo>
                        <a:pt x="292" y="148"/>
                      </a:lnTo>
                      <a:lnTo>
                        <a:pt x="292" y="150"/>
                      </a:lnTo>
                      <a:lnTo>
                        <a:pt x="292" y="152"/>
                      </a:lnTo>
                      <a:lnTo>
                        <a:pt x="292" y="154"/>
                      </a:lnTo>
                      <a:lnTo>
                        <a:pt x="292" y="156"/>
                      </a:lnTo>
                      <a:lnTo>
                        <a:pt x="292" y="158"/>
                      </a:lnTo>
                      <a:lnTo>
                        <a:pt x="292" y="159"/>
                      </a:lnTo>
                      <a:lnTo>
                        <a:pt x="292" y="162"/>
                      </a:lnTo>
                      <a:lnTo>
                        <a:pt x="292" y="164"/>
                      </a:lnTo>
                      <a:lnTo>
                        <a:pt x="292" y="165"/>
                      </a:lnTo>
                      <a:lnTo>
                        <a:pt x="290" y="166"/>
                      </a:lnTo>
                      <a:lnTo>
                        <a:pt x="289" y="166"/>
                      </a:lnTo>
                      <a:lnTo>
                        <a:pt x="282" y="166"/>
                      </a:lnTo>
                      <a:lnTo>
                        <a:pt x="274" y="166"/>
                      </a:lnTo>
                      <a:lnTo>
                        <a:pt x="267" y="166"/>
                      </a:lnTo>
                      <a:lnTo>
                        <a:pt x="260" y="166"/>
                      </a:lnTo>
                      <a:lnTo>
                        <a:pt x="260" y="169"/>
                      </a:lnTo>
                      <a:lnTo>
                        <a:pt x="260" y="175"/>
                      </a:lnTo>
                      <a:lnTo>
                        <a:pt x="260" y="179"/>
                      </a:lnTo>
                      <a:lnTo>
                        <a:pt x="260" y="185"/>
                      </a:lnTo>
                      <a:lnTo>
                        <a:pt x="260" y="190"/>
                      </a:lnTo>
                      <a:lnTo>
                        <a:pt x="260" y="196"/>
                      </a:lnTo>
                      <a:lnTo>
                        <a:pt x="260" y="201"/>
                      </a:lnTo>
                      <a:lnTo>
                        <a:pt x="260" y="207"/>
                      </a:lnTo>
                      <a:lnTo>
                        <a:pt x="260" y="211"/>
                      </a:lnTo>
                      <a:lnTo>
                        <a:pt x="260" y="213"/>
                      </a:lnTo>
                      <a:lnTo>
                        <a:pt x="260" y="219"/>
                      </a:lnTo>
                      <a:lnTo>
                        <a:pt x="260" y="225"/>
                      </a:lnTo>
                      <a:lnTo>
                        <a:pt x="260" y="229"/>
                      </a:lnTo>
                      <a:lnTo>
                        <a:pt x="260" y="231"/>
                      </a:lnTo>
                      <a:lnTo>
                        <a:pt x="260" y="236"/>
                      </a:lnTo>
                      <a:lnTo>
                        <a:pt x="260" y="242"/>
                      </a:lnTo>
                      <a:lnTo>
                        <a:pt x="260" y="248"/>
                      </a:lnTo>
                      <a:lnTo>
                        <a:pt x="260" y="254"/>
                      </a:lnTo>
                      <a:lnTo>
                        <a:pt x="260" y="260"/>
                      </a:lnTo>
                      <a:lnTo>
                        <a:pt x="260" y="261"/>
                      </a:lnTo>
                      <a:lnTo>
                        <a:pt x="260" y="262"/>
                      </a:lnTo>
                      <a:lnTo>
                        <a:pt x="260" y="264"/>
                      </a:lnTo>
                      <a:lnTo>
                        <a:pt x="260" y="266"/>
                      </a:lnTo>
                      <a:lnTo>
                        <a:pt x="260" y="268"/>
                      </a:lnTo>
                      <a:lnTo>
                        <a:pt x="260" y="270"/>
                      </a:lnTo>
                      <a:lnTo>
                        <a:pt x="260" y="271"/>
                      </a:lnTo>
                      <a:lnTo>
                        <a:pt x="260" y="274"/>
                      </a:lnTo>
                      <a:lnTo>
                        <a:pt x="260" y="276"/>
                      </a:lnTo>
                      <a:lnTo>
                        <a:pt x="260" y="277"/>
                      </a:lnTo>
                      <a:lnTo>
                        <a:pt x="260" y="280"/>
                      </a:lnTo>
                      <a:lnTo>
                        <a:pt x="260" y="282"/>
                      </a:lnTo>
                      <a:lnTo>
                        <a:pt x="260" y="283"/>
                      </a:lnTo>
                      <a:lnTo>
                        <a:pt x="260" y="285"/>
                      </a:lnTo>
                      <a:lnTo>
                        <a:pt x="260" y="288"/>
                      </a:lnTo>
                      <a:lnTo>
                        <a:pt x="260" y="289"/>
                      </a:lnTo>
                      <a:lnTo>
                        <a:pt x="260" y="290"/>
                      </a:lnTo>
                      <a:lnTo>
                        <a:pt x="260" y="291"/>
                      </a:lnTo>
                      <a:lnTo>
                        <a:pt x="260" y="294"/>
                      </a:lnTo>
                      <a:lnTo>
                        <a:pt x="260" y="295"/>
                      </a:lnTo>
                      <a:lnTo>
                        <a:pt x="260" y="297"/>
                      </a:lnTo>
                      <a:lnTo>
                        <a:pt x="260" y="299"/>
                      </a:lnTo>
                      <a:lnTo>
                        <a:pt x="260" y="301"/>
                      </a:lnTo>
                      <a:lnTo>
                        <a:pt x="260" y="303"/>
                      </a:lnTo>
                      <a:lnTo>
                        <a:pt x="260" y="305"/>
                      </a:lnTo>
                      <a:lnTo>
                        <a:pt x="260" y="306"/>
                      </a:lnTo>
                      <a:lnTo>
                        <a:pt x="260" y="309"/>
                      </a:lnTo>
                      <a:lnTo>
                        <a:pt x="260" y="311"/>
                      </a:lnTo>
                      <a:lnTo>
                        <a:pt x="260" y="312"/>
                      </a:lnTo>
                      <a:lnTo>
                        <a:pt x="260" y="315"/>
                      </a:lnTo>
                      <a:lnTo>
                        <a:pt x="260" y="317"/>
                      </a:lnTo>
                      <a:lnTo>
                        <a:pt x="260" y="318"/>
                      </a:lnTo>
                      <a:lnTo>
                        <a:pt x="260" y="320"/>
                      </a:lnTo>
                      <a:lnTo>
                        <a:pt x="260" y="323"/>
                      </a:lnTo>
                      <a:lnTo>
                        <a:pt x="260" y="324"/>
                      </a:lnTo>
                      <a:lnTo>
                        <a:pt x="260" y="326"/>
                      </a:lnTo>
                      <a:lnTo>
                        <a:pt x="260" y="329"/>
                      </a:lnTo>
                      <a:lnTo>
                        <a:pt x="260" y="330"/>
                      </a:lnTo>
                      <a:lnTo>
                        <a:pt x="260" y="332"/>
                      </a:lnTo>
                      <a:lnTo>
                        <a:pt x="260" y="334"/>
                      </a:lnTo>
                      <a:lnTo>
                        <a:pt x="260" y="336"/>
                      </a:lnTo>
                      <a:lnTo>
                        <a:pt x="260" y="338"/>
                      </a:lnTo>
                      <a:lnTo>
                        <a:pt x="260" y="340"/>
                      </a:lnTo>
                      <a:lnTo>
                        <a:pt x="260" y="343"/>
                      </a:lnTo>
                      <a:lnTo>
                        <a:pt x="260" y="344"/>
                      </a:lnTo>
                      <a:lnTo>
                        <a:pt x="260" y="346"/>
                      </a:lnTo>
                      <a:lnTo>
                        <a:pt x="260" y="348"/>
                      </a:lnTo>
                      <a:lnTo>
                        <a:pt x="260" y="350"/>
                      </a:lnTo>
                      <a:lnTo>
                        <a:pt x="260" y="352"/>
                      </a:lnTo>
                      <a:lnTo>
                        <a:pt x="260" y="354"/>
                      </a:lnTo>
                      <a:lnTo>
                        <a:pt x="260" y="355"/>
                      </a:lnTo>
                      <a:lnTo>
                        <a:pt x="260" y="358"/>
                      </a:lnTo>
                      <a:lnTo>
                        <a:pt x="260" y="360"/>
                      </a:lnTo>
                      <a:lnTo>
                        <a:pt x="260" y="361"/>
                      </a:lnTo>
                      <a:lnTo>
                        <a:pt x="260" y="364"/>
                      </a:lnTo>
                      <a:lnTo>
                        <a:pt x="260" y="366"/>
                      </a:lnTo>
                      <a:lnTo>
                        <a:pt x="260" y="367"/>
                      </a:lnTo>
                      <a:lnTo>
                        <a:pt x="260" y="369"/>
                      </a:lnTo>
                      <a:lnTo>
                        <a:pt x="260" y="372"/>
                      </a:lnTo>
                      <a:lnTo>
                        <a:pt x="260" y="374"/>
                      </a:lnTo>
                      <a:lnTo>
                        <a:pt x="260" y="375"/>
                      </a:lnTo>
                      <a:lnTo>
                        <a:pt x="260" y="378"/>
                      </a:lnTo>
                      <a:lnTo>
                        <a:pt x="260" y="380"/>
                      </a:lnTo>
                      <a:lnTo>
                        <a:pt x="260" y="381"/>
                      </a:lnTo>
                      <a:lnTo>
                        <a:pt x="260" y="383"/>
                      </a:lnTo>
                      <a:lnTo>
                        <a:pt x="260" y="386"/>
                      </a:lnTo>
                      <a:lnTo>
                        <a:pt x="260" y="387"/>
                      </a:lnTo>
                      <a:lnTo>
                        <a:pt x="260" y="388"/>
                      </a:lnTo>
                      <a:lnTo>
                        <a:pt x="259" y="388"/>
                      </a:lnTo>
                      <a:lnTo>
                        <a:pt x="258" y="388"/>
                      </a:lnTo>
                      <a:lnTo>
                        <a:pt x="257" y="388"/>
                      </a:lnTo>
                      <a:lnTo>
                        <a:pt x="256" y="389"/>
                      </a:lnTo>
                      <a:lnTo>
                        <a:pt x="254" y="390"/>
                      </a:lnTo>
                      <a:lnTo>
                        <a:pt x="253" y="390"/>
                      </a:lnTo>
                      <a:lnTo>
                        <a:pt x="252" y="390"/>
                      </a:lnTo>
                      <a:lnTo>
                        <a:pt x="251" y="392"/>
                      </a:lnTo>
                      <a:lnTo>
                        <a:pt x="249" y="392"/>
                      </a:lnTo>
                      <a:lnTo>
                        <a:pt x="247" y="392"/>
                      </a:lnTo>
                      <a:lnTo>
                        <a:pt x="247" y="393"/>
                      </a:lnTo>
                      <a:lnTo>
                        <a:pt x="246" y="393"/>
                      </a:lnTo>
                      <a:lnTo>
                        <a:pt x="246" y="394"/>
                      </a:lnTo>
                      <a:lnTo>
                        <a:pt x="245" y="397"/>
                      </a:lnTo>
                      <a:lnTo>
                        <a:pt x="244" y="397"/>
                      </a:lnTo>
                      <a:lnTo>
                        <a:pt x="244" y="399"/>
                      </a:lnTo>
                      <a:lnTo>
                        <a:pt x="240" y="399"/>
                      </a:lnTo>
                      <a:lnTo>
                        <a:pt x="239" y="399"/>
                      </a:lnTo>
                      <a:lnTo>
                        <a:pt x="238" y="399"/>
                      </a:lnTo>
                      <a:lnTo>
                        <a:pt x="238" y="400"/>
                      </a:lnTo>
                      <a:lnTo>
                        <a:pt x="238" y="401"/>
                      </a:lnTo>
                      <a:lnTo>
                        <a:pt x="237" y="401"/>
                      </a:lnTo>
                      <a:lnTo>
                        <a:pt x="238" y="402"/>
                      </a:lnTo>
                      <a:lnTo>
                        <a:pt x="239" y="404"/>
                      </a:lnTo>
                      <a:lnTo>
                        <a:pt x="238" y="404"/>
                      </a:lnTo>
                      <a:lnTo>
                        <a:pt x="237" y="404"/>
                      </a:lnTo>
                      <a:lnTo>
                        <a:pt x="237" y="406"/>
                      </a:lnTo>
                      <a:lnTo>
                        <a:pt x="235" y="407"/>
                      </a:lnTo>
                      <a:lnTo>
                        <a:pt x="233" y="407"/>
                      </a:lnTo>
                      <a:lnTo>
                        <a:pt x="232" y="407"/>
                      </a:lnTo>
                      <a:lnTo>
                        <a:pt x="231" y="407"/>
                      </a:lnTo>
                      <a:lnTo>
                        <a:pt x="231" y="406"/>
                      </a:lnTo>
                      <a:lnTo>
                        <a:pt x="230" y="406"/>
                      </a:lnTo>
                      <a:lnTo>
                        <a:pt x="229" y="404"/>
                      </a:lnTo>
                      <a:lnTo>
                        <a:pt x="229" y="403"/>
                      </a:lnTo>
                      <a:lnTo>
                        <a:pt x="222" y="403"/>
                      </a:lnTo>
                      <a:lnTo>
                        <a:pt x="216" y="403"/>
                      </a:lnTo>
                      <a:lnTo>
                        <a:pt x="215" y="404"/>
                      </a:lnTo>
                      <a:lnTo>
                        <a:pt x="214" y="404"/>
                      </a:lnTo>
                      <a:lnTo>
                        <a:pt x="212" y="404"/>
                      </a:lnTo>
                      <a:lnTo>
                        <a:pt x="211" y="404"/>
                      </a:lnTo>
                      <a:lnTo>
                        <a:pt x="210" y="404"/>
                      </a:lnTo>
                      <a:lnTo>
                        <a:pt x="209" y="404"/>
                      </a:lnTo>
                      <a:lnTo>
                        <a:pt x="208" y="404"/>
                      </a:lnTo>
                      <a:lnTo>
                        <a:pt x="206" y="404"/>
                      </a:lnTo>
                      <a:lnTo>
                        <a:pt x="204" y="406"/>
                      </a:lnTo>
                      <a:lnTo>
                        <a:pt x="203" y="406"/>
                      </a:lnTo>
                      <a:lnTo>
                        <a:pt x="201" y="404"/>
                      </a:lnTo>
                      <a:lnTo>
                        <a:pt x="200" y="403"/>
                      </a:lnTo>
                      <a:lnTo>
                        <a:pt x="199" y="402"/>
                      </a:lnTo>
                      <a:lnTo>
                        <a:pt x="197" y="401"/>
                      </a:lnTo>
                      <a:lnTo>
                        <a:pt x="196" y="401"/>
                      </a:lnTo>
                      <a:lnTo>
                        <a:pt x="190" y="400"/>
                      </a:lnTo>
                      <a:lnTo>
                        <a:pt x="189" y="400"/>
                      </a:lnTo>
                      <a:lnTo>
                        <a:pt x="189" y="401"/>
                      </a:lnTo>
                      <a:lnTo>
                        <a:pt x="188" y="401"/>
                      </a:lnTo>
                      <a:lnTo>
                        <a:pt x="187" y="400"/>
                      </a:lnTo>
                      <a:lnTo>
                        <a:pt x="186" y="400"/>
                      </a:lnTo>
                      <a:lnTo>
                        <a:pt x="186" y="399"/>
                      </a:lnTo>
                      <a:lnTo>
                        <a:pt x="186" y="397"/>
                      </a:lnTo>
                      <a:lnTo>
                        <a:pt x="185" y="397"/>
                      </a:lnTo>
                      <a:lnTo>
                        <a:pt x="183" y="397"/>
                      </a:lnTo>
                      <a:lnTo>
                        <a:pt x="182" y="397"/>
                      </a:lnTo>
                      <a:lnTo>
                        <a:pt x="181" y="399"/>
                      </a:lnTo>
                      <a:lnTo>
                        <a:pt x="180" y="399"/>
                      </a:lnTo>
                      <a:lnTo>
                        <a:pt x="180" y="397"/>
                      </a:lnTo>
                      <a:lnTo>
                        <a:pt x="180" y="395"/>
                      </a:lnTo>
                      <a:lnTo>
                        <a:pt x="180" y="394"/>
                      </a:lnTo>
                      <a:lnTo>
                        <a:pt x="179" y="393"/>
                      </a:lnTo>
                      <a:lnTo>
                        <a:pt x="179" y="392"/>
                      </a:lnTo>
                      <a:lnTo>
                        <a:pt x="178" y="390"/>
                      </a:lnTo>
                      <a:lnTo>
                        <a:pt x="178" y="389"/>
                      </a:lnTo>
                      <a:lnTo>
                        <a:pt x="179" y="388"/>
                      </a:lnTo>
                      <a:lnTo>
                        <a:pt x="180" y="388"/>
                      </a:lnTo>
                      <a:lnTo>
                        <a:pt x="180" y="387"/>
                      </a:lnTo>
                      <a:lnTo>
                        <a:pt x="180" y="386"/>
                      </a:lnTo>
                      <a:lnTo>
                        <a:pt x="180" y="385"/>
                      </a:lnTo>
                      <a:lnTo>
                        <a:pt x="179" y="385"/>
                      </a:lnTo>
                      <a:lnTo>
                        <a:pt x="179" y="383"/>
                      </a:lnTo>
                      <a:lnTo>
                        <a:pt x="179" y="382"/>
                      </a:lnTo>
                      <a:lnTo>
                        <a:pt x="179" y="381"/>
                      </a:lnTo>
                      <a:lnTo>
                        <a:pt x="178" y="381"/>
                      </a:lnTo>
                      <a:lnTo>
                        <a:pt x="176" y="381"/>
                      </a:lnTo>
                      <a:lnTo>
                        <a:pt x="175" y="381"/>
                      </a:lnTo>
                      <a:lnTo>
                        <a:pt x="174" y="381"/>
                      </a:lnTo>
                      <a:lnTo>
                        <a:pt x="173" y="381"/>
                      </a:lnTo>
                      <a:lnTo>
                        <a:pt x="173" y="379"/>
                      </a:lnTo>
                      <a:lnTo>
                        <a:pt x="173" y="378"/>
                      </a:lnTo>
                      <a:lnTo>
                        <a:pt x="173" y="376"/>
                      </a:lnTo>
                      <a:lnTo>
                        <a:pt x="172" y="376"/>
                      </a:lnTo>
                      <a:lnTo>
                        <a:pt x="171" y="375"/>
                      </a:lnTo>
                      <a:lnTo>
                        <a:pt x="171" y="374"/>
                      </a:lnTo>
                      <a:lnTo>
                        <a:pt x="169" y="374"/>
                      </a:lnTo>
                      <a:lnTo>
                        <a:pt x="168" y="374"/>
                      </a:lnTo>
                      <a:lnTo>
                        <a:pt x="167" y="375"/>
                      </a:lnTo>
                      <a:lnTo>
                        <a:pt x="166" y="375"/>
                      </a:lnTo>
                      <a:lnTo>
                        <a:pt x="165" y="375"/>
                      </a:lnTo>
                      <a:lnTo>
                        <a:pt x="164" y="376"/>
                      </a:lnTo>
                      <a:lnTo>
                        <a:pt x="164" y="379"/>
                      </a:lnTo>
                      <a:lnTo>
                        <a:pt x="164" y="380"/>
                      </a:lnTo>
                      <a:lnTo>
                        <a:pt x="164" y="379"/>
                      </a:lnTo>
                      <a:lnTo>
                        <a:pt x="162" y="379"/>
                      </a:lnTo>
                      <a:lnTo>
                        <a:pt x="162" y="380"/>
                      </a:lnTo>
                      <a:lnTo>
                        <a:pt x="162" y="381"/>
                      </a:lnTo>
                      <a:lnTo>
                        <a:pt x="161" y="381"/>
                      </a:lnTo>
                      <a:lnTo>
                        <a:pt x="161" y="382"/>
                      </a:lnTo>
                      <a:lnTo>
                        <a:pt x="161" y="383"/>
                      </a:lnTo>
                      <a:lnTo>
                        <a:pt x="161" y="382"/>
                      </a:lnTo>
                      <a:lnTo>
                        <a:pt x="160" y="382"/>
                      </a:lnTo>
                      <a:lnTo>
                        <a:pt x="160" y="383"/>
                      </a:lnTo>
                      <a:lnTo>
                        <a:pt x="160" y="385"/>
                      </a:lnTo>
                      <a:lnTo>
                        <a:pt x="161" y="386"/>
                      </a:lnTo>
                      <a:lnTo>
                        <a:pt x="161" y="387"/>
                      </a:lnTo>
                      <a:lnTo>
                        <a:pt x="160" y="387"/>
                      </a:lnTo>
                      <a:lnTo>
                        <a:pt x="160" y="388"/>
                      </a:lnTo>
                      <a:lnTo>
                        <a:pt x="160" y="389"/>
                      </a:lnTo>
                      <a:lnTo>
                        <a:pt x="159" y="390"/>
                      </a:lnTo>
                      <a:lnTo>
                        <a:pt x="158" y="390"/>
                      </a:lnTo>
                      <a:lnTo>
                        <a:pt x="158" y="389"/>
                      </a:lnTo>
                      <a:lnTo>
                        <a:pt x="157" y="389"/>
                      </a:lnTo>
                      <a:lnTo>
                        <a:pt x="154" y="392"/>
                      </a:lnTo>
                      <a:lnTo>
                        <a:pt x="153" y="393"/>
                      </a:lnTo>
                      <a:lnTo>
                        <a:pt x="152" y="393"/>
                      </a:lnTo>
                      <a:lnTo>
                        <a:pt x="151" y="394"/>
                      </a:lnTo>
                      <a:lnTo>
                        <a:pt x="151" y="395"/>
                      </a:lnTo>
                      <a:lnTo>
                        <a:pt x="150" y="395"/>
                      </a:lnTo>
                      <a:lnTo>
                        <a:pt x="148" y="395"/>
                      </a:lnTo>
                      <a:lnTo>
                        <a:pt x="147" y="393"/>
                      </a:lnTo>
                      <a:lnTo>
                        <a:pt x="146" y="392"/>
                      </a:lnTo>
                      <a:lnTo>
                        <a:pt x="145" y="392"/>
                      </a:lnTo>
                      <a:lnTo>
                        <a:pt x="143" y="388"/>
                      </a:lnTo>
                      <a:lnTo>
                        <a:pt x="142" y="388"/>
                      </a:lnTo>
                      <a:lnTo>
                        <a:pt x="142" y="387"/>
                      </a:lnTo>
                      <a:lnTo>
                        <a:pt x="139" y="385"/>
                      </a:lnTo>
                      <a:lnTo>
                        <a:pt x="137" y="382"/>
                      </a:lnTo>
                      <a:lnTo>
                        <a:pt x="133" y="380"/>
                      </a:lnTo>
                      <a:lnTo>
                        <a:pt x="132" y="379"/>
                      </a:lnTo>
                      <a:lnTo>
                        <a:pt x="131" y="376"/>
                      </a:lnTo>
                      <a:lnTo>
                        <a:pt x="129" y="375"/>
                      </a:lnTo>
                      <a:lnTo>
                        <a:pt x="128" y="374"/>
                      </a:lnTo>
                      <a:lnTo>
                        <a:pt x="128" y="373"/>
                      </a:lnTo>
                      <a:lnTo>
                        <a:pt x="126" y="372"/>
                      </a:lnTo>
                      <a:lnTo>
                        <a:pt x="126" y="371"/>
                      </a:lnTo>
                      <a:lnTo>
                        <a:pt x="126" y="369"/>
                      </a:lnTo>
                      <a:lnTo>
                        <a:pt x="125" y="368"/>
                      </a:lnTo>
                      <a:lnTo>
                        <a:pt x="125" y="367"/>
                      </a:lnTo>
                      <a:lnTo>
                        <a:pt x="122" y="365"/>
                      </a:lnTo>
                      <a:lnTo>
                        <a:pt x="122" y="364"/>
                      </a:lnTo>
                      <a:lnTo>
                        <a:pt x="122" y="361"/>
                      </a:lnTo>
                      <a:lnTo>
                        <a:pt x="121" y="360"/>
                      </a:lnTo>
                      <a:lnTo>
                        <a:pt x="118" y="355"/>
                      </a:lnTo>
                      <a:lnTo>
                        <a:pt x="117" y="354"/>
                      </a:lnTo>
                      <a:lnTo>
                        <a:pt x="116" y="353"/>
                      </a:lnTo>
                      <a:lnTo>
                        <a:pt x="116" y="352"/>
                      </a:lnTo>
                      <a:lnTo>
                        <a:pt x="114" y="350"/>
                      </a:lnTo>
                      <a:lnTo>
                        <a:pt x="114" y="347"/>
                      </a:lnTo>
                      <a:lnTo>
                        <a:pt x="114" y="346"/>
                      </a:lnTo>
                      <a:lnTo>
                        <a:pt x="112" y="346"/>
                      </a:lnTo>
                      <a:lnTo>
                        <a:pt x="114" y="344"/>
                      </a:lnTo>
                      <a:lnTo>
                        <a:pt x="112" y="341"/>
                      </a:lnTo>
                      <a:lnTo>
                        <a:pt x="112" y="340"/>
                      </a:lnTo>
                      <a:lnTo>
                        <a:pt x="112" y="339"/>
                      </a:lnTo>
                      <a:lnTo>
                        <a:pt x="112" y="337"/>
                      </a:lnTo>
                      <a:lnTo>
                        <a:pt x="111" y="337"/>
                      </a:lnTo>
                      <a:lnTo>
                        <a:pt x="111" y="336"/>
                      </a:lnTo>
                      <a:lnTo>
                        <a:pt x="110" y="336"/>
                      </a:lnTo>
                      <a:lnTo>
                        <a:pt x="110" y="334"/>
                      </a:lnTo>
                      <a:lnTo>
                        <a:pt x="109" y="334"/>
                      </a:lnTo>
                      <a:lnTo>
                        <a:pt x="109" y="333"/>
                      </a:lnTo>
                      <a:lnTo>
                        <a:pt x="108" y="331"/>
                      </a:lnTo>
                      <a:lnTo>
                        <a:pt x="108" y="330"/>
                      </a:lnTo>
                      <a:lnTo>
                        <a:pt x="108" y="329"/>
                      </a:lnTo>
                      <a:lnTo>
                        <a:pt x="107" y="327"/>
                      </a:lnTo>
                      <a:lnTo>
                        <a:pt x="107" y="326"/>
                      </a:lnTo>
                      <a:lnTo>
                        <a:pt x="108" y="326"/>
                      </a:lnTo>
                      <a:lnTo>
                        <a:pt x="108" y="325"/>
                      </a:lnTo>
                      <a:lnTo>
                        <a:pt x="109" y="325"/>
                      </a:lnTo>
                      <a:lnTo>
                        <a:pt x="109" y="326"/>
                      </a:lnTo>
                      <a:lnTo>
                        <a:pt x="109" y="327"/>
                      </a:lnTo>
                      <a:lnTo>
                        <a:pt x="109" y="326"/>
                      </a:lnTo>
                      <a:lnTo>
                        <a:pt x="110" y="324"/>
                      </a:lnTo>
                      <a:lnTo>
                        <a:pt x="109" y="322"/>
                      </a:lnTo>
                      <a:lnTo>
                        <a:pt x="109" y="319"/>
                      </a:lnTo>
                      <a:lnTo>
                        <a:pt x="108" y="318"/>
                      </a:lnTo>
                      <a:lnTo>
                        <a:pt x="107" y="317"/>
                      </a:lnTo>
                      <a:lnTo>
                        <a:pt x="105" y="316"/>
                      </a:lnTo>
                      <a:lnTo>
                        <a:pt x="104" y="316"/>
                      </a:lnTo>
                      <a:lnTo>
                        <a:pt x="103" y="316"/>
                      </a:lnTo>
                      <a:lnTo>
                        <a:pt x="103" y="312"/>
                      </a:lnTo>
                      <a:lnTo>
                        <a:pt x="103" y="310"/>
                      </a:lnTo>
                      <a:lnTo>
                        <a:pt x="103" y="309"/>
                      </a:lnTo>
                      <a:lnTo>
                        <a:pt x="104" y="308"/>
                      </a:lnTo>
                      <a:lnTo>
                        <a:pt x="104" y="305"/>
                      </a:lnTo>
                      <a:lnTo>
                        <a:pt x="103" y="304"/>
                      </a:lnTo>
                      <a:lnTo>
                        <a:pt x="103" y="303"/>
                      </a:lnTo>
                      <a:lnTo>
                        <a:pt x="102" y="301"/>
                      </a:lnTo>
                      <a:lnTo>
                        <a:pt x="101" y="299"/>
                      </a:lnTo>
                      <a:lnTo>
                        <a:pt x="102" y="298"/>
                      </a:lnTo>
                      <a:lnTo>
                        <a:pt x="100" y="296"/>
                      </a:lnTo>
                      <a:lnTo>
                        <a:pt x="100" y="295"/>
                      </a:lnTo>
                      <a:lnTo>
                        <a:pt x="100" y="291"/>
                      </a:lnTo>
                      <a:lnTo>
                        <a:pt x="101" y="289"/>
                      </a:lnTo>
                      <a:lnTo>
                        <a:pt x="101" y="288"/>
                      </a:lnTo>
                      <a:lnTo>
                        <a:pt x="101" y="287"/>
                      </a:lnTo>
                      <a:lnTo>
                        <a:pt x="100" y="287"/>
                      </a:lnTo>
                      <a:lnTo>
                        <a:pt x="100" y="285"/>
                      </a:lnTo>
                      <a:lnTo>
                        <a:pt x="100" y="284"/>
                      </a:lnTo>
                      <a:lnTo>
                        <a:pt x="98" y="282"/>
                      </a:lnTo>
                      <a:lnTo>
                        <a:pt x="98" y="280"/>
                      </a:lnTo>
                      <a:lnTo>
                        <a:pt x="98" y="278"/>
                      </a:lnTo>
                      <a:lnTo>
                        <a:pt x="100" y="276"/>
                      </a:lnTo>
                      <a:lnTo>
                        <a:pt x="98" y="275"/>
                      </a:lnTo>
                      <a:lnTo>
                        <a:pt x="100" y="273"/>
                      </a:lnTo>
                      <a:lnTo>
                        <a:pt x="100" y="271"/>
                      </a:lnTo>
                      <a:lnTo>
                        <a:pt x="100" y="270"/>
                      </a:lnTo>
                      <a:lnTo>
                        <a:pt x="98" y="269"/>
                      </a:lnTo>
                      <a:lnTo>
                        <a:pt x="98" y="268"/>
                      </a:lnTo>
                      <a:lnTo>
                        <a:pt x="98" y="267"/>
                      </a:lnTo>
                      <a:lnTo>
                        <a:pt x="97" y="263"/>
                      </a:lnTo>
                      <a:lnTo>
                        <a:pt x="97" y="262"/>
                      </a:lnTo>
                      <a:lnTo>
                        <a:pt x="96" y="259"/>
                      </a:lnTo>
                      <a:lnTo>
                        <a:pt x="95" y="257"/>
                      </a:lnTo>
                      <a:lnTo>
                        <a:pt x="94" y="256"/>
                      </a:lnTo>
                      <a:lnTo>
                        <a:pt x="93" y="255"/>
                      </a:lnTo>
                      <a:lnTo>
                        <a:pt x="91" y="254"/>
                      </a:lnTo>
                      <a:lnTo>
                        <a:pt x="91" y="253"/>
                      </a:lnTo>
                      <a:lnTo>
                        <a:pt x="93" y="253"/>
                      </a:lnTo>
                      <a:lnTo>
                        <a:pt x="93" y="252"/>
                      </a:lnTo>
                      <a:lnTo>
                        <a:pt x="93" y="250"/>
                      </a:lnTo>
                      <a:lnTo>
                        <a:pt x="91" y="249"/>
                      </a:lnTo>
                      <a:lnTo>
                        <a:pt x="90" y="247"/>
                      </a:lnTo>
                      <a:lnTo>
                        <a:pt x="89" y="243"/>
                      </a:lnTo>
                      <a:lnTo>
                        <a:pt x="88" y="241"/>
                      </a:lnTo>
                      <a:lnTo>
                        <a:pt x="88" y="240"/>
                      </a:lnTo>
                      <a:lnTo>
                        <a:pt x="88" y="239"/>
                      </a:lnTo>
                      <a:lnTo>
                        <a:pt x="87" y="239"/>
                      </a:lnTo>
                      <a:lnTo>
                        <a:pt x="87" y="238"/>
                      </a:lnTo>
                      <a:lnTo>
                        <a:pt x="87" y="236"/>
                      </a:lnTo>
                      <a:lnTo>
                        <a:pt x="87" y="235"/>
                      </a:lnTo>
                      <a:lnTo>
                        <a:pt x="87" y="234"/>
                      </a:lnTo>
                      <a:lnTo>
                        <a:pt x="87" y="233"/>
                      </a:lnTo>
                      <a:lnTo>
                        <a:pt x="88" y="233"/>
                      </a:lnTo>
                      <a:lnTo>
                        <a:pt x="88" y="232"/>
                      </a:lnTo>
                      <a:lnTo>
                        <a:pt x="89" y="231"/>
                      </a:lnTo>
                      <a:lnTo>
                        <a:pt x="89" y="228"/>
                      </a:lnTo>
                      <a:lnTo>
                        <a:pt x="88" y="227"/>
                      </a:lnTo>
                      <a:lnTo>
                        <a:pt x="88" y="221"/>
                      </a:lnTo>
                      <a:lnTo>
                        <a:pt x="88" y="220"/>
                      </a:lnTo>
                      <a:lnTo>
                        <a:pt x="88" y="219"/>
                      </a:lnTo>
                      <a:lnTo>
                        <a:pt x="87" y="217"/>
                      </a:lnTo>
                      <a:lnTo>
                        <a:pt x="87" y="215"/>
                      </a:lnTo>
                      <a:lnTo>
                        <a:pt x="87" y="214"/>
                      </a:lnTo>
                      <a:lnTo>
                        <a:pt x="87" y="213"/>
                      </a:lnTo>
                      <a:lnTo>
                        <a:pt x="88" y="212"/>
                      </a:lnTo>
                      <a:lnTo>
                        <a:pt x="88" y="213"/>
                      </a:lnTo>
                      <a:lnTo>
                        <a:pt x="88" y="211"/>
                      </a:lnTo>
                      <a:lnTo>
                        <a:pt x="88" y="207"/>
                      </a:lnTo>
                      <a:lnTo>
                        <a:pt x="87" y="206"/>
                      </a:lnTo>
                      <a:lnTo>
                        <a:pt x="87" y="205"/>
                      </a:lnTo>
                      <a:lnTo>
                        <a:pt x="86" y="204"/>
                      </a:lnTo>
                      <a:lnTo>
                        <a:pt x="86" y="203"/>
                      </a:lnTo>
                      <a:lnTo>
                        <a:pt x="86" y="200"/>
                      </a:lnTo>
                      <a:lnTo>
                        <a:pt x="86" y="199"/>
                      </a:lnTo>
                      <a:lnTo>
                        <a:pt x="86" y="198"/>
                      </a:lnTo>
                      <a:lnTo>
                        <a:pt x="86" y="197"/>
                      </a:lnTo>
                      <a:lnTo>
                        <a:pt x="87" y="197"/>
                      </a:lnTo>
                      <a:lnTo>
                        <a:pt x="87" y="198"/>
                      </a:lnTo>
                      <a:lnTo>
                        <a:pt x="87" y="199"/>
                      </a:lnTo>
                      <a:lnTo>
                        <a:pt x="88" y="199"/>
                      </a:lnTo>
                      <a:lnTo>
                        <a:pt x="87" y="200"/>
                      </a:lnTo>
                      <a:lnTo>
                        <a:pt x="88" y="200"/>
                      </a:lnTo>
                      <a:lnTo>
                        <a:pt x="88" y="199"/>
                      </a:lnTo>
                      <a:lnTo>
                        <a:pt x="89" y="199"/>
                      </a:lnTo>
                      <a:lnTo>
                        <a:pt x="89" y="198"/>
                      </a:lnTo>
                      <a:lnTo>
                        <a:pt x="89" y="196"/>
                      </a:lnTo>
                      <a:lnTo>
                        <a:pt x="89" y="190"/>
                      </a:lnTo>
                      <a:lnTo>
                        <a:pt x="88" y="185"/>
                      </a:lnTo>
                      <a:lnTo>
                        <a:pt x="88" y="184"/>
                      </a:lnTo>
                      <a:lnTo>
                        <a:pt x="88" y="183"/>
                      </a:lnTo>
                      <a:lnTo>
                        <a:pt x="87" y="180"/>
                      </a:lnTo>
                      <a:lnTo>
                        <a:pt x="86" y="178"/>
                      </a:lnTo>
                      <a:lnTo>
                        <a:pt x="84" y="176"/>
                      </a:lnTo>
                      <a:lnTo>
                        <a:pt x="82" y="173"/>
                      </a:lnTo>
                      <a:lnTo>
                        <a:pt x="82" y="172"/>
                      </a:lnTo>
                      <a:lnTo>
                        <a:pt x="82" y="171"/>
                      </a:lnTo>
                      <a:lnTo>
                        <a:pt x="76" y="165"/>
                      </a:lnTo>
                      <a:lnTo>
                        <a:pt x="74" y="163"/>
                      </a:lnTo>
                      <a:lnTo>
                        <a:pt x="72" y="161"/>
                      </a:lnTo>
                      <a:lnTo>
                        <a:pt x="71" y="159"/>
                      </a:lnTo>
                      <a:lnTo>
                        <a:pt x="72" y="159"/>
                      </a:lnTo>
                      <a:lnTo>
                        <a:pt x="72" y="158"/>
                      </a:lnTo>
                      <a:lnTo>
                        <a:pt x="72" y="157"/>
                      </a:lnTo>
                      <a:lnTo>
                        <a:pt x="68" y="154"/>
                      </a:lnTo>
                      <a:lnTo>
                        <a:pt x="68" y="151"/>
                      </a:lnTo>
                      <a:lnTo>
                        <a:pt x="67" y="149"/>
                      </a:lnTo>
                      <a:lnTo>
                        <a:pt x="64" y="144"/>
                      </a:lnTo>
                      <a:lnTo>
                        <a:pt x="62" y="141"/>
                      </a:lnTo>
                      <a:lnTo>
                        <a:pt x="61" y="140"/>
                      </a:lnTo>
                      <a:lnTo>
                        <a:pt x="60" y="138"/>
                      </a:lnTo>
                      <a:lnTo>
                        <a:pt x="57" y="134"/>
                      </a:lnTo>
                      <a:lnTo>
                        <a:pt x="55" y="133"/>
                      </a:lnTo>
                      <a:lnTo>
                        <a:pt x="55" y="131"/>
                      </a:lnTo>
                      <a:lnTo>
                        <a:pt x="55" y="130"/>
                      </a:lnTo>
                      <a:lnTo>
                        <a:pt x="54" y="130"/>
                      </a:lnTo>
                      <a:lnTo>
                        <a:pt x="53" y="129"/>
                      </a:lnTo>
                      <a:lnTo>
                        <a:pt x="53" y="128"/>
                      </a:lnTo>
                      <a:lnTo>
                        <a:pt x="53" y="124"/>
                      </a:lnTo>
                      <a:lnTo>
                        <a:pt x="52" y="122"/>
                      </a:lnTo>
                      <a:lnTo>
                        <a:pt x="50" y="116"/>
                      </a:lnTo>
                      <a:lnTo>
                        <a:pt x="48" y="114"/>
                      </a:lnTo>
                      <a:lnTo>
                        <a:pt x="48" y="112"/>
                      </a:lnTo>
                      <a:lnTo>
                        <a:pt x="47" y="109"/>
                      </a:lnTo>
                      <a:lnTo>
                        <a:pt x="46" y="107"/>
                      </a:lnTo>
                      <a:lnTo>
                        <a:pt x="46" y="106"/>
                      </a:lnTo>
                      <a:lnTo>
                        <a:pt x="45" y="105"/>
                      </a:lnTo>
                      <a:lnTo>
                        <a:pt x="43" y="105"/>
                      </a:lnTo>
                      <a:lnTo>
                        <a:pt x="41" y="102"/>
                      </a:lnTo>
                      <a:lnTo>
                        <a:pt x="41" y="98"/>
                      </a:lnTo>
                      <a:lnTo>
                        <a:pt x="38" y="93"/>
                      </a:lnTo>
                      <a:lnTo>
                        <a:pt x="37" y="91"/>
                      </a:lnTo>
                      <a:lnTo>
                        <a:pt x="34" y="87"/>
                      </a:lnTo>
                      <a:lnTo>
                        <a:pt x="34" y="86"/>
                      </a:lnTo>
                      <a:lnTo>
                        <a:pt x="34" y="85"/>
                      </a:lnTo>
                      <a:lnTo>
                        <a:pt x="33" y="84"/>
                      </a:lnTo>
                      <a:lnTo>
                        <a:pt x="31" y="81"/>
                      </a:lnTo>
                      <a:lnTo>
                        <a:pt x="31" y="80"/>
                      </a:lnTo>
                      <a:lnTo>
                        <a:pt x="31" y="79"/>
                      </a:lnTo>
                      <a:lnTo>
                        <a:pt x="31" y="78"/>
                      </a:lnTo>
                      <a:lnTo>
                        <a:pt x="30" y="77"/>
                      </a:lnTo>
                      <a:lnTo>
                        <a:pt x="30" y="75"/>
                      </a:lnTo>
                      <a:lnTo>
                        <a:pt x="29" y="74"/>
                      </a:lnTo>
                      <a:lnTo>
                        <a:pt x="27" y="71"/>
                      </a:lnTo>
                      <a:lnTo>
                        <a:pt x="26" y="70"/>
                      </a:lnTo>
                      <a:lnTo>
                        <a:pt x="25" y="68"/>
                      </a:lnTo>
                      <a:lnTo>
                        <a:pt x="24" y="67"/>
                      </a:lnTo>
                      <a:lnTo>
                        <a:pt x="24" y="65"/>
                      </a:lnTo>
                      <a:lnTo>
                        <a:pt x="23" y="64"/>
                      </a:lnTo>
                      <a:lnTo>
                        <a:pt x="18" y="57"/>
                      </a:lnTo>
                      <a:lnTo>
                        <a:pt x="15" y="54"/>
                      </a:lnTo>
                      <a:lnTo>
                        <a:pt x="14" y="53"/>
                      </a:lnTo>
                      <a:lnTo>
                        <a:pt x="12" y="53"/>
                      </a:lnTo>
                      <a:lnTo>
                        <a:pt x="12" y="52"/>
                      </a:lnTo>
                      <a:lnTo>
                        <a:pt x="11" y="52"/>
                      </a:lnTo>
                      <a:lnTo>
                        <a:pt x="10" y="51"/>
                      </a:lnTo>
                      <a:lnTo>
                        <a:pt x="10" y="50"/>
                      </a:lnTo>
                      <a:lnTo>
                        <a:pt x="10" y="49"/>
                      </a:lnTo>
                      <a:lnTo>
                        <a:pt x="9" y="47"/>
                      </a:lnTo>
                      <a:lnTo>
                        <a:pt x="9" y="46"/>
                      </a:lnTo>
                      <a:lnTo>
                        <a:pt x="9" y="45"/>
                      </a:lnTo>
                      <a:lnTo>
                        <a:pt x="7" y="42"/>
                      </a:lnTo>
                      <a:lnTo>
                        <a:pt x="4" y="39"/>
                      </a:lnTo>
                      <a:lnTo>
                        <a:pt x="4" y="38"/>
                      </a:lnTo>
                      <a:lnTo>
                        <a:pt x="3" y="36"/>
                      </a:lnTo>
                      <a:lnTo>
                        <a:pt x="3" y="35"/>
                      </a:lnTo>
                      <a:lnTo>
                        <a:pt x="3" y="33"/>
                      </a:lnTo>
                      <a:lnTo>
                        <a:pt x="2" y="30"/>
                      </a:lnTo>
                      <a:lnTo>
                        <a:pt x="2" y="28"/>
                      </a:lnTo>
                      <a:lnTo>
                        <a:pt x="1" y="24"/>
                      </a:lnTo>
                      <a:lnTo>
                        <a:pt x="1" y="22"/>
                      </a:lnTo>
                      <a:lnTo>
                        <a:pt x="0" y="19"/>
                      </a:lnTo>
                      <a:lnTo>
                        <a:pt x="1" y="17"/>
                      </a:lnTo>
                      <a:lnTo>
                        <a:pt x="1" y="10"/>
                      </a:lnTo>
                      <a:lnTo>
                        <a:pt x="2" y="10"/>
                      </a:lnTo>
                      <a:lnTo>
                        <a:pt x="3" y="10"/>
                      </a:lnTo>
                      <a:lnTo>
                        <a:pt x="4" y="10"/>
                      </a:lnTo>
                      <a:lnTo>
                        <a:pt x="4" y="9"/>
                      </a:lnTo>
                      <a:lnTo>
                        <a:pt x="5" y="9"/>
                      </a:lnTo>
                      <a:lnTo>
                        <a:pt x="7" y="8"/>
                      </a:lnTo>
                      <a:lnTo>
                        <a:pt x="9" y="7"/>
                      </a:lnTo>
                      <a:lnTo>
                        <a:pt x="10" y="7"/>
                      </a:lnTo>
                      <a:lnTo>
                        <a:pt x="11" y="7"/>
                      </a:lnTo>
                      <a:lnTo>
                        <a:pt x="12" y="7"/>
                      </a:lnTo>
                      <a:lnTo>
                        <a:pt x="14" y="7"/>
                      </a:lnTo>
                      <a:lnTo>
                        <a:pt x="15" y="7"/>
                      </a:lnTo>
                      <a:lnTo>
                        <a:pt x="15" y="8"/>
                      </a:lnTo>
                      <a:lnTo>
                        <a:pt x="16" y="8"/>
                      </a:lnTo>
                      <a:lnTo>
                        <a:pt x="16" y="9"/>
                      </a:lnTo>
                      <a:lnTo>
                        <a:pt x="17" y="9"/>
                      </a:lnTo>
                      <a:lnTo>
                        <a:pt x="18" y="9"/>
                      </a:lnTo>
                      <a:lnTo>
                        <a:pt x="20" y="9"/>
                      </a:lnTo>
                      <a:lnTo>
                        <a:pt x="22" y="9"/>
                      </a:lnTo>
                      <a:lnTo>
                        <a:pt x="22" y="8"/>
                      </a:lnTo>
                      <a:lnTo>
                        <a:pt x="23" y="9"/>
                      </a:lnTo>
                      <a:lnTo>
                        <a:pt x="25" y="9"/>
                      </a:lnTo>
                      <a:lnTo>
                        <a:pt x="26" y="9"/>
                      </a:lnTo>
                      <a:lnTo>
                        <a:pt x="27" y="9"/>
                      </a:lnTo>
                      <a:lnTo>
                        <a:pt x="29" y="8"/>
                      </a:lnTo>
                      <a:lnTo>
                        <a:pt x="30" y="8"/>
                      </a:lnTo>
                      <a:lnTo>
                        <a:pt x="31" y="7"/>
                      </a:lnTo>
                      <a:lnTo>
                        <a:pt x="32" y="5"/>
                      </a:lnTo>
                      <a:lnTo>
                        <a:pt x="33" y="5"/>
                      </a:lnTo>
                      <a:lnTo>
                        <a:pt x="34" y="4"/>
                      </a:lnTo>
                      <a:lnTo>
                        <a:pt x="36" y="4"/>
                      </a:lnTo>
                      <a:lnTo>
                        <a:pt x="36" y="3"/>
                      </a:lnTo>
                      <a:lnTo>
                        <a:pt x="37" y="3"/>
                      </a:lnTo>
                      <a:lnTo>
                        <a:pt x="37" y="2"/>
                      </a:lnTo>
                      <a:lnTo>
                        <a:pt x="38" y="2"/>
                      </a:lnTo>
                      <a:lnTo>
                        <a:pt x="39" y="2"/>
                      </a:lnTo>
                      <a:lnTo>
                        <a:pt x="40" y="1"/>
                      </a:lnTo>
                      <a:lnTo>
                        <a:pt x="44" y="0"/>
                      </a:lnTo>
                      <a:lnTo>
                        <a:pt x="45" y="0"/>
                      </a:lnTo>
                      <a:lnTo>
                        <a:pt x="46" y="0"/>
                      </a:lnTo>
                      <a:lnTo>
                        <a:pt x="47" y="1"/>
                      </a:lnTo>
                      <a:lnTo>
                        <a:pt x="48" y="1"/>
                      </a:lnTo>
                      <a:lnTo>
                        <a:pt x="50" y="1"/>
                      </a:lnTo>
                      <a:lnTo>
                        <a:pt x="51" y="1"/>
                      </a:lnTo>
                      <a:lnTo>
                        <a:pt x="52" y="0"/>
                      </a:lnTo>
                      <a:lnTo>
                        <a:pt x="52" y="1"/>
                      </a:lnTo>
                      <a:lnTo>
                        <a:pt x="53" y="1"/>
                      </a:lnTo>
                      <a:lnTo>
                        <a:pt x="54" y="1"/>
                      </a:lnTo>
                      <a:lnTo>
                        <a:pt x="55" y="2"/>
                      </a:lnTo>
                      <a:lnTo>
                        <a:pt x="57" y="3"/>
                      </a:lnTo>
                      <a:lnTo>
                        <a:pt x="57" y="4"/>
                      </a:lnTo>
                      <a:lnTo>
                        <a:pt x="57" y="5"/>
                      </a:lnTo>
                      <a:lnTo>
                        <a:pt x="59" y="7"/>
                      </a:lnTo>
                      <a:lnTo>
                        <a:pt x="62" y="9"/>
                      </a:lnTo>
                      <a:lnTo>
                        <a:pt x="65" y="10"/>
                      </a:lnTo>
                      <a:lnTo>
                        <a:pt x="68" y="12"/>
                      </a:lnTo>
                      <a:lnTo>
                        <a:pt x="69" y="15"/>
                      </a:lnTo>
                      <a:lnTo>
                        <a:pt x="71" y="15"/>
                      </a:lnTo>
                      <a:lnTo>
                        <a:pt x="72" y="15"/>
                      </a:lnTo>
                      <a:lnTo>
                        <a:pt x="73" y="15"/>
                      </a:lnTo>
                      <a:lnTo>
                        <a:pt x="74" y="15"/>
                      </a:lnTo>
                      <a:lnTo>
                        <a:pt x="75" y="15"/>
                      </a:lnTo>
                      <a:lnTo>
                        <a:pt x="76" y="15"/>
                      </a:lnTo>
                      <a:lnTo>
                        <a:pt x="78" y="15"/>
                      </a:lnTo>
                      <a:lnTo>
                        <a:pt x="79" y="14"/>
                      </a:lnTo>
                      <a:lnTo>
                        <a:pt x="81" y="14"/>
                      </a:lnTo>
                      <a:lnTo>
                        <a:pt x="89" y="14"/>
                      </a:lnTo>
                      <a:lnTo>
                        <a:pt x="97" y="14"/>
                      </a:lnTo>
                      <a:lnTo>
                        <a:pt x="105" y="14"/>
                      </a:lnTo>
                      <a:lnTo>
                        <a:pt x="112" y="14"/>
                      </a:lnTo>
                      <a:lnTo>
                        <a:pt x="121" y="14"/>
                      </a:lnTo>
                      <a:lnTo>
                        <a:pt x="129" y="14"/>
                      </a:lnTo>
                      <a:lnTo>
                        <a:pt x="137" y="14"/>
                      </a:lnTo>
                      <a:lnTo>
                        <a:pt x="145" y="14"/>
                      </a:lnTo>
                      <a:lnTo>
                        <a:pt x="153" y="14"/>
                      </a:lnTo>
                      <a:lnTo>
                        <a:pt x="161" y="14"/>
                      </a:lnTo>
                      <a:lnTo>
                        <a:pt x="169" y="14"/>
                      </a:lnTo>
                      <a:lnTo>
                        <a:pt x="174" y="14"/>
                      </a:lnTo>
                      <a:lnTo>
                        <a:pt x="178" y="14"/>
                      </a:lnTo>
                      <a:lnTo>
                        <a:pt x="186" y="14"/>
                      </a:lnTo>
                      <a:lnTo>
                        <a:pt x="194" y="14"/>
                      </a:lnTo>
                      <a:lnTo>
                        <a:pt x="197" y="14"/>
                      </a:lnTo>
                      <a:lnTo>
                        <a:pt x="202" y="14"/>
                      </a:lnTo>
                      <a:lnTo>
                        <a:pt x="210" y="14"/>
                      </a:lnTo>
                      <a:lnTo>
                        <a:pt x="211" y="14"/>
                      </a:lnTo>
                      <a:lnTo>
                        <a:pt x="212" y="15"/>
                      </a:lnTo>
                      <a:lnTo>
                        <a:pt x="212" y="16"/>
                      </a:lnTo>
                      <a:lnTo>
                        <a:pt x="214" y="16"/>
                      </a:lnTo>
                      <a:lnTo>
                        <a:pt x="215" y="18"/>
                      </a:lnTo>
                      <a:lnTo>
                        <a:pt x="217" y="21"/>
                      </a:lnTo>
                      <a:lnTo>
                        <a:pt x="217" y="22"/>
                      </a:lnTo>
                      <a:lnTo>
                        <a:pt x="218" y="22"/>
                      </a:lnTo>
                      <a:lnTo>
                        <a:pt x="221" y="24"/>
                      </a:lnTo>
                      <a:lnTo>
                        <a:pt x="221" y="25"/>
                      </a:lnTo>
                      <a:lnTo>
                        <a:pt x="222" y="25"/>
                      </a:lnTo>
                      <a:lnTo>
                        <a:pt x="223" y="25"/>
                      </a:lnTo>
                      <a:lnTo>
                        <a:pt x="225" y="26"/>
                      </a:lnTo>
                      <a:lnTo>
                        <a:pt x="230" y="28"/>
                      </a:lnTo>
                      <a:lnTo>
                        <a:pt x="232" y="28"/>
                      </a:lnTo>
                      <a:lnTo>
                        <a:pt x="233" y="26"/>
                      </a:lnTo>
                      <a:lnTo>
                        <a:pt x="235" y="26"/>
                      </a:lnTo>
                      <a:lnTo>
                        <a:pt x="237" y="26"/>
                      </a:lnTo>
                      <a:lnTo>
                        <a:pt x="237" y="28"/>
                      </a:lnTo>
                      <a:lnTo>
                        <a:pt x="242" y="29"/>
                      </a:lnTo>
                      <a:lnTo>
                        <a:pt x="247" y="29"/>
                      </a:lnTo>
                      <a:lnTo>
                        <a:pt x="249" y="29"/>
                      </a:lnTo>
                      <a:lnTo>
                        <a:pt x="250" y="28"/>
                      </a:lnTo>
                      <a:lnTo>
                        <a:pt x="251" y="29"/>
                      </a:lnTo>
                      <a:lnTo>
                        <a:pt x="252" y="30"/>
                      </a:lnTo>
                      <a:lnTo>
                        <a:pt x="253" y="30"/>
                      </a:lnTo>
                      <a:lnTo>
                        <a:pt x="253" y="29"/>
                      </a:lnTo>
                      <a:lnTo>
                        <a:pt x="259" y="29"/>
                      </a:lnTo>
                      <a:lnTo>
                        <a:pt x="260" y="30"/>
                      </a:lnTo>
                      <a:lnTo>
                        <a:pt x="261" y="30"/>
                      </a:lnTo>
                      <a:lnTo>
                        <a:pt x="263" y="30"/>
                      </a:lnTo>
                      <a:lnTo>
                        <a:pt x="264" y="30"/>
                      </a:lnTo>
                      <a:lnTo>
                        <a:pt x="265" y="30"/>
                      </a:lnTo>
                      <a:lnTo>
                        <a:pt x="265" y="29"/>
                      </a:lnTo>
                      <a:lnTo>
                        <a:pt x="266" y="29"/>
                      </a:lnTo>
                      <a:lnTo>
                        <a:pt x="267" y="29"/>
                      </a:lnTo>
                      <a:lnTo>
                        <a:pt x="267" y="30"/>
                      </a:lnTo>
                      <a:lnTo>
                        <a:pt x="268" y="29"/>
                      </a:lnTo>
                      <a:lnTo>
                        <a:pt x="270" y="29"/>
                      </a:lnTo>
                      <a:lnTo>
                        <a:pt x="271" y="29"/>
                      </a:lnTo>
                      <a:lnTo>
                        <a:pt x="272" y="30"/>
                      </a:lnTo>
                      <a:lnTo>
                        <a:pt x="273" y="30"/>
                      </a:lnTo>
                      <a:lnTo>
                        <a:pt x="274" y="30"/>
                      </a:lnTo>
                      <a:lnTo>
                        <a:pt x="275" y="31"/>
                      </a:lnTo>
                      <a:lnTo>
                        <a:pt x="276" y="32"/>
                      </a:lnTo>
                      <a:lnTo>
                        <a:pt x="278" y="32"/>
                      </a:lnTo>
                      <a:lnTo>
                        <a:pt x="279" y="32"/>
                      </a:lnTo>
                      <a:lnTo>
                        <a:pt x="280" y="32"/>
                      </a:lnTo>
                      <a:lnTo>
                        <a:pt x="281" y="32"/>
                      </a:lnTo>
                      <a:lnTo>
                        <a:pt x="281" y="33"/>
                      </a:lnTo>
                      <a:lnTo>
                        <a:pt x="282" y="33"/>
                      </a:lnTo>
                      <a:lnTo>
                        <a:pt x="283" y="33"/>
                      </a:lnTo>
                      <a:lnTo>
                        <a:pt x="285" y="33"/>
                      </a:lnTo>
                      <a:lnTo>
                        <a:pt x="286" y="35"/>
                      </a:lnTo>
                      <a:lnTo>
                        <a:pt x="287" y="33"/>
                      </a:lnTo>
                      <a:lnTo>
                        <a:pt x="288" y="33"/>
                      </a:lnTo>
                      <a:lnTo>
                        <a:pt x="288" y="32"/>
                      </a:lnTo>
                      <a:lnTo>
                        <a:pt x="292" y="32"/>
                      </a:lnTo>
                      <a:lnTo>
                        <a:pt x="294" y="31"/>
                      </a:lnTo>
                      <a:lnTo>
                        <a:pt x="295" y="31"/>
                      </a:lnTo>
                      <a:lnTo>
                        <a:pt x="296" y="31"/>
                      </a:lnTo>
                      <a:lnTo>
                        <a:pt x="297" y="31"/>
                      </a:lnTo>
                      <a:lnTo>
                        <a:pt x="299" y="31"/>
                      </a:lnTo>
                      <a:lnTo>
                        <a:pt x="300" y="32"/>
                      </a:lnTo>
                      <a:lnTo>
                        <a:pt x="302" y="32"/>
                      </a:lnTo>
                      <a:lnTo>
                        <a:pt x="303" y="33"/>
                      </a:lnTo>
                      <a:lnTo>
                        <a:pt x="304" y="33"/>
                      </a:lnTo>
                      <a:lnTo>
                        <a:pt x="307" y="33"/>
                      </a:lnTo>
                      <a:lnTo>
                        <a:pt x="315" y="31"/>
                      </a:lnTo>
                      <a:lnTo>
                        <a:pt x="322" y="30"/>
                      </a:lnTo>
                      <a:lnTo>
                        <a:pt x="330" y="29"/>
                      </a:lnTo>
                      <a:lnTo>
                        <a:pt x="338" y="26"/>
                      </a:lnTo>
                      <a:lnTo>
                        <a:pt x="344" y="25"/>
                      </a:lnTo>
                      <a:lnTo>
                        <a:pt x="351" y="24"/>
                      </a:lnTo>
                      <a:lnTo>
                        <a:pt x="357" y="23"/>
                      </a:lnTo>
                      <a:lnTo>
                        <a:pt x="364" y="22"/>
                      </a:lnTo>
                      <a:lnTo>
                        <a:pt x="366" y="2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2" name="Freeform 106">
                  <a:extLst>
                    <a:ext uri="{FF2B5EF4-FFF2-40B4-BE49-F238E27FC236}">
                      <a16:creationId xmlns:a16="http://schemas.microsoft.com/office/drawing/2014/main" id="{BAF9A06B-7CC2-D523-4093-D1047D18C7C6}"/>
                    </a:ext>
                  </a:extLst>
                </p:cNvPr>
                <p:cNvSpPr>
                  <a:spLocks/>
                </p:cNvSpPr>
                <p:nvPr/>
              </p:nvSpPr>
              <p:spPr bwMode="auto">
                <a:xfrm>
                  <a:off x="6229099" y="2968928"/>
                  <a:ext cx="545193" cy="430529"/>
                </a:xfrm>
                <a:custGeom>
                  <a:avLst/>
                  <a:gdLst>
                    <a:gd name="T0" fmla="*/ 476 w 504"/>
                    <a:gd name="T1" fmla="*/ 43 h 398"/>
                    <a:gd name="T2" fmla="*/ 478 w 504"/>
                    <a:gd name="T3" fmla="*/ 70 h 398"/>
                    <a:gd name="T4" fmla="*/ 489 w 504"/>
                    <a:gd name="T5" fmla="*/ 83 h 398"/>
                    <a:gd name="T6" fmla="*/ 491 w 504"/>
                    <a:gd name="T7" fmla="*/ 96 h 398"/>
                    <a:gd name="T8" fmla="*/ 499 w 504"/>
                    <a:gd name="T9" fmla="*/ 118 h 398"/>
                    <a:gd name="T10" fmla="*/ 494 w 504"/>
                    <a:gd name="T11" fmla="*/ 139 h 398"/>
                    <a:gd name="T12" fmla="*/ 493 w 504"/>
                    <a:gd name="T13" fmla="*/ 159 h 398"/>
                    <a:gd name="T14" fmla="*/ 492 w 504"/>
                    <a:gd name="T15" fmla="*/ 179 h 398"/>
                    <a:gd name="T16" fmla="*/ 490 w 504"/>
                    <a:gd name="T17" fmla="*/ 198 h 398"/>
                    <a:gd name="T18" fmla="*/ 489 w 504"/>
                    <a:gd name="T19" fmla="*/ 218 h 398"/>
                    <a:gd name="T20" fmla="*/ 476 w 504"/>
                    <a:gd name="T21" fmla="*/ 238 h 398"/>
                    <a:gd name="T22" fmla="*/ 453 w 504"/>
                    <a:gd name="T23" fmla="*/ 262 h 398"/>
                    <a:gd name="T24" fmla="*/ 441 w 504"/>
                    <a:gd name="T25" fmla="*/ 280 h 398"/>
                    <a:gd name="T26" fmla="*/ 433 w 504"/>
                    <a:gd name="T27" fmla="*/ 296 h 398"/>
                    <a:gd name="T28" fmla="*/ 423 w 504"/>
                    <a:gd name="T29" fmla="*/ 308 h 398"/>
                    <a:gd name="T30" fmla="*/ 428 w 504"/>
                    <a:gd name="T31" fmla="*/ 324 h 398"/>
                    <a:gd name="T32" fmla="*/ 415 w 504"/>
                    <a:gd name="T33" fmla="*/ 336 h 398"/>
                    <a:gd name="T34" fmla="*/ 406 w 504"/>
                    <a:gd name="T35" fmla="*/ 337 h 398"/>
                    <a:gd name="T36" fmla="*/ 399 w 504"/>
                    <a:gd name="T37" fmla="*/ 343 h 398"/>
                    <a:gd name="T38" fmla="*/ 389 w 504"/>
                    <a:gd name="T39" fmla="*/ 350 h 398"/>
                    <a:gd name="T40" fmla="*/ 338 w 504"/>
                    <a:gd name="T41" fmla="*/ 341 h 398"/>
                    <a:gd name="T42" fmla="*/ 301 w 504"/>
                    <a:gd name="T43" fmla="*/ 360 h 398"/>
                    <a:gd name="T44" fmla="*/ 265 w 504"/>
                    <a:gd name="T45" fmla="*/ 351 h 398"/>
                    <a:gd name="T46" fmla="*/ 243 w 504"/>
                    <a:gd name="T47" fmla="*/ 343 h 398"/>
                    <a:gd name="T48" fmla="*/ 214 w 504"/>
                    <a:gd name="T49" fmla="*/ 352 h 398"/>
                    <a:gd name="T50" fmla="*/ 172 w 504"/>
                    <a:gd name="T51" fmla="*/ 327 h 398"/>
                    <a:gd name="T52" fmla="*/ 151 w 504"/>
                    <a:gd name="T53" fmla="*/ 330 h 398"/>
                    <a:gd name="T54" fmla="*/ 121 w 504"/>
                    <a:gd name="T55" fmla="*/ 363 h 398"/>
                    <a:gd name="T56" fmla="*/ 113 w 504"/>
                    <a:gd name="T57" fmla="*/ 395 h 398"/>
                    <a:gd name="T58" fmla="*/ 102 w 504"/>
                    <a:gd name="T59" fmla="*/ 392 h 398"/>
                    <a:gd name="T60" fmla="*/ 89 w 504"/>
                    <a:gd name="T61" fmla="*/ 377 h 398"/>
                    <a:gd name="T62" fmla="*/ 79 w 504"/>
                    <a:gd name="T63" fmla="*/ 379 h 398"/>
                    <a:gd name="T64" fmla="*/ 73 w 504"/>
                    <a:gd name="T65" fmla="*/ 386 h 398"/>
                    <a:gd name="T66" fmla="*/ 62 w 504"/>
                    <a:gd name="T67" fmla="*/ 378 h 398"/>
                    <a:gd name="T68" fmla="*/ 66 w 504"/>
                    <a:gd name="T69" fmla="*/ 369 h 398"/>
                    <a:gd name="T70" fmla="*/ 55 w 504"/>
                    <a:gd name="T71" fmla="*/ 369 h 398"/>
                    <a:gd name="T72" fmla="*/ 27 w 504"/>
                    <a:gd name="T73" fmla="*/ 355 h 398"/>
                    <a:gd name="T74" fmla="*/ 35 w 504"/>
                    <a:gd name="T75" fmla="*/ 345 h 398"/>
                    <a:gd name="T76" fmla="*/ 22 w 504"/>
                    <a:gd name="T77" fmla="*/ 336 h 398"/>
                    <a:gd name="T78" fmla="*/ 9 w 504"/>
                    <a:gd name="T79" fmla="*/ 327 h 398"/>
                    <a:gd name="T80" fmla="*/ 7 w 504"/>
                    <a:gd name="T81" fmla="*/ 317 h 398"/>
                    <a:gd name="T82" fmla="*/ 1 w 504"/>
                    <a:gd name="T83" fmla="*/ 295 h 398"/>
                    <a:gd name="T84" fmla="*/ 24 w 504"/>
                    <a:gd name="T85" fmla="*/ 292 h 398"/>
                    <a:gd name="T86" fmla="*/ 52 w 504"/>
                    <a:gd name="T87" fmla="*/ 281 h 398"/>
                    <a:gd name="T88" fmla="*/ 91 w 504"/>
                    <a:gd name="T89" fmla="*/ 279 h 398"/>
                    <a:gd name="T90" fmla="*/ 114 w 504"/>
                    <a:gd name="T91" fmla="*/ 268 h 398"/>
                    <a:gd name="T92" fmla="*/ 124 w 504"/>
                    <a:gd name="T93" fmla="*/ 246 h 398"/>
                    <a:gd name="T94" fmla="*/ 129 w 504"/>
                    <a:gd name="T95" fmla="*/ 220 h 398"/>
                    <a:gd name="T96" fmla="*/ 129 w 504"/>
                    <a:gd name="T97" fmla="*/ 173 h 398"/>
                    <a:gd name="T98" fmla="*/ 173 w 504"/>
                    <a:gd name="T99" fmla="*/ 142 h 398"/>
                    <a:gd name="T100" fmla="*/ 200 w 504"/>
                    <a:gd name="T101" fmla="*/ 121 h 398"/>
                    <a:gd name="T102" fmla="*/ 227 w 504"/>
                    <a:gd name="T103" fmla="*/ 97 h 398"/>
                    <a:gd name="T104" fmla="*/ 258 w 504"/>
                    <a:gd name="T105" fmla="*/ 76 h 398"/>
                    <a:gd name="T106" fmla="*/ 286 w 504"/>
                    <a:gd name="T107" fmla="*/ 57 h 398"/>
                    <a:gd name="T108" fmla="*/ 314 w 504"/>
                    <a:gd name="T109" fmla="*/ 40 h 398"/>
                    <a:gd name="T110" fmla="*/ 342 w 504"/>
                    <a:gd name="T111" fmla="*/ 21 h 398"/>
                    <a:gd name="T112" fmla="*/ 371 w 504"/>
                    <a:gd name="T113" fmla="*/ 2 h 398"/>
                    <a:gd name="T114" fmla="*/ 406 w 504"/>
                    <a:gd name="T115" fmla="*/ 7 h 398"/>
                    <a:gd name="T116" fmla="*/ 447 w 504"/>
                    <a:gd name="T117" fmla="*/ 3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4" h="398">
                      <a:moveTo>
                        <a:pt x="471" y="18"/>
                      </a:moveTo>
                      <a:lnTo>
                        <a:pt x="472" y="20"/>
                      </a:lnTo>
                      <a:lnTo>
                        <a:pt x="472" y="22"/>
                      </a:lnTo>
                      <a:lnTo>
                        <a:pt x="472" y="25"/>
                      </a:lnTo>
                      <a:lnTo>
                        <a:pt x="473" y="27"/>
                      </a:lnTo>
                      <a:lnTo>
                        <a:pt x="473" y="28"/>
                      </a:lnTo>
                      <a:lnTo>
                        <a:pt x="473" y="30"/>
                      </a:lnTo>
                      <a:lnTo>
                        <a:pt x="475" y="33"/>
                      </a:lnTo>
                      <a:lnTo>
                        <a:pt x="475" y="35"/>
                      </a:lnTo>
                      <a:lnTo>
                        <a:pt x="475" y="37"/>
                      </a:lnTo>
                      <a:lnTo>
                        <a:pt x="476" y="40"/>
                      </a:lnTo>
                      <a:lnTo>
                        <a:pt x="476" y="42"/>
                      </a:lnTo>
                      <a:lnTo>
                        <a:pt x="476" y="43"/>
                      </a:lnTo>
                      <a:lnTo>
                        <a:pt x="477" y="46"/>
                      </a:lnTo>
                      <a:lnTo>
                        <a:pt x="477" y="48"/>
                      </a:lnTo>
                      <a:lnTo>
                        <a:pt x="477" y="49"/>
                      </a:lnTo>
                      <a:lnTo>
                        <a:pt x="477" y="51"/>
                      </a:lnTo>
                      <a:lnTo>
                        <a:pt x="478" y="53"/>
                      </a:lnTo>
                      <a:lnTo>
                        <a:pt x="478" y="55"/>
                      </a:lnTo>
                      <a:lnTo>
                        <a:pt x="478" y="57"/>
                      </a:lnTo>
                      <a:lnTo>
                        <a:pt x="478" y="61"/>
                      </a:lnTo>
                      <a:lnTo>
                        <a:pt x="478" y="63"/>
                      </a:lnTo>
                      <a:lnTo>
                        <a:pt x="478" y="65"/>
                      </a:lnTo>
                      <a:lnTo>
                        <a:pt x="478" y="68"/>
                      </a:lnTo>
                      <a:lnTo>
                        <a:pt x="478" y="69"/>
                      </a:lnTo>
                      <a:lnTo>
                        <a:pt x="478" y="70"/>
                      </a:lnTo>
                      <a:lnTo>
                        <a:pt x="480" y="71"/>
                      </a:lnTo>
                      <a:lnTo>
                        <a:pt x="482" y="72"/>
                      </a:lnTo>
                      <a:lnTo>
                        <a:pt x="483" y="74"/>
                      </a:lnTo>
                      <a:lnTo>
                        <a:pt x="483" y="75"/>
                      </a:lnTo>
                      <a:lnTo>
                        <a:pt x="484" y="76"/>
                      </a:lnTo>
                      <a:lnTo>
                        <a:pt x="485" y="77"/>
                      </a:lnTo>
                      <a:lnTo>
                        <a:pt x="485" y="78"/>
                      </a:lnTo>
                      <a:lnTo>
                        <a:pt x="486" y="78"/>
                      </a:lnTo>
                      <a:lnTo>
                        <a:pt x="486" y="79"/>
                      </a:lnTo>
                      <a:lnTo>
                        <a:pt x="487" y="81"/>
                      </a:lnTo>
                      <a:lnTo>
                        <a:pt x="487" y="82"/>
                      </a:lnTo>
                      <a:lnTo>
                        <a:pt x="489" y="82"/>
                      </a:lnTo>
                      <a:lnTo>
                        <a:pt x="489" y="83"/>
                      </a:lnTo>
                      <a:lnTo>
                        <a:pt x="489" y="84"/>
                      </a:lnTo>
                      <a:lnTo>
                        <a:pt x="490" y="84"/>
                      </a:lnTo>
                      <a:lnTo>
                        <a:pt x="490" y="85"/>
                      </a:lnTo>
                      <a:lnTo>
                        <a:pt x="491" y="86"/>
                      </a:lnTo>
                      <a:lnTo>
                        <a:pt x="491" y="88"/>
                      </a:lnTo>
                      <a:lnTo>
                        <a:pt x="492" y="88"/>
                      </a:lnTo>
                      <a:lnTo>
                        <a:pt x="491" y="89"/>
                      </a:lnTo>
                      <a:lnTo>
                        <a:pt x="490" y="90"/>
                      </a:lnTo>
                      <a:lnTo>
                        <a:pt x="490" y="91"/>
                      </a:lnTo>
                      <a:lnTo>
                        <a:pt x="490" y="93"/>
                      </a:lnTo>
                      <a:lnTo>
                        <a:pt x="490" y="95"/>
                      </a:lnTo>
                      <a:lnTo>
                        <a:pt x="491" y="95"/>
                      </a:lnTo>
                      <a:lnTo>
                        <a:pt x="491" y="96"/>
                      </a:lnTo>
                      <a:lnTo>
                        <a:pt x="493" y="97"/>
                      </a:lnTo>
                      <a:lnTo>
                        <a:pt x="494" y="98"/>
                      </a:lnTo>
                      <a:lnTo>
                        <a:pt x="497" y="100"/>
                      </a:lnTo>
                      <a:lnTo>
                        <a:pt x="498" y="103"/>
                      </a:lnTo>
                      <a:lnTo>
                        <a:pt x="500" y="105"/>
                      </a:lnTo>
                      <a:lnTo>
                        <a:pt x="503" y="106"/>
                      </a:lnTo>
                      <a:lnTo>
                        <a:pt x="503" y="107"/>
                      </a:lnTo>
                      <a:lnTo>
                        <a:pt x="504" y="109"/>
                      </a:lnTo>
                      <a:lnTo>
                        <a:pt x="504" y="110"/>
                      </a:lnTo>
                      <a:lnTo>
                        <a:pt x="503" y="111"/>
                      </a:lnTo>
                      <a:lnTo>
                        <a:pt x="501" y="113"/>
                      </a:lnTo>
                      <a:lnTo>
                        <a:pt x="500" y="116"/>
                      </a:lnTo>
                      <a:lnTo>
                        <a:pt x="499" y="118"/>
                      </a:lnTo>
                      <a:lnTo>
                        <a:pt x="498" y="120"/>
                      </a:lnTo>
                      <a:lnTo>
                        <a:pt x="497" y="121"/>
                      </a:lnTo>
                      <a:lnTo>
                        <a:pt x="496" y="124"/>
                      </a:lnTo>
                      <a:lnTo>
                        <a:pt x="496" y="125"/>
                      </a:lnTo>
                      <a:lnTo>
                        <a:pt x="496" y="126"/>
                      </a:lnTo>
                      <a:lnTo>
                        <a:pt x="496" y="128"/>
                      </a:lnTo>
                      <a:lnTo>
                        <a:pt x="496" y="130"/>
                      </a:lnTo>
                      <a:lnTo>
                        <a:pt x="496" y="131"/>
                      </a:lnTo>
                      <a:lnTo>
                        <a:pt x="496" y="133"/>
                      </a:lnTo>
                      <a:lnTo>
                        <a:pt x="496" y="134"/>
                      </a:lnTo>
                      <a:lnTo>
                        <a:pt x="496" y="135"/>
                      </a:lnTo>
                      <a:lnTo>
                        <a:pt x="494" y="138"/>
                      </a:lnTo>
                      <a:lnTo>
                        <a:pt x="494" y="139"/>
                      </a:lnTo>
                      <a:lnTo>
                        <a:pt x="494" y="140"/>
                      </a:lnTo>
                      <a:lnTo>
                        <a:pt x="494" y="142"/>
                      </a:lnTo>
                      <a:lnTo>
                        <a:pt x="494" y="144"/>
                      </a:lnTo>
                      <a:lnTo>
                        <a:pt x="494" y="145"/>
                      </a:lnTo>
                      <a:lnTo>
                        <a:pt x="494" y="147"/>
                      </a:lnTo>
                      <a:lnTo>
                        <a:pt x="494" y="148"/>
                      </a:lnTo>
                      <a:lnTo>
                        <a:pt x="494" y="149"/>
                      </a:lnTo>
                      <a:lnTo>
                        <a:pt x="493" y="152"/>
                      </a:lnTo>
                      <a:lnTo>
                        <a:pt x="493" y="153"/>
                      </a:lnTo>
                      <a:lnTo>
                        <a:pt x="493" y="154"/>
                      </a:lnTo>
                      <a:lnTo>
                        <a:pt x="493" y="155"/>
                      </a:lnTo>
                      <a:lnTo>
                        <a:pt x="493" y="158"/>
                      </a:lnTo>
                      <a:lnTo>
                        <a:pt x="493" y="159"/>
                      </a:lnTo>
                      <a:lnTo>
                        <a:pt x="493" y="160"/>
                      </a:lnTo>
                      <a:lnTo>
                        <a:pt x="493" y="162"/>
                      </a:lnTo>
                      <a:lnTo>
                        <a:pt x="493" y="163"/>
                      </a:lnTo>
                      <a:lnTo>
                        <a:pt x="493" y="165"/>
                      </a:lnTo>
                      <a:lnTo>
                        <a:pt x="492" y="167"/>
                      </a:lnTo>
                      <a:lnTo>
                        <a:pt x="492" y="168"/>
                      </a:lnTo>
                      <a:lnTo>
                        <a:pt x="492" y="169"/>
                      </a:lnTo>
                      <a:lnTo>
                        <a:pt x="492" y="172"/>
                      </a:lnTo>
                      <a:lnTo>
                        <a:pt x="492" y="173"/>
                      </a:lnTo>
                      <a:lnTo>
                        <a:pt x="492" y="174"/>
                      </a:lnTo>
                      <a:lnTo>
                        <a:pt x="492" y="176"/>
                      </a:lnTo>
                      <a:lnTo>
                        <a:pt x="492" y="177"/>
                      </a:lnTo>
                      <a:lnTo>
                        <a:pt x="492" y="179"/>
                      </a:lnTo>
                      <a:lnTo>
                        <a:pt x="492" y="180"/>
                      </a:lnTo>
                      <a:lnTo>
                        <a:pt x="491" y="182"/>
                      </a:lnTo>
                      <a:lnTo>
                        <a:pt x="491" y="183"/>
                      </a:lnTo>
                      <a:lnTo>
                        <a:pt x="491" y="184"/>
                      </a:lnTo>
                      <a:lnTo>
                        <a:pt x="491" y="187"/>
                      </a:lnTo>
                      <a:lnTo>
                        <a:pt x="491" y="188"/>
                      </a:lnTo>
                      <a:lnTo>
                        <a:pt x="491" y="189"/>
                      </a:lnTo>
                      <a:lnTo>
                        <a:pt x="491" y="191"/>
                      </a:lnTo>
                      <a:lnTo>
                        <a:pt x="491" y="193"/>
                      </a:lnTo>
                      <a:lnTo>
                        <a:pt x="491" y="194"/>
                      </a:lnTo>
                      <a:lnTo>
                        <a:pt x="490" y="196"/>
                      </a:lnTo>
                      <a:lnTo>
                        <a:pt x="490" y="197"/>
                      </a:lnTo>
                      <a:lnTo>
                        <a:pt x="490" y="198"/>
                      </a:lnTo>
                      <a:lnTo>
                        <a:pt x="490" y="200"/>
                      </a:lnTo>
                      <a:lnTo>
                        <a:pt x="490" y="202"/>
                      </a:lnTo>
                      <a:lnTo>
                        <a:pt x="490" y="203"/>
                      </a:lnTo>
                      <a:lnTo>
                        <a:pt x="490" y="204"/>
                      </a:lnTo>
                      <a:lnTo>
                        <a:pt x="490" y="207"/>
                      </a:lnTo>
                      <a:lnTo>
                        <a:pt x="490" y="208"/>
                      </a:lnTo>
                      <a:lnTo>
                        <a:pt x="490" y="209"/>
                      </a:lnTo>
                      <a:lnTo>
                        <a:pt x="489" y="211"/>
                      </a:lnTo>
                      <a:lnTo>
                        <a:pt x="489" y="212"/>
                      </a:lnTo>
                      <a:lnTo>
                        <a:pt x="489" y="213"/>
                      </a:lnTo>
                      <a:lnTo>
                        <a:pt x="489" y="216"/>
                      </a:lnTo>
                      <a:lnTo>
                        <a:pt x="489" y="217"/>
                      </a:lnTo>
                      <a:lnTo>
                        <a:pt x="489" y="218"/>
                      </a:lnTo>
                      <a:lnTo>
                        <a:pt x="489" y="219"/>
                      </a:lnTo>
                      <a:lnTo>
                        <a:pt x="489" y="222"/>
                      </a:lnTo>
                      <a:lnTo>
                        <a:pt x="489" y="223"/>
                      </a:lnTo>
                      <a:lnTo>
                        <a:pt x="489" y="224"/>
                      </a:lnTo>
                      <a:lnTo>
                        <a:pt x="487" y="224"/>
                      </a:lnTo>
                      <a:lnTo>
                        <a:pt x="487" y="225"/>
                      </a:lnTo>
                      <a:lnTo>
                        <a:pt x="486" y="226"/>
                      </a:lnTo>
                      <a:lnTo>
                        <a:pt x="485" y="229"/>
                      </a:lnTo>
                      <a:lnTo>
                        <a:pt x="483" y="230"/>
                      </a:lnTo>
                      <a:lnTo>
                        <a:pt x="480" y="232"/>
                      </a:lnTo>
                      <a:lnTo>
                        <a:pt x="479" y="234"/>
                      </a:lnTo>
                      <a:lnTo>
                        <a:pt x="477" y="236"/>
                      </a:lnTo>
                      <a:lnTo>
                        <a:pt x="476" y="238"/>
                      </a:lnTo>
                      <a:lnTo>
                        <a:pt x="473" y="240"/>
                      </a:lnTo>
                      <a:lnTo>
                        <a:pt x="472" y="241"/>
                      </a:lnTo>
                      <a:lnTo>
                        <a:pt x="470" y="244"/>
                      </a:lnTo>
                      <a:lnTo>
                        <a:pt x="469" y="246"/>
                      </a:lnTo>
                      <a:lnTo>
                        <a:pt x="466" y="247"/>
                      </a:lnTo>
                      <a:lnTo>
                        <a:pt x="465" y="250"/>
                      </a:lnTo>
                      <a:lnTo>
                        <a:pt x="463" y="252"/>
                      </a:lnTo>
                      <a:lnTo>
                        <a:pt x="462" y="253"/>
                      </a:lnTo>
                      <a:lnTo>
                        <a:pt x="459" y="255"/>
                      </a:lnTo>
                      <a:lnTo>
                        <a:pt x="458" y="258"/>
                      </a:lnTo>
                      <a:lnTo>
                        <a:pt x="457" y="259"/>
                      </a:lnTo>
                      <a:lnTo>
                        <a:pt x="455" y="260"/>
                      </a:lnTo>
                      <a:lnTo>
                        <a:pt x="453" y="262"/>
                      </a:lnTo>
                      <a:lnTo>
                        <a:pt x="453" y="264"/>
                      </a:lnTo>
                      <a:lnTo>
                        <a:pt x="451" y="265"/>
                      </a:lnTo>
                      <a:lnTo>
                        <a:pt x="450" y="266"/>
                      </a:lnTo>
                      <a:lnTo>
                        <a:pt x="449" y="268"/>
                      </a:lnTo>
                      <a:lnTo>
                        <a:pt x="448" y="269"/>
                      </a:lnTo>
                      <a:lnTo>
                        <a:pt x="448" y="271"/>
                      </a:lnTo>
                      <a:lnTo>
                        <a:pt x="447" y="272"/>
                      </a:lnTo>
                      <a:lnTo>
                        <a:pt x="446" y="273"/>
                      </a:lnTo>
                      <a:lnTo>
                        <a:pt x="444" y="274"/>
                      </a:lnTo>
                      <a:lnTo>
                        <a:pt x="443" y="276"/>
                      </a:lnTo>
                      <a:lnTo>
                        <a:pt x="443" y="278"/>
                      </a:lnTo>
                      <a:lnTo>
                        <a:pt x="442" y="279"/>
                      </a:lnTo>
                      <a:lnTo>
                        <a:pt x="441" y="280"/>
                      </a:lnTo>
                      <a:lnTo>
                        <a:pt x="440" y="281"/>
                      </a:lnTo>
                      <a:lnTo>
                        <a:pt x="439" y="282"/>
                      </a:lnTo>
                      <a:lnTo>
                        <a:pt x="437" y="283"/>
                      </a:lnTo>
                      <a:lnTo>
                        <a:pt x="437" y="286"/>
                      </a:lnTo>
                      <a:lnTo>
                        <a:pt x="436" y="287"/>
                      </a:lnTo>
                      <a:lnTo>
                        <a:pt x="435" y="288"/>
                      </a:lnTo>
                      <a:lnTo>
                        <a:pt x="434" y="290"/>
                      </a:lnTo>
                      <a:lnTo>
                        <a:pt x="434" y="292"/>
                      </a:lnTo>
                      <a:lnTo>
                        <a:pt x="434" y="293"/>
                      </a:lnTo>
                      <a:lnTo>
                        <a:pt x="434" y="294"/>
                      </a:lnTo>
                      <a:lnTo>
                        <a:pt x="434" y="295"/>
                      </a:lnTo>
                      <a:lnTo>
                        <a:pt x="434" y="296"/>
                      </a:lnTo>
                      <a:lnTo>
                        <a:pt x="433" y="296"/>
                      </a:lnTo>
                      <a:lnTo>
                        <a:pt x="433" y="297"/>
                      </a:lnTo>
                      <a:lnTo>
                        <a:pt x="432" y="297"/>
                      </a:lnTo>
                      <a:lnTo>
                        <a:pt x="430" y="299"/>
                      </a:lnTo>
                      <a:lnTo>
                        <a:pt x="430" y="300"/>
                      </a:lnTo>
                      <a:lnTo>
                        <a:pt x="430" y="301"/>
                      </a:lnTo>
                      <a:lnTo>
                        <a:pt x="430" y="302"/>
                      </a:lnTo>
                      <a:lnTo>
                        <a:pt x="429" y="303"/>
                      </a:lnTo>
                      <a:lnTo>
                        <a:pt x="428" y="303"/>
                      </a:lnTo>
                      <a:lnTo>
                        <a:pt x="427" y="303"/>
                      </a:lnTo>
                      <a:lnTo>
                        <a:pt x="426" y="304"/>
                      </a:lnTo>
                      <a:lnTo>
                        <a:pt x="425" y="304"/>
                      </a:lnTo>
                      <a:lnTo>
                        <a:pt x="423" y="306"/>
                      </a:lnTo>
                      <a:lnTo>
                        <a:pt x="423" y="308"/>
                      </a:lnTo>
                      <a:lnTo>
                        <a:pt x="425" y="310"/>
                      </a:lnTo>
                      <a:lnTo>
                        <a:pt x="425" y="311"/>
                      </a:lnTo>
                      <a:lnTo>
                        <a:pt x="426" y="313"/>
                      </a:lnTo>
                      <a:lnTo>
                        <a:pt x="426" y="314"/>
                      </a:lnTo>
                      <a:lnTo>
                        <a:pt x="426" y="315"/>
                      </a:lnTo>
                      <a:lnTo>
                        <a:pt x="426" y="316"/>
                      </a:lnTo>
                      <a:lnTo>
                        <a:pt x="426" y="317"/>
                      </a:lnTo>
                      <a:lnTo>
                        <a:pt x="427" y="318"/>
                      </a:lnTo>
                      <a:lnTo>
                        <a:pt x="427" y="320"/>
                      </a:lnTo>
                      <a:lnTo>
                        <a:pt x="427" y="321"/>
                      </a:lnTo>
                      <a:lnTo>
                        <a:pt x="427" y="322"/>
                      </a:lnTo>
                      <a:lnTo>
                        <a:pt x="428" y="323"/>
                      </a:lnTo>
                      <a:lnTo>
                        <a:pt x="428" y="324"/>
                      </a:lnTo>
                      <a:lnTo>
                        <a:pt x="428" y="325"/>
                      </a:lnTo>
                      <a:lnTo>
                        <a:pt x="428" y="327"/>
                      </a:lnTo>
                      <a:lnTo>
                        <a:pt x="428" y="328"/>
                      </a:lnTo>
                      <a:lnTo>
                        <a:pt x="429" y="329"/>
                      </a:lnTo>
                      <a:lnTo>
                        <a:pt x="429" y="330"/>
                      </a:lnTo>
                      <a:lnTo>
                        <a:pt x="421" y="329"/>
                      </a:lnTo>
                      <a:lnTo>
                        <a:pt x="420" y="330"/>
                      </a:lnTo>
                      <a:lnTo>
                        <a:pt x="420" y="331"/>
                      </a:lnTo>
                      <a:lnTo>
                        <a:pt x="419" y="332"/>
                      </a:lnTo>
                      <a:lnTo>
                        <a:pt x="418" y="332"/>
                      </a:lnTo>
                      <a:lnTo>
                        <a:pt x="418" y="334"/>
                      </a:lnTo>
                      <a:lnTo>
                        <a:pt x="416" y="335"/>
                      </a:lnTo>
                      <a:lnTo>
                        <a:pt x="415" y="336"/>
                      </a:lnTo>
                      <a:lnTo>
                        <a:pt x="414" y="336"/>
                      </a:lnTo>
                      <a:lnTo>
                        <a:pt x="415" y="335"/>
                      </a:lnTo>
                      <a:lnTo>
                        <a:pt x="414" y="335"/>
                      </a:lnTo>
                      <a:lnTo>
                        <a:pt x="414" y="336"/>
                      </a:lnTo>
                      <a:lnTo>
                        <a:pt x="414" y="335"/>
                      </a:lnTo>
                      <a:lnTo>
                        <a:pt x="413" y="336"/>
                      </a:lnTo>
                      <a:lnTo>
                        <a:pt x="412" y="336"/>
                      </a:lnTo>
                      <a:lnTo>
                        <a:pt x="413" y="335"/>
                      </a:lnTo>
                      <a:lnTo>
                        <a:pt x="412" y="335"/>
                      </a:lnTo>
                      <a:lnTo>
                        <a:pt x="411" y="335"/>
                      </a:lnTo>
                      <a:lnTo>
                        <a:pt x="408" y="337"/>
                      </a:lnTo>
                      <a:lnTo>
                        <a:pt x="407" y="337"/>
                      </a:lnTo>
                      <a:lnTo>
                        <a:pt x="406" y="337"/>
                      </a:lnTo>
                      <a:lnTo>
                        <a:pt x="405" y="337"/>
                      </a:lnTo>
                      <a:lnTo>
                        <a:pt x="406" y="337"/>
                      </a:lnTo>
                      <a:lnTo>
                        <a:pt x="406" y="338"/>
                      </a:lnTo>
                      <a:lnTo>
                        <a:pt x="405" y="338"/>
                      </a:lnTo>
                      <a:lnTo>
                        <a:pt x="405" y="339"/>
                      </a:lnTo>
                      <a:lnTo>
                        <a:pt x="404" y="339"/>
                      </a:lnTo>
                      <a:lnTo>
                        <a:pt x="404" y="341"/>
                      </a:lnTo>
                      <a:lnTo>
                        <a:pt x="402" y="341"/>
                      </a:lnTo>
                      <a:lnTo>
                        <a:pt x="401" y="342"/>
                      </a:lnTo>
                      <a:lnTo>
                        <a:pt x="401" y="343"/>
                      </a:lnTo>
                      <a:lnTo>
                        <a:pt x="400" y="343"/>
                      </a:lnTo>
                      <a:lnTo>
                        <a:pt x="399" y="344"/>
                      </a:lnTo>
                      <a:lnTo>
                        <a:pt x="399" y="343"/>
                      </a:lnTo>
                      <a:lnTo>
                        <a:pt x="398" y="343"/>
                      </a:lnTo>
                      <a:lnTo>
                        <a:pt x="398" y="344"/>
                      </a:lnTo>
                      <a:lnTo>
                        <a:pt x="397" y="344"/>
                      </a:lnTo>
                      <a:lnTo>
                        <a:pt x="395" y="345"/>
                      </a:lnTo>
                      <a:lnTo>
                        <a:pt x="395" y="346"/>
                      </a:lnTo>
                      <a:lnTo>
                        <a:pt x="395" y="348"/>
                      </a:lnTo>
                      <a:lnTo>
                        <a:pt x="394" y="349"/>
                      </a:lnTo>
                      <a:lnTo>
                        <a:pt x="393" y="350"/>
                      </a:lnTo>
                      <a:lnTo>
                        <a:pt x="393" y="351"/>
                      </a:lnTo>
                      <a:lnTo>
                        <a:pt x="392" y="351"/>
                      </a:lnTo>
                      <a:lnTo>
                        <a:pt x="391" y="350"/>
                      </a:lnTo>
                      <a:lnTo>
                        <a:pt x="390" y="350"/>
                      </a:lnTo>
                      <a:lnTo>
                        <a:pt x="389" y="350"/>
                      </a:lnTo>
                      <a:lnTo>
                        <a:pt x="387" y="350"/>
                      </a:lnTo>
                      <a:lnTo>
                        <a:pt x="386" y="350"/>
                      </a:lnTo>
                      <a:lnTo>
                        <a:pt x="384" y="349"/>
                      </a:lnTo>
                      <a:lnTo>
                        <a:pt x="383" y="350"/>
                      </a:lnTo>
                      <a:lnTo>
                        <a:pt x="382" y="350"/>
                      </a:lnTo>
                      <a:lnTo>
                        <a:pt x="380" y="349"/>
                      </a:lnTo>
                      <a:lnTo>
                        <a:pt x="379" y="349"/>
                      </a:lnTo>
                      <a:lnTo>
                        <a:pt x="378" y="348"/>
                      </a:lnTo>
                      <a:lnTo>
                        <a:pt x="373" y="345"/>
                      </a:lnTo>
                      <a:lnTo>
                        <a:pt x="370" y="344"/>
                      </a:lnTo>
                      <a:lnTo>
                        <a:pt x="361" y="342"/>
                      </a:lnTo>
                      <a:lnTo>
                        <a:pt x="344" y="342"/>
                      </a:lnTo>
                      <a:lnTo>
                        <a:pt x="338" y="341"/>
                      </a:lnTo>
                      <a:lnTo>
                        <a:pt x="336" y="341"/>
                      </a:lnTo>
                      <a:lnTo>
                        <a:pt x="335" y="342"/>
                      </a:lnTo>
                      <a:lnTo>
                        <a:pt x="320" y="345"/>
                      </a:lnTo>
                      <a:lnTo>
                        <a:pt x="318" y="345"/>
                      </a:lnTo>
                      <a:lnTo>
                        <a:pt x="312" y="349"/>
                      </a:lnTo>
                      <a:lnTo>
                        <a:pt x="312" y="350"/>
                      </a:lnTo>
                      <a:lnTo>
                        <a:pt x="311" y="351"/>
                      </a:lnTo>
                      <a:lnTo>
                        <a:pt x="309" y="351"/>
                      </a:lnTo>
                      <a:lnTo>
                        <a:pt x="308" y="352"/>
                      </a:lnTo>
                      <a:lnTo>
                        <a:pt x="304" y="359"/>
                      </a:lnTo>
                      <a:lnTo>
                        <a:pt x="302" y="359"/>
                      </a:lnTo>
                      <a:lnTo>
                        <a:pt x="302" y="360"/>
                      </a:lnTo>
                      <a:lnTo>
                        <a:pt x="301" y="360"/>
                      </a:lnTo>
                      <a:lnTo>
                        <a:pt x="294" y="359"/>
                      </a:lnTo>
                      <a:lnTo>
                        <a:pt x="292" y="359"/>
                      </a:lnTo>
                      <a:lnTo>
                        <a:pt x="291" y="359"/>
                      </a:lnTo>
                      <a:lnTo>
                        <a:pt x="281" y="359"/>
                      </a:lnTo>
                      <a:lnTo>
                        <a:pt x="280" y="358"/>
                      </a:lnTo>
                      <a:lnTo>
                        <a:pt x="272" y="356"/>
                      </a:lnTo>
                      <a:lnTo>
                        <a:pt x="271" y="356"/>
                      </a:lnTo>
                      <a:lnTo>
                        <a:pt x="271" y="355"/>
                      </a:lnTo>
                      <a:lnTo>
                        <a:pt x="270" y="353"/>
                      </a:lnTo>
                      <a:lnTo>
                        <a:pt x="269" y="352"/>
                      </a:lnTo>
                      <a:lnTo>
                        <a:pt x="267" y="352"/>
                      </a:lnTo>
                      <a:lnTo>
                        <a:pt x="266" y="351"/>
                      </a:lnTo>
                      <a:lnTo>
                        <a:pt x="265" y="351"/>
                      </a:lnTo>
                      <a:lnTo>
                        <a:pt x="264" y="351"/>
                      </a:lnTo>
                      <a:lnTo>
                        <a:pt x="263" y="351"/>
                      </a:lnTo>
                      <a:lnTo>
                        <a:pt x="260" y="349"/>
                      </a:lnTo>
                      <a:lnTo>
                        <a:pt x="259" y="348"/>
                      </a:lnTo>
                      <a:lnTo>
                        <a:pt x="258" y="346"/>
                      </a:lnTo>
                      <a:lnTo>
                        <a:pt x="257" y="346"/>
                      </a:lnTo>
                      <a:lnTo>
                        <a:pt x="256" y="345"/>
                      </a:lnTo>
                      <a:lnTo>
                        <a:pt x="255" y="345"/>
                      </a:lnTo>
                      <a:lnTo>
                        <a:pt x="255" y="344"/>
                      </a:lnTo>
                      <a:lnTo>
                        <a:pt x="254" y="344"/>
                      </a:lnTo>
                      <a:lnTo>
                        <a:pt x="245" y="343"/>
                      </a:lnTo>
                      <a:lnTo>
                        <a:pt x="244" y="343"/>
                      </a:lnTo>
                      <a:lnTo>
                        <a:pt x="243" y="343"/>
                      </a:lnTo>
                      <a:lnTo>
                        <a:pt x="231" y="350"/>
                      </a:lnTo>
                      <a:lnTo>
                        <a:pt x="230" y="351"/>
                      </a:lnTo>
                      <a:lnTo>
                        <a:pt x="229" y="351"/>
                      </a:lnTo>
                      <a:lnTo>
                        <a:pt x="226" y="350"/>
                      </a:lnTo>
                      <a:lnTo>
                        <a:pt x="223" y="352"/>
                      </a:lnTo>
                      <a:lnTo>
                        <a:pt x="222" y="353"/>
                      </a:lnTo>
                      <a:lnTo>
                        <a:pt x="221" y="355"/>
                      </a:lnTo>
                      <a:lnTo>
                        <a:pt x="220" y="355"/>
                      </a:lnTo>
                      <a:lnTo>
                        <a:pt x="217" y="355"/>
                      </a:lnTo>
                      <a:lnTo>
                        <a:pt x="216" y="355"/>
                      </a:lnTo>
                      <a:lnTo>
                        <a:pt x="216" y="353"/>
                      </a:lnTo>
                      <a:lnTo>
                        <a:pt x="215" y="353"/>
                      </a:lnTo>
                      <a:lnTo>
                        <a:pt x="214" y="352"/>
                      </a:lnTo>
                      <a:lnTo>
                        <a:pt x="212" y="350"/>
                      </a:lnTo>
                      <a:lnTo>
                        <a:pt x="210" y="349"/>
                      </a:lnTo>
                      <a:lnTo>
                        <a:pt x="208" y="344"/>
                      </a:lnTo>
                      <a:lnTo>
                        <a:pt x="203" y="338"/>
                      </a:lnTo>
                      <a:lnTo>
                        <a:pt x="199" y="334"/>
                      </a:lnTo>
                      <a:lnTo>
                        <a:pt x="196" y="332"/>
                      </a:lnTo>
                      <a:lnTo>
                        <a:pt x="195" y="332"/>
                      </a:lnTo>
                      <a:lnTo>
                        <a:pt x="194" y="332"/>
                      </a:lnTo>
                      <a:lnTo>
                        <a:pt x="193" y="332"/>
                      </a:lnTo>
                      <a:lnTo>
                        <a:pt x="192" y="334"/>
                      </a:lnTo>
                      <a:lnTo>
                        <a:pt x="191" y="334"/>
                      </a:lnTo>
                      <a:lnTo>
                        <a:pt x="181" y="330"/>
                      </a:lnTo>
                      <a:lnTo>
                        <a:pt x="172" y="327"/>
                      </a:lnTo>
                      <a:lnTo>
                        <a:pt x="171" y="325"/>
                      </a:lnTo>
                      <a:lnTo>
                        <a:pt x="166" y="327"/>
                      </a:lnTo>
                      <a:lnTo>
                        <a:pt x="166" y="328"/>
                      </a:lnTo>
                      <a:lnTo>
                        <a:pt x="165" y="328"/>
                      </a:lnTo>
                      <a:lnTo>
                        <a:pt x="165" y="329"/>
                      </a:lnTo>
                      <a:lnTo>
                        <a:pt x="164" y="329"/>
                      </a:lnTo>
                      <a:lnTo>
                        <a:pt x="164" y="330"/>
                      </a:lnTo>
                      <a:lnTo>
                        <a:pt x="163" y="330"/>
                      </a:lnTo>
                      <a:lnTo>
                        <a:pt x="162" y="330"/>
                      </a:lnTo>
                      <a:lnTo>
                        <a:pt x="157" y="330"/>
                      </a:lnTo>
                      <a:lnTo>
                        <a:pt x="155" y="331"/>
                      </a:lnTo>
                      <a:lnTo>
                        <a:pt x="152" y="331"/>
                      </a:lnTo>
                      <a:lnTo>
                        <a:pt x="151" y="330"/>
                      </a:lnTo>
                      <a:lnTo>
                        <a:pt x="150" y="330"/>
                      </a:lnTo>
                      <a:lnTo>
                        <a:pt x="149" y="330"/>
                      </a:lnTo>
                      <a:lnTo>
                        <a:pt x="143" y="331"/>
                      </a:lnTo>
                      <a:lnTo>
                        <a:pt x="139" y="332"/>
                      </a:lnTo>
                      <a:lnTo>
                        <a:pt x="137" y="332"/>
                      </a:lnTo>
                      <a:lnTo>
                        <a:pt x="136" y="334"/>
                      </a:lnTo>
                      <a:lnTo>
                        <a:pt x="131" y="339"/>
                      </a:lnTo>
                      <a:lnTo>
                        <a:pt x="130" y="339"/>
                      </a:lnTo>
                      <a:lnTo>
                        <a:pt x="129" y="339"/>
                      </a:lnTo>
                      <a:lnTo>
                        <a:pt x="127" y="339"/>
                      </a:lnTo>
                      <a:lnTo>
                        <a:pt x="127" y="348"/>
                      </a:lnTo>
                      <a:lnTo>
                        <a:pt x="126" y="355"/>
                      </a:lnTo>
                      <a:lnTo>
                        <a:pt x="121" y="363"/>
                      </a:lnTo>
                      <a:lnTo>
                        <a:pt x="119" y="365"/>
                      </a:lnTo>
                      <a:lnTo>
                        <a:pt x="112" y="371"/>
                      </a:lnTo>
                      <a:lnTo>
                        <a:pt x="113" y="379"/>
                      </a:lnTo>
                      <a:lnTo>
                        <a:pt x="112" y="384"/>
                      </a:lnTo>
                      <a:lnTo>
                        <a:pt x="112" y="385"/>
                      </a:lnTo>
                      <a:lnTo>
                        <a:pt x="113" y="387"/>
                      </a:lnTo>
                      <a:lnTo>
                        <a:pt x="113" y="388"/>
                      </a:lnTo>
                      <a:lnTo>
                        <a:pt x="112" y="390"/>
                      </a:lnTo>
                      <a:lnTo>
                        <a:pt x="112" y="391"/>
                      </a:lnTo>
                      <a:lnTo>
                        <a:pt x="110" y="391"/>
                      </a:lnTo>
                      <a:lnTo>
                        <a:pt x="112" y="393"/>
                      </a:lnTo>
                      <a:lnTo>
                        <a:pt x="113" y="394"/>
                      </a:lnTo>
                      <a:lnTo>
                        <a:pt x="113" y="395"/>
                      </a:lnTo>
                      <a:lnTo>
                        <a:pt x="113" y="397"/>
                      </a:lnTo>
                      <a:lnTo>
                        <a:pt x="110" y="398"/>
                      </a:lnTo>
                      <a:lnTo>
                        <a:pt x="110" y="397"/>
                      </a:lnTo>
                      <a:lnTo>
                        <a:pt x="109" y="397"/>
                      </a:lnTo>
                      <a:lnTo>
                        <a:pt x="109" y="395"/>
                      </a:lnTo>
                      <a:lnTo>
                        <a:pt x="109" y="394"/>
                      </a:lnTo>
                      <a:lnTo>
                        <a:pt x="108" y="393"/>
                      </a:lnTo>
                      <a:lnTo>
                        <a:pt x="107" y="393"/>
                      </a:lnTo>
                      <a:lnTo>
                        <a:pt x="106" y="392"/>
                      </a:lnTo>
                      <a:lnTo>
                        <a:pt x="105" y="392"/>
                      </a:lnTo>
                      <a:lnTo>
                        <a:pt x="103" y="391"/>
                      </a:lnTo>
                      <a:lnTo>
                        <a:pt x="103" y="392"/>
                      </a:lnTo>
                      <a:lnTo>
                        <a:pt x="102" y="392"/>
                      </a:lnTo>
                      <a:lnTo>
                        <a:pt x="102" y="391"/>
                      </a:lnTo>
                      <a:lnTo>
                        <a:pt x="101" y="391"/>
                      </a:lnTo>
                      <a:lnTo>
                        <a:pt x="100" y="390"/>
                      </a:lnTo>
                      <a:lnTo>
                        <a:pt x="100" y="388"/>
                      </a:lnTo>
                      <a:lnTo>
                        <a:pt x="100" y="387"/>
                      </a:lnTo>
                      <a:lnTo>
                        <a:pt x="99" y="387"/>
                      </a:lnTo>
                      <a:lnTo>
                        <a:pt x="99" y="386"/>
                      </a:lnTo>
                      <a:lnTo>
                        <a:pt x="94" y="381"/>
                      </a:lnTo>
                      <a:lnTo>
                        <a:pt x="92" y="380"/>
                      </a:lnTo>
                      <a:lnTo>
                        <a:pt x="92" y="379"/>
                      </a:lnTo>
                      <a:lnTo>
                        <a:pt x="91" y="379"/>
                      </a:lnTo>
                      <a:lnTo>
                        <a:pt x="89" y="378"/>
                      </a:lnTo>
                      <a:lnTo>
                        <a:pt x="89" y="377"/>
                      </a:lnTo>
                      <a:lnTo>
                        <a:pt x="88" y="377"/>
                      </a:lnTo>
                      <a:lnTo>
                        <a:pt x="87" y="374"/>
                      </a:lnTo>
                      <a:lnTo>
                        <a:pt x="86" y="376"/>
                      </a:lnTo>
                      <a:lnTo>
                        <a:pt x="85" y="376"/>
                      </a:lnTo>
                      <a:lnTo>
                        <a:pt x="84" y="376"/>
                      </a:lnTo>
                      <a:lnTo>
                        <a:pt x="84" y="377"/>
                      </a:lnTo>
                      <a:lnTo>
                        <a:pt x="82" y="377"/>
                      </a:lnTo>
                      <a:lnTo>
                        <a:pt x="81" y="377"/>
                      </a:lnTo>
                      <a:lnTo>
                        <a:pt x="81" y="378"/>
                      </a:lnTo>
                      <a:lnTo>
                        <a:pt x="81" y="379"/>
                      </a:lnTo>
                      <a:lnTo>
                        <a:pt x="80" y="378"/>
                      </a:lnTo>
                      <a:lnTo>
                        <a:pt x="79" y="378"/>
                      </a:lnTo>
                      <a:lnTo>
                        <a:pt x="79" y="379"/>
                      </a:lnTo>
                      <a:lnTo>
                        <a:pt x="79" y="378"/>
                      </a:lnTo>
                      <a:lnTo>
                        <a:pt x="78" y="378"/>
                      </a:lnTo>
                      <a:lnTo>
                        <a:pt x="78" y="379"/>
                      </a:lnTo>
                      <a:lnTo>
                        <a:pt x="77" y="379"/>
                      </a:lnTo>
                      <a:lnTo>
                        <a:pt x="75" y="379"/>
                      </a:lnTo>
                      <a:lnTo>
                        <a:pt x="75" y="380"/>
                      </a:lnTo>
                      <a:lnTo>
                        <a:pt x="74" y="379"/>
                      </a:lnTo>
                      <a:lnTo>
                        <a:pt x="74" y="380"/>
                      </a:lnTo>
                      <a:lnTo>
                        <a:pt x="73" y="380"/>
                      </a:lnTo>
                      <a:lnTo>
                        <a:pt x="72" y="380"/>
                      </a:lnTo>
                      <a:lnTo>
                        <a:pt x="71" y="381"/>
                      </a:lnTo>
                      <a:lnTo>
                        <a:pt x="72" y="384"/>
                      </a:lnTo>
                      <a:lnTo>
                        <a:pt x="73" y="386"/>
                      </a:lnTo>
                      <a:lnTo>
                        <a:pt x="73" y="387"/>
                      </a:lnTo>
                      <a:lnTo>
                        <a:pt x="74" y="387"/>
                      </a:lnTo>
                      <a:lnTo>
                        <a:pt x="74" y="388"/>
                      </a:lnTo>
                      <a:lnTo>
                        <a:pt x="73" y="388"/>
                      </a:lnTo>
                      <a:lnTo>
                        <a:pt x="73" y="390"/>
                      </a:lnTo>
                      <a:lnTo>
                        <a:pt x="72" y="390"/>
                      </a:lnTo>
                      <a:lnTo>
                        <a:pt x="72" y="391"/>
                      </a:lnTo>
                      <a:lnTo>
                        <a:pt x="72" y="392"/>
                      </a:lnTo>
                      <a:lnTo>
                        <a:pt x="71" y="390"/>
                      </a:lnTo>
                      <a:lnTo>
                        <a:pt x="68" y="386"/>
                      </a:lnTo>
                      <a:lnTo>
                        <a:pt x="66" y="384"/>
                      </a:lnTo>
                      <a:lnTo>
                        <a:pt x="64" y="380"/>
                      </a:lnTo>
                      <a:lnTo>
                        <a:pt x="62" y="378"/>
                      </a:lnTo>
                      <a:lnTo>
                        <a:pt x="62" y="377"/>
                      </a:lnTo>
                      <a:lnTo>
                        <a:pt x="62" y="376"/>
                      </a:lnTo>
                      <a:lnTo>
                        <a:pt x="64" y="376"/>
                      </a:lnTo>
                      <a:lnTo>
                        <a:pt x="64" y="374"/>
                      </a:lnTo>
                      <a:lnTo>
                        <a:pt x="65" y="374"/>
                      </a:lnTo>
                      <a:lnTo>
                        <a:pt x="65" y="376"/>
                      </a:lnTo>
                      <a:lnTo>
                        <a:pt x="67" y="374"/>
                      </a:lnTo>
                      <a:lnTo>
                        <a:pt x="67" y="373"/>
                      </a:lnTo>
                      <a:lnTo>
                        <a:pt x="67" y="372"/>
                      </a:lnTo>
                      <a:lnTo>
                        <a:pt x="66" y="372"/>
                      </a:lnTo>
                      <a:lnTo>
                        <a:pt x="66" y="371"/>
                      </a:lnTo>
                      <a:lnTo>
                        <a:pt x="66" y="370"/>
                      </a:lnTo>
                      <a:lnTo>
                        <a:pt x="66" y="369"/>
                      </a:lnTo>
                      <a:lnTo>
                        <a:pt x="65" y="367"/>
                      </a:lnTo>
                      <a:lnTo>
                        <a:pt x="64" y="367"/>
                      </a:lnTo>
                      <a:lnTo>
                        <a:pt x="64" y="366"/>
                      </a:lnTo>
                      <a:lnTo>
                        <a:pt x="63" y="365"/>
                      </a:lnTo>
                      <a:lnTo>
                        <a:pt x="62" y="365"/>
                      </a:lnTo>
                      <a:lnTo>
                        <a:pt x="59" y="365"/>
                      </a:lnTo>
                      <a:lnTo>
                        <a:pt x="58" y="365"/>
                      </a:lnTo>
                      <a:lnTo>
                        <a:pt x="58" y="366"/>
                      </a:lnTo>
                      <a:lnTo>
                        <a:pt x="57" y="365"/>
                      </a:lnTo>
                      <a:lnTo>
                        <a:pt x="57" y="366"/>
                      </a:lnTo>
                      <a:lnTo>
                        <a:pt x="56" y="367"/>
                      </a:lnTo>
                      <a:lnTo>
                        <a:pt x="56" y="369"/>
                      </a:lnTo>
                      <a:lnTo>
                        <a:pt x="55" y="369"/>
                      </a:lnTo>
                      <a:lnTo>
                        <a:pt x="50" y="369"/>
                      </a:lnTo>
                      <a:lnTo>
                        <a:pt x="46" y="369"/>
                      </a:lnTo>
                      <a:lnTo>
                        <a:pt x="45" y="367"/>
                      </a:lnTo>
                      <a:lnTo>
                        <a:pt x="43" y="365"/>
                      </a:lnTo>
                      <a:lnTo>
                        <a:pt x="41" y="364"/>
                      </a:lnTo>
                      <a:lnTo>
                        <a:pt x="38" y="362"/>
                      </a:lnTo>
                      <a:lnTo>
                        <a:pt x="37" y="362"/>
                      </a:lnTo>
                      <a:lnTo>
                        <a:pt x="35" y="359"/>
                      </a:lnTo>
                      <a:lnTo>
                        <a:pt x="34" y="358"/>
                      </a:lnTo>
                      <a:lnTo>
                        <a:pt x="31" y="356"/>
                      </a:lnTo>
                      <a:lnTo>
                        <a:pt x="30" y="356"/>
                      </a:lnTo>
                      <a:lnTo>
                        <a:pt x="28" y="356"/>
                      </a:lnTo>
                      <a:lnTo>
                        <a:pt x="27" y="355"/>
                      </a:lnTo>
                      <a:lnTo>
                        <a:pt x="27" y="353"/>
                      </a:lnTo>
                      <a:lnTo>
                        <a:pt x="27" y="351"/>
                      </a:lnTo>
                      <a:lnTo>
                        <a:pt x="27" y="348"/>
                      </a:lnTo>
                      <a:lnTo>
                        <a:pt x="27" y="345"/>
                      </a:lnTo>
                      <a:lnTo>
                        <a:pt x="27" y="344"/>
                      </a:lnTo>
                      <a:lnTo>
                        <a:pt x="28" y="344"/>
                      </a:lnTo>
                      <a:lnTo>
                        <a:pt x="30" y="345"/>
                      </a:lnTo>
                      <a:lnTo>
                        <a:pt x="32" y="345"/>
                      </a:lnTo>
                      <a:lnTo>
                        <a:pt x="32" y="346"/>
                      </a:lnTo>
                      <a:lnTo>
                        <a:pt x="32" y="345"/>
                      </a:lnTo>
                      <a:lnTo>
                        <a:pt x="34" y="345"/>
                      </a:lnTo>
                      <a:lnTo>
                        <a:pt x="34" y="344"/>
                      </a:lnTo>
                      <a:lnTo>
                        <a:pt x="35" y="345"/>
                      </a:lnTo>
                      <a:lnTo>
                        <a:pt x="36" y="345"/>
                      </a:lnTo>
                      <a:lnTo>
                        <a:pt x="36" y="344"/>
                      </a:lnTo>
                      <a:lnTo>
                        <a:pt x="35" y="344"/>
                      </a:lnTo>
                      <a:lnTo>
                        <a:pt x="34" y="343"/>
                      </a:lnTo>
                      <a:lnTo>
                        <a:pt x="32" y="343"/>
                      </a:lnTo>
                      <a:lnTo>
                        <a:pt x="29" y="342"/>
                      </a:lnTo>
                      <a:lnTo>
                        <a:pt x="28" y="341"/>
                      </a:lnTo>
                      <a:lnTo>
                        <a:pt x="28" y="339"/>
                      </a:lnTo>
                      <a:lnTo>
                        <a:pt x="27" y="338"/>
                      </a:lnTo>
                      <a:lnTo>
                        <a:pt x="25" y="337"/>
                      </a:lnTo>
                      <a:lnTo>
                        <a:pt x="24" y="336"/>
                      </a:lnTo>
                      <a:lnTo>
                        <a:pt x="23" y="336"/>
                      </a:lnTo>
                      <a:lnTo>
                        <a:pt x="22" y="336"/>
                      </a:lnTo>
                      <a:lnTo>
                        <a:pt x="21" y="336"/>
                      </a:lnTo>
                      <a:lnTo>
                        <a:pt x="20" y="335"/>
                      </a:lnTo>
                      <a:lnTo>
                        <a:pt x="20" y="334"/>
                      </a:lnTo>
                      <a:lnTo>
                        <a:pt x="15" y="334"/>
                      </a:lnTo>
                      <a:lnTo>
                        <a:pt x="14" y="332"/>
                      </a:lnTo>
                      <a:lnTo>
                        <a:pt x="15" y="331"/>
                      </a:lnTo>
                      <a:lnTo>
                        <a:pt x="14" y="330"/>
                      </a:lnTo>
                      <a:lnTo>
                        <a:pt x="13" y="330"/>
                      </a:lnTo>
                      <a:lnTo>
                        <a:pt x="11" y="329"/>
                      </a:lnTo>
                      <a:lnTo>
                        <a:pt x="11" y="328"/>
                      </a:lnTo>
                      <a:lnTo>
                        <a:pt x="10" y="328"/>
                      </a:lnTo>
                      <a:lnTo>
                        <a:pt x="10" y="327"/>
                      </a:lnTo>
                      <a:lnTo>
                        <a:pt x="9" y="327"/>
                      </a:lnTo>
                      <a:lnTo>
                        <a:pt x="10" y="325"/>
                      </a:lnTo>
                      <a:lnTo>
                        <a:pt x="9" y="325"/>
                      </a:lnTo>
                      <a:lnTo>
                        <a:pt x="9" y="324"/>
                      </a:lnTo>
                      <a:lnTo>
                        <a:pt x="8" y="324"/>
                      </a:lnTo>
                      <a:lnTo>
                        <a:pt x="8" y="323"/>
                      </a:lnTo>
                      <a:lnTo>
                        <a:pt x="7" y="322"/>
                      </a:lnTo>
                      <a:lnTo>
                        <a:pt x="8" y="322"/>
                      </a:lnTo>
                      <a:lnTo>
                        <a:pt x="7" y="321"/>
                      </a:lnTo>
                      <a:lnTo>
                        <a:pt x="7" y="320"/>
                      </a:lnTo>
                      <a:lnTo>
                        <a:pt x="6" y="320"/>
                      </a:lnTo>
                      <a:lnTo>
                        <a:pt x="7" y="320"/>
                      </a:lnTo>
                      <a:lnTo>
                        <a:pt x="7" y="318"/>
                      </a:lnTo>
                      <a:lnTo>
                        <a:pt x="7" y="317"/>
                      </a:lnTo>
                      <a:lnTo>
                        <a:pt x="7" y="316"/>
                      </a:lnTo>
                      <a:lnTo>
                        <a:pt x="8" y="316"/>
                      </a:lnTo>
                      <a:lnTo>
                        <a:pt x="8" y="315"/>
                      </a:lnTo>
                      <a:lnTo>
                        <a:pt x="7" y="314"/>
                      </a:lnTo>
                      <a:lnTo>
                        <a:pt x="2" y="309"/>
                      </a:lnTo>
                      <a:lnTo>
                        <a:pt x="1" y="309"/>
                      </a:lnTo>
                      <a:lnTo>
                        <a:pt x="0" y="308"/>
                      </a:lnTo>
                      <a:lnTo>
                        <a:pt x="0" y="306"/>
                      </a:lnTo>
                      <a:lnTo>
                        <a:pt x="2" y="300"/>
                      </a:lnTo>
                      <a:lnTo>
                        <a:pt x="2" y="299"/>
                      </a:lnTo>
                      <a:lnTo>
                        <a:pt x="1" y="297"/>
                      </a:lnTo>
                      <a:lnTo>
                        <a:pt x="1" y="296"/>
                      </a:lnTo>
                      <a:lnTo>
                        <a:pt x="1" y="295"/>
                      </a:lnTo>
                      <a:lnTo>
                        <a:pt x="2" y="295"/>
                      </a:lnTo>
                      <a:lnTo>
                        <a:pt x="2" y="294"/>
                      </a:lnTo>
                      <a:lnTo>
                        <a:pt x="2" y="293"/>
                      </a:lnTo>
                      <a:lnTo>
                        <a:pt x="2" y="292"/>
                      </a:lnTo>
                      <a:lnTo>
                        <a:pt x="7" y="292"/>
                      </a:lnTo>
                      <a:lnTo>
                        <a:pt x="8" y="292"/>
                      </a:lnTo>
                      <a:lnTo>
                        <a:pt x="10" y="292"/>
                      </a:lnTo>
                      <a:lnTo>
                        <a:pt x="11" y="292"/>
                      </a:lnTo>
                      <a:lnTo>
                        <a:pt x="16" y="293"/>
                      </a:lnTo>
                      <a:lnTo>
                        <a:pt x="17" y="293"/>
                      </a:lnTo>
                      <a:lnTo>
                        <a:pt x="18" y="292"/>
                      </a:lnTo>
                      <a:lnTo>
                        <a:pt x="20" y="292"/>
                      </a:lnTo>
                      <a:lnTo>
                        <a:pt x="24" y="292"/>
                      </a:lnTo>
                      <a:lnTo>
                        <a:pt x="25" y="292"/>
                      </a:lnTo>
                      <a:lnTo>
                        <a:pt x="27" y="290"/>
                      </a:lnTo>
                      <a:lnTo>
                        <a:pt x="29" y="288"/>
                      </a:lnTo>
                      <a:lnTo>
                        <a:pt x="31" y="287"/>
                      </a:lnTo>
                      <a:lnTo>
                        <a:pt x="34" y="285"/>
                      </a:lnTo>
                      <a:lnTo>
                        <a:pt x="36" y="282"/>
                      </a:lnTo>
                      <a:lnTo>
                        <a:pt x="36" y="281"/>
                      </a:lnTo>
                      <a:lnTo>
                        <a:pt x="37" y="281"/>
                      </a:lnTo>
                      <a:lnTo>
                        <a:pt x="39" y="281"/>
                      </a:lnTo>
                      <a:lnTo>
                        <a:pt x="43" y="281"/>
                      </a:lnTo>
                      <a:lnTo>
                        <a:pt x="46" y="281"/>
                      </a:lnTo>
                      <a:lnTo>
                        <a:pt x="49" y="281"/>
                      </a:lnTo>
                      <a:lnTo>
                        <a:pt x="52" y="281"/>
                      </a:lnTo>
                      <a:lnTo>
                        <a:pt x="55" y="280"/>
                      </a:lnTo>
                      <a:lnTo>
                        <a:pt x="58" y="280"/>
                      </a:lnTo>
                      <a:lnTo>
                        <a:pt x="62" y="280"/>
                      </a:lnTo>
                      <a:lnTo>
                        <a:pt x="64" y="280"/>
                      </a:lnTo>
                      <a:lnTo>
                        <a:pt x="67" y="280"/>
                      </a:lnTo>
                      <a:lnTo>
                        <a:pt x="71" y="280"/>
                      </a:lnTo>
                      <a:lnTo>
                        <a:pt x="73" y="280"/>
                      </a:lnTo>
                      <a:lnTo>
                        <a:pt x="77" y="280"/>
                      </a:lnTo>
                      <a:lnTo>
                        <a:pt x="80" y="279"/>
                      </a:lnTo>
                      <a:lnTo>
                        <a:pt x="82" y="279"/>
                      </a:lnTo>
                      <a:lnTo>
                        <a:pt x="86" y="279"/>
                      </a:lnTo>
                      <a:lnTo>
                        <a:pt x="89" y="279"/>
                      </a:lnTo>
                      <a:lnTo>
                        <a:pt x="91" y="279"/>
                      </a:lnTo>
                      <a:lnTo>
                        <a:pt x="91" y="278"/>
                      </a:lnTo>
                      <a:lnTo>
                        <a:pt x="91" y="276"/>
                      </a:lnTo>
                      <a:lnTo>
                        <a:pt x="92" y="276"/>
                      </a:lnTo>
                      <a:lnTo>
                        <a:pt x="93" y="276"/>
                      </a:lnTo>
                      <a:lnTo>
                        <a:pt x="96" y="276"/>
                      </a:lnTo>
                      <a:lnTo>
                        <a:pt x="102" y="278"/>
                      </a:lnTo>
                      <a:lnTo>
                        <a:pt x="106" y="278"/>
                      </a:lnTo>
                      <a:lnTo>
                        <a:pt x="107" y="278"/>
                      </a:lnTo>
                      <a:lnTo>
                        <a:pt x="107" y="274"/>
                      </a:lnTo>
                      <a:lnTo>
                        <a:pt x="107" y="273"/>
                      </a:lnTo>
                      <a:lnTo>
                        <a:pt x="110" y="272"/>
                      </a:lnTo>
                      <a:lnTo>
                        <a:pt x="113" y="269"/>
                      </a:lnTo>
                      <a:lnTo>
                        <a:pt x="114" y="268"/>
                      </a:lnTo>
                      <a:lnTo>
                        <a:pt x="116" y="268"/>
                      </a:lnTo>
                      <a:lnTo>
                        <a:pt x="117" y="267"/>
                      </a:lnTo>
                      <a:lnTo>
                        <a:pt x="119" y="266"/>
                      </a:lnTo>
                      <a:lnTo>
                        <a:pt x="119" y="265"/>
                      </a:lnTo>
                      <a:lnTo>
                        <a:pt x="119" y="264"/>
                      </a:lnTo>
                      <a:lnTo>
                        <a:pt x="120" y="260"/>
                      </a:lnTo>
                      <a:lnTo>
                        <a:pt x="120" y="259"/>
                      </a:lnTo>
                      <a:lnTo>
                        <a:pt x="122" y="258"/>
                      </a:lnTo>
                      <a:lnTo>
                        <a:pt x="122" y="257"/>
                      </a:lnTo>
                      <a:lnTo>
                        <a:pt x="121" y="255"/>
                      </a:lnTo>
                      <a:lnTo>
                        <a:pt x="121" y="254"/>
                      </a:lnTo>
                      <a:lnTo>
                        <a:pt x="124" y="247"/>
                      </a:lnTo>
                      <a:lnTo>
                        <a:pt x="124" y="246"/>
                      </a:lnTo>
                      <a:lnTo>
                        <a:pt x="126" y="245"/>
                      </a:lnTo>
                      <a:lnTo>
                        <a:pt x="127" y="244"/>
                      </a:lnTo>
                      <a:lnTo>
                        <a:pt x="128" y="244"/>
                      </a:lnTo>
                      <a:lnTo>
                        <a:pt x="128" y="243"/>
                      </a:lnTo>
                      <a:lnTo>
                        <a:pt x="128" y="239"/>
                      </a:lnTo>
                      <a:lnTo>
                        <a:pt x="128" y="237"/>
                      </a:lnTo>
                      <a:lnTo>
                        <a:pt x="128" y="232"/>
                      </a:lnTo>
                      <a:lnTo>
                        <a:pt x="128" y="230"/>
                      </a:lnTo>
                      <a:lnTo>
                        <a:pt x="128" y="229"/>
                      </a:lnTo>
                      <a:lnTo>
                        <a:pt x="128" y="225"/>
                      </a:lnTo>
                      <a:lnTo>
                        <a:pt x="128" y="224"/>
                      </a:lnTo>
                      <a:lnTo>
                        <a:pt x="129" y="224"/>
                      </a:lnTo>
                      <a:lnTo>
                        <a:pt x="129" y="220"/>
                      </a:lnTo>
                      <a:lnTo>
                        <a:pt x="129" y="218"/>
                      </a:lnTo>
                      <a:lnTo>
                        <a:pt x="129" y="213"/>
                      </a:lnTo>
                      <a:lnTo>
                        <a:pt x="129" y="210"/>
                      </a:lnTo>
                      <a:lnTo>
                        <a:pt x="129" y="205"/>
                      </a:lnTo>
                      <a:lnTo>
                        <a:pt x="129" y="202"/>
                      </a:lnTo>
                      <a:lnTo>
                        <a:pt x="129" y="197"/>
                      </a:lnTo>
                      <a:lnTo>
                        <a:pt x="129" y="194"/>
                      </a:lnTo>
                      <a:lnTo>
                        <a:pt x="129" y="191"/>
                      </a:lnTo>
                      <a:lnTo>
                        <a:pt x="129" y="189"/>
                      </a:lnTo>
                      <a:lnTo>
                        <a:pt x="129" y="186"/>
                      </a:lnTo>
                      <a:lnTo>
                        <a:pt x="129" y="181"/>
                      </a:lnTo>
                      <a:lnTo>
                        <a:pt x="129" y="176"/>
                      </a:lnTo>
                      <a:lnTo>
                        <a:pt x="129" y="173"/>
                      </a:lnTo>
                      <a:lnTo>
                        <a:pt x="129" y="168"/>
                      </a:lnTo>
                      <a:lnTo>
                        <a:pt x="129" y="165"/>
                      </a:lnTo>
                      <a:lnTo>
                        <a:pt x="129" y="160"/>
                      </a:lnTo>
                      <a:lnTo>
                        <a:pt x="129" y="156"/>
                      </a:lnTo>
                      <a:lnTo>
                        <a:pt x="129" y="152"/>
                      </a:lnTo>
                      <a:lnTo>
                        <a:pt x="135" y="151"/>
                      </a:lnTo>
                      <a:lnTo>
                        <a:pt x="141" y="149"/>
                      </a:lnTo>
                      <a:lnTo>
                        <a:pt x="146" y="148"/>
                      </a:lnTo>
                      <a:lnTo>
                        <a:pt x="152" y="147"/>
                      </a:lnTo>
                      <a:lnTo>
                        <a:pt x="156" y="146"/>
                      </a:lnTo>
                      <a:lnTo>
                        <a:pt x="163" y="145"/>
                      </a:lnTo>
                      <a:lnTo>
                        <a:pt x="170" y="144"/>
                      </a:lnTo>
                      <a:lnTo>
                        <a:pt x="173" y="142"/>
                      </a:lnTo>
                      <a:lnTo>
                        <a:pt x="177" y="141"/>
                      </a:lnTo>
                      <a:lnTo>
                        <a:pt x="178" y="141"/>
                      </a:lnTo>
                      <a:lnTo>
                        <a:pt x="180" y="140"/>
                      </a:lnTo>
                      <a:lnTo>
                        <a:pt x="183" y="138"/>
                      </a:lnTo>
                      <a:lnTo>
                        <a:pt x="184" y="135"/>
                      </a:lnTo>
                      <a:lnTo>
                        <a:pt x="186" y="134"/>
                      </a:lnTo>
                      <a:lnTo>
                        <a:pt x="188" y="132"/>
                      </a:lnTo>
                      <a:lnTo>
                        <a:pt x="191" y="131"/>
                      </a:lnTo>
                      <a:lnTo>
                        <a:pt x="192" y="128"/>
                      </a:lnTo>
                      <a:lnTo>
                        <a:pt x="194" y="126"/>
                      </a:lnTo>
                      <a:lnTo>
                        <a:pt x="196" y="125"/>
                      </a:lnTo>
                      <a:lnTo>
                        <a:pt x="199" y="123"/>
                      </a:lnTo>
                      <a:lnTo>
                        <a:pt x="200" y="121"/>
                      </a:lnTo>
                      <a:lnTo>
                        <a:pt x="202" y="119"/>
                      </a:lnTo>
                      <a:lnTo>
                        <a:pt x="205" y="118"/>
                      </a:lnTo>
                      <a:lnTo>
                        <a:pt x="206" y="116"/>
                      </a:lnTo>
                      <a:lnTo>
                        <a:pt x="208" y="113"/>
                      </a:lnTo>
                      <a:lnTo>
                        <a:pt x="210" y="112"/>
                      </a:lnTo>
                      <a:lnTo>
                        <a:pt x="213" y="110"/>
                      </a:lnTo>
                      <a:lnTo>
                        <a:pt x="214" y="109"/>
                      </a:lnTo>
                      <a:lnTo>
                        <a:pt x="216" y="106"/>
                      </a:lnTo>
                      <a:lnTo>
                        <a:pt x="217" y="105"/>
                      </a:lnTo>
                      <a:lnTo>
                        <a:pt x="220" y="103"/>
                      </a:lnTo>
                      <a:lnTo>
                        <a:pt x="222" y="102"/>
                      </a:lnTo>
                      <a:lnTo>
                        <a:pt x="224" y="99"/>
                      </a:lnTo>
                      <a:lnTo>
                        <a:pt x="227" y="97"/>
                      </a:lnTo>
                      <a:lnTo>
                        <a:pt x="229" y="95"/>
                      </a:lnTo>
                      <a:lnTo>
                        <a:pt x="231" y="92"/>
                      </a:lnTo>
                      <a:lnTo>
                        <a:pt x="236" y="90"/>
                      </a:lnTo>
                      <a:lnTo>
                        <a:pt x="238" y="89"/>
                      </a:lnTo>
                      <a:lnTo>
                        <a:pt x="241" y="86"/>
                      </a:lnTo>
                      <a:lnTo>
                        <a:pt x="243" y="85"/>
                      </a:lnTo>
                      <a:lnTo>
                        <a:pt x="245" y="84"/>
                      </a:lnTo>
                      <a:lnTo>
                        <a:pt x="247" y="83"/>
                      </a:lnTo>
                      <a:lnTo>
                        <a:pt x="249" y="82"/>
                      </a:lnTo>
                      <a:lnTo>
                        <a:pt x="251" y="79"/>
                      </a:lnTo>
                      <a:lnTo>
                        <a:pt x="254" y="78"/>
                      </a:lnTo>
                      <a:lnTo>
                        <a:pt x="256" y="77"/>
                      </a:lnTo>
                      <a:lnTo>
                        <a:pt x="258" y="76"/>
                      </a:lnTo>
                      <a:lnTo>
                        <a:pt x="260" y="75"/>
                      </a:lnTo>
                      <a:lnTo>
                        <a:pt x="262" y="72"/>
                      </a:lnTo>
                      <a:lnTo>
                        <a:pt x="264" y="71"/>
                      </a:lnTo>
                      <a:lnTo>
                        <a:pt x="266" y="70"/>
                      </a:lnTo>
                      <a:lnTo>
                        <a:pt x="269" y="69"/>
                      </a:lnTo>
                      <a:lnTo>
                        <a:pt x="271" y="68"/>
                      </a:lnTo>
                      <a:lnTo>
                        <a:pt x="273" y="65"/>
                      </a:lnTo>
                      <a:lnTo>
                        <a:pt x="276" y="64"/>
                      </a:lnTo>
                      <a:lnTo>
                        <a:pt x="277" y="63"/>
                      </a:lnTo>
                      <a:lnTo>
                        <a:pt x="279" y="62"/>
                      </a:lnTo>
                      <a:lnTo>
                        <a:pt x="281" y="61"/>
                      </a:lnTo>
                      <a:lnTo>
                        <a:pt x="284" y="60"/>
                      </a:lnTo>
                      <a:lnTo>
                        <a:pt x="286" y="57"/>
                      </a:lnTo>
                      <a:lnTo>
                        <a:pt x="288" y="56"/>
                      </a:lnTo>
                      <a:lnTo>
                        <a:pt x="291" y="55"/>
                      </a:lnTo>
                      <a:lnTo>
                        <a:pt x="292" y="54"/>
                      </a:lnTo>
                      <a:lnTo>
                        <a:pt x="294" y="53"/>
                      </a:lnTo>
                      <a:lnTo>
                        <a:pt x="297" y="50"/>
                      </a:lnTo>
                      <a:lnTo>
                        <a:pt x="299" y="49"/>
                      </a:lnTo>
                      <a:lnTo>
                        <a:pt x="301" y="48"/>
                      </a:lnTo>
                      <a:lnTo>
                        <a:pt x="304" y="47"/>
                      </a:lnTo>
                      <a:lnTo>
                        <a:pt x="306" y="46"/>
                      </a:lnTo>
                      <a:lnTo>
                        <a:pt x="307" y="43"/>
                      </a:lnTo>
                      <a:lnTo>
                        <a:pt x="309" y="42"/>
                      </a:lnTo>
                      <a:lnTo>
                        <a:pt x="312" y="41"/>
                      </a:lnTo>
                      <a:lnTo>
                        <a:pt x="314" y="40"/>
                      </a:lnTo>
                      <a:lnTo>
                        <a:pt x="316" y="39"/>
                      </a:lnTo>
                      <a:lnTo>
                        <a:pt x="319" y="36"/>
                      </a:lnTo>
                      <a:lnTo>
                        <a:pt x="321" y="35"/>
                      </a:lnTo>
                      <a:lnTo>
                        <a:pt x="323" y="34"/>
                      </a:lnTo>
                      <a:lnTo>
                        <a:pt x="325" y="33"/>
                      </a:lnTo>
                      <a:lnTo>
                        <a:pt x="327" y="32"/>
                      </a:lnTo>
                      <a:lnTo>
                        <a:pt x="329" y="29"/>
                      </a:lnTo>
                      <a:lnTo>
                        <a:pt x="331" y="28"/>
                      </a:lnTo>
                      <a:lnTo>
                        <a:pt x="334" y="27"/>
                      </a:lnTo>
                      <a:lnTo>
                        <a:pt x="336" y="26"/>
                      </a:lnTo>
                      <a:lnTo>
                        <a:pt x="338" y="25"/>
                      </a:lnTo>
                      <a:lnTo>
                        <a:pt x="340" y="22"/>
                      </a:lnTo>
                      <a:lnTo>
                        <a:pt x="342" y="21"/>
                      </a:lnTo>
                      <a:lnTo>
                        <a:pt x="344" y="20"/>
                      </a:lnTo>
                      <a:lnTo>
                        <a:pt x="347" y="19"/>
                      </a:lnTo>
                      <a:lnTo>
                        <a:pt x="349" y="18"/>
                      </a:lnTo>
                      <a:lnTo>
                        <a:pt x="351" y="15"/>
                      </a:lnTo>
                      <a:lnTo>
                        <a:pt x="354" y="14"/>
                      </a:lnTo>
                      <a:lnTo>
                        <a:pt x="355" y="13"/>
                      </a:lnTo>
                      <a:lnTo>
                        <a:pt x="357" y="12"/>
                      </a:lnTo>
                      <a:lnTo>
                        <a:pt x="359" y="9"/>
                      </a:lnTo>
                      <a:lnTo>
                        <a:pt x="362" y="8"/>
                      </a:lnTo>
                      <a:lnTo>
                        <a:pt x="364" y="7"/>
                      </a:lnTo>
                      <a:lnTo>
                        <a:pt x="366" y="6"/>
                      </a:lnTo>
                      <a:lnTo>
                        <a:pt x="369" y="5"/>
                      </a:lnTo>
                      <a:lnTo>
                        <a:pt x="371" y="2"/>
                      </a:lnTo>
                      <a:lnTo>
                        <a:pt x="372" y="1"/>
                      </a:lnTo>
                      <a:lnTo>
                        <a:pt x="375" y="0"/>
                      </a:lnTo>
                      <a:lnTo>
                        <a:pt x="378" y="1"/>
                      </a:lnTo>
                      <a:lnTo>
                        <a:pt x="380" y="1"/>
                      </a:lnTo>
                      <a:lnTo>
                        <a:pt x="384" y="2"/>
                      </a:lnTo>
                      <a:lnTo>
                        <a:pt x="386" y="2"/>
                      </a:lnTo>
                      <a:lnTo>
                        <a:pt x="389" y="4"/>
                      </a:lnTo>
                      <a:lnTo>
                        <a:pt x="392" y="4"/>
                      </a:lnTo>
                      <a:lnTo>
                        <a:pt x="394" y="5"/>
                      </a:lnTo>
                      <a:lnTo>
                        <a:pt x="398" y="6"/>
                      </a:lnTo>
                      <a:lnTo>
                        <a:pt x="400" y="6"/>
                      </a:lnTo>
                      <a:lnTo>
                        <a:pt x="404" y="7"/>
                      </a:lnTo>
                      <a:lnTo>
                        <a:pt x="406" y="7"/>
                      </a:lnTo>
                      <a:lnTo>
                        <a:pt x="408" y="8"/>
                      </a:lnTo>
                      <a:lnTo>
                        <a:pt x="412" y="8"/>
                      </a:lnTo>
                      <a:lnTo>
                        <a:pt x="414" y="9"/>
                      </a:lnTo>
                      <a:lnTo>
                        <a:pt x="418" y="11"/>
                      </a:lnTo>
                      <a:lnTo>
                        <a:pt x="420" y="11"/>
                      </a:lnTo>
                      <a:lnTo>
                        <a:pt x="423" y="12"/>
                      </a:lnTo>
                      <a:lnTo>
                        <a:pt x="427" y="14"/>
                      </a:lnTo>
                      <a:lnTo>
                        <a:pt x="429" y="15"/>
                      </a:lnTo>
                      <a:lnTo>
                        <a:pt x="433" y="19"/>
                      </a:lnTo>
                      <a:lnTo>
                        <a:pt x="437" y="22"/>
                      </a:lnTo>
                      <a:lnTo>
                        <a:pt x="441" y="26"/>
                      </a:lnTo>
                      <a:lnTo>
                        <a:pt x="446" y="29"/>
                      </a:lnTo>
                      <a:lnTo>
                        <a:pt x="447" y="30"/>
                      </a:lnTo>
                      <a:lnTo>
                        <a:pt x="448" y="30"/>
                      </a:lnTo>
                      <a:lnTo>
                        <a:pt x="449" y="29"/>
                      </a:lnTo>
                      <a:lnTo>
                        <a:pt x="455" y="27"/>
                      </a:lnTo>
                      <a:lnTo>
                        <a:pt x="461" y="23"/>
                      </a:lnTo>
                      <a:lnTo>
                        <a:pt x="465" y="21"/>
                      </a:lnTo>
                      <a:lnTo>
                        <a:pt x="471" y="18"/>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3" name="Freeform 109">
                  <a:extLst>
                    <a:ext uri="{FF2B5EF4-FFF2-40B4-BE49-F238E27FC236}">
                      <a16:creationId xmlns:a16="http://schemas.microsoft.com/office/drawing/2014/main" id="{DBC9EF6C-D8A1-ACC2-1EE0-6FD257914CB2}"/>
                    </a:ext>
                  </a:extLst>
                </p:cNvPr>
                <p:cNvSpPr>
                  <a:spLocks/>
                </p:cNvSpPr>
                <p:nvPr/>
              </p:nvSpPr>
              <p:spPr bwMode="auto">
                <a:xfrm>
                  <a:off x="5629819" y="2817485"/>
                  <a:ext cx="287741" cy="267188"/>
                </a:xfrm>
                <a:custGeom>
                  <a:avLst/>
                  <a:gdLst>
                    <a:gd name="T0" fmla="*/ 265 w 266"/>
                    <a:gd name="T1" fmla="*/ 14 h 247"/>
                    <a:gd name="T2" fmla="*/ 265 w 266"/>
                    <a:gd name="T3" fmla="*/ 25 h 247"/>
                    <a:gd name="T4" fmla="*/ 266 w 266"/>
                    <a:gd name="T5" fmla="*/ 44 h 247"/>
                    <a:gd name="T6" fmla="*/ 266 w 266"/>
                    <a:gd name="T7" fmla="*/ 57 h 247"/>
                    <a:gd name="T8" fmla="*/ 263 w 266"/>
                    <a:gd name="T9" fmla="*/ 61 h 247"/>
                    <a:gd name="T10" fmla="*/ 247 w 266"/>
                    <a:gd name="T11" fmla="*/ 61 h 247"/>
                    <a:gd name="T12" fmla="*/ 230 w 266"/>
                    <a:gd name="T13" fmla="*/ 61 h 247"/>
                    <a:gd name="T14" fmla="*/ 214 w 266"/>
                    <a:gd name="T15" fmla="*/ 61 h 247"/>
                    <a:gd name="T16" fmla="*/ 198 w 266"/>
                    <a:gd name="T17" fmla="*/ 62 h 247"/>
                    <a:gd name="T18" fmla="*/ 183 w 266"/>
                    <a:gd name="T19" fmla="*/ 62 h 247"/>
                    <a:gd name="T20" fmla="*/ 166 w 266"/>
                    <a:gd name="T21" fmla="*/ 62 h 247"/>
                    <a:gd name="T22" fmla="*/ 159 w 266"/>
                    <a:gd name="T23" fmla="*/ 70 h 247"/>
                    <a:gd name="T24" fmla="*/ 159 w 266"/>
                    <a:gd name="T25" fmla="*/ 83 h 247"/>
                    <a:gd name="T26" fmla="*/ 161 w 266"/>
                    <a:gd name="T27" fmla="*/ 97 h 247"/>
                    <a:gd name="T28" fmla="*/ 161 w 266"/>
                    <a:gd name="T29" fmla="*/ 110 h 247"/>
                    <a:gd name="T30" fmla="*/ 161 w 266"/>
                    <a:gd name="T31" fmla="*/ 124 h 247"/>
                    <a:gd name="T32" fmla="*/ 161 w 266"/>
                    <a:gd name="T33" fmla="*/ 137 h 247"/>
                    <a:gd name="T34" fmla="*/ 161 w 266"/>
                    <a:gd name="T35" fmla="*/ 149 h 247"/>
                    <a:gd name="T36" fmla="*/ 149 w 266"/>
                    <a:gd name="T37" fmla="*/ 156 h 247"/>
                    <a:gd name="T38" fmla="*/ 133 w 266"/>
                    <a:gd name="T39" fmla="*/ 165 h 247"/>
                    <a:gd name="T40" fmla="*/ 124 w 266"/>
                    <a:gd name="T41" fmla="*/ 174 h 247"/>
                    <a:gd name="T42" fmla="*/ 128 w 266"/>
                    <a:gd name="T43" fmla="*/ 194 h 247"/>
                    <a:gd name="T44" fmla="*/ 126 w 266"/>
                    <a:gd name="T45" fmla="*/ 225 h 247"/>
                    <a:gd name="T46" fmla="*/ 99 w 266"/>
                    <a:gd name="T47" fmla="*/ 225 h 247"/>
                    <a:gd name="T48" fmla="*/ 56 w 266"/>
                    <a:gd name="T49" fmla="*/ 226 h 247"/>
                    <a:gd name="T50" fmla="*/ 13 w 266"/>
                    <a:gd name="T51" fmla="*/ 228 h 247"/>
                    <a:gd name="T52" fmla="*/ 3 w 266"/>
                    <a:gd name="T53" fmla="*/ 231 h 247"/>
                    <a:gd name="T54" fmla="*/ 1 w 266"/>
                    <a:gd name="T55" fmla="*/ 243 h 247"/>
                    <a:gd name="T56" fmla="*/ 0 w 266"/>
                    <a:gd name="T57" fmla="*/ 243 h 247"/>
                    <a:gd name="T58" fmla="*/ 1 w 266"/>
                    <a:gd name="T59" fmla="*/ 238 h 247"/>
                    <a:gd name="T60" fmla="*/ 5 w 266"/>
                    <a:gd name="T61" fmla="*/ 224 h 247"/>
                    <a:gd name="T62" fmla="*/ 37 w 266"/>
                    <a:gd name="T63" fmla="*/ 221 h 247"/>
                    <a:gd name="T64" fmla="*/ 62 w 266"/>
                    <a:gd name="T65" fmla="*/ 223 h 247"/>
                    <a:gd name="T66" fmla="*/ 78 w 266"/>
                    <a:gd name="T67" fmla="*/ 214 h 247"/>
                    <a:gd name="T68" fmla="*/ 81 w 266"/>
                    <a:gd name="T69" fmla="*/ 203 h 247"/>
                    <a:gd name="T70" fmla="*/ 90 w 266"/>
                    <a:gd name="T71" fmla="*/ 195 h 247"/>
                    <a:gd name="T72" fmla="*/ 93 w 266"/>
                    <a:gd name="T73" fmla="*/ 176 h 247"/>
                    <a:gd name="T74" fmla="*/ 97 w 266"/>
                    <a:gd name="T75" fmla="*/ 154 h 247"/>
                    <a:gd name="T76" fmla="*/ 105 w 266"/>
                    <a:gd name="T77" fmla="*/ 140 h 247"/>
                    <a:gd name="T78" fmla="*/ 120 w 266"/>
                    <a:gd name="T79" fmla="*/ 134 h 247"/>
                    <a:gd name="T80" fmla="*/ 127 w 266"/>
                    <a:gd name="T81" fmla="*/ 119 h 247"/>
                    <a:gd name="T82" fmla="*/ 135 w 266"/>
                    <a:gd name="T83" fmla="*/ 113 h 247"/>
                    <a:gd name="T84" fmla="*/ 147 w 266"/>
                    <a:gd name="T85" fmla="*/ 104 h 247"/>
                    <a:gd name="T86" fmla="*/ 152 w 266"/>
                    <a:gd name="T87" fmla="*/ 83 h 247"/>
                    <a:gd name="T88" fmla="*/ 157 w 266"/>
                    <a:gd name="T89" fmla="*/ 67 h 247"/>
                    <a:gd name="T90" fmla="*/ 159 w 266"/>
                    <a:gd name="T91" fmla="*/ 61 h 247"/>
                    <a:gd name="T92" fmla="*/ 170 w 266"/>
                    <a:gd name="T93" fmla="*/ 56 h 247"/>
                    <a:gd name="T94" fmla="*/ 176 w 266"/>
                    <a:gd name="T95" fmla="*/ 44 h 247"/>
                    <a:gd name="T96" fmla="*/ 181 w 266"/>
                    <a:gd name="T97" fmla="*/ 35 h 247"/>
                    <a:gd name="T98" fmla="*/ 190 w 266"/>
                    <a:gd name="T99" fmla="*/ 27 h 247"/>
                    <a:gd name="T100" fmla="*/ 206 w 266"/>
                    <a:gd name="T101" fmla="*/ 26 h 247"/>
                    <a:gd name="T102" fmla="*/ 220 w 266"/>
                    <a:gd name="T103" fmla="*/ 29 h 247"/>
                    <a:gd name="T104" fmla="*/ 229 w 266"/>
                    <a:gd name="T105" fmla="*/ 30 h 247"/>
                    <a:gd name="T106" fmla="*/ 242 w 266"/>
                    <a:gd name="T107" fmla="*/ 21 h 247"/>
                    <a:gd name="T108" fmla="*/ 256 w 266"/>
                    <a:gd name="T109" fmla="*/ 21 h 247"/>
                    <a:gd name="T110" fmla="*/ 263 w 266"/>
                    <a:gd name="T111" fmla="*/ 15 h 247"/>
                    <a:gd name="T112" fmla="*/ 262 w 266"/>
                    <a:gd name="T113" fmla="*/ 5 h 247"/>
                    <a:gd name="T114" fmla="*/ 261 w 266"/>
                    <a:gd name="T115"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6" h="247">
                      <a:moveTo>
                        <a:pt x="265" y="0"/>
                      </a:moveTo>
                      <a:lnTo>
                        <a:pt x="265" y="4"/>
                      </a:lnTo>
                      <a:lnTo>
                        <a:pt x="265" y="7"/>
                      </a:lnTo>
                      <a:lnTo>
                        <a:pt x="265" y="11"/>
                      </a:lnTo>
                      <a:lnTo>
                        <a:pt x="265" y="14"/>
                      </a:lnTo>
                      <a:lnTo>
                        <a:pt x="265" y="14"/>
                      </a:lnTo>
                      <a:lnTo>
                        <a:pt x="265" y="16"/>
                      </a:lnTo>
                      <a:lnTo>
                        <a:pt x="265" y="18"/>
                      </a:lnTo>
                      <a:lnTo>
                        <a:pt x="265" y="21"/>
                      </a:lnTo>
                      <a:lnTo>
                        <a:pt x="265" y="25"/>
                      </a:lnTo>
                      <a:lnTo>
                        <a:pt x="265" y="28"/>
                      </a:lnTo>
                      <a:lnTo>
                        <a:pt x="266" y="32"/>
                      </a:lnTo>
                      <a:lnTo>
                        <a:pt x="266" y="36"/>
                      </a:lnTo>
                      <a:lnTo>
                        <a:pt x="266" y="40"/>
                      </a:lnTo>
                      <a:lnTo>
                        <a:pt x="266" y="44"/>
                      </a:lnTo>
                      <a:lnTo>
                        <a:pt x="266" y="48"/>
                      </a:lnTo>
                      <a:lnTo>
                        <a:pt x="266" y="51"/>
                      </a:lnTo>
                      <a:lnTo>
                        <a:pt x="266" y="54"/>
                      </a:lnTo>
                      <a:lnTo>
                        <a:pt x="266" y="56"/>
                      </a:lnTo>
                      <a:lnTo>
                        <a:pt x="266" y="57"/>
                      </a:lnTo>
                      <a:lnTo>
                        <a:pt x="266" y="58"/>
                      </a:lnTo>
                      <a:lnTo>
                        <a:pt x="266" y="60"/>
                      </a:lnTo>
                      <a:lnTo>
                        <a:pt x="266" y="60"/>
                      </a:lnTo>
                      <a:lnTo>
                        <a:pt x="265" y="61"/>
                      </a:lnTo>
                      <a:lnTo>
                        <a:pt x="263" y="61"/>
                      </a:lnTo>
                      <a:lnTo>
                        <a:pt x="259" y="61"/>
                      </a:lnTo>
                      <a:lnTo>
                        <a:pt x="256" y="61"/>
                      </a:lnTo>
                      <a:lnTo>
                        <a:pt x="254" y="61"/>
                      </a:lnTo>
                      <a:lnTo>
                        <a:pt x="250" y="61"/>
                      </a:lnTo>
                      <a:lnTo>
                        <a:pt x="247" y="61"/>
                      </a:lnTo>
                      <a:lnTo>
                        <a:pt x="243" y="61"/>
                      </a:lnTo>
                      <a:lnTo>
                        <a:pt x="240" y="61"/>
                      </a:lnTo>
                      <a:lnTo>
                        <a:pt x="237" y="61"/>
                      </a:lnTo>
                      <a:lnTo>
                        <a:pt x="234" y="61"/>
                      </a:lnTo>
                      <a:lnTo>
                        <a:pt x="230" y="61"/>
                      </a:lnTo>
                      <a:lnTo>
                        <a:pt x="227" y="61"/>
                      </a:lnTo>
                      <a:lnTo>
                        <a:pt x="225" y="61"/>
                      </a:lnTo>
                      <a:lnTo>
                        <a:pt x="221" y="61"/>
                      </a:lnTo>
                      <a:lnTo>
                        <a:pt x="218" y="61"/>
                      </a:lnTo>
                      <a:lnTo>
                        <a:pt x="214" y="61"/>
                      </a:lnTo>
                      <a:lnTo>
                        <a:pt x="211" y="61"/>
                      </a:lnTo>
                      <a:lnTo>
                        <a:pt x="208" y="61"/>
                      </a:lnTo>
                      <a:lnTo>
                        <a:pt x="205" y="61"/>
                      </a:lnTo>
                      <a:lnTo>
                        <a:pt x="201" y="61"/>
                      </a:lnTo>
                      <a:lnTo>
                        <a:pt x="198" y="62"/>
                      </a:lnTo>
                      <a:lnTo>
                        <a:pt x="195" y="62"/>
                      </a:lnTo>
                      <a:lnTo>
                        <a:pt x="192" y="62"/>
                      </a:lnTo>
                      <a:lnTo>
                        <a:pt x="188" y="62"/>
                      </a:lnTo>
                      <a:lnTo>
                        <a:pt x="185" y="62"/>
                      </a:lnTo>
                      <a:lnTo>
                        <a:pt x="183" y="62"/>
                      </a:lnTo>
                      <a:lnTo>
                        <a:pt x="179" y="62"/>
                      </a:lnTo>
                      <a:lnTo>
                        <a:pt x="176" y="62"/>
                      </a:lnTo>
                      <a:lnTo>
                        <a:pt x="172" y="62"/>
                      </a:lnTo>
                      <a:lnTo>
                        <a:pt x="169" y="62"/>
                      </a:lnTo>
                      <a:lnTo>
                        <a:pt x="166" y="62"/>
                      </a:lnTo>
                      <a:lnTo>
                        <a:pt x="163" y="62"/>
                      </a:lnTo>
                      <a:lnTo>
                        <a:pt x="159" y="62"/>
                      </a:lnTo>
                      <a:lnTo>
                        <a:pt x="159" y="64"/>
                      </a:lnTo>
                      <a:lnTo>
                        <a:pt x="159" y="68"/>
                      </a:lnTo>
                      <a:lnTo>
                        <a:pt x="159" y="70"/>
                      </a:lnTo>
                      <a:lnTo>
                        <a:pt x="159" y="72"/>
                      </a:lnTo>
                      <a:lnTo>
                        <a:pt x="159" y="76"/>
                      </a:lnTo>
                      <a:lnTo>
                        <a:pt x="159" y="78"/>
                      </a:lnTo>
                      <a:lnTo>
                        <a:pt x="159" y="81"/>
                      </a:lnTo>
                      <a:lnTo>
                        <a:pt x="159" y="83"/>
                      </a:lnTo>
                      <a:lnTo>
                        <a:pt x="159" y="86"/>
                      </a:lnTo>
                      <a:lnTo>
                        <a:pt x="159" y="89"/>
                      </a:lnTo>
                      <a:lnTo>
                        <a:pt x="161" y="91"/>
                      </a:lnTo>
                      <a:lnTo>
                        <a:pt x="161" y="95"/>
                      </a:lnTo>
                      <a:lnTo>
                        <a:pt x="161" y="97"/>
                      </a:lnTo>
                      <a:lnTo>
                        <a:pt x="161" y="99"/>
                      </a:lnTo>
                      <a:lnTo>
                        <a:pt x="161" y="102"/>
                      </a:lnTo>
                      <a:lnTo>
                        <a:pt x="161" y="105"/>
                      </a:lnTo>
                      <a:lnTo>
                        <a:pt x="161" y="107"/>
                      </a:lnTo>
                      <a:lnTo>
                        <a:pt x="161" y="110"/>
                      </a:lnTo>
                      <a:lnTo>
                        <a:pt x="161" y="113"/>
                      </a:lnTo>
                      <a:lnTo>
                        <a:pt x="161" y="116"/>
                      </a:lnTo>
                      <a:lnTo>
                        <a:pt x="161" y="118"/>
                      </a:lnTo>
                      <a:lnTo>
                        <a:pt x="161" y="120"/>
                      </a:lnTo>
                      <a:lnTo>
                        <a:pt x="161" y="124"/>
                      </a:lnTo>
                      <a:lnTo>
                        <a:pt x="161" y="126"/>
                      </a:lnTo>
                      <a:lnTo>
                        <a:pt x="161" y="128"/>
                      </a:lnTo>
                      <a:lnTo>
                        <a:pt x="161" y="131"/>
                      </a:lnTo>
                      <a:lnTo>
                        <a:pt x="161" y="134"/>
                      </a:lnTo>
                      <a:lnTo>
                        <a:pt x="161" y="137"/>
                      </a:lnTo>
                      <a:lnTo>
                        <a:pt x="161" y="139"/>
                      </a:lnTo>
                      <a:lnTo>
                        <a:pt x="161" y="142"/>
                      </a:lnTo>
                      <a:lnTo>
                        <a:pt x="161" y="145"/>
                      </a:lnTo>
                      <a:lnTo>
                        <a:pt x="161" y="147"/>
                      </a:lnTo>
                      <a:lnTo>
                        <a:pt x="161" y="149"/>
                      </a:lnTo>
                      <a:lnTo>
                        <a:pt x="161" y="151"/>
                      </a:lnTo>
                      <a:lnTo>
                        <a:pt x="161" y="152"/>
                      </a:lnTo>
                      <a:lnTo>
                        <a:pt x="157" y="153"/>
                      </a:lnTo>
                      <a:lnTo>
                        <a:pt x="150" y="156"/>
                      </a:lnTo>
                      <a:lnTo>
                        <a:pt x="149" y="156"/>
                      </a:lnTo>
                      <a:lnTo>
                        <a:pt x="144" y="158"/>
                      </a:lnTo>
                      <a:lnTo>
                        <a:pt x="142" y="158"/>
                      </a:lnTo>
                      <a:lnTo>
                        <a:pt x="140" y="160"/>
                      </a:lnTo>
                      <a:lnTo>
                        <a:pt x="136" y="162"/>
                      </a:lnTo>
                      <a:lnTo>
                        <a:pt x="133" y="165"/>
                      </a:lnTo>
                      <a:lnTo>
                        <a:pt x="129" y="167"/>
                      </a:lnTo>
                      <a:lnTo>
                        <a:pt x="129" y="168"/>
                      </a:lnTo>
                      <a:lnTo>
                        <a:pt x="129" y="168"/>
                      </a:lnTo>
                      <a:lnTo>
                        <a:pt x="126" y="172"/>
                      </a:lnTo>
                      <a:lnTo>
                        <a:pt x="124" y="174"/>
                      </a:lnTo>
                      <a:lnTo>
                        <a:pt x="124" y="176"/>
                      </a:lnTo>
                      <a:lnTo>
                        <a:pt x="124" y="179"/>
                      </a:lnTo>
                      <a:lnTo>
                        <a:pt x="127" y="183"/>
                      </a:lnTo>
                      <a:lnTo>
                        <a:pt x="127" y="186"/>
                      </a:lnTo>
                      <a:lnTo>
                        <a:pt x="128" y="194"/>
                      </a:lnTo>
                      <a:lnTo>
                        <a:pt x="128" y="202"/>
                      </a:lnTo>
                      <a:lnTo>
                        <a:pt x="129" y="217"/>
                      </a:lnTo>
                      <a:lnTo>
                        <a:pt x="130" y="219"/>
                      </a:lnTo>
                      <a:lnTo>
                        <a:pt x="130" y="225"/>
                      </a:lnTo>
                      <a:lnTo>
                        <a:pt x="126" y="225"/>
                      </a:lnTo>
                      <a:lnTo>
                        <a:pt x="124" y="225"/>
                      </a:lnTo>
                      <a:lnTo>
                        <a:pt x="121" y="225"/>
                      </a:lnTo>
                      <a:lnTo>
                        <a:pt x="115" y="225"/>
                      </a:lnTo>
                      <a:lnTo>
                        <a:pt x="107" y="225"/>
                      </a:lnTo>
                      <a:lnTo>
                        <a:pt x="99" y="225"/>
                      </a:lnTo>
                      <a:lnTo>
                        <a:pt x="90" y="225"/>
                      </a:lnTo>
                      <a:lnTo>
                        <a:pt x="88" y="226"/>
                      </a:lnTo>
                      <a:lnTo>
                        <a:pt x="78" y="226"/>
                      </a:lnTo>
                      <a:lnTo>
                        <a:pt x="66" y="226"/>
                      </a:lnTo>
                      <a:lnTo>
                        <a:pt x="56" y="226"/>
                      </a:lnTo>
                      <a:lnTo>
                        <a:pt x="45" y="226"/>
                      </a:lnTo>
                      <a:lnTo>
                        <a:pt x="35" y="226"/>
                      </a:lnTo>
                      <a:lnTo>
                        <a:pt x="27" y="228"/>
                      </a:lnTo>
                      <a:lnTo>
                        <a:pt x="19" y="228"/>
                      </a:lnTo>
                      <a:lnTo>
                        <a:pt x="13" y="228"/>
                      </a:lnTo>
                      <a:lnTo>
                        <a:pt x="9" y="228"/>
                      </a:lnTo>
                      <a:lnTo>
                        <a:pt x="8" y="228"/>
                      </a:lnTo>
                      <a:lnTo>
                        <a:pt x="5" y="228"/>
                      </a:lnTo>
                      <a:lnTo>
                        <a:pt x="3" y="228"/>
                      </a:lnTo>
                      <a:lnTo>
                        <a:pt x="3" y="231"/>
                      </a:lnTo>
                      <a:lnTo>
                        <a:pt x="3" y="235"/>
                      </a:lnTo>
                      <a:lnTo>
                        <a:pt x="1" y="238"/>
                      </a:lnTo>
                      <a:lnTo>
                        <a:pt x="1" y="239"/>
                      </a:lnTo>
                      <a:lnTo>
                        <a:pt x="1" y="243"/>
                      </a:lnTo>
                      <a:lnTo>
                        <a:pt x="1" y="243"/>
                      </a:lnTo>
                      <a:lnTo>
                        <a:pt x="1" y="247"/>
                      </a:lnTo>
                      <a:lnTo>
                        <a:pt x="1" y="246"/>
                      </a:lnTo>
                      <a:lnTo>
                        <a:pt x="0" y="244"/>
                      </a:lnTo>
                      <a:lnTo>
                        <a:pt x="0" y="244"/>
                      </a:lnTo>
                      <a:lnTo>
                        <a:pt x="0" y="243"/>
                      </a:lnTo>
                      <a:lnTo>
                        <a:pt x="0" y="243"/>
                      </a:lnTo>
                      <a:lnTo>
                        <a:pt x="0" y="242"/>
                      </a:lnTo>
                      <a:lnTo>
                        <a:pt x="0" y="240"/>
                      </a:lnTo>
                      <a:lnTo>
                        <a:pt x="0" y="239"/>
                      </a:lnTo>
                      <a:lnTo>
                        <a:pt x="1" y="238"/>
                      </a:lnTo>
                      <a:lnTo>
                        <a:pt x="2" y="228"/>
                      </a:lnTo>
                      <a:lnTo>
                        <a:pt x="2" y="226"/>
                      </a:lnTo>
                      <a:lnTo>
                        <a:pt x="2" y="226"/>
                      </a:lnTo>
                      <a:lnTo>
                        <a:pt x="2" y="224"/>
                      </a:lnTo>
                      <a:lnTo>
                        <a:pt x="5" y="224"/>
                      </a:lnTo>
                      <a:lnTo>
                        <a:pt x="12" y="223"/>
                      </a:lnTo>
                      <a:lnTo>
                        <a:pt x="16" y="222"/>
                      </a:lnTo>
                      <a:lnTo>
                        <a:pt x="29" y="222"/>
                      </a:lnTo>
                      <a:lnTo>
                        <a:pt x="34" y="222"/>
                      </a:lnTo>
                      <a:lnTo>
                        <a:pt x="37" y="221"/>
                      </a:lnTo>
                      <a:lnTo>
                        <a:pt x="43" y="222"/>
                      </a:lnTo>
                      <a:lnTo>
                        <a:pt x="48" y="222"/>
                      </a:lnTo>
                      <a:lnTo>
                        <a:pt x="52" y="223"/>
                      </a:lnTo>
                      <a:lnTo>
                        <a:pt x="57" y="223"/>
                      </a:lnTo>
                      <a:lnTo>
                        <a:pt x="62" y="223"/>
                      </a:lnTo>
                      <a:lnTo>
                        <a:pt x="67" y="223"/>
                      </a:lnTo>
                      <a:lnTo>
                        <a:pt x="72" y="222"/>
                      </a:lnTo>
                      <a:lnTo>
                        <a:pt x="74" y="221"/>
                      </a:lnTo>
                      <a:lnTo>
                        <a:pt x="77" y="217"/>
                      </a:lnTo>
                      <a:lnTo>
                        <a:pt x="78" y="214"/>
                      </a:lnTo>
                      <a:lnTo>
                        <a:pt x="79" y="211"/>
                      </a:lnTo>
                      <a:lnTo>
                        <a:pt x="79" y="209"/>
                      </a:lnTo>
                      <a:lnTo>
                        <a:pt x="78" y="208"/>
                      </a:lnTo>
                      <a:lnTo>
                        <a:pt x="80" y="207"/>
                      </a:lnTo>
                      <a:lnTo>
                        <a:pt x="81" y="203"/>
                      </a:lnTo>
                      <a:lnTo>
                        <a:pt x="84" y="202"/>
                      </a:lnTo>
                      <a:lnTo>
                        <a:pt x="84" y="201"/>
                      </a:lnTo>
                      <a:lnTo>
                        <a:pt x="86" y="198"/>
                      </a:lnTo>
                      <a:lnTo>
                        <a:pt x="88" y="196"/>
                      </a:lnTo>
                      <a:lnTo>
                        <a:pt x="90" y="195"/>
                      </a:lnTo>
                      <a:lnTo>
                        <a:pt x="91" y="193"/>
                      </a:lnTo>
                      <a:lnTo>
                        <a:pt x="92" y="190"/>
                      </a:lnTo>
                      <a:lnTo>
                        <a:pt x="92" y="188"/>
                      </a:lnTo>
                      <a:lnTo>
                        <a:pt x="92" y="182"/>
                      </a:lnTo>
                      <a:lnTo>
                        <a:pt x="93" y="176"/>
                      </a:lnTo>
                      <a:lnTo>
                        <a:pt x="93" y="173"/>
                      </a:lnTo>
                      <a:lnTo>
                        <a:pt x="94" y="169"/>
                      </a:lnTo>
                      <a:lnTo>
                        <a:pt x="94" y="165"/>
                      </a:lnTo>
                      <a:lnTo>
                        <a:pt x="97" y="156"/>
                      </a:lnTo>
                      <a:lnTo>
                        <a:pt x="97" y="154"/>
                      </a:lnTo>
                      <a:lnTo>
                        <a:pt x="98" y="151"/>
                      </a:lnTo>
                      <a:lnTo>
                        <a:pt x="100" y="147"/>
                      </a:lnTo>
                      <a:lnTo>
                        <a:pt x="101" y="145"/>
                      </a:lnTo>
                      <a:lnTo>
                        <a:pt x="102" y="142"/>
                      </a:lnTo>
                      <a:lnTo>
                        <a:pt x="105" y="140"/>
                      </a:lnTo>
                      <a:lnTo>
                        <a:pt x="108" y="139"/>
                      </a:lnTo>
                      <a:lnTo>
                        <a:pt x="110" y="138"/>
                      </a:lnTo>
                      <a:lnTo>
                        <a:pt x="114" y="137"/>
                      </a:lnTo>
                      <a:lnTo>
                        <a:pt x="116" y="135"/>
                      </a:lnTo>
                      <a:lnTo>
                        <a:pt x="120" y="134"/>
                      </a:lnTo>
                      <a:lnTo>
                        <a:pt x="120" y="132"/>
                      </a:lnTo>
                      <a:lnTo>
                        <a:pt x="122" y="130"/>
                      </a:lnTo>
                      <a:lnTo>
                        <a:pt x="124" y="125"/>
                      </a:lnTo>
                      <a:lnTo>
                        <a:pt x="126" y="123"/>
                      </a:lnTo>
                      <a:lnTo>
                        <a:pt x="127" y="119"/>
                      </a:lnTo>
                      <a:lnTo>
                        <a:pt x="129" y="117"/>
                      </a:lnTo>
                      <a:lnTo>
                        <a:pt x="130" y="116"/>
                      </a:lnTo>
                      <a:lnTo>
                        <a:pt x="130" y="116"/>
                      </a:lnTo>
                      <a:lnTo>
                        <a:pt x="131" y="114"/>
                      </a:lnTo>
                      <a:lnTo>
                        <a:pt x="135" y="113"/>
                      </a:lnTo>
                      <a:lnTo>
                        <a:pt x="138" y="111"/>
                      </a:lnTo>
                      <a:lnTo>
                        <a:pt x="141" y="109"/>
                      </a:lnTo>
                      <a:lnTo>
                        <a:pt x="143" y="107"/>
                      </a:lnTo>
                      <a:lnTo>
                        <a:pt x="144" y="105"/>
                      </a:lnTo>
                      <a:lnTo>
                        <a:pt x="147" y="104"/>
                      </a:lnTo>
                      <a:lnTo>
                        <a:pt x="148" y="102"/>
                      </a:lnTo>
                      <a:lnTo>
                        <a:pt x="149" y="98"/>
                      </a:lnTo>
                      <a:lnTo>
                        <a:pt x="150" y="93"/>
                      </a:lnTo>
                      <a:lnTo>
                        <a:pt x="151" y="89"/>
                      </a:lnTo>
                      <a:lnTo>
                        <a:pt x="152" y="83"/>
                      </a:lnTo>
                      <a:lnTo>
                        <a:pt x="154" y="79"/>
                      </a:lnTo>
                      <a:lnTo>
                        <a:pt x="155" y="75"/>
                      </a:lnTo>
                      <a:lnTo>
                        <a:pt x="156" y="71"/>
                      </a:lnTo>
                      <a:lnTo>
                        <a:pt x="157" y="68"/>
                      </a:lnTo>
                      <a:lnTo>
                        <a:pt x="157" y="67"/>
                      </a:lnTo>
                      <a:lnTo>
                        <a:pt x="157" y="64"/>
                      </a:lnTo>
                      <a:lnTo>
                        <a:pt x="158" y="62"/>
                      </a:lnTo>
                      <a:lnTo>
                        <a:pt x="158" y="62"/>
                      </a:lnTo>
                      <a:lnTo>
                        <a:pt x="158" y="62"/>
                      </a:lnTo>
                      <a:lnTo>
                        <a:pt x="159" y="61"/>
                      </a:lnTo>
                      <a:lnTo>
                        <a:pt x="162" y="60"/>
                      </a:lnTo>
                      <a:lnTo>
                        <a:pt x="164" y="60"/>
                      </a:lnTo>
                      <a:lnTo>
                        <a:pt x="168" y="58"/>
                      </a:lnTo>
                      <a:lnTo>
                        <a:pt x="169" y="58"/>
                      </a:lnTo>
                      <a:lnTo>
                        <a:pt x="170" y="56"/>
                      </a:lnTo>
                      <a:lnTo>
                        <a:pt x="170" y="54"/>
                      </a:lnTo>
                      <a:lnTo>
                        <a:pt x="171" y="51"/>
                      </a:lnTo>
                      <a:lnTo>
                        <a:pt x="173" y="49"/>
                      </a:lnTo>
                      <a:lnTo>
                        <a:pt x="174" y="47"/>
                      </a:lnTo>
                      <a:lnTo>
                        <a:pt x="176" y="44"/>
                      </a:lnTo>
                      <a:lnTo>
                        <a:pt x="177" y="43"/>
                      </a:lnTo>
                      <a:lnTo>
                        <a:pt x="179" y="41"/>
                      </a:lnTo>
                      <a:lnTo>
                        <a:pt x="180" y="39"/>
                      </a:lnTo>
                      <a:lnTo>
                        <a:pt x="181" y="37"/>
                      </a:lnTo>
                      <a:lnTo>
                        <a:pt x="181" y="35"/>
                      </a:lnTo>
                      <a:lnTo>
                        <a:pt x="180" y="33"/>
                      </a:lnTo>
                      <a:lnTo>
                        <a:pt x="179" y="30"/>
                      </a:lnTo>
                      <a:lnTo>
                        <a:pt x="183" y="29"/>
                      </a:lnTo>
                      <a:lnTo>
                        <a:pt x="186" y="28"/>
                      </a:lnTo>
                      <a:lnTo>
                        <a:pt x="190" y="27"/>
                      </a:lnTo>
                      <a:lnTo>
                        <a:pt x="194" y="25"/>
                      </a:lnTo>
                      <a:lnTo>
                        <a:pt x="197" y="25"/>
                      </a:lnTo>
                      <a:lnTo>
                        <a:pt x="199" y="25"/>
                      </a:lnTo>
                      <a:lnTo>
                        <a:pt x="202" y="26"/>
                      </a:lnTo>
                      <a:lnTo>
                        <a:pt x="206" y="26"/>
                      </a:lnTo>
                      <a:lnTo>
                        <a:pt x="208" y="27"/>
                      </a:lnTo>
                      <a:lnTo>
                        <a:pt x="212" y="29"/>
                      </a:lnTo>
                      <a:lnTo>
                        <a:pt x="215" y="30"/>
                      </a:lnTo>
                      <a:lnTo>
                        <a:pt x="218" y="30"/>
                      </a:lnTo>
                      <a:lnTo>
                        <a:pt x="220" y="29"/>
                      </a:lnTo>
                      <a:lnTo>
                        <a:pt x="221" y="28"/>
                      </a:lnTo>
                      <a:lnTo>
                        <a:pt x="222" y="28"/>
                      </a:lnTo>
                      <a:lnTo>
                        <a:pt x="225" y="29"/>
                      </a:lnTo>
                      <a:lnTo>
                        <a:pt x="227" y="30"/>
                      </a:lnTo>
                      <a:lnTo>
                        <a:pt x="229" y="30"/>
                      </a:lnTo>
                      <a:lnTo>
                        <a:pt x="232" y="30"/>
                      </a:lnTo>
                      <a:lnTo>
                        <a:pt x="234" y="28"/>
                      </a:lnTo>
                      <a:lnTo>
                        <a:pt x="237" y="25"/>
                      </a:lnTo>
                      <a:lnTo>
                        <a:pt x="240" y="23"/>
                      </a:lnTo>
                      <a:lnTo>
                        <a:pt x="242" y="21"/>
                      </a:lnTo>
                      <a:lnTo>
                        <a:pt x="244" y="21"/>
                      </a:lnTo>
                      <a:lnTo>
                        <a:pt x="247" y="21"/>
                      </a:lnTo>
                      <a:lnTo>
                        <a:pt x="249" y="21"/>
                      </a:lnTo>
                      <a:lnTo>
                        <a:pt x="252" y="21"/>
                      </a:lnTo>
                      <a:lnTo>
                        <a:pt x="256" y="21"/>
                      </a:lnTo>
                      <a:lnTo>
                        <a:pt x="259" y="21"/>
                      </a:lnTo>
                      <a:lnTo>
                        <a:pt x="262" y="20"/>
                      </a:lnTo>
                      <a:lnTo>
                        <a:pt x="263" y="19"/>
                      </a:lnTo>
                      <a:lnTo>
                        <a:pt x="263" y="18"/>
                      </a:lnTo>
                      <a:lnTo>
                        <a:pt x="263" y="15"/>
                      </a:lnTo>
                      <a:lnTo>
                        <a:pt x="262" y="13"/>
                      </a:lnTo>
                      <a:lnTo>
                        <a:pt x="262" y="12"/>
                      </a:lnTo>
                      <a:lnTo>
                        <a:pt x="262" y="9"/>
                      </a:lnTo>
                      <a:lnTo>
                        <a:pt x="263" y="8"/>
                      </a:lnTo>
                      <a:lnTo>
                        <a:pt x="262" y="5"/>
                      </a:lnTo>
                      <a:lnTo>
                        <a:pt x="262" y="2"/>
                      </a:lnTo>
                      <a:lnTo>
                        <a:pt x="261" y="0"/>
                      </a:lnTo>
                      <a:lnTo>
                        <a:pt x="261" y="0"/>
                      </a:lnTo>
                      <a:lnTo>
                        <a:pt x="261" y="0"/>
                      </a:lnTo>
                      <a:lnTo>
                        <a:pt x="261" y="0"/>
                      </a:lnTo>
                      <a:lnTo>
                        <a:pt x="263" y="0"/>
                      </a:lnTo>
                      <a:lnTo>
                        <a:pt x="26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4" name="Freeform 110">
                  <a:extLst>
                    <a:ext uri="{FF2B5EF4-FFF2-40B4-BE49-F238E27FC236}">
                      <a16:creationId xmlns:a16="http://schemas.microsoft.com/office/drawing/2014/main" id="{A4C24CCF-D2D4-F2B6-719A-70DB61199643}"/>
                    </a:ext>
                  </a:extLst>
                </p:cNvPr>
                <p:cNvSpPr>
                  <a:spLocks noEditPoints="1"/>
                </p:cNvSpPr>
                <p:nvPr/>
              </p:nvSpPr>
              <p:spPr bwMode="auto">
                <a:xfrm>
                  <a:off x="6975495" y="3016524"/>
                  <a:ext cx="579809" cy="483534"/>
                </a:xfrm>
                <a:custGeom>
                  <a:avLst/>
                  <a:gdLst>
                    <a:gd name="T0" fmla="*/ 318 w 536"/>
                    <a:gd name="T1" fmla="*/ 7 h 447"/>
                    <a:gd name="T2" fmla="*/ 359 w 536"/>
                    <a:gd name="T3" fmla="*/ 9 h 447"/>
                    <a:gd name="T4" fmla="*/ 446 w 536"/>
                    <a:gd name="T5" fmla="*/ 9 h 447"/>
                    <a:gd name="T6" fmla="*/ 483 w 536"/>
                    <a:gd name="T7" fmla="*/ 20 h 447"/>
                    <a:gd name="T8" fmla="*/ 493 w 536"/>
                    <a:gd name="T9" fmla="*/ 40 h 447"/>
                    <a:gd name="T10" fmla="*/ 489 w 536"/>
                    <a:gd name="T11" fmla="*/ 37 h 447"/>
                    <a:gd name="T12" fmla="*/ 493 w 536"/>
                    <a:gd name="T13" fmla="*/ 60 h 447"/>
                    <a:gd name="T14" fmla="*/ 492 w 536"/>
                    <a:gd name="T15" fmla="*/ 75 h 447"/>
                    <a:gd name="T16" fmla="*/ 496 w 536"/>
                    <a:gd name="T17" fmla="*/ 105 h 447"/>
                    <a:gd name="T18" fmla="*/ 504 w 536"/>
                    <a:gd name="T19" fmla="*/ 121 h 447"/>
                    <a:gd name="T20" fmla="*/ 519 w 536"/>
                    <a:gd name="T21" fmla="*/ 129 h 447"/>
                    <a:gd name="T22" fmla="*/ 526 w 536"/>
                    <a:gd name="T23" fmla="*/ 136 h 447"/>
                    <a:gd name="T24" fmla="*/ 533 w 536"/>
                    <a:gd name="T25" fmla="*/ 140 h 447"/>
                    <a:gd name="T26" fmla="*/ 527 w 536"/>
                    <a:gd name="T27" fmla="*/ 157 h 447"/>
                    <a:gd name="T28" fmla="*/ 518 w 536"/>
                    <a:gd name="T29" fmla="*/ 159 h 447"/>
                    <a:gd name="T30" fmla="*/ 501 w 536"/>
                    <a:gd name="T31" fmla="*/ 172 h 447"/>
                    <a:gd name="T32" fmla="*/ 484 w 536"/>
                    <a:gd name="T33" fmla="*/ 175 h 447"/>
                    <a:gd name="T34" fmla="*/ 482 w 536"/>
                    <a:gd name="T35" fmla="*/ 189 h 447"/>
                    <a:gd name="T36" fmla="*/ 482 w 536"/>
                    <a:gd name="T37" fmla="*/ 203 h 447"/>
                    <a:gd name="T38" fmla="*/ 469 w 536"/>
                    <a:gd name="T39" fmla="*/ 236 h 447"/>
                    <a:gd name="T40" fmla="*/ 468 w 536"/>
                    <a:gd name="T41" fmla="*/ 280 h 447"/>
                    <a:gd name="T42" fmla="*/ 457 w 536"/>
                    <a:gd name="T43" fmla="*/ 314 h 447"/>
                    <a:gd name="T44" fmla="*/ 434 w 536"/>
                    <a:gd name="T45" fmla="*/ 334 h 447"/>
                    <a:gd name="T46" fmla="*/ 423 w 536"/>
                    <a:gd name="T47" fmla="*/ 347 h 447"/>
                    <a:gd name="T48" fmla="*/ 420 w 536"/>
                    <a:gd name="T49" fmla="*/ 368 h 447"/>
                    <a:gd name="T50" fmla="*/ 413 w 536"/>
                    <a:gd name="T51" fmla="*/ 382 h 447"/>
                    <a:gd name="T52" fmla="*/ 399 w 536"/>
                    <a:gd name="T53" fmla="*/ 399 h 447"/>
                    <a:gd name="T54" fmla="*/ 387 w 536"/>
                    <a:gd name="T55" fmla="*/ 411 h 447"/>
                    <a:gd name="T56" fmla="*/ 361 w 536"/>
                    <a:gd name="T57" fmla="*/ 382 h 447"/>
                    <a:gd name="T58" fmla="*/ 363 w 536"/>
                    <a:gd name="T59" fmla="*/ 334 h 447"/>
                    <a:gd name="T60" fmla="*/ 336 w 536"/>
                    <a:gd name="T61" fmla="*/ 360 h 447"/>
                    <a:gd name="T62" fmla="*/ 300 w 536"/>
                    <a:gd name="T63" fmla="*/ 412 h 447"/>
                    <a:gd name="T64" fmla="*/ 250 w 536"/>
                    <a:gd name="T65" fmla="*/ 403 h 447"/>
                    <a:gd name="T66" fmla="*/ 212 w 536"/>
                    <a:gd name="T67" fmla="*/ 426 h 447"/>
                    <a:gd name="T68" fmla="*/ 153 w 536"/>
                    <a:gd name="T69" fmla="*/ 421 h 447"/>
                    <a:gd name="T70" fmla="*/ 128 w 536"/>
                    <a:gd name="T71" fmla="*/ 391 h 447"/>
                    <a:gd name="T72" fmla="*/ 113 w 536"/>
                    <a:gd name="T73" fmla="*/ 395 h 447"/>
                    <a:gd name="T74" fmla="*/ 102 w 536"/>
                    <a:gd name="T75" fmla="*/ 405 h 447"/>
                    <a:gd name="T76" fmla="*/ 92 w 536"/>
                    <a:gd name="T77" fmla="*/ 425 h 447"/>
                    <a:gd name="T78" fmla="*/ 76 w 536"/>
                    <a:gd name="T79" fmla="*/ 446 h 447"/>
                    <a:gd name="T80" fmla="*/ 59 w 536"/>
                    <a:gd name="T81" fmla="*/ 446 h 447"/>
                    <a:gd name="T82" fmla="*/ 55 w 536"/>
                    <a:gd name="T83" fmla="*/ 438 h 447"/>
                    <a:gd name="T84" fmla="*/ 58 w 536"/>
                    <a:gd name="T85" fmla="*/ 423 h 447"/>
                    <a:gd name="T86" fmla="*/ 34 w 536"/>
                    <a:gd name="T87" fmla="*/ 376 h 447"/>
                    <a:gd name="T88" fmla="*/ 31 w 536"/>
                    <a:gd name="T89" fmla="*/ 358 h 447"/>
                    <a:gd name="T90" fmla="*/ 25 w 536"/>
                    <a:gd name="T91" fmla="*/ 337 h 447"/>
                    <a:gd name="T92" fmla="*/ 12 w 536"/>
                    <a:gd name="T93" fmla="*/ 319 h 447"/>
                    <a:gd name="T94" fmla="*/ 2 w 536"/>
                    <a:gd name="T95" fmla="*/ 311 h 447"/>
                    <a:gd name="T96" fmla="*/ 13 w 536"/>
                    <a:gd name="T97" fmla="*/ 288 h 447"/>
                    <a:gd name="T98" fmla="*/ 22 w 536"/>
                    <a:gd name="T99" fmla="*/ 272 h 447"/>
                    <a:gd name="T100" fmla="*/ 19 w 536"/>
                    <a:gd name="T101" fmla="*/ 258 h 447"/>
                    <a:gd name="T102" fmla="*/ 29 w 536"/>
                    <a:gd name="T103" fmla="*/ 244 h 447"/>
                    <a:gd name="T104" fmla="*/ 35 w 536"/>
                    <a:gd name="T105" fmla="*/ 227 h 447"/>
                    <a:gd name="T106" fmla="*/ 65 w 536"/>
                    <a:gd name="T107" fmla="*/ 218 h 447"/>
                    <a:gd name="T108" fmla="*/ 70 w 536"/>
                    <a:gd name="T109" fmla="*/ 147 h 447"/>
                    <a:gd name="T110" fmla="*/ 78 w 536"/>
                    <a:gd name="T111" fmla="*/ 76 h 447"/>
                    <a:gd name="T112" fmla="*/ 101 w 536"/>
                    <a:gd name="T113" fmla="*/ 54 h 447"/>
                    <a:gd name="T114" fmla="*/ 108 w 536"/>
                    <a:gd name="T115" fmla="*/ 7 h 447"/>
                    <a:gd name="T116" fmla="*/ 148 w 536"/>
                    <a:gd name="T117" fmla="*/ 7 h 447"/>
                    <a:gd name="T118" fmla="*/ 188 w 536"/>
                    <a:gd name="T119" fmla="*/ 7 h 447"/>
                    <a:gd name="T120" fmla="*/ 229 w 536"/>
                    <a:gd name="T121" fmla="*/ 7 h 447"/>
                    <a:gd name="T122" fmla="*/ 270 w 536"/>
                    <a:gd name="T123" fmla="*/ 7 h 447"/>
                    <a:gd name="T124" fmla="*/ 306 w 536"/>
                    <a:gd name="T125" fmla="*/ 2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6" h="447">
                      <a:moveTo>
                        <a:pt x="494" y="52"/>
                      </a:moveTo>
                      <a:lnTo>
                        <a:pt x="493" y="51"/>
                      </a:lnTo>
                      <a:lnTo>
                        <a:pt x="493" y="49"/>
                      </a:lnTo>
                      <a:lnTo>
                        <a:pt x="493" y="48"/>
                      </a:lnTo>
                      <a:lnTo>
                        <a:pt x="494" y="48"/>
                      </a:lnTo>
                      <a:lnTo>
                        <a:pt x="494" y="51"/>
                      </a:lnTo>
                      <a:lnTo>
                        <a:pt x="494" y="52"/>
                      </a:lnTo>
                      <a:close/>
                      <a:moveTo>
                        <a:pt x="309" y="5"/>
                      </a:moveTo>
                      <a:lnTo>
                        <a:pt x="308" y="7"/>
                      </a:lnTo>
                      <a:lnTo>
                        <a:pt x="309" y="7"/>
                      </a:lnTo>
                      <a:lnTo>
                        <a:pt x="311" y="7"/>
                      </a:lnTo>
                      <a:lnTo>
                        <a:pt x="314" y="7"/>
                      </a:lnTo>
                      <a:lnTo>
                        <a:pt x="318" y="7"/>
                      </a:lnTo>
                      <a:lnTo>
                        <a:pt x="321" y="7"/>
                      </a:lnTo>
                      <a:lnTo>
                        <a:pt x="323" y="7"/>
                      </a:lnTo>
                      <a:lnTo>
                        <a:pt x="327" y="7"/>
                      </a:lnTo>
                      <a:lnTo>
                        <a:pt x="330" y="7"/>
                      </a:lnTo>
                      <a:lnTo>
                        <a:pt x="334" y="7"/>
                      </a:lnTo>
                      <a:lnTo>
                        <a:pt x="337" y="7"/>
                      </a:lnTo>
                      <a:lnTo>
                        <a:pt x="340" y="7"/>
                      </a:lnTo>
                      <a:lnTo>
                        <a:pt x="343" y="7"/>
                      </a:lnTo>
                      <a:lnTo>
                        <a:pt x="347" y="7"/>
                      </a:lnTo>
                      <a:lnTo>
                        <a:pt x="350" y="7"/>
                      </a:lnTo>
                      <a:lnTo>
                        <a:pt x="354" y="7"/>
                      </a:lnTo>
                      <a:lnTo>
                        <a:pt x="357" y="7"/>
                      </a:lnTo>
                      <a:lnTo>
                        <a:pt x="359" y="9"/>
                      </a:lnTo>
                      <a:lnTo>
                        <a:pt x="363" y="9"/>
                      </a:lnTo>
                      <a:lnTo>
                        <a:pt x="364" y="9"/>
                      </a:lnTo>
                      <a:lnTo>
                        <a:pt x="371" y="9"/>
                      </a:lnTo>
                      <a:lnTo>
                        <a:pt x="378" y="9"/>
                      </a:lnTo>
                      <a:lnTo>
                        <a:pt x="385" y="9"/>
                      </a:lnTo>
                      <a:lnTo>
                        <a:pt x="393" y="9"/>
                      </a:lnTo>
                      <a:lnTo>
                        <a:pt x="400" y="9"/>
                      </a:lnTo>
                      <a:lnTo>
                        <a:pt x="408" y="9"/>
                      </a:lnTo>
                      <a:lnTo>
                        <a:pt x="415" y="9"/>
                      </a:lnTo>
                      <a:lnTo>
                        <a:pt x="422" y="9"/>
                      </a:lnTo>
                      <a:lnTo>
                        <a:pt x="430" y="9"/>
                      </a:lnTo>
                      <a:lnTo>
                        <a:pt x="437" y="9"/>
                      </a:lnTo>
                      <a:lnTo>
                        <a:pt x="446" y="9"/>
                      </a:lnTo>
                      <a:lnTo>
                        <a:pt x="453" y="9"/>
                      </a:lnTo>
                      <a:lnTo>
                        <a:pt x="460" y="9"/>
                      </a:lnTo>
                      <a:lnTo>
                        <a:pt x="468" y="9"/>
                      </a:lnTo>
                      <a:lnTo>
                        <a:pt x="475" y="9"/>
                      </a:lnTo>
                      <a:lnTo>
                        <a:pt x="483" y="9"/>
                      </a:lnTo>
                      <a:lnTo>
                        <a:pt x="482" y="9"/>
                      </a:lnTo>
                      <a:lnTo>
                        <a:pt x="482" y="10"/>
                      </a:lnTo>
                      <a:lnTo>
                        <a:pt x="480" y="10"/>
                      </a:lnTo>
                      <a:lnTo>
                        <a:pt x="482" y="10"/>
                      </a:lnTo>
                      <a:lnTo>
                        <a:pt x="482" y="11"/>
                      </a:lnTo>
                      <a:lnTo>
                        <a:pt x="482" y="14"/>
                      </a:lnTo>
                      <a:lnTo>
                        <a:pt x="483" y="19"/>
                      </a:lnTo>
                      <a:lnTo>
                        <a:pt x="483" y="20"/>
                      </a:lnTo>
                      <a:lnTo>
                        <a:pt x="483" y="21"/>
                      </a:lnTo>
                      <a:lnTo>
                        <a:pt x="484" y="23"/>
                      </a:lnTo>
                      <a:lnTo>
                        <a:pt x="485" y="27"/>
                      </a:lnTo>
                      <a:lnTo>
                        <a:pt x="490" y="33"/>
                      </a:lnTo>
                      <a:lnTo>
                        <a:pt x="492" y="35"/>
                      </a:lnTo>
                      <a:lnTo>
                        <a:pt x="496" y="40"/>
                      </a:lnTo>
                      <a:lnTo>
                        <a:pt x="496" y="41"/>
                      </a:lnTo>
                      <a:lnTo>
                        <a:pt x="496" y="42"/>
                      </a:lnTo>
                      <a:lnTo>
                        <a:pt x="494" y="42"/>
                      </a:lnTo>
                      <a:lnTo>
                        <a:pt x="493" y="42"/>
                      </a:lnTo>
                      <a:lnTo>
                        <a:pt x="492" y="40"/>
                      </a:lnTo>
                      <a:lnTo>
                        <a:pt x="492" y="39"/>
                      </a:lnTo>
                      <a:lnTo>
                        <a:pt x="493" y="40"/>
                      </a:lnTo>
                      <a:lnTo>
                        <a:pt x="493" y="41"/>
                      </a:lnTo>
                      <a:lnTo>
                        <a:pt x="494" y="41"/>
                      </a:lnTo>
                      <a:lnTo>
                        <a:pt x="494" y="40"/>
                      </a:lnTo>
                      <a:lnTo>
                        <a:pt x="493" y="40"/>
                      </a:lnTo>
                      <a:lnTo>
                        <a:pt x="493" y="39"/>
                      </a:lnTo>
                      <a:lnTo>
                        <a:pt x="493" y="38"/>
                      </a:lnTo>
                      <a:lnTo>
                        <a:pt x="492" y="38"/>
                      </a:lnTo>
                      <a:lnTo>
                        <a:pt x="491" y="38"/>
                      </a:lnTo>
                      <a:lnTo>
                        <a:pt x="491" y="37"/>
                      </a:lnTo>
                      <a:lnTo>
                        <a:pt x="491" y="35"/>
                      </a:lnTo>
                      <a:lnTo>
                        <a:pt x="490" y="35"/>
                      </a:lnTo>
                      <a:lnTo>
                        <a:pt x="489" y="35"/>
                      </a:lnTo>
                      <a:lnTo>
                        <a:pt x="489" y="37"/>
                      </a:lnTo>
                      <a:lnTo>
                        <a:pt x="489" y="38"/>
                      </a:lnTo>
                      <a:lnTo>
                        <a:pt x="490" y="38"/>
                      </a:lnTo>
                      <a:lnTo>
                        <a:pt x="490" y="39"/>
                      </a:lnTo>
                      <a:lnTo>
                        <a:pt x="490" y="40"/>
                      </a:lnTo>
                      <a:lnTo>
                        <a:pt x="489" y="40"/>
                      </a:lnTo>
                      <a:lnTo>
                        <a:pt x="489" y="41"/>
                      </a:lnTo>
                      <a:lnTo>
                        <a:pt x="490" y="42"/>
                      </a:lnTo>
                      <a:lnTo>
                        <a:pt x="491" y="45"/>
                      </a:lnTo>
                      <a:lnTo>
                        <a:pt x="491" y="47"/>
                      </a:lnTo>
                      <a:lnTo>
                        <a:pt x="491" y="52"/>
                      </a:lnTo>
                      <a:lnTo>
                        <a:pt x="492" y="54"/>
                      </a:lnTo>
                      <a:lnTo>
                        <a:pt x="493" y="58"/>
                      </a:lnTo>
                      <a:lnTo>
                        <a:pt x="493" y="60"/>
                      </a:lnTo>
                      <a:lnTo>
                        <a:pt x="493" y="61"/>
                      </a:lnTo>
                      <a:lnTo>
                        <a:pt x="492" y="61"/>
                      </a:lnTo>
                      <a:lnTo>
                        <a:pt x="491" y="61"/>
                      </a:lnTo>
                      <a:lnTo>
                        <a:pt x="491" y="62"/>
                      </a:lnTo>
                      <a:lnTo>
                        <a:pt x="491" y="65"/>
                      </a:lnTo>
                      <a:lnTo>
                        <a:pt x="491" y="66"/>
                      </a:lnTo>
                      <a:lnTo>
                        <a:pt x="491" y="67"/>
                      </a:lnTo>
                      <a:lnTo>
                        <a:pt x="492" y="69"/>
                      </a:lnTo>
                      <a:lnTo>
                        <a:pt x="492" y="70"/>
                      </a:lnTo>
                      <a:lnTo>
                        <a:pt x="492" y="72"/>
                      </a:lnTo>
                      <a:lnTo>
                        <a:pt x="493" y="73"/>
                      </a:lnTo>
                      <a:lnTo>
                        <a:pt x="492" y="74"/>
                      </a:lnTo>
                      <a:lnTo>
                        <a:pt x="492" y="75"/>
                      </a:lnTo>
                      <a:lnTo>
                        <a:pt x="492" y="76"/>
                      </a:lnTo>
                      <a:lnTo>
                        <a:pt x="492" y="77"/>
                      </a:lnTo>
                      <a:lnTo>
                        <a:pt x="494" y="83"/>
                      </a:lnTo>
                      <a:lnTo>
                        <a:pt x="494" y="84"/>
                      </a:lnTo>
                      <a:lnTo>
                        <a:pt x="494" y="87"/>
                      </a:lnTo>
                      <a:lnTo>
                        <a:pt x="493" y="87"/>
                      </a:lnTo>
                      <a:lnTo>
                        <a:pt x="493" y="88"/>
                      </a:lnTo>
                      <a:lnTo>
                        <a:pt x="493" y="90"/>
                      </a:lnTo>
                      <a:lnTo>
                        <a:pt x="493" y="91"/>
                      </a:lnTo>
                      <a:lnTo>
                        <a:pt x="494" y="93"/>
                      </a:lnTo>
                      <a:lnTo>
                        <a:pt x="494" y="95"/>
                      </a:lnTo>
                      <a:lnTo>
                        <a:pt x="496" y="102"/>
                      </a:lnTo>
                      <a:lnTo>
                        <a:pt x="496" y="105"/>
                      </a:lnTo>
                      <a:lnTo>
                        <a:pt x="497" y="105"/>
                      </a:lnTo>
                      <a:lnTo>
                        <a:pt x="497" y="107"/>
                      </a:lnTo>
                      <a:lnTo>
                        <a:pt x="498" y="108"/>
                      </a:lnTo>
                      <a:lnTo>
                        <a:pt x="498" y="110"/>
                      </a:lnTo>
                      <a:lnTo>
                        <a:pt x="499" y="112"/>
                      </a:lnTo>
                      <a:lnTo>
                        <a:pt x="499" y="114"/>
                      </a:lnTo>
                      <a:lnTo>
                        <a:pt x="499" y="115"/>
                      </a:lnTo>
                      <a:lnTo>
                        <a:pt x="500" y="116"/>
                      </a:lnTo>
                      <a:lnTo>
                        <a:pt x="500" y="117"/>
                      </a:lnTo>
                      <a:lnTo>
                        <a:pt x="501" y="118"/>
                      </a:lnTo>
                      <a:lnTo>
                        <a:pt x="503" y="119"/>
                      </a:lnTo>
                      <a:lnTo>
                        <a:pt x="503" y="121"/>
                      </a:lnTo>
                      <a:lnTo>
                        <a:pt x="504" y="121"/>
                      </a:lnTo>
                      <a:lnTo>
                        <a:pt x="506" y="119"/>
                      </a:lnTo>
                      <a:lnTo>
                        <a:pt x="507" y="119"/>
                      </a:lnTo>
                      <a:lnTo>
                        <a:pt x="507" y="121"/>
                      </a:lnTo>
                      <a:lnTo>
                        <a:pt x="508" y="121"/>
                      </a:lnTo>
                      <a:lnTo>
                        <a:pt x="510" y="121"/>
                      </a:lnTo>
                      <a:lnTo>
                        <a:pt x="510" y="122"/>
                      </a:lnTo>
                      <a:lnTo>
                        <a:pt x="510" y="123"/>
                      </a:lnTo>
                      <a:lnTo>
                        <a:pt x="511" y="123"/>
                      </a:lnTo>
                      <a:lnTo>
                        <a:pt x="511" y="124"/>
                      </a:lnTo>
                      <a:lnTo>
                        <a:pt x="515" y="124"/>
                      </a:lnTo>
                      <a:lnTo>
                        <a:pt x="517" y="126"/>
                      </a:lnTo>
                      <a:lnTo>
                        <a:pt x="517" y="128"/>
                      </a:lnTo>
                      <a:lnTo>
                        <a:pt x="519" y="129"/>
                      </a:lnTo>
                      <a:lnTo>
                        <a:pt x="519" y="130"/>
                      </a:lnTo>
                      <a:lnTo>
                        <a:pt x="521" y="130"/>
                      </a:lnTo>
                      <a:lnTo>
                        <a:pt x="521" y="131"/>
                      </a:lnTo>
                      <a:lnTo>
                        <a:pt x="520" y="131"/>
                      </a:lnTo>
                      <a:lnTo>
                        <a:pt x="520" y="132"/>
                      </a:lnTo>
                      <a:lnTo>
                        <a:pt x="520" y="135"/>
                      </a:lnTo>
                      <a:lnTo>
                        <a:pt x="522" y="136"/>
                      </a:lnTo>
                      <a:lnTo>
                        <a:pt x="524" y="137"/>
                      </a:lnTo>
                      <a:lnTo>
                        <a:pt x="525" y="136"/>
                      </a:lnTo>
                      <a:lnTo>
                        <a:pt x="525" y="135"/>
                      </a:lnTo>
                      <a:lnTo>
                        <a:pt x="526" y="135"/>
                      </a:lnTo>
                      <a:lnTo>
                        <a:pt x="527" y="135"/>
                      </a:lnTo>
                      <a:lnTo>
                        <a:pt x="526" y="136"/>
                      </a:lnTo>
                      <a:lnTo>
                        <a:pt x="526" y="137"/>
                      </a:lnTo>
                      <a:lnTo>
                        <a:pt x="525" y="137"/>
                      </a:lnTo>
                      <a:lnTo>
                        <a:pt x="526" y="137"/>
                      </a:lnTo>
                      <a:lnTo>
                        <a:pt x="527" y="137"/>
                      </a:lnTo>
                      <a:lnTo>
                        <a:pt x="527" y="138"/>
                      </a:lnTo>
                      <a:lnTo>
                        <a:pt x="528" y="138"/>
                      </a:lnTo>
                      <a:lnTo>
                        <a:pt x="529" y="138"/>
                      </a:lnTo>
                      <a:lnTo>
                        <a:pt x="529" y="137"/>
                      </a:lnTo>
                      <a:lnTo>
                        <a:pt x="531" y="137"/>
                      </a:lnTo>
                      <a:lnTo>
                        <a:pt x="532" y="139"/>
                      </a:lnTo>
                      <a:lnTo>
                        <a:pt x="531" y="139"/>
                      </a:lnTo>
                      <a:lnTo>
                        <a:pt x="532" y="140"/>
                      </a:lnTo>
                      <a:lnTo>
                        <a:pt x="533" y="140"/>
                      </a:lnTo>
                      <a:lnTo>
                        <a:pt x="533" y="139"/>
                      </a:lnTo>
                      <a:lnTo>
                        <a:pt x="533" y="140"/>
                      </a:lnTo>
                      <a:lnTo>
                        <a:pt x="533" y="142"/>
                      </a:lnTo>
                      <a:lnTo>
                        <a:pt x="534" y="142"/>
                      </a:lnTo>
                      <a:lnTo>
                        <a:pt x="534" y="140"/>
                      </a:lnTo>
                      <a:lnTo>
                        <a:pt x="536" y="142"/>
                      </a:lnTo>
                      <a:lnTo>
                        <a:pt x="536" y="143"/>
                      </a:lnTo>
                      <a:lnTo>
                        <a:pt x="536" y="144"/>
                      </a:lnTo>
                      <a:lnTo>
                        <a:pt x="532" y="149"/>
                      </a:lnTo>
                      <a:lnTo>
                        <a:pt x="531" y="150"/>
                      </a:lnTo>
                      <a:lnTo>
                        <a:pt x="529" y="154"/>
                      </a:lnTo>
                      <a:lnTo>
                        <a:pt x="528" y="156"/>
                      </a:lnTo>
                      <a:lnTo>
                        <a:pt x="527" y="157"/>
                      </a:lnTo>
                      <a:lnTo>
                        <a:pt x="526" y="157"/>
                      </a:lnTo>
                      <a:lnTo>
                        <a:pt x="525" y="158"/>
                      </a:lnTo>
                      <a:lnTo>
                        <a:pt x="525" y="159"/>
                      </a:lnTo>
                      <a:lnTo>
                        <a:pt x="525" y="160"/>
                      </a:lnTo>
                      <a:lnTo>
                        <a:pt x="524" y="160"/>
                      </a:lnTo>
                      <a:lnTo>
                        <a:pt x="522" y="159"/>
                      </a:lnTo>
                      <a:lnTo>
                        <a:pt x="521" y="159"/>
                      </a:lnTo>
                      <a:lnTo>
                        <a:pt x="521" y="160"/>
                      </a:lnTo>
                      <a:lnTo>
                        <a:pt x="520" y="161"/>
                      </a:lnTo>
                      <a:lnTo>
                        <a:pt x="519" y="161"/>
                      </a:lnTo>
                      <a:lnTo>
                        <a:pt x="519" y="160"/>
                      </a:lnTo>
                      <a:lnTo>
                        <a:pt x="519" y="159"/>
                      </a:lnTo>
                      <a:lnTo>
                        <a:pt x="518" y="159"/>
                      </a:lnTo>
                      <a:lnTo>
                        <a:pt x="515" y="161"/>
                      </a:lnTo>
                      <a:lnTo>
                        <a:pt x="514" y="163"/>
                      </a:lnTo>
                      <a:lnTo>
                        <a:pt x="513" y="163"/>
                      </a:lnTo>
                      <a:lnTo>
                        <a:pt x="512" y="163"/>
                      </a:lnTo>
                      <a:lnTo>
                        <a:pt x="511" y="161"/>
                      </a:lnTo>
                      <a:lnTo>
                        <a:pt x="510" y="163"/>
                      </a:lnTo>
                      <a:lnTo>
                        <a:pt x="508" y="165"/>
                      </a:lnTo>
                      <a:lnTo>
                        <a:pt x="507" y="165"/>
                      </a:lnTo>
                      <a:lnTo>
                        <a:pt x="506" y="166"/>
                      </a:lnTo>
                      <a:lnTo>
                        <a:pt x="501" y="167"/>
                      </a:lnTo>
                      <a:lnTo>
                        <a:pt x="501" y="169"/>
                      </a:lnTo>
                      <a:lnTo>
                        <a:pt x="501" y="171"/>
                      </a:lnTo>
                      <a:lnTo>
                        <a:pt x="501" y="172"/>
                      </a:lnTo>
                      <a:lnTo>
                        <a:pt x="500" y="173"/>
                      </a:lnTo>
                      <a:lnTo>
                        <a:pt x="500" y="174"/>
                      </a:lnTo>
                      <a:lnTo>
                        <a:pt x="498" y="176"/>
                      </a:lnTo>
                      <a:lnTo>
                        <a:pt x="494" y="175"/>
                      </a:lnTo>
                      <a:lnTo>
                        <a:pt x="492" y="176"/>
                      </a:lnTo>
                      <a:lnTo>
                        <a:pt x="491" y="176"/>
                      </a:lnTo>
                      <a:lnTo>
                        <a:pt x="490" y="176"/>
                      </a:lnTo>
                      <a:lnTo>
                        <a:pt x="489" y="176"/>
                      </a:lnTo>
                      <a:lnTo>
                        <a:pt x="487" y="176"/>
                      </a:lnTo>
                      <a:lnTo>
                        <a:pt x="487" y="175"/>
                      </a:lnTo>
                      <a:lnTo>
                        <a:pt x="486" y="175"/>
                      </a:lnTo>
                      <a:lnTo>
                        <a:pt x="485" y="175"/>
                      </a:lnTo>
                      <a:lnTo>
                        <a:pt x="484" y="175"/>
                      </a:lnTo>
                      <a:lnTo>
                        <a:pt x="485" y="176"/>
                      </a:lnTo>
                      <a:lnTo>
                        <a:pt x="485" y="178"/>
                      </a:lnTo>
                      <a:lnTo>
                        <a:pt x="484" y="179"/>
                      </a:lnTo>
                      <a:lnTo>
                        <a:pt x="484" y="180"/>
                      </a:lnTo>
                      <a:lnTo>
                        <a:pt x="485" y="180"/>
                      </a:lnTo>
                      <a:lnTo>
                        <a:pt x="485" y="181"/>
                      </a:lnTo>
                      <a:lnTo>
                        <a:pt x="485" y="182"/>
                      </a:lnTo>
                      <a:lnTo>
                        <a:pt x="485" y="183"/>
                      </a:lnTo>
                      <a:lnTo>
                        <a:pt x="484" y="185"/>
                      </a:lnTo>
                      <a:lnTo>
                        <a:pt x="484" y="187"/>
                      </a:lnTo>
                      <a:lnTo>
                        <a:pt x="483" y="187"/>
                      </a:lnTo>
                      <a:lnTo>
                        <a:pt x="483" y="188"/>
                      </a:lnTo>
                      <a:lnTo>
                        <a:pt x="482" y="189"/>
                      </a:lnTo>
                      <a:lnTo>
                        <a:pt x="482" y="190"/>
                      </a:lnTo>
                      <a:lnTo>
                        <a:pt x="482" y="192"/>
                      </a:lnTo>
                      <a:lnTo>
                        <a:pt x="480" y="193"/>
                      </a:lnTo>
                      <a:lnTo>
                        <a:pt x="480" y="194"/>
                      </a:lnTo>
                      <a:lnTo>
                        <a:pt x="482" y="194"/>
                      </a:lnTo>
                      <a:lnTo>
                        <a:pt x="482" y="195"/>
                      </a:lnTo>
                      <a:lnTo>
                        <a:pt x="483" y="196"/>
                      </a:lnTo>
                      <a:lnTo>
                        <a:pt x="483" y="197"/>
                      </a:lnTo>
                      <a:lnTo>
                        <a:pt x="483" y="199"/>
                      </a:lnTo>
                      <a:lnTo>
                        <a:pt x="483" y="201"/>
                      </a:lnTo>
                      <a:lnTo>
                        <a:pt x="484" y="201"/>
                      </a:lnTo>
                      <a:lnTo>
                        <a:pt x="483" y="202"/>
                      </a:lnTo>
                      <a:lnTo>
                        <a:pt x="482" y="203"/>
                      </a:lnTo>
                      <a:lnTo>
                        <a:pt x="482" y="204"/>
                      </a:lnTo>
                      <a:lnTo>
                        <a:pt x="480" y="207"/>
                      </a:lnTo>
                      <a:lnTo>
                        <a:pt x="478" y="211"/>
                      </a:lnTo>
                      <a:lnTo>
                        <a:pt x="477" y="216"/>
                      </a:lnTo>
                      <a:lnTo>
                        <a:pt x="476" y="217"/>
                      </a:lnTo>
                      <a:lnTo>
                        <a:pt x="475" y="218"/>
                      </a:lnTo>
                      <a:lnTo>
                        <a:pt x="475" y="220"/>
                      </a:lnTo>
                      <a:lnTo>
                        <a:pt x="472" y="225"/>
                      </a:lnTo>
                      <a:lnTo>
                        <a:pt x="472" y="228"/>
                      </a:lnTo>
                      <a:lnTo>
                        <a:pt x="472" y="229"/>
                      </a:lnTo>
                      <a:lnTo>
                        <a:pt x="471" y="230"/>
                      </a:lnTo>
                      <a:lnTo>
                        <a:pt x="470" y="235"/>
                      </a:lnTo>
                      <a:lnTo>
                        <a:pt x="469" y="236"/>
                      </a:lnTo>
                      <a:lnTo>
                        <a:pt x="467" y="238"/>
                      </a:lnTo>
                      <a:lnTo>
                        <a:pt x="467" y="239"/>
                      </a:lnTo>
                      <a:lnTo>
                        <a:pt x="467" y="243"/>
                      </a:lnTo>
                      <a:lnTo>
                        <a:pt x="468" y="249"/>
                      </a:lnTo>
                      <a:lnTo>
                        <a:pt x="468" y="250"/>
                      </a:lnTo>
                      <a:lnTo>
                        <a:pt x="468" y="253"/>
                      </a:lnTo>
                      <a:lnTo>
                        <a:pt x="469" y="257"/>
                      </a:lnTo>
                      <a:lnTo>
                        <a:pt x="469" y="262"/>
                      </a:lnTo>
                      <a:lnTo>
                        <a:pt x="470" y="267"/>
                      </a:lnTo>
                      <a:lnTo>
                        <a:pt x="467" y="277"/>
                      </a:lnTo>
                      <a:lnTo>
                        <a:pt x="467" y="278"/>
                      </a:lnTo>
                      <a:lnTo>
                        <a:pt x="467" y="279"/>
                      </a:lnTo>
                      <a:lnTo>
                        <a:pt x="468" y="280"/>
                      </a:lnTo>
                      <a:lnTo>
                        <a:pt x="468" y="281"/>
                      </a:lnTo>
                      <a:lnTo>
                        <a:pt x="467" y="284"/>
                      </a:lnTo>
                      <a:lnTo>
                        <a:pt x="465" y="287"/>
                      </a:lnTo>
                      <a:lnTo>
                        <a:pt x="465" y="290"/>
                      </a:lnTo>
                      <a:lnTo>
                        <a:pt x="464" y="290"/>
                      </a:lnTo>
                      <a:lnTo>
                        <a:pt x="460" y="297"/>
                      </a:lnTo>
                      <a:lnTo>
                        <a:pt x="457" y="307"/>
                      </a:lnTo>
                      <a:lnTo>
                        <a:pt x="457" y="308"/>
                      </a:lnTo>
                      <a:lnTo>
                        <a:pt x="457" y="309"/>
                      </a:lnTo>
                      <a:lnTo>
                        <a:pt x="456" y="311"/>
                      </a:lnTo>
                      <a:lnTo>
                        <a:pt x="456" y="312"/>
                      </a:lnTo>
                      <a:lnTo>
                        <a:pt x="457" y="313"/>
                      </a:lnTo>
                      <a:lnTo>
                        <a:pt x="457" y="314"/>
                      </a:lnTo>
                      <a:lnTo>
                        <a:pt x="456" y="318"/>
                      </a:lnTo>
                      <a:lnTo>
                        <a:pt x="456" y="319"/>
                      </a:lnTo>
                      <a:lnTo>
                        <a:pt x="455" y="319"/>
                      </a:lnTo>
                      <a:lnTo>
                        <a:pt x="454" y="318"/>
                      </a:lnTo>
                      <a:lnTo>
                        <a:pt x="443" y="319"/>
                      </a:lnTo>
                      <a:lnTo>
                        <a:pt x="443" y="320"/>
                      </a:lnTo>
                      <a:lnTo>
                        <a:pt x="442" y="320"/>
                      </a:lnTo>
                      <a:lnTo>
                        <a:pt x="442" y="321"/>
                      </a:lnTo>
                      <a:lnTo>
                        <a:pt x="442" y="322"/>
                      </a:lnTo>
                      <a:lnTo>
                        <a:pt x="441" y="322"/>
                      </a:lnTo>
                      <a:lnTo>
                        <a:pt x="440" y="322"/>
                      </a:lnTo>
                      <a:lnTo>
                        <a:pt x="434" y="333"/>
                      </a:lnTo>
                      <a:lnTo>
                        <a:pt x="434" y="334"/>
                      </a:lnTo>
                      <a:lnTo>
                        <a:pt x="434" y="335"/>
                      </a:lnTo>
                      <a:lnTo>
                        <a:pt x="433" y="335"/>
                      </a:lnTo>
                      <a:lnTo>
                        <a:pt x="433" y="336"/>
                      </a:lnTo>
                      <a:lnTo>
                        <a:pt x="432" y="336"/>
                      </a:lnTo>
                      <a:lnTo>
                        <a:pt x="432" y="337"/>
                      </a:lnTo>
                      <a:lnTo>
                        <a:pt x="430" y="340"/>
                      </a:lnTo>
                      <a:lnTo>
                        <a:pt x="430" y="341"/>
                      </a:lnTo>
                      <a:lnTo>
                        <a:pt x="429" y="342"/>
                      </a:lnTo>
                      <a:lnTo>
                        <a:pt x="428" y="342"/>
                      </a:lnTo>
                      <a:lnTo>
                        <a:pt x="428" y="343"/>
                      </a:lnTo>
                      <a:lnTo>
                        <a:pt x="427" y="344"/>
                      </a:lnTo>
                      <a:lnTo>
                        <a:pt x="425" y="346"/>
                      </a:lnTo>
                      <a:lnTo>
                        <a:pt x="423" y="347"/>
                      </a:lnTo>
                      <a:lnTo>
                        <a:pt x="422" y="347"/>
                      </a:lnTo>
                      <a:lnTo>
                        <a:pt x="422" y="348"/>
                      </a:lnTo>
                      <a:lnTo>
                        <a:pt x="422" y="349"/>
                      </a:lnTo>
                      <a:lnTo>
                        <a:pt x="421" y="350"/>
                      </a:lnTo>
                      <a:lnTo>
                        <a:pt x="422" y="351"/>
                      </a:lnTo>
                      <a:lnTo>
                        <a:pt x="422" y="353"/>
                      </a:lnTo>
                      <a:lnTo>
                        <a:pt x="422" y="355"/>
                      </a:lnTo>
                      <a:lnTo>
                        <a:pt x="422" y="356"/>
                      </a:lnTo>
                      <a:lnTo>
                        <a:pt x="419" y="364"/>
                      </a:lnTo>
                      <a:lnTo>
                        <a:pt x="419" y="365"/>
                      </a:lnTo>
                      <a:lnTo>
                        <a:pt x="419" y="367"/>
                      </a:lnTo>
                      <a:lnTo>
                        <a:pt x="420" y="367"/>
                      </a:lnTo>
                      <a:lnTo>
                        <a:pt x="420" y="368"/>
                      </a:lnTo>
                      <a:lnTo>
                        <a:pt x="420" y="369"/>
                      </a:lnTo>
                      <a:lnTo>
                        <a:pt x="418" y="375"/>
                      </a:lnTo>
                      <a:lnTo>
                        <a:pt x="419" y="376"/>
                      </a:lnTo>
                      <a:lnTo>
                        <a:pt x="419" y="377"/>
                      </a:lnTo>
                      <a:lnTo>
                        <a:pt x="418" y="378"/>
                      </a:lnTo>
                      <a:lnTo>
                        <a:pt x="416" y="379"/>
                      </a:lnTo>
                      <a:lnTo>
                        <a:pt x="415" y="381"/>
                      </a:lnTo>
                      <a:lnTo>
                        <a:pt x="415" y="382"/>
                      </a:lnTo>
                      <a:lnTo>
                        <a:pt x="414" y="382"/>
                      </a:lnTo>
                      <a:lnTo>
                        <a:pt x="413" y="383"/>
                      </a:lnTo>
                      <a:lnTo>
                        <a:pt x="413" y="384"/>
                      </a:lnTo>
                      <a:lnTo>
                        <a:pt x="412" y="383"/>
                      </a:lnTo>
                      <a:lnTo>
                        <a:pt x="413" y="382"/>
                      </a:lnTo>
                      <a:lnTo>
                        <a:pt x="412" y="382"/>
                      </a:lnTo>
                      <a:lnTo>
                        <a:pt x="411" y="381"/>
                      </a:lnTo>
                      <a:lnTo>
                        <a:pt x="407" y="377"/>
                      </a:lnTo>
                      <a:lnTo>
                        <a:pt x="406" y="377"/>
                      </a:lnTo>
                      <a:lnTo>
                        <a:pt x="403" y="379"/>
                      </a:lnTo>
                      <a:lnTo>
                        <a:pt x="401" y="381"/>
                      </a:lnTo>
                      <a:lnTo>
                        <a:pt x="400" y="383"/>
                      </a:lnTo>
                      <a:lnTo>
                        <a:pt x="398" y="388"/>
                      </a:lnTo>
                      <a:lnTo>
                        <a:pt x="397" y="389"/>
                      </a:lnTo>
                      <a:lnTo>
                        <a:pt x="397" y="390"/>
                      </a:lnTo>
                      <a:lnTo>
                        <a:pt x="399" y="397"/>
                      </a:lnTo>
                      <a:lnTo>
                        <a:pt x="399" y="398"/>
                      </a:lnTo>
                      <a:lnTo>
                        <a:pt x="399" y="399"/>
                      </a:lnTo>
                      <a:lnTo>
                        <a:pt x="398" y="400"/>
                      </a:lnTo>
                      <a:lnTo>
                        <a:pt x="398" y="402"/>
                      </a:lnTo>
                      <a:lnTo>
                        <a:pt x="398" y="403"/>
                      </a:lnTo>
                      <a:lnTo>
                        <a:pt x="396" y="405"/>
                      </a:lnTo>
                      <a:lnTo>
                        <a:pt x="391" y="416"/>
                      </a:lnTo>
                      <a:lnTo>
                        <a:pt x="391" y="420"/>
                      </a:lnTo>
                      <a:lnTo>
                        <a:pt x="391" y="423"/>
                      </a:lnTo>
                      <a:lnTo>
                        <a:pt x="385" y="423"/>
                      </a:lnTo>
                      <a:lnTo>
                        <a:pt x="385" y="421"/>
                      </a:lnTo>
                      <a:lnTo>
                        <a:pt x="384" y="420"/>
                      </a:lnTo>
                      <a:lnTo>
                        <a:pt x="385" y="418"/>
                      </a:lnTo>
                      <a:lnTo>
                        <a:pt x="385" y="414"/>
                      </a:lnTo>
                      <a:lnTo>
                        <a:pt x="387" y="411"/>
                      </a:lnTo>
                      <a:lnTo>
                        <a:pt x="387" y="410"/>
                      </a:lnTo>
                      <a:lnTo>
                        <a:pt x="387" y="409"/>
                      </a:lnTo>
                      <a:lnTo>
                        <a:pt x="387" y="407"/>
                      </a:lnTo>
                      <a:lnTo>
                        <a:pt x="387" y="405"/>
                      </a:lnTo>
                      <a:lnTo>
                        <a:pt x="387" y="404"/>
                      </a:lnTo>
                      <a:lnTo>
                        <a:pt x="386" y="399"/>
                      </a:lnTo>
                      <a:lnTo>
                        <a:pt x="385" y="399"/>
                      </a:lnTo>
                      <a:lnTo>
                        <a:pt x="378" y="393"/>
                      </a:lnTo>
                      <a:lnTo>
                        <a:pt x="371" y="388"/>
                      </a:lnTo>
                      <a:lnTo>
                        <a:pt x="369" y="385"/>
                      </a:lnTo>
                      <a:lnTo>
                        <a:pt x="369" y="384"/>
                      </a:lnTo>
                      <a:lnTo>
                        <a:pt x="362" y="382"/>
                      </a:lnTo>
                      <a:lnTo>
                        <a:pt x="361" y="382"/>
                      </a:lnTo>
                      <a:lnTo>
                        <a:pt x="361" y="381"/>
                      </a:lnTo>
                      <a:lnTo>
                        <a:pt x="362" y="381"/>
                      </a:lnTo>
                      <a:lnTo>
                        <a:pt x="362" y="379"/>
                      </a:lnTo>
                      <a:lnTo>
                        <a:pt x="362" y="378"/>
                      </a:lnTo>
                      <a:lnTo>
                        <a:pt x="363" y="378"/>
                      </a:lnTo>
                      <a:lnTo>
                        <a:pt x="361" y="367"/>
                      </a:lnTo>
                      <a:lnTo>
                        <a:pt x="359" y="354"/>
                      </a:lnTo>
                      <a:lnTo>
                        <a:pt x="361" y="353"/>
                      </a:lnTo>
                      <a:lnTo>
                        <a:pt x="361" y="351"/>
                      </a:lnTo>
                      <a:lnTo>
                        <a:pt x="362" y="347"/>
                      </a:lnTo>
                      <a:lnTo>
                        <a:pt x="362" y="343"/>
                      </a:lnTo>
                      <a:lnTo>
                        <a:pt x="363" y="336"/>
                      </a:lnTo>
                      <a:lnTo>
                        <a:pt x="363" y="334"/>
                      </a:lnTo>
                      <a:lnTo>
                        <a:pt x="348" y="334"/>
                      </a:lnTo>
                      <a:lnTo>
                        <a:pt x="348" y="335"/>
                      </a:lnTo>
                      <a:lnTo>
                        <a:pt x="348" y="336"/>
                      </a:lnTo>
                      <a:lnTo>
                        <a:pt x="348" y="337"/>
                      </a:lnTo>
                      <a:lnTo>
                        <a:pt x="349" y="339"/>
                      </a:lnTo>
                      <a:lnTo>
                        <a:pt x="349" y="340"/>
                      </a:lnTo>
                      <a:lnTo>
                        <a:pt x="349" y="341"/>
                      </a:lnTo>
                      <a:lnTo>
                        <a:pt x="339" y="341"/>
                      </a:lnTo>
                      <a:lnTo>
                        <a:pt x="328" y="341"/>
                      </a:lnTo>
                      <a:lnTo>
                        <a:pt x="336" y="350"/>
                      </a:lnTo>
                      <a:lnTo>
                        <a:pt x="336" y="351"/>
                      </a:lnTo>
                      <a:lnTo>
                        <a:pt x="336" y="355"/>
                      </a:lnTo>
                      <a:lnTo>
                        <a:pt x="336" y="360"/>
                      </a:lnTo>
                      <a:lnTo>
                        <a:pt x="336" y="363"/>
                      </a:lnTo>
                      <a:lnTo>
                        <a:pt x="336" y="365"/>
                      </a:lnTo>
                      <a:lnTo>
                        <a:pt x="339" y="370"/>
                      </a:lnTo>
                      <a:lnTo>
                        <a:pt x="339" y="371"/>
                      </a:lnTo>
                      <a:lnTo>
                        <a:pt x="330" y="378"/>
                      </a:lnTo>
                      <a:lnTo>
                        <a:pt x="323" y="384"/>
                      </a:lnTo>
                      <a:lnTo>
                        <a:pt x="322" y="385"/>
                      </a:lnTo>
                      <a:lnTo>
                        <a:pt x="320" y="390"/>
                      </a:lnTo>
                      <a:lnTo>
                        <a:pt x="319" y="393"/>
                      </a:lnTo>
                      <a:lnTo>
                        <a:pt x="318" y="393"/>
                      </a:lnTo>
                      <a:lnTo>
                        <a:pt x="314" y="398"/>
                      </a:lnTo>
                      <a:lnTo>
                        <a:pt x="307" y="405"/>
                      </a:lnTo>
                      <a:lnTo>
                        <a:pt x="300" y="412"/>
                      </a:lnTo>
                      <a:lnTo>
                        <a:pt x="298" y="413"/>
                      </a:lnTo>
                      <a:lnTo>
                        <a:pt x="291" y="413"/>
                      </a:lnTo>
                      <a:lnTo>
                        <a:pt x="287" y="413"/>
                      </a:lnTo>
                      <a:lnTo>
                        <a:pt x="286" y="413"/>
                      </a:lnTo>
                      <a:lnTo>
                        <a:pt x="286" y="414"/>
                      </a:lnTo>
                      <a:lnTo>
                        <a:pt x="285" y="414"/>
                      </a:lnTo>
                      <a:lnTo>
                        <a:pt x="285" y="413"/>
                      </a:lnTo>
                      <a:lnTo>
                        <a:pt x="277" y="406"/>
                      </a:lnTo>
                      <a:lnTo>
                        <a:pt x="269" y="402"/>
                      </a:lnTo>
                      <a:lnTo>
                        <a:pt x="262" y="396"/>
                      </a:lnTo>
                      <a:lnTo>
                        <a:pt x="261" y="397"/>
                      </a:lnTo>
                      <a:lnTo>
                        <a:pt x="251" y="402"/>
                      </a:lnTo>
                      <a:lnTo>
                        <a:pt x="250" y="403"/>
                      </a:lnTo>
                      <a:lnTo>
                        <a:pt x="249" y="403"/>
                      </a:lnTo>
                      <a:lnTo>
                        <a:pt x="249" y="407"/>
                      </a:lnTo>
                      <a:lnTo>
                        <a:pt x="248" y="410"/>
                      </a:lnTo>
                      <a:lnTo>
                        <a:pt x="244" y="412"/>
                      </a:lnTo>
                      <a:lnTo>
                        <a:pt x="237" y="414"/>
                      </a:lnTo>
                      <a:lnTo>
                        <a:pt x="234" y="416"/>
                      </a:lnTo>
                      <a:lnTo>
                        <a:pt x="229" y="418"/>
                      </a:lnTo>
                      <a:lnTo>
                        <a:pt x="227" y="420"/>
                      </a:lnTo>
                      <a:lnTo>
                        <a:pt x="224" y="423"/>
                      </a:lnTo>
                      <a:lnTo>
                        <a:pt x="223" y="424"/>
                      </a:lnTo>
                      <a:lnTo>
                        <a:pt x="223" y="425"/>
                      </a:lnTo>
                      <a:lnTo>
                        <a:pt x="224" y="426"/>
                      </a:lnTo>
                      <a:lnTo>
                        <a:pt x="212" y="426"/>
                      </a:lnTo>
                      <a:lnTo>
                        <a:pt x="199" y="426"/>
                      </a:lnTo>
                      <a:lnTo>
                        <a:pt x="198" y="425"/>
                      </a:lnTo>
                      <a:lnTo>
                        <a:pt x="194" y="418"/>
                      </a:lnTo>
                      <a:lnTo>
                        <a:pt x="193" y="418"/>
                      </a:lnTo>
                      <a:lnTo>
                        <a:pt x="191" y="418"/>
                      </a:lnTo>
                      <a:lnTo>
                        <a:pt x="186" y="418"/>
                      </a:lnTo>
                      <a:lnTo>
                        <a:pt x="185" y="418"/>
                      </a:lnTo>
                      <a:lnTo>
                        <a:pt x="183" y="418"/>
                      </a:lnTo>
                      <a:lnTo>
                        <a:pt x="178" y="418"/>
                      </a:lnTo>
                      <a:lnTo>
                        <a:pt x="177" y="417"/>
                      </a:lnTo>
                      <a:lnTo>
                        <a:pt x="169" y="418"/>
                      </a:lnTo>
                      <a:lnTo>
                        <a:pt x="156" y="421"/>
                      </a:lnTo>
                      <a:lnTo>
                        <a:pt x="153" y="421"/>
                      </a:lnTo>
                      <a:lnTo>
                        <a:pt x="151" y="420"/>
                      </a:lnTo>
                      <a:lnTo>
                        <a:pt x="145" y="413"/>
                      </a:lnTo>
                      <a:lnTo>
                        <a:pt x="140" y="406"/>
                      </a:lnTo>
                      <a:lnTo>
                        <a:pt x="137" y="405"/>
                      </a:lnTo>
                      <a:lnTo>
                        <a:pt x="136" y="404"/>
                      </a:lnTo>
                      <a:lnTo>
                        <a:pt x="135" y="402"/>
                      </a:lnTo>
                      <a:lnTo>
                        <a:pt x="134" y="400"/>
                      </a:lnTo>
                      <a:lnTo>
                        <a:pt x="133" y="400"/>
                      </a:lnTo>
                      <a:lnTo>
                        <a:pt x="131" y="399"/>
                      </a:lnTo>
                      <a:lnTo>
                        <a:pt x="130" y="399"/>
                      </a:lnTo>
                      <a:lnTo>
                        <a:pt x="130" y="393"/>
                      </a:lnTo>
                      <a:lnTo>
                        <a:pt x="129" y="391"/>
                      </a:lnTo>
                      <a:lnTo>
                        <a:pt x="128" y="391"/>
                      </a:lnTo>
                      <a:lnTo>
                        <a:pt x="127" y="392"/>
                      </a:lnTo>
                      <a:lnTo>
                        <a:pt x="126" y="392"/>
                      </a:lnTo>
                      <a:lnTo>
                        <a:pt x="124" y="392"/>
                      </a:lnTo>
                      <a:lnTo>
                        <a:pt x="123" y="392"/>
                      </a:lnTo>
                      <a:lnTo>
                        <a:pt x="122" y="392"/>
                      </a:lnTo>
                      <a:lnTo>
                        <a:pt x="121" y="392"/>
                      </a:lnTo>
                      <a:lnTo>
                        <a:pt x="119" y="393"/>
                      </a:lnTo>
                      <a:lnTo>
                        <a:pt x="117" y="393"/>
                      </a:lnTo>
                      <a:lnTo>
                        <a:pt x="116" y="393"/>
                      </a:lnTo>
                      <a:lnTo>
                        <a:pt x="115" y="393"/>
                      </a:lnTo>
                      <a:lnTo>
                        <a:pt x="115" y="395"/>
                      </a:lnTo>
                      <a:lnTo>
                        <a:pt x="114" y="395"/>
                      </a:lnTo>
                      <a:lnTo>
                        <a:pt x="113" y="395"/>
                      </a:lnTo>
                      <a:lnTo>
                        <a:pt x="112" y="395"/>
                      </a:lnTo>
                      <a:lnTo>
                        <a:pt x="110" y="395"/>
                      </a:lnTo>
                      <a:lnTo>
                        <a:pt x="109" y="395"/>
                      </a:lnTo>
                      <a:lnTo>
                        <a:pt x="108" y="395"/>
                      </a:lnTo>
                      <a:lnTo>
                        <a:pt x="107" y="395"/>
                      </a:lnTo>
                      <a:lnTo>
                        <a:pt x="106" y="395"/>
                      </a:lnTo>
                      <a:lnTo>
                        <a:pt x="106" y="396"/>
                      </a:lnTo>
                      <a:lnTo>
                        <a:pt x="105" y="396"/>
                      </a:lnTo>
                      <a:lnTo>
                        <a:pt x="102" y="399"/>
                      </a:lnTo>
                      <a:lnTo>
                        <a:pt x="102" y="400"/>
                      </a:lnTo>
                      <a:lnTo>
                        <a:pt x="103" y="402"/>
                      </a:lnTo>
                      <a:lnTo>
                        <a:pt x="102" y="403"/>
                      </a:lnTo>
                      <a:lnTo>
                        <a:pt x="102" y="405"/>
                      </a:lnTo>
                      <a:lnTo>
                        <a:pt x="101" y="405"/>
                      </a:lnTo>
                      <a:lnTo>
                        <a:pt x="101" y="406"/>
                      </a:lnTo>
                      <a:lnTo>
                        <a:pt x="100" y="407"/>
                      </a:lnTo>
                      <a:lnTo>
                        <a:pt x="99" y="409"/>
                      </a:lnTo>
                      <a:lnTo>
                        <a:pt x="98" y="410"/>
                      </a:lnTo>
                      <a:lnTo>
                        <a:pt x="96" y="410"/>
                      </a:lnTo>
                      <a:lnTo>
                        <a:pt x="95" y="410"/>
                      </a:lnTo>
                      <a:lnTo>
                        <a:pt x="95" y="411"/>
                      </a:lnTo>
                      <a:lnTo>
                        <a:pt x="95" y="420"/>
                      </a:lnTo>
                      <a:lnTo>
                        <a:pt x="95" y="421"/>
                      </a:lnTo>
                      <a:lnTo>
                        <a:pt x="93" y="424"/>
                      </a:lnTo>
                      <a:lnTo>
                        <a:pt x="92" y="424"/>
                      </a:lnTo>
                      <a:lnTo>
                        <a:pt x="92" y="425"/>
                      </a:lnTo>
                      <a:lnTo>
                        <a:pt x="92" y="431"/>
                      </a:lnTo>
                      <a:lnTo>
                        <a:pt x="91" y="432"/>
                      </a:lnTo>
                      <a:lnTo>
                        <a:pt x="88" y="437"/>
                      </a:lnTo>
                      <a:lnTo>
                        <a:pt x="88" y="438"/>
                      </a:lnTo>
                      <a:lnTo>
                        <a:pt x="88" y="440"/>
                      </a:lnTo>
                      <a:lnTo>
                        <a:pt x="88" y="441"/>
                      </a:lnTo>
                      <a:lnTo>
                        <a:pt x="87" y="441"/>
                      </a:lnTo>
                      <a:lnTo>
                        <a:pt x="86" y="441"/>
                      </a:lnTo>
                      <a:lnTo>
                        <a:pt x="84" y="441"/>
                      </a:lnTo>
                      <a:lnTo>
                        <a:pt x="83" y="442"/>
                      </a:lnTo>
                      <a:lnTo>
                        <a:pt x="79" y="444"/>
                      </a:lnTo>
                      <a:lnTo>
                        <a:pt x="78" y="445"/>
                      </a:lnTo>
                      <a:lnTo>
                        <a:pt x="76" y="446"/>
                      </a:lnTo>
                      <a:lnTo>
                        <a:pt x="76" y="447"/>
                      </a:lnTo>
                      <a:lnTo>
                        <a:pt x="74" y="447"/>
                      </a:lnTo>
                      <a:lnTo>
                        <a:pt x="71" y="447"/>
                      </a:lnTo>
                      <a:lnTo>
                        <a:pt x="70" y="447"/>
                      </a:lnTo>
                      <a:lnTo>
                        <a:pt x="69" y="447"/>
                      </a:lnTo>
                      <a:lnTo>
                        <a:pt x="67" y="446"/>
                      </a:lnTo>
                      <a:lnTo>
                        <a:pt x="66" y="446"/>
                      </a:lnTo>
                      <a:lnTo>
                        <a:pt x="64" y="446"/>
                      </a:lnTo>
                      <a:lnTo>
                        <a:pt x="63" y="446"/>
                      </a:lnTo>
                      <a:lnTo>
                        <a:pt x="62" y="446"/>
                      </a:lnTo>
                      <a:lnTo>
                        <a:pt x="62" y="447"/>
                      </a:lnTo>
                      <a:lnTo>
                        <a:pt x="60" y="446"/>
                      </a:lnTo>
                      <a:lnTo>
                        <a:pt x="59" y="446"/>
                      </a:lnTo>
                      <a:lnTo>
                        <a:pt x="58" y="446"/>
                      </a:lnTo>
                      <a:lnTo>
                        <a:pt x="57" y="446"/>
                      </a:lnTo>
                      <a:lnTo>
                        <a:pt x="56" y="446"/>
                      </a:lnTo>
                      <a:lnTo>
                        <a:pt x="56" y="447"/>
                      </a:lnTo>
                      <a:lnTo>
                        <a:pt x="55" y="446"/>
                      </a:lnTo>
                      <a:lnTo>
                        <a:pt x="53" y="445"/>
                      </a:lnTo>
                      <a:lnTo>
                        <a:pt x="53" y="444"/>
                      </a:lnTo>
                      <a:lnTo>
                        <a:pt x="55" y="444"/>
                      </a:lnTo>
                      <a:lnTo>
                        <a:pt x="56" y="441"/>
                      </a:lnTo>
                      <a:lnTo>
                        <a:pt x="57" y="439"/>
                      </a:lnTo>
                      <a:lnTo>
                        <a:pt x="57" y="438"/>
                      </a:lnTo>
                      <a:lnTo>
                        <a:pt x="56" y="437"/>
                      </a:lnTo>
                      <a:lnTo>
                        <a:pt x="55" y="438"/>
                      </a:lnTo>
                      <a:lnTo>
                        <a:pt x="53" y="438"/>
                      </a:lnTo>
                      <a:lnTo>
                        <a:pt x="52" y="437"/>
                      </a:lnTo>
                      <a:lnTo>
                        <a:pt x="53" y="432"/>
                      </a:lnTo>
                      <a:lnTo>
                        <a:pt x="55" y="431"/>
                      </a:lnTo>
                      <a:lnTo>
                        <a:pt x="55" y="432"/>
                      </a:lnTo>
                      <a:lnTo>
                        <a:pt x="56" y="431"/>
                      </a:lnTo>
                      <a:lnTo>
                        <a:pt x="57" y="431"/>
                      </a:lnTo>
                      <a:lnTo>
                        <a:pt x="58" y="428"/>
                      </a:lnTo>
                      <a:lnTo>
                        <a:pt x="58" y="427"/>
                      </a:lnTo>
                      <a:lnTo>
                        <a:pt x="58" y="426"/>
                      </a:lnTo>
                      <a:lnTo>
                        <a:pt x="59" y="424"/>
                      </a:lnTo>
                      <a:lnTo>
                        <a:pt x="59" y="423"/>
                      </a:lnTo>
                      <a:lnTo>
                        <a:pt x="58" y="423"/>
                      </a:lnTo>
                      <a:lnTo>
                        <a:pt x="58" y="421"/>
                      </a:lnTo>
                      <a:lnTo>
                        <a:pt x="58" y="420"/>
                      </a:lnTo>
                      <a:lnTo>
                        <a:pt x="58" y="419"/>
                      </a:lnTo>
                      <a:lnTo>
                        <a:pt x="59" y="417"/>
                      </a:lnTo>
                      <a:lnTo>
                        <a:pt x="59" y="416"/>
                      </a:lnTo>
                      <a:lnTo>
                        <a:pt x="60" y="414"/>
                      </a:lnTo>
                      <a:lnTo>
                        <a:pt x="59" y="410"/>
                      </a:lnTo>
                      <a:lnTo>
                        <a:pt x="58" y="407"/>
                      </a:lnTo>
                      <a:lnTo>
                        <a:pt x="53" y="399"/>
                      </a:lnTo>
                      <a:lnTo>
                        <a:pt x="48" y="391"/>
                      </a:lnTo>
                      <a:lnTo>
                        <a:pt x="42" y="385"/>
                      </a:lnTo>
                      <a:lnTo>
                        <a:pt x="38" y="383"/>
                      </a:lnTo>
                      <a:lnTo>
                        <a:pt x="34" y="376"/>
                      </a:lnTo>
                      <a:lnTo>
                        <a:pt x="34" y="375"/>
                      </a:lnTo>
                      <a:lnTo>
                        <a:pt x="35" y="371"/>
                      </a:lnTo>
                      <a:lnTo>
                        <a:pt x="36" y="370"/>
                      </a:lnTo>
                      <a:lnTo>
                        <a:pt x="36" y="369"/>
                      </a:lnTo>
                      <a:lnTo>
                        <a:pt x="36" y="368"/>
                      </a:lnTo>
                      <a:lnTo>
                        <a:pt x="37" y="367"/>
                      </a:lnTo>
                      <a:lnTo>
                        <a:pt x="37" y="365"/>
                      </a:lnTo>
                      <a:lnTo>
                        <a:pt x="37" y="364"/>
                      </a:lnTo>
                      <a:lnTo>
                        <a:pt x="36" y="362"/>
                      </a:lnTo>
                      <a:lnTo>
                        <a:pt x="36" y="360"/>
                      </a:lnTo>
                      <a:lnTo>
                        <a:pt x="35" y="360"/>
                      </a:lnTo>
                      <a:lnTo>
                        <a:pt x="31" y="360"/>
                      </a:lnTo>
                      <a:lnTo>
                        <a:pt x="31" y="358"/>
                      </a:lnTo>
                      <a:lnTo>
                        <a:pt x="30" y="357"/>
                      </a:lnTo>
                      <a:lnTo>
                        <a:pt x="28" y="357"/>
                      </a:lnTo>
                      <a:lnTo>
                        <a:pt x="27" y="356"/>
                      </a:lnTo>
                      <a:lnTo>
                        <a:pt x="25" y="355"/>
                      </a:lnTo>
                      <a:lnTo>
                        <a:pt x="24" y="354"/>
                      </a:lnTo>
                      <a:lnTo>
                        <a:pt x="24" y="353"/>
                      </a:lnTo>
                      <a:lnTo>
                        <a:pt x="23" y="350"/>
                      </a:lnTo>
                      <a:lnTo>
                        <a:pt x="25" y="341"/>
                      </a:lnTo>
                      <a:lnTo>
                        <a:pt x="25" y="339"/>
                      </a:lnTo>
                      <a:lnTo>
                        <a:pt x="27" y="339"/>
                      </a:lnTo>
                      <a:lnTo>
                        <a:pt x="25" y="337"/>
                      </a:lnTo>
                      <a:lnTo>
                        <a:pt x="25" y="339"/>
                      </a:lnTo>
                      <a:lnTo>
                        <a:pt x="25" y="337"/>
                      </a:lnTo>
                      <a:lnTo>
                        <a:pt x="24" y="339"/>
                      </a:lnTo>
                      <a:lnTo>
                        <a:pt x="22" y="339"/>
                      </a:lnTo>
                      <a:lnTo>
                        <a:pt x="21" y="340"/>
                      </a:lnTo>
                      <a:lnTo>
                        <a:pt x="22" y="336"/>
                      </a:lnTo>
                      <a:lnTo>
                        <a:pt x="22" y="335"/>
                      </a:lnTo>
                      <a:lnTo>
                        <a:pt x="20" y="327"/>
                      </a:lnTo>
                      <a:lnTo>
                        <a:pt x="19" y="326"/>
                      </a:lnTo>
                      <a:lnTo>
                        <a:pt x="20" y="325"/>
                      </a:lnTo>
                      <a:lnTo>
                        <a:pt x="21" y="320"/>
                      </a:lnTo>
                      <a:lnTo>
                        <a:pt x="17" y="319"/>
                      </a:lnTo>
                      <a:lnTo>
                        <a:pt x="13" y="316"/>
                      </a:lnTo>
                      <a:lnTo>
                        <a:pt x="13" y="318"/>
                      </a:lnTo>
                      <a:lnTo>
                        <a:pt x="12" y="319"/>
                      </a:lnTo>
                      <a:lnTo>
                        <a:pt x="10" y="319"/>
                      </a:lnTo>
                      <a:lnTo>
                        <a:pt x="8" y="320"/>
                      </a:lnTo>
                      <a:lnTo>
                        <a:pt x="7" y="320"/>
                      </a:lnTo>
                      <a:lnTo>
                        <a:pt x="6" y="320"/>
                      </a:lnTo>
                      <a:lnTo>
                        <a:pt x="5" y="320"/>
                      </a:lnTo>
                      <a:lnTo>
                        <a:pt x="3" y="319"/>
                      </a:lnTo>
                      <a:lnTo>
                        <a:pt x="2" y="319"/>
                      </a:lnTo>
                      <a:lnTo>
                        <a:pt x="1" y="316"/>
                      </a:lnTo>
                      <a:lnTo>
                        <a:pt x="1" y="315"/>
                      </a:lnTo>
                      <a:lnTo>
                        <a:pt x="0" y="314"/>
                      </a:lnTo>
                      <a:lnTo>
                        <a:pt x="1" y="314"/>
                      </a:lnTo>
                      <a:lnTo>
                        <a:pt x="1" y="313"/>
                      </a:lnTo>
                      <a:lnTo>
                        <a:pt x="2" y="311"/>
                      </a:lnTo>
                      <a:lnTo>
                        <a:pt x="5" y="306"/>
                      </a:lnTo>
                      <a:lnTo>
                        <a:pt x="6" y="305"/>
                      </a:lnTo>
                      <a:lnTo>
                        <a:pt x="7" y="304"/>
                      </a:lnTo>
                      <a:lnTo>
                        <a:pt x="10" y="302"/>
                      </a:lnTo>
                      <a:lnTo>
                        <a:pt x="12" y="301"/>
                      </a:lnTo>
                      <a:lnTo>
                        <a:pt x="14" y="299"/>
                      </a:lnTo>
                      <a:lnTo>
                        <a:pt x="15" y="297"/>
                      </a:lnTo>
                      <a:lnTo>
                        <a:pt x="15" y="295"/>
                      </a:lnTo>
                      <a:lnTo>
                        <a:pt x="15" y="294"/>
                      </a:lnTo>
                      <a:lnTo>
                        <a:pt x="14" y="293"/>
                      </a:lnTo>
                      <a:lnTo>
                        <a:pt x="13" y="292"/>
                      </a:lnTo>
                      <a:lnTo>
                        <a:pt x="13" y="290"/>
                      </a:lnTo>
                      <a:lnTo>
                        <a:pt x="13" y="288"/>
                      </a:lnTo>
                      <a:lnTo>
                        <a:pt x="10" y="287"/>
                      </a:lnTo>
                      <a:lnTo>
                        <a:pt x="10" y="286"/>
                      </a:lnTo>
                      <a:lnTo>
                        <a:pt x="10" y="285"/>
                      </a:lnTo>
                      <a:lnTo>
                        <a:pt x="10" y="284"/>
                      </a:lnTo>
                      <a:lnTo>
                        <a:pt x="9" y="284"/>
                      </a:lnTo>
                      <a:lnTo>
                        <a:pt x="9" y="283"/>
                      </a:lnTo>
                      <a:lnTo>
                        <a:pt x="9" y="281"/>
                      </a:lnTo>
                      <a:lnTo>
                        <a:pt x="13" y="278"/>
                      </a:lnTo>
                      <a:lnTo>
                        <a:pt x="14" y="277"/>
                      </a:lnTo>
                      <a:lnTo>
                        <a:pt x="14" y="276"/>
                      </a:lnTo>
                      <a:lnTo>
                        <a:pt x="20" y="273"/>
                      </a:lnTo>
                      <a:lnTo>
                        <a:pt x="21" y="272"/>
                      </a:lnTo>
                      <a:lnTo>
                        <a:pt x="22" y="272"/>
                      </a:lnTo>
                      <a:lnTo>
                        <a:pt x="23" y="271"/>
                      </a:lnTo>
                      <a:lnTo>
                        <a:pt x="24" y="271"/>
                      </a:lnTo>
                      <a:lnTo>
                        <a:pt x="24" y="270"/>
                      </a:lnTo>
                      <a:lnTo>
                        <a:pt x="23" y="269"/>
                      </a:lnTo>
                      <a:lnTo>
                        <a:pt x="23" y="267"/>
                      </a:lnTo>
                      <a:lnTo>
                        <a:pt x="21" y="267"/>
                      </a:lnTo>
                      <a:lnTo>
                        <a:pt x="20" y="266"/>
                      </a:lnTo>
                      <a:lnTo>
                        <a:pt x="20" y="265"/>
                      </a:lnTo>
                      <a:lnTo>
                        <a:pt x="20" y="264"/>
                      </a:lnTo>
                      <a:lnTo>
                        <a:pt x="21" y="264"/>
                      </a:lnTo>
                      <a:lnTo>
                        <a:pt x="21" y="263"/>
                      </a:lnTo>
                      <a:lnTo>
                        <a:pt x="20" y="259"/>
                      </a:lnTo>
                      <a:lnTo>
                        <a:pt x="19" y="258"/>
                      </a:lnTo>
                      <a:lnTo>
                        <a:pt x="19" y="257"/>
                      </a:lnTo>
                      <a:lnTo>
                        <a:pt x="19" y="256"/>
                      </a:lnTo>
                      <a:lnTo>
                        <a:pt x="20" y="256"/>
                      </a:lnTo>
                      <a:lnTo>
                        <a:pt x="21" y="255"/>
                      </a:lnTo>
                      <a:lnTo>
                        <a:pt x="28" y="252"/>
                      </a:lnTo>
                      <a:lnTo>
                        <a:pt x="28" y="251"/>
                      </a:lnTo>
                      <a:lnTo>
                        <a:pt x="28" y="250"/>
                      </a:lnTo>
                      <a:lnTo>
                        <a:pt x="27" y="249"/>
                      </a:lnTo>
                      <a:lnTo>
                        <a:pt x="27" y="248"/>
                      </a:lnTo>
                      <a:lnTo>
                        <a:pt x="28" y="248"/>
                      </a:lnTo>
                      <a:lnTo>
                        <a:pt x="29" y="246"/>
                      </a:lnTo>
                      <a:lnTo>
                        <a:pt x="29" y="245"/>
                      </a:lnTo>
                      <a:lnTo>
                        <a:pt x="29" y="244"/>
                      </a:lnTo>
                      <a:lnTo>
                        <a:pt x="30" y="244"/>
                      </a:lnTo>
                      <a:lnTo>
                        <a:pt x="30" y="243"/>
                      </a:lnTo>
                      <a:lnTo>
                        <a:pt x="32" y="239"/>
                      </a:lnTo>
                      <a:lnTo>
                        <a:pt x="34" y="239"/>
                      </a:lnTo>
                      <a:lnTo>
                        <a:pt x="35" y="238"/>
                      </a:lnTo>
                      <a:lnTo>
                        <a:pt x="36" y="238"/>
                      </a:lnTo>
                      <a:lnTo>
                        <a:pt x="37" y="236"/>
                      </a:lnTo>
                      <a:lnTo>
                        <a:pt x="37" y="235"/>
                      </a:lnTo>
                      <a:lnTo>
                        <a:pt x="37" y="231"/>
                      </a:lnTo>
                      <a:lnTo>
                        <a:pt x="37" y="230"/>
                      </a:lnTo>
                      <a:lnTo>
                        <a:pt x="37" y="229"/>
                      </a:lnTo>
                      <a:lnTo>
                        <a:pt x="36" y="228"/>
                      </a:lnTo>
                      <a:lnTo>
                        <a:pt x="35" y="227"/>
                      </a:lnTo>
                      <a:lnTo>
                        <a:pt x="35" y="225"/>
                      </a:lnTo>
                      <a:lnTo>
                        <a:pt x="35" y="224"/>
                      </a:lnTo>
                      <a:lnTo>
                        <a:pt x="36" y="224"/>
                      </a:lnTo>
                      <a:lnTo>
                        <a:pt x="38" y="222"/>
                      </a:lnTo>
                      <a:lnTo>
                        <a:pt x="41" y="220"/>
                      </a:lnTo>
                      <a:lnTo>
                        <a:pt x="42" y="220"/>
                      </a:lnTo>
                      <a:lnTo>
                        <a:pt x="44" y="218"/>
                      </a:lnTo>
                      <a:lnTo>
                        <a:pt x="49" y="220"/>
                      </a:lnTo>
                      <a:lnTo>
                        <a:pt x="51" y="220"/>
                      </a:lnTo>
                      <a:lnTo>
                        <a:pt x="55" y="218"/>
                      </a:lnTo>
                      <a:lnTo>
                        <a:pt x="57" y="217"/>
                      </a:lnTo>
                      <a:lnTo>
                        <a:pt x="60" y="217"/>
                      </a:lnTo>
                      <a:lnTo>
                        <a:pt x="65" y="218"/>
                      </a:lnTo>
                      <a:lnTo>
                        <a:pt x="69" y="220"/>
                      </a:lnTo>
                      <a:lnTo>
                        <a:pt x="70" y="220"/>
                      </a:lnTo>
                      <a:lnTo>
                        <a:pt x="70" y="218"/>
                      </a:lnTo>
                      <a:lnTo>
                        <a:pt x="70" y="216"/>
                      </a:lnTo>
                      <a:lnTo>
                        <a:pt x="70" y="209"/>
                      </a:lnTo>
                      <a:lnTo>
                        <a:pt x="70" y="201"/>
                      </a:lnTo>
                      <a:lnTo>
                        <a:pt x="70" y="194"/>
                      </a:lnTo>
                      <a:lnTo>
                        <a:pt x="70" y="186"/>
                      </a:lnTo>
                      <a:lnTo>
                        <a:pt x="70" y="178"/>
                      </a:lnTo>
                      <a:lnTo>
                        <a:pt x="70" y="171"/>
                      </a:lnTo>
                      <a:lnTo>
                        <a:pt x="70" y="163"/>
                      </a:lnTo>
                      <a:lnTo>
                        <a:pt x="70" y="156"/>
                      </a:lnTo>
                      <a:lnTo>
                        <a:pt x="70" y="147"/>
                      </a:lnTo>
                      <a:lnTo>
                        <a:pt x="70" y="139"/>
                      </a:lnTo>
                      <a:lnTo>
                        <a:pt x="70" y="132"/>
                      </a:lnTo>
                      <a:lnTo>
                        <a:pt x="70" y="124"/>
                      </a:lnTo>
                      <a:lnTo>
                        <a:pt x="70" y="116"/>
                      </a:lnTo>
                      <a:lnTo>
                        <a:pt x="70" y="109"/>
                      </a:lnTo>
                      <a:lnTo>
                        <a:pt x="70" y="101"/>
                      </a:lnTo>
                      <a:lnTo>
                        <a:pt x="70" y="93"/>
                      </a:lnTo>
                      <a:lnTo>
                        <a:pt x="70" y="88"/>
                      </a:lnTo>
                      <a:lnTo>
                        <a:pt x="70" y="84"/>
                      </a:lnTo>
                      <a:lnTo>
                        <a:pt x="70" y="80"/>
                      </a:lnTo>
                      <a:lnTo>
                        <a:pt x="70" y="76"/>
                      </a:lnTo>
                      <a:lnTo>
                        <a:pt x="74" y="76"/>
                      </a:lnTo>
                      <a:lnTo>
                        <a:pt x="78" y="76"/>
                      </a:lnTo>
                      <a:lnTo>
                        <a:pt x="81" y="76"/>
                      </a:lnTo>
                      <a:lnTo>
                        <a:pt x="85" y="76"/>
                      </a:lnTo>
                      <a:lnTo>
                        <a:pt x="89" y="76"/>
                      </a:lnTo>
                      <a:lnTo>
                        <a:pt x="93" y="76"/>
                      </a:lnTo>
                      <a:lnTo>
                        <a:pt x="98" y="76"/>
                      </a:lnTo>
                      <a:lnTo>
                        <a:pt x="101" y="76"/>
                      </a:lnTo>
                      <a:lnTo>
                        <a:pt x="101" y="75"/>
                      </a:lnTo>
                      <a:lnTo>
                        <a:pt x="101" y="72"/>
                      </a:lnTo>
                      <a:lnTo>
                        <a:pt x="101" y="68"/>
                      </a:lnTo>
                      <a:lnTo>
                        <a:pt x="101" y="65"/>
                      </a:lnTo>
                      <a:lnTo>
                        <a:pt x="101" y="62"/>
                      </a:lnTo>
                      <a:lnTo>
                        <a:pt x="101" y="59"/>
                      </a:lnTo>
                      <a:lnTo>
                        <a:pt x="101" y="54"/>
                      </a:lnTo>
                      <a:lnTo>
                        <a:pt x="101" y="51"/>
                      </a:lnTo>
                      <a:lnTo>
                        <a:pt x="101" y="46"/>
                      </a:lnTo>
                      <a:lnTo>
                        <a:pt x="101" y="41"/>
                      </a:lnTo>
                      <a:lnTo>
                        <a:pt x="101" y="38"/>
                      </a:lnTo>
                      <a:lnTo>
                        <a:pt x="101" y="33"/>
                      </a:lnTo>
                      <a:lnTo>
                        <a:pt x="101" y="28"/>
                      </a:lnTo>
                      <a:lnTo>
                        <a:pt x="101" y="25"/>
                      </a:lnTo>
                      <a:lnTo>
                        <a:pt x="101" y="20"/>
                      </a:lnTo>
                      <a:lnTo>
                        <a:pt x="101" y="16"/>
                      </a:lnTo>
                      <a:lnTo>
                        <a:pt x="101" y="12"/>
                      </a:lnTo>
                      <a:lnTo>
                        <a:pt x="101" y="7"/>
                      </a:lnTo>
                      <a:lnTo>
                        <a:pt x="105" y="7"/>
                      </a:lnTo>
                      <a:lnTo>
                        <a:pt x="108" y="7"/>
                      </a:lnTo>
                      <a:lnTo>
                        <a:pt x="110" y="7"/>
                      </a:lnTo>
                      <a:lnTo>
                        <a:pt x="114" y="7"/>
                      </a:lnTo>
                      <a:lnTo>
                        <a:pt x="117" y="7"/>
                      </a:lnTo>
                      <a:lnTo>
                        <a:pt x="120" y="7"/>
                      </a:lnTo>
                      <a:lnTo>
                        <a:pt x="123" y="7"/>
                      </a:lnTo>
                      <a:lnTo>
                        <a:pt x="127" y="7"/>
                      </a:lnTo>
                      <a:lnTo>
                        <a:pt x="129" y="7"/>
                      </a:lnTo>
                      <a:lnTo>
                        <a:pt x="133" y="7"/>
                      </a:lnTo>
                      <a:lnTo>
                        <a:pt x="136" y="7"/>
                      </a:lnTo>
                      <a:lnTo>
                        <a:pt x="138" y="7"/>
                      </a:lnTo>
                      <a:lnTo>
                        <a:pt x="142" y="7"/>
                      </a:lnTo>
                      <a:lnTo>
                        <a:pt x="145" y="7"/>
                      </a:lnTo>
                      <a:lnTo>
                        <a:pt x="148" y="7"/>
                      </a:lnTo>
                      <a:lnTo>
                        <a:pt x="151" y="7"/>
                      </a:lnTo>
                      <a:lnTo>
                        <a:pt x="155" y="7"/>
                      </a:lnTo>
                      <a:lnTo>
                        <a:pt x="157" y="7"/>
                      </a:lnTo>
                      <a:lnTo>
                        <a:pt x="160" y="7"/>
                      </a:lnTo>
                      <a:lnTo>
                        <a:pt x="164" y="7"/>
                      </a:lnTo>
                      <a:lnTo>
                        <a:pt x="166" y="7"/>
                      </a:lnTo>
                      <a:lnTo>
                        <a:pt x="170" y="7"/>
                      </a:lnTo>
                      <a:lnTo>
                        <a:pt x="173" y="7"/>
                      </a:lnTo>
                      <a:lnTo>
                        <a:pt x="177" y="7"/>
                      </a:lnTo>
                      <a:lnTo>
                        <a:pt x="179" y="7"/>
                      </a:lnTo>
                      <a:lnTo>
                        <a:pt x="183" y="7"/>
                      </a:lnTo>
                      <a:lnTo>
                        <a:pt x="186" y="7"/>
                      </a:lnTo>
                      <a:lnTo>
                        <a:pt x="188" y="7"/>
                      </a:lnTo>
                      <a:lnTo>
                        <a:pt x="192" y="7"/>
                      </a:lnTo>
                      <a:lnTo>
                        <a:pt x="195" y="7"/>
                      </a:lnTo>
                      <a:lnTo>
                        <a:pt x="198" y="7"/>
                      </a:lnTo>
                      <a:lnTo>
                        <a:pt x="201" y="7"/>
                      </a:lnTo>
                      <a:lnTo>
                        <a:pt x="205" y="7"/>
                      </a:lnTo>
                      <a:lnTo>
                        <a:pt x="207" y="7"/>
                      </a:lnTo>
                      <a:lnTo>
                        <a:pt x="211" y="7"/>
                      </a:lnTo>
                      <a:lnTo>
                        <a:pt x="214" y="7"/>
                      </a:lnTo>
                      <a:lnTo>
                        <a:pt x="216" y="7"/>
                      </a:lnTo>
                      <a:lnTo>
                        <a:pt x="220" y="7"/>
                      </a:lnTo>
                      <a:lnTo>
                        <a:pt x="223" y="7"/>
                      </a:lnTo>
                      <a:lnTo>
                        <a:pt x="226" y="7"/>
                      </a:lnTo>
                      <a:lnTo>
                        <a:pt x="229" y="7"/>
                      </a:lnTo>
                      <a:lnTo>
                        <a:pt x="233" y="7"/>
                      </a:lnTo>
                      <a:lnTo>
                        <a:pt x="235" y="7"/>
                      </a:lnTo>
                      <a:lnTo>
                        <a:pt x="238" y="7"/>
                      </a:lnTo>
                      <a:lnTo>
                        <a:pt x="242" y="7"/>
                      </a:lnTo>
                      <a:lnTo>
                        <a:pt x="244" y="7"/>
                      </a:lnTo>
                      <a:lnTo>
                        <a:pt x="248" y="7"/>
                      </a:lnTo>
                      <a:lnTo>
                        <a:pt x="251" y="7"/>
                      </a:lnTo>
                      <a:lnTo>
                        <a:pt x="254" y="7"/>
                      </a:lnTo>
                      <a:lnTo>
                        <a:pt x="257" y="7"/>
                      </a:lnTo>
                      <a:lnTo>
                        <a:pt x="261" y="7"/>
                      </a:lnTo>
                      <a:lnTo>
                        <a:pt x="263" y="7"/>
                      </a:lnTo>
                      <a:lnTo>
                        <a:pt x="266" y="7"/>
                      </a:lnTo>
                      <a:lnTo>
                        <a:pt x="270" y="7"/>
                      </a:lnTo>
                      <a:lnTo>
                        <a:pt x="272" y="7"/>
                      </a:lnTo>
                      <a:lnTo>
                        <a:pt x="276" y="7"/>
                      </a:lnTo>
                      <a:lnTo>
                        <a:pt x="279" y="7"/>
                      </a:lnTo>
                      <a:lnTo>
                        <a:pt x="281" y="7"/>
                      </a:lnTo>
                      <a:lnTo>
                        <a:pt x="285" y="7"/>
                      </a:lnTo>
                      <a:lnTo>
                        <a:pt x="288" y="7"/>
                      </a:lnTo>
                      <a:lnTo>
                        <a:pt x="292" y="7"/>
                      </a:lnTo>
                      <a:lnTo>
                        <a:pt x="294" y="7"/>
                      </a:lnTo>
                      <a:lnTo>
                        <a:pt x="298" y="7"/>
                      </a:lnTo>
                      <a:lnTo>
                        <a:pt x="301" y="7"/>
                      </a:lnTo>
                      <a:lnTo>
                        <a:pt x="302" y="7"/>
                      </a:lnTo>
                      <a:lnTo>
                        <a:pt x="304" y="4"/>
                      </a:lnTo>
                      <a:lnTo>
                        <a:pt x="306" y="2"/>
                      </a:lnTo>
                      <a:lnTo>
                        <a:pt x="306" y="0"/>
                      </a:lnTo>
                      <a:lnTo>
                        <a:pt x="307" y="0"/>
                      </a:lnTo>
                      <a:lnTo>
                        <a:pt x="308" y="0"/>
                      </a:lnTo>
                      <a:lnTo>
                        <a:pt x="309" y="0"/>
                      </a:lnTo>
                      <a:lnTo>
                        <a:pt x="309" y="2"/>
                      </a:lnTo>
                      <a:lnTo>
                        <a:pt x="309" y="3"/>
                      </a:lnTo>
                      <a:lnTo>
                        <a:pt x="309" y="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5" name="Freeform 111">
                  <a:extLst>
                    <a:ext uri="{FF2B5EF4-FFF2-40B4-BE49-F238E27FC236}">
                      <a16:creationId xmlns:a16="http://schemas.microsoft.com/office/drawing/2014/main" id="{DFBECA48-FB80-0950-0EF6-7C7145340A6C}"/>
                    </a:ext>
                  </a:extLst>
                </p:cNvPr>
                <p:cNvSpPr>
                  <a:spLocks/>
                </p:cNvSpPr>
                <p:nvPr/>
              </p:nvSpPr>
              <p:spPr bwMode="auto">
                <a:xfrm>
                  <a:off x="7055543" y="3377822"/>
                  <a:ext cx="405650" cy="301803"/>
                </a:xfrm>
                <a:custGeom>
                  <a:avLst/>
                  <a:gdLst>
                    <a:gd name="T0" fmla="*/ 310 w 375"/>
                    <a:gd name="T1" fmla="*/ 122 h 279"/>
                    <a:gd name="T2" fmla="*/ 298 w 375"/>
                    <a:gd name="T3" fmla="*/ 121 h 279"/>
                    <a:gd name="T4" fmla="*/ 288 w 375"/>
                    <a:gd name="T5" fmla="*/ 127 h 279"/>
                    <a:gd name="T6" fmla="*/ 282 w 375"/>
                    <a:gd name="T7" fmla="*/ 138 h 279"/>
                    <a:gd name="T8" fmla="*/ 291 w 375"/>
                    <a:gd name="T9" fmla="*/ 145 h 279"/>
                    <a:gd name="T10" fmla="*/ 305 w 375"/>
                    <a:gd name="T11" fmla="*/ 146 h 279"/>
                    <a:gd name="T12" fmla="*/ 317 w 375"/>
                    <a:gd name="T13" fmla="*/ 161 h 279"/>
                    <a:gd name="T14" fmla="*/ 331 w 375"/>
                    <a:gd name="T15" fmla="*/ 171 h 279"/>
                    <a:gd name="T16" fmla="*/ 337 w 375"/>
                    <a:gd name="T17" fmla="*/ 180 h 279"/>
                    <a:gd name="T18" fmla="*/ 344 w 375"/>
                    <a:gd name="T19" fmla="*/ 196 h 279"/>
                    <a:gd name="T20" fmla="*/ 349 w 375"/>
                    <a:gd name="T21" fmla="*/ 212 h 279"/>
                    <a:gd name="T22" fmla="*/ 360 w 375"/>
                    <a:gd name="T23" fmla="*/ 218 h 279"/>
                    <a:gd name="T24" fmla="*/ 370 w 375"/>
                    <a:gd name="T25" fmla="*/ 225 h 279"/>
                    <a:gd name="T26" fmla="*/ 369 w 375"/>
                    <a:gd name="T27" fmla="*/ 241 h 279"/>
                    <a:gd name="T28" fmla="*/ 356 w 375"/>
                    <a:gd name="T29" fmla="*/ 232 h 279"/>
                    <a:gd name="T30" fmla="*/ 329 w 375"/>
                    <a:gd name="T31" fmla="*/ 241 h 279"/>
                    <a:gd name="T32" fmla="*/ 296 w 375"/>
                    <a:gd name="T33" fmla="*/ 271 h 279"/>
                    <a:gd name="T34" fmla="*/ 263 w 375"/>
                    <a:gd name="T35" fmla="*/ 271 h 279"/>
                    <a:gd name="T36" fmla="*/ 247 w 375"/>
                    <a:gd name="T37" fmla="*/ 273 h 279"/>
                    <a:gd name="T38" fmla="*/ 225 w 375"/>
                    <a:gd name="T39" fmla="*/ 269 h 279"/>
                    <a:gd name="T40" fmla="*/ 213 w 375"/>
                    <a:gd name="T41" fmla="*/ 278 h 279"/>
                    <a:gd name="T42" fmla="*/ 207 w 375"/>
                    <a:gd name="T43" fmla="*/ 274 h 279"/>
                    <a:gd name="T44" fmla="*/ 202 w 375"/>
                    <a:gd name="T45" fmla="*/ 267 h 279"/>
                    <a:gd name="T46" fmla="*/ 187 w 375"/>
                    <a:gd name="T47" fmla="*/ 257 h 279"/>
                    <a:gd name="T48" fmla="*/ 180 w 375"/>
                    <a:gd name="T49" fmla="*/ 248 h 279"/>
                    <a:gd name="T50" fmla="*/ 171 w 375"/>
                    <a:gd name="T51" fmla="*/ 241 h 279"/>
                    <a:gd name="T52" fmla="*/ 162 w 375"/>
                    <a:gd name="T53" fmla="*/ 251 h 279"/>
                    <a:gd name="T54" fmla="*/ 149 w 375"/>
                    <a:gd name="T55" fmla="*/ 247 h 279"/>
                    <a:gd name="T56" fmla="*/ 137 w 375"/>
                    <a:gd name="T57" fmla="*/ 253 h 279"/>
                    <a:gd name="T58" fmla="*/ 125 w 375"/>
                    <a:gd name="T59" fmla="*/ 248 h 279"/>
                    <a:gd name="T60" fmla="*/ 117 w 375"/>
                    <a:gd name="T61" fmla="*/ 244 h 279"/>
                    <a:gd name="T62" fmla="*/ 107 w 375"/>
                    <a:gd name="T63" fmla="*/ 233 h 279"/>
                    <a:gd name="T64" fmla="*/ 99 w 375"/>
                    <a:gd name="T65" fmla="*/ 220 h 279"/>
                    <a:gd name="T66" fmla="*/ 96 w 375"/>
                    <a:gd name="T67" fmla="*/ 206 h 279"/>
                    <a:gd name="T68" fmla="*/ 85 w 375"/>
                    <a:gd name="T69" fmla="*/ 201 h 279"/>
                    <a:gd name="T70" fmla="*/ 75 w 375"/>
                    <a:gd name="T71" fmla="*/ 194 h 279"/>
                    <a:gd name="T72" fmla="*/ 70 w 375"/>
                    <a:gd name="T73" fmla="*/ 187 h 279"/>
                    <a:gd name="T74" fmla="*/ 67 w 375"/>
                    <a:gd name="T75" fmla="*/ 175 h 279"/>
                    <a:gd name="T76" fmla="*/ 59 w 375"/>
                    <a:gd name="T77" fmla="*/ 166 h 279"/>
                    <a:gd name="T78" fmla="*/ 45 w 375"/>
                    <a:gd name="T79" fmla="*/ 159 h 279"/>
                    <a:gd name="T80" fmla="*/ 34 w 375"/>
                    <a:gd name="T81" fmla="*/ 150 h 279"/>
                    <a:gd name="T82" fmla="*/ 34 w 375"/>
                    <a:gd name="T83" fmla="*/ 139 h 279"/>
                    <a:gd name="T84" fmla="*/ 21 w 375"/>
                    <a:gd name="T85" fmla="*/ 129 h 279"/>
                    <a:gd name="T86" fmla="*/ 6 w 375"/>
                    <a:gd name="T87" fmla="*/ 126 h 279"/>
                    <a:gd name="T88" fmla="*/ 3 w 375"/>
                    <a:gd name="T89" fmla="*/ 114 h 279"/>
                    <a:gd name="T90" fmla="*/ 14 w 375"/>
                    <a:gd name="T91" fmla="*/ 106 h 279"/>
                    <a:gd name="T92" fmla="*/ 22 w 375"/>
                    <a:gd name="T93" fmla="*/ 76 h 279"/>
                    <a:gd name="T94" fmla="*/ 32 w 375"/>
                    <a:gd name="T95" fmla="*/ 62 h 279"/>
                    <a:gd name="T96" fmla="*/ 43 w 375"/>
                    <a:gd name="T97" fmla="*/ 59 h 279"/>
                    <a:gd name="T98" fmla="*/ 57 w 375"/>
                    <a:gd name="T99" fmla="*/ 65 h 279"/>
                    <a:gd name="T100" fmla="*/ 103 w 375"/>
                    <a:gd name="T101" fmla="*/ 83 h 279"/>
                    <a:gd name="T102" fmla="*/ 149 w 375"/>
                    <a:gd name="T103" fmla="*/ 91 h 279"/>
                    <a:gd name="T104" fmla="*/ 177 w 375"/>
                    <a:gd name="T105" fmla="*/ 68 h 279"/>
                    <a:gd name="T106" fmla="*/ 226 w 375"/>
                    <a:gd name="T107" fmla="*/ 78 h 279"/>
                    <a:gd name="T108" fmla="*/ 262 w 375"/>
                    <a:gd name="T109" fmla="*/ 29 h 279"/>
                    <a:gd name="T110" fmla="*/ 274 w 375"/>
                    <a:gd name="T111" fmla="*/ 1 h 279"/>
                    <a:gd name="T112" fmla="*/ 288 w 375"/>
                    <a:gd name="T113" fmla="*/ 45 h 279"/>
                    <a:gd name="T114" fmla="*/ 313 w 375"/>
                    <a:gd name="T115" fmla="*/ 7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5" h="279">
                      <a:moveTo>
                        <a:pt x="317" y="89"/>
                      </a:moveTo>
                      <a:lnTo>
                        <a:pt x="317" y="97"/>
                      </a:lnTo>
                      <a:lnTo>
                        <a:pt x="317" y="106"/>
                      </a:lnTo>
                      <a:lnTo>
                        <a:pt x="318" y="115"/>
                      </a:lnTo>
                      <a:lnTo>
                        <a:pt x="318" y="117"/>
                      </a:lnTo>
                      <a:lnTo>
                        <a:pt x="317" y="117"/>
                      </a:lnTo>
                      <a:lnTo>
                        <a:pt x="317" y="118"/>
                      </a:lnTo>
                      <a:lnTo>
                        <a:pt x="317" y="119"/>
                      </a:lnTo>
                      <a:lnTo>
                        <a:pt x="313" y="121"/>
                      </a:lnTo>
                      <a:lnTo>
                        <a:pt x="312" y="121"/>
                      </a:lnTo>
                      <a:lnTo>
                        <a:pt x="312" y="122"/>
                      </a:lnTo>
                      <a:lnTo>
                        <a:pt x="310" y="122"/>
                      </a:lnTo>
                      <a:lnTo>
                        <a:pt x="309" y="122"/>
                      </a:lnTo>
                      <a:lnTo>
                        <a:pt x="308" y="122"/>
                      </a:lnTo>
                      <a:lnTo>
                        <a:pt x="306" y="124"/>
                      </a:lnTo>
                      <a:lnTo>
                        <a:pt x="304" y="124"/>
                      </a:lnTo>
                      <a:lnTo>
                        <a:pt x="304" y="122"/>
                      </a:lnTo>
                      <a:lnTo>
                        <a:pt x="303" y="121"/>
                      </a:lnTo>
                      <a:lnTo>
                        <a:pt x="302" y="121"/>
                      </a:lnTo>
                      <a:lnTo>
                        <a:pt x="301" y="121"/>
                      </a:lnTo>
                      <a:lnTo>
                        <a:pt x="299" y="121"/>
                      </a:lnTo>
                      <a:lnTo>
                        <a:pt x="299" y="120"/>
                      </a:lnTo>
                      <a:lnTo>
                        <a:pt x="298" y="120"/>
                      </a:lnTo>
                      <a:lnTo>
                        <a:pt x="298" y="121"/>
                      </a:lnTo>
                      <a:lnTo>
                        <a:pt x="297" y="121"/>
                      </a:lnTo>
                      <a:lnTo>
                        <a:pt x="296" y="121"/>
                      </a:lnTo>
                      <a:lnTo>
                        <a:pt x="295" y="121"/>
                      </a:lnTo>
                      <a:lnTo>
                        <a:pt x="294" y="121"/>
                      </a:lnTo>
                      <a:lnTo>
                        <a:pt x="290" y="121"/>
                      </a:lnTo>
                      <a:lnTo>
                        <a:pt x="289" y="121"/>
                      </a:lnTo>
                      <a:lnTo>
                        <a:pt x="289" y="122"/>
                      </a:lnTo>
                      <a:lnTo>
                        <a:pt x="288" y="122"/>
                      </a:lnTo>
                      <a:lnTo>
                        <a:pt x="288" y="124"/>
                      </a:lnTo>
                      <a:lnTo>
                        <a:pt x="288" y="125"/>
                      </a:lnTo>
                      <a:lnTo>
                        <a:pt x="288" y="126"/>
                      </a:lnTo>
                      <a:lnTo>
                        <a:pt x="288" y="127"/>
                      </a:lnTo>
                      <a:lnTo>
                        <a:pt x="289" y="127"/>
                      </a:lnTo>
                      <a:lnTo>
                        <a:pt x="289" y="128"/>
                      </a:lnTo>
                      <a:lnTo>
                        <a:pt x="288" y="128"/>
                      </a:lnTo>
                      <a:lnTo>
                        <a:pt x="288" y="129"/>
                      </a:lnTo>
                      <a:lnTo>
                        <a:pt x="288" y="131"/>
                      </a:lnTo>
                      <a:lnTo>
                        <a:pt x="288" y="132"/>
                      </a:lnTo>
                      <a:lnTo>
                        <a:pt x="287" y="132"/>
                      </a:lnTo>
                      <a:lnTo>
                        <a:pt x="285" y="132"/>
                      </a:lnTo>
                      <a:lnTo>
                        <a:pt x="285" y="133"/>
                      </a:lnTo>
                      <a:lnTo>
                        <a:pt x="283" y="135"/>
                      </a:lnTo>
                      <a:lnTo>
                        <a:pt x="283" y="136"/>
                      </a:lnTo>
                      <a:lnTo>
                        <a:pt x="282" y="138"/>
                      </a:lnTo>
                      <a:lnTo>
                        <a:pt x="283" y="140"/>
                      </a:lnTo>
                      <a:lnTo>
                        <a:pt x="283" y="141"/>
                      </a:lnTo>
                      <a:lnTo>
                        <a:pt x="284" y="141"/>
                      </a:lnTo>
                      <a:lnTo>
                        <a:pt x="284" y="142"/>
                      </a:lnTo>
                      <a:lnTo>
                        <a:pt x="285" y="142"/>
                      </a:lnTo>
                      <a:lnTo>
                        <a:pt x="287" y="142"/>
                      </a:lnTo>
                      <a:lnTo>
                        <a:pt x="288" y="142"/>
                      </a:lnTo>
                      <a:lnTo>
                        <a:pt x="289" y="142"/>
                      </a:lnTo>
                      <a:lnTo>
                        <a:pt x="290" y="142"/>
                      </a:lnTo>
                      <a:lnTo>
                        <a:pt x="290" y="143"/>
                      </a:lnTo>
                      <a:lnTo>
                        <a:pt x="291" y="143"/>
                      </a:lnTo>
                      <a:lnTo>
                        <a:pt x="291" y="145"/>
                      </a:lnTo>
                      <a:lnTo>
                        <a:pt x="294" y="145"/>
                      </a:lnTo>
                      <a:lnTo>
                        <a:pt x="295" y="143"/>
                      </a:lnTo>
                      <a:lnTo>
                        <a:pt x="296" y="143"/>
                      </a:lnTo>
                      <a:lnTo>
                        <a:pt x="297" y="143"/>
                      </a:lnTo>
                      <a:lnTo>
                        <a:pt x="298" y="143"/>
                      </a:lnTo>
                      <a:lnTo>
                        <a:pt x="298" y="145"/>
                      </a:lnTo>
                      <a:lnTo>
                        <a:pt x="299" y="145"/>
                      </a:lnTo>
                      <a:lnTo>
                        <a:pt x="299" y="146"/>
                      </a:lnTo>
                      <a:lnTo>
                        <a:pt x="301" y="146"/>
                      </a:lnTo>
                      <a:lnTo>
                        <a:pt x="303" y="146"/>
                      </a:lnTo>
                      <a:lnTo>
                        <a:pt x="304" y="146"/>
                      </a:lnTo>
                      <a:lnTo>
                        <a:pt x="305" y="146"/>
                      </a:lnTo>
                      <a:lnTo>
                        <a:pt x="305" y="147"/>
                      </a:lnTo>
                      <a:lnTo>
                        <a:pt x="306" y="148"/>
                      </a:lnTo>
                      <a:lnTo>
                        <a:pt x="308" y="149"/>
                      </a:lnTo>
                      <a:lnTo>
                        <a:pt x="309" y="149"/>
                      </a:lnTo>
                      <a:lnTo>
                        <a:pt x="310" y="149"/>
                      </a:lnTo>
                      <a:lnTo>
                        <a:pt x="310" y="150"/>
                      </a:lnTo>
                      <a:lnTo>
                        <a:pt x="315" y="154"/>
                      </a:lnTo>
                      <a:lnTo>
                        <a:pt x="315" y="155"/>
                      </a:lnTo>
                      <a:lnTo>
                        <a:pt x="315" y="156"/>
                      </a:lnTo>
                      <a:lnTo>
                        <a:pt x="315" y="160"/>
                      </a:lnTo>
                      <a:lnTo>
                        <a:pt x="316" y="160"/>
                      </a:lnTo>
                      <a:lnTo>
                        <a:pt x="317" y="161"/>
                      </a:lnTo>
                      <a:lnTo>
                        <a:pt x="318" y="162"/>
                      </a:lnTo>
                      <a:lnTo>
                        <a:pt x="319" y="162"/>
                      </a:lnTo>
                      <a:lnTo>
                        <a:pt x="320" y="163"/>
                      </a:lnTo>
                      <a:lnTo>
                        <a:pt x="320" y="164"/>
                      </a:lnTo>
                      <a:lnTo>
                        <a:pt x="320" y="166"/>
                      </a:lnTo>
                      <a:lnTo>
                        <a:pt x="322" y="167"/>
                      </a:lnTo>
                      <a:lnTo>
                        <a:pt x="323" y="168"/>
                      </a:lnTo>
                      <a:lnTo>
                        <a:pt x="324" y="168"/>
                      </a:lnTo>
                      <a:lnTo>
                        <a:pt x="324" y="169"/>
                      </a:lnTo>
                      <a:lnTo>
                        <a:pt x="327" y="169"/>
                      </a:lnTo>
                      <a:lnTo>
                        <a:pt x="330" y="171"/>
                      </a:lnTo>
                      <a:lnTo>
                        <a:pt x="331" y="171"/>
                      </a:lnTo>
                      <a:lnTo>
                        <a:pt x="331" y="173"/>
                      </a:lnTo>
                      <a:lnTo>
                        <a:pt x="331" y="174"/>
                      </a:lnTo>
                      <a:lnTo>
                        <a:pt x="330" y="174"/>
                      </a:lnTo>
                      <a:lnTo>
                        <a:pt x="331" y="174"/>
                      </a:lnTo>
                      <a:lnTo>
                        <a:pt x="331" y="175"/>
                      </a:lnTo>
                      <a:lnTo>
                        <a:pt x="331" y="176"/>
                      </a:lnTo>
                      <a:lnTo>
                        <a:pt x="332" y="176"/>
                      </a:lnTo>
                      <a:lnTo>
                        <a:pt x="333" y="176"/>
                      </a:lnTo>
                      <a:lnTo>
                        <a:pt x="334" y="176"/>
                      </a:lnTo>
                      <a:lnTo>
                        <a:pt x="337" y="177"/>
                      </a:lnTo>
                      <a:lnTo>
                        <a:pt x="337" y="178"/>
                      </a:lnTo>
                      <a:lnTo>
                        <a:pt x="337" y="180"/>
                      </a:lnTo>
                      <a:lnTo>
                        <a:pt x="338" y="181"/>
                      </a:lnTo>
                      <a:lnTo>
                        <a:pt x="338" y="182"/>
                      </a:lnTo>
                      <a:lnTo>
                        <a:pt x="339" y="183"/>
                      </a:lnTo>
                      <a:lnTo>
                        <a:pt x="339" y="185"/>
                      </a:lnTo>
                      <a:lnTo>
                        <a:pt x="339" y="187"/>
                      </a:lnTo>
                      <a:lnTo>
                        <a:pt x="340" y="188"/>
                      </a:lnTo>
                      <a:lnTo>
                        <a:pt x="340" y="189"/>
                      </a:lnTo>
                      <a:lnTo>
                        <a:pt x="340" y="191"/>
                      </a:lnTo>
                      <a:lnTo>
                        <a:pt x="341" y="194"/>
                      </a:lnTo>
                      <a:lnTo>
                        <a:pt x="342" y="195"/>
                      </a:lnTo>
                      <a:lnTo>
                        <a:pt x="342" y="196"/>
                      </a:lnTo>
                      <a:lnTo>
                        <a:pt x="344" y="196"/>
                      </a:lnTo>
                      <a:lnTo>
                        <a:pt x="344" y="197"/>
                      </a:lnTo>
                      <a:lnTo>
                        <a:pt x="345" y="197"/>
                      </a:lnTo>
                      <a:lnTo>
                        <a:pt x="345" y="199"/>
                      </a:lnTo>
                      <a:lnTo>
                        <a:pt x="345" y="201"/>
                      </a:lnTo>
                      <a:lnTo>
                        <a:pt x="344" y="201"/>
                      </a:lnTo>
                      <a:lnTo>
                        <a:pt x="345" y="202"/>
                      </a:lnTo>
                      <a:lnTo>
                        <a:pt x="345" y="203"/>
                      </a:lnTo>
                      <a:lnTo>
                        <a:pt x="345" y="204"/>
                      </a:lnTo>
                      <a:lnTo>
                        <a:pt x="347" y="208"/>
                      </a:lnTo>
                      <a:lnTo>
                        <a:pt x="348" y="209"/>
                      </a:lnTo>
                      <a:lnTo>
                        <a:pt x="348" y="211"/>
                      </a:lnTo>
                      <a:lnTo>
                        <a:pt x="349" y="212"/>
                      </a:lnTo>
                      <a:lnTo>
                        <a:pt x="353" y="215"/>
                      </a:lnTo>
                      <a:lnTo>
                        <a:pt x="354" y="215"/>
                      </a:lnTo>
                      <a:lnTo>
                        <a:pt x="354" y="216"/>
                      </a:lnTo>
                      <a:lnTo>
                        <a:pt x="354" y="217"/>
                      </a:lnTo>
                      <a:lnTo>
                        <a:pt x="353" y="217"/>
                      </a:lnTo>
                      <a:lnTo>
                        <a:pt x="354" y="218"/>
                      </a:lnTo>
                      <a:lnTo>
                        <a:pt x="354" y="219"/>
                      </a:lnTo>
                      <a:lnTo>
                        <a:pt x="355" y="220"/>
                      </a:lnTo>
                      <a:lnTo>
                        <a:pt x="356" y="220"/>
                      </a:lnTo>
                      <a:lnTo>
                        <a:pt x="358" y="219"/>
                      </a:lnTo>
                      <a:lnTo>
                        <a:pt x="359" y="218"/>
                      </a:lnTo>
                      <a:lnTo>
                        <a:pt x="360" y="218"/>
                      </a:lnTo>
                      <a:lnTo>
                        <a:pt x="361" y="218"/>
                      </a:lnTo>
                      <a:lnTo>
                        <a:pt x="362" y="218"/>
                      </a:lnTo>
                      <a:lnTo>
                        <a:pt x="363" y="219"/>
                      </a:lnTo>
                      <a:lnTo>
                        <a:pt x="365" y="219"/>
                      </a:lnTo>
                      <a:lnTo>
                        <a:pt x="366" y="219"/>
                      </a:lnTo>
                      <a:lnTo>
                        <a:pt x="367" y="219"/>
                      </a:lnTo>
                      <a:lnTo>
                        <a:pt x="369" y="220"/>
                      </a:lnTo>
                      <a:lnTo>
                        <a:pt x="370" y="222"/>
                      </a:lnTo>
                      <a:lnTo>
                        <a:pt x="372" y="222"/>
                      </a:lnTo>
                      <a:lnTo>
                        <a:pt x="370" y="223"/>
                      </a:lnTo>
                      <a:lnTo>
                        <a:pt x="370" y="224"/>
                      </a:lnTo>
                      <a:lnTo>
                        <a:pt x="370" y="225"/>
                      </a:lnTo>
                      <a:lnTo>
                        <a:pt x="372" y="226"/>
                      </a:lnTo>
                      <a:lnTo>
                        <a:pt x="370" y="227"/>
                      </a:lnTo>
                      <a:lnTo>
                        <a:pt x="369" y="229"/>
                      </a:lnTo>
                      <a:lnTo>
                        <a:pt x="369" y="230"/>
                      </a:lnTo>
                      <a:lnTo>
                        <a:pt x="369" y="236"/>
                      </a:lnTo>
                      <a:lnTo>
                        <a:pt x="369" y="238"/>
                      </a:lnTo>
                      <a:lnTo>
                        <a:pt x="370" y="239"/>
                      </a:lnTo>
                      <a:lnTo>
                        <a:pt x="375" y="244"/>
                      </a:lnTo>
                      <a:lnTo>
                        <a:pt x="373" y="244"/>
                      </a:lnTo>
                      <a:lnTo>
                        <a:pt x="370" y="244"/>
                      </a:lnTo>
                      <a:lnTo>
                        <a:pt x="370" y="241"/>
                      </a:lnTo>
                      <a:lnTo>
                        <a:pt x="369" y="241"/>
                      </a:lnTo>
                      <a:lnTo>
                        <a:pt x="368" y="243"/>
                      </a:lnTo>
                      <a:lnTo>
                        <a:pt x="368" y="244"/>
                      </a:lnTo>
                      <a:lnTo>
                        <a:pt x="368" y="245"/>
                      </a:lnTo>
                      <a:lnTo>
                        <a:pt x="365" y="244"/>
                      </a:lnTo>
                      <a:lnTo>
                        <a:pt x="363" y="240"/>
                      </a:lnTo>
                      <a:lnTo>
                        <a:pt x="362" y="238"/>
                      </a:lnTo>
                      <a:lnTo>
                        <a:pt x="363" y="234"/>
                      </a:lnTo>
                      <a:lnTo>
                        <a:pt x="361" y="233"/>
                      </a:lnTo>
                      <a:lnTo>
                        <a:pt x="358" y="233"/>
                      </a:lnTo>
                      <a:lnTo>
                        <a:pt x="359" y="231"/>
                      </a:lnTo>
                      <a:lnTo>
                        <a:pt x="359" y="230"/>
                      </a:lnTo>
                      <a:lnTo>
                        <a:pt x="356" y="232"/>
                      </a:lnTo>
                      <a:lnTo>
                        <a:pt x="354" y="233"/>
                      </a:lnTo>
                      <a:lnTo>
                        <a:pt x="353" y="232"/>
                      </a:lnTo>
                      <a:lnTo>
                        <a:pt x="351" y="232"/>
                      </a:lnTo>
                      <a:lnTo>
                        <a:pt x="348" y="233"/>
                      </a:lnTo>
                      <a:lnTo>
                        <a:pt x="346" y="234"/>
                      </a:lnTo>
                      <a:lnTo>
                        <a:pt x="342" y="236"/>
                      </a:lnTo>
                      <a:lnTo>
                        <a:pt x="340" y="237"/>
                      </a:lnTo>
                      <a:lnTo>
                        <a:pt x="338" y="238"/>
                      </a:lnTo>
                      <a:lnTo>
                        <a:pt x="334" y="239"/>
                      </a:lnTo>
                      <a:lnTo>
                        <a:pt x="333" y="240"/>
                      </a:lnTo>
                      <a:lnTo>
                        <a:pt x="331" y="240"/>
                      </a:lnTo>
                      <a:lnTo>
                        <a:pt x="329" y="241"/>
                      </a:lnTo>
                      <a:lnTo>
                        <a:pt x="326" y="244"/>
                      </a:lnTo>
                      <a:lnTo>
                        <a:pt x="323" y="246"/>
                      </a:lnTo>
                      <a:lnTo>
                        <a:pt x="319" y="250"/>
                      </a:lnTo>
                      <a:lnTo>
                        <a:pt x="316" y="253"/>
                      </a:lnTo>
                      <a:lnTo>
                        <a:pt x="313" y="255"/>
                      </a:lnTo>
                      <a:lnTo>
                        <a:pt x="310" y="259"/>
                      </a:lnTo>
                      <a:lnTo>
                        <a:pt x="308" y="261"/>
                      </a:lnTo>
                      <a:lnTo>
                        <a:pt x="304" y="265"/>
                      </a:lnTo>
                      <a:lnTo>
                        <a:pt x="301" y="267"/>
                      </a:lnTo>
                      <a:lnTo>
                        <a:pt x="298" y="269"/>
                      </a:lnTo>
                      <a:lnTo>
                        <a:pt x="297" y="271"/>
                      </a:lnTo>
                      <a:lnTo>
                        <a:pt x="296" y="271"/>
                      </a:lnTo>
                      <a:lnTo>
                        <a:pt x="291" y="271"/>
                      </a:lnTo>
                      <a:lnTo>
                        <a:pt x="288" y="271"/>
                      </a:lnTo>
                      <a:lnTo>
                        <a:pt x="287" y="271"/>
                      </a:lnTo>
                      <a:lnTo>
                        <a:pt x="287" y="269"/>
                      </a:lnTo>
                      <a:lnTo>
                        <a:pt x="282" y="267"/>
                      </a:lnTo>
                      <a:lnTo>
                        <a:pt x="282" y="266"/>
                      </a:lnTo>
                      <a:lnTo>
                        <a:pt x="281" y="266"/>
                      </a:lnTo>
                      <a:lnTo>
                        <a:pt x="280" y="268"/>
                      </a:lnTo>
                      <a:lnTo>
                        <a:pt x="277" y="269"/>
                      </a:lnTo>
                      <a:lnTo>
                        <a:pt x="274" y="269"/>
                      </a:lnTo>
                      <a:lnTo>
                        <a:pt x="269" y="271"/>
                      </a:lnTo>
                      <a:lnTo>
                        <a:pt x="263" y="271"/>
                      </a:lnTo>
                      <a:lnTo>
                        <a:pt x="262" y="271"/>
                      </a:lnTo>
                      <a:lnTo>
                        <a:pt x="256" y="274"/>
                      </a:lnTo>
                      <a:lnTo>
                        <a:pt x="255" y="275"/>
                      </a:lnTo>
                      <a:lnTo>
                        <a:pt x="255" y="276"/>
                      </a:lnTo>
                      <a:lnTo>
                        <a:pt x="255" y="278"/>
                      </a:lnTo>
                      <a:lnTo>
                        <a:pt x="253" y="278"/>
                      </a:lnTo>
                      <a:lnTo>
                        <a:pt x="252" y="276"/>
                      </a:lnTo>
                      <a:lnTo>
                        <a:pt x="252" y="275"/>
                      </a:lnTo>
                      <a:lnTo>
                        <a:pt x="251" y="275"/>
                      </a:lnTo>
                      <a:lnTo>
                        <a:pt x="248" y="275"/>
                      </a:lnTo>
                      <a:lnTo>
                        <a:pt x="247" y="275"/>
                      </a:lnTo>
                      <a:lnTo>
                        <a:pt x="247" y="273"/>
                      </a:lnTo>
                      <a:lnTo>
                        <a:pt x="247" y="272"/>
                      </a:lnTo>
                      <a:lnTo>
                        <a:pt x="245" y="269"/>
                      </a:lnTo>
                      <a:lnTo>
                        <a:pt x="244" y="268"/>
                      </a:lnTo>
                      <a:lnTo>
                        <a:pt x="242" y="268"/>
                      </a:lnTo>
                      <a:lnTo>
                        <a:pt x="240" y="272"/>
                      </a:lnTo>
                      <a:lnTo>
                        <a:pt x="237" y="272"/>
                      </a:lnTo>
                      <a:lnTo>
                        <a:pt x="235" y="273"/>
                      </a:lnTo>
                      <a:lnTo>
                        <a:pt x="234" y="273"/>
                      </a:lnTo>
                      <a:lnTo>
                        <a:pt x="231" y="271"/>
                      </a:lnTo>
                      <a:lnTo>
                        <a:pt x="227" y="269"/>
                      </a:lnTo>
                      <a:lnTo>
                        <a:pt x="226" y="269"/>
                      </a:lnTo>
                      <a:lnTo>
                        <a:pt x="225" y="269"/>
                      </a:lnTo>
                      <a:lnTo>
                        <a:pt x="224" y="269"/>
                      </a:lnTo>
                      <a:lnTo>
                        <a:pt x="223" y="269"/>
                      </a:lnTo>
                      <a:lnTo>
                        <a:pt x="221" y="271"/>
                      </a:lnTo>
                      <a:lnTo>
                        <a:pt x="220" y="271"/>
                      </a:lnTo>
                      <a:lnTo>
                        <a:pt x="219" y="271"/>
                      </a:lnTo>
                      <a:lnTo>
                        <a:pt x="219" y="272"/>
                      </a:lnTo>
                      <a:lnTo>
                        <a:pt x="218" y="272"/>
                      </a:lnTo>
                      <a:lnTo>
                        <a:pt x="217" y="272"/>
                      </a:lnTo>
                      <a:lnTo>
                        <a:pt x="217" y="273"/>
                      </a:lnTo>
                      <a:lnTo>
                        <a:pt x="216" y="274"/>
                      </a:lnTo>
                      <a:lnTo>
                        <a:pt x="214" y="276"/>
                      </a:lnTo>
                      <a:lnTo>
                        <a:pt x="213" y="278"/>
                      </a:lnTo>
                      <a:lnTo>
                        <a:pt x="213" y="279"/>
                      </a:lnTo>
                      <a:lnTo>
                        <a:pt x="213" y="278"/>
                      </a:lnTo>
                      <a:lnTo>
                        <a:pt x="213" y="276"/>
                      </a:lnTo>
                      <a:lnTo>
                        <a:pt x="213" y="275"/>
                      </a:lnTo>
                      <a:lnTo>
                        <a:pt x="212" y="275"/>
                      </a:lnTo>
                      <a:lnTo>
                        <a:pt x="211" y="275"/>
                      </a:lnTo>
                      <a:lnTo>
                        <a:pt x="211" y="274"/>
                      </a:lnTo>
                      <a:lnTo>
                        <a:pt x="211" y="273"/>
                      </a:lnTo>
                      <a:lnTo>
                        <a:pt x="210" y="273"/>
                      </a:lnTo>
                      <a:lnTo>
                        <a:pt x="210" y="274"/>
                      </a:lnTo>
                      <a:lnTo>
                        <a:pt x="209" y="274"/>
                      </a:lnTo>
                      <a:lnTo>
                        <a:pt x="207" y="274"/>
                      </a:lnTo>
                      <a:lnTo>
                        <a:pt x="206" y="274"/>
                      </a:lnTo>
                      <a:lnTo>
                        <a:pt x="206" y="275"/>
                      </a:lnTo>
                      <a:lnTo>
                        <a:pt x="205" y="275"/>
                      </a:lnTo>
                      <a:lnTo>
                        <a:pt x="204" y="275"/>
                      </a:lnTo>
                      <a:lnTo>
                        <a:pt x="204" y="274"/>
                      </a:lnTo>
                      <a:lnTo>
                        <a:pt x="204" y="273"/>
                      </a:lnTo>
                      <a:lnTo>
                        <a:pt x="204" y="272"/>
                      </a:lnTo>
                      <a:lnTo>
                        <a:pt x="204" y="267"/>
                      </a:lnTo>
                      <a:lnTo>
                        <a:pt x="203" y="267"/>
                      </a:lnTo>
                      <a:lnTo>
                        <a:pt x="203" y="266"/>
                      </a:lnTo>
                      <a:lnTo>
                        <a:pt x="203" y="267"/>
                      </a:lnTo>
                      <a:lnTo>
                        <a:pt x="202" y="267"/>
                      </a:lnTo>
                      <a:lnTo>
                        <a:pt x="201" y="266"/>
                      </a:lnTo>
                      <a:lnTo>
                        <a:pt x="197" y="265"/>
                      </a:lnTo>
                      <a:lnTo>
                        <a:pt x="195" y="264"/>
                      </a:lnTo>
                      <a:lnTo>
                        <a:pt x="194" y="264"/>
                      </a:lnTo>
                      <a:lnTo>
                        <a:pt x="192" y="264"/>
                      </a:lnTo>
                      <a:lnTo>
                        <a:pt x="192" y="262"/>
                      </a:lnTo>
                      <a:lnTo>
                        <a:pt x="191" y="261"/>
                      </a:lnTo>
                      <a:lnTo>
                        <a:pt x="191" y="260"/>
                      </a:lnTo>
                      <a:lnTo>
                        <a:pt x="190" y="259"/>
                      </a:lnTo>
                      <a:lnTo>
                        <a:pt x="189" y="259"/>
                      </a:lnTo>
                      <a:lnTo>
                        <a:pt x="188" y="258"/>
                      </a:lnTo>
                      <a:lnTo>
                        <a:pt x="187" y="257"/>
                      </a:lnTo>
                      <a:lnTo>
                        <a:pt x="187" y="255"/>
                      </a:lnTo>
                      <a:lnTo>
                        <a:pt x="185" y="255"/>
                      </a:lnTo>
                      <a:lnTo>
                        <a:pt x="184" y="255"/>
                      </a:lnTo>
                      <a:lnTo>
                        <a:pt x="184" y="254"/>
                      </a:lnTo>
                      <a:lnTo>
                        <a:pt x="184" y="253"/>
                      </a:lnTo>
                      <a:lnTo>
                        <a:pt x="184" y="252"/>
                      </a:lnTo>
                      <a:lnTo>
                        <a:pt x="183" y="252"/>
                      </a:lnTo>
                      <a:lnTo>
                        <a:pt x="182" y="252"/>
                      </a:lnTo>
                      <a:lnTo>
                        <a:pt x="181" y="252"/>
                      </a:lnTo>
                      <a:lnTo>
                        <a:pt x="180" y="251"/>
                      </a:lnTo>
                      <a:lnTo>
                        <a:pt x="180" y="250"/>
                      </a:lnTo>
                      <a:lnTo>
                        <a:pt x="180" y="248"/>
                      </a:lnTo>
                      <a:lnTo>
                        <a:pt x="180" y="247"/>
                      </a:lnTo>
                      <a:lnTo>
                        <a:pt x="180" y="246"/>
                      </a:lnTo>
                      <a:lnTo>
                        <a:pt x="180" y="245"/>
                      </a:lnTo>
                      <a:lnTo>
                        <a:pt x="181" y="245"/>
                      </a:lnTo>
                      <a:lnTo>
                        <a:pt x="180" y="245"/>
                      </a:lnTo>
                      <a:lnTo>
                        <a:pt x="178" y="244"/>
                      </a:lnTo>
                      <a:lnTo>
                        <a:pt x="177" y="244"/>
                      </a:lnTo>
                      <a:lnTo>
                        <a:pt x="176" y="243"/>
                      </a:lnTo>
                      <a:lnTo>
                        <a:pt x="175" y="241"/>
                      </a:lnTo>
                      <a:lnTo>
                        <a:pt x="174" y="241"/>
                      </a:lnTo>
                      <a:lnTo>
                        <a:pt x="173" y="241"/>
                      </a:lnTo>
                      <a:lnTo>
                        <a:pt x="171" y="241"/>
                      </a:lnTo>
                      <a:lnTo>
                        <a:pt x="170" y="241"/>
                      </a:lnTo>
                      <a:lnTo>
                        <a:pt x="169" y="241"/>
                      </a:lnTo>
                      <a:lnTo>
                        <a:pt x="169" y="243"/>
                      </a:lnTo>
                      <a:lnTo>
                        <a:pt x="169" y="244"/>
                      </a:lnTo>
                      <a:lnTo>
                        <a:pt x="168" y="245"/>
                      </a:lnTo>
                      <a:lnTo>
                        <a:pt x="168" y="246"/>
                      </a:lnTo>
                      <a:lnTo>
                        <a:pt x="166" y="248"/>
                      </a:lnTo>
                      <a:lnTo>
                        <a:pt x="166" y="250"/>
                      </a:lnTo>
                      <a:lnTo>
                        <a:pt x="164" y="250"/>
                      </a:lnTo>
                      <a:lnTo>
                        <a:pt x="163" y="250"/>
                      </a:lnTo>
                      <a:lnTo>
                        <a:pt x="162" y="250"/>
                      </a:lnTo>
                      <a:lnTo>
                        <a:pt x="162" y="251"/>
                      </a:lnTo>
                      <a:lnTo>
                        <a:pt x="162" y="252"/>
                      </a:lnTo>
                      <a:lnTo>
                        <a:pt x="161" y="252"/>
                      </a:lnTo>
                      <a:lnTo>
                        <a:pt x="161" y="251"/>
                      </a:lnTo>
                      <a:lnTo>
                        <a:pt x="159" y="250"/>
                      </a:lnTo>
                      <a:lnTo>
                        <a:pt x="159" y="248"/>
                      </a:lnTo>
                      <a:lnTo>
                        <a:pt x="156" y="248"/>
                      </a:lnTo>
                      <a:lnTo>
                        <a:pt x="155" y="247"/>
                      </a:lnTo>
                      <a:lnTo>
                        <a:pt x="154" y="246"/>
                      </a:lnTo>
                      <a:lnTo>
                        <a:pt x="153" y="247"/>
                      </a:lnTo>
                      <a:lnTo>
                        <a:pt x="152" y="247"/>
                      </a:lnTo>
                      <a:lnTo>
                        <a:pt x="150" y="247"/>
                      </a:lnTo>
                      <a:lnTo>
                        <a:pt x="149" y="247"/>
                      </a:lnTo>
                      <a:lnTo>
                        <a:pt x="148" y="247"/>
                      </a:lnTo>
                      <a:lnTo>
                        <a:pt x="148" y="246"/>
                      </a:lnTo>
                      <a:lnTo>
                        <a:pt x="148" y="245"/>
                      </a:lnTo>
                      <a:lnTo>
                        <a:pt x="147" y="245"/>
                      </a:lnTo>
                      <a:lnTo>
                        <a:pt x="146" y="245"/>
                      </a:lnTo>
                      <a:lnTo>
                        <a:pt x="143" y="248"/>
                      </a:lnTo>
                      <a:lnTo>
                        <a:pt x="141" y="250"/>
                      </a:lnTo>
                      <a:lnTo>
                        <a:pt x="141" y="251"/>
                      </a:lnTo>
                      <a:lnTo>
                        <a:pt x="140" y="251"/>
                      </a:lnTo>
                      <a:lnTo>
                        <a:pt x="139" y="251"/>
                      </a:lnTo>
                      <a:lnTo>
                        <a:pt x="138" y="252"/>
                      </a:lnTo>
                      <a:lnTo>
                        <a:pt x="137" y="253"/>
                      </a:lnTo>
                      <a:lnTo>
                        <a:pt x="135" y="253"/>
                      </a:lnTo>
                      <a:lnTo>
                        <a:pt x="134" y="253"/>
                      </a:lnTo>
                      <a:lnTo>
                        <a:pt x="134" y="252"/>
                      </a:lnTo>
                      <a:lnTo>
                        <a:pt x="133" y="251"/>
                      </a:lnTo>
                      <a:lnTo>
                        <a:pt x="132" y="251"/>
                      </a:lnTo>
                      <a:lnTo>
                        <a:pt x="131" y="252"/>
                      </a:lnTo>
                      <a:lnTo>
                        <a:pt x="128" y="251"/>
                      </a:lnTo>
                      <a:lnTo>
                        <a:pt x="127" y="251"/>
                      </a:lnTo>
                      <a:lnTo>
                        <a:pt x="127" y="250"/>
                      </a:lnTo>
                      <a:lnTo>
                        <a:pt x="127" y="248"/>
                      </a:lnTo>
                      <a:lnTo>
                        <a:pt x="126" y="248"/>
                      </a:lnTo>
                      <a:lnTo>
                        <a:pt x="125" y="248"/>
                      </a:lnTo>
                      <a:lnTo>
                        <a:pt x="124" y="247"/>
                      </a:lnTo>
                      <a:lnTo>
                        <a:pt x="124" y="246"/>
                      </a:lnTo>
                      <a:lnTo>
                        <a:pt x="124" y="245"/>
                      </a:lnTo>
                      <a:lnTo>
                        <a:pt x="123" y="245"/>
                      </a:lnTo>
                      <a:lnTo>
                        <a:pt x="121" y="245"/>
                      </a:lnTo>
                      <a:lnTo>
                        <a:pt x="121" y="244"/>
                      </a:lnTo>
                      <a:lnTo>
                        <a:pt x="120" y="244"/>
                      </a:lnTo>
                      <a:lnTo>
                        <a:pt x="120" y="245"/>
                      </a:lnTo>
                      <a:lnTo>
                        <a:pt x="119" y="245"/>
                      </a:lnTo>
                      <a:lnTo>
                        <a:pt x="118" y="245"/>
                      </a:lnTo>
                      <a:lnTo>
                        <a:pt x="118" y="244"/>
                      </a:lnTo>
                      <a:lnTo>
                        <a:pt x="117" y="244"/>
                      </a:lnTo>
                      <a:lnTo>
                        <a:pt x="116" y="244"/>
                      </a:lnTo>
                      <a:lnTo>
                        <a:pt x="116" y="243"/>
                      </a:lnTo>
                      <a:lnTo>
                        <a:pt x="116" y="240"/>
                      </a:lnTo>
                      <a:lnTo>
                        <a:pt x="116" y="239"/>
                      </a:lnTo>
                      <a:lnTo>
                        <a:pt x="116" y="238"/>
                      </a:lnTo>
                      <a:lnTo>
                        <a:pt x="116" y="237"/>
                      </a:lnTo>
                      <a:lnTo>
                        <a:pt x="114" y="237"/>
                      </a:lnTo>
                      <a:lnTo>
                        <a:pt x="113" y="237"/>
                      </a:lnTo>
                      <a:lnTo>
                        <a:pt x="113" y="236"/>
                      </a:lnTo>
                      <a:lnTo>
                        <a:pt x="112" y="234"/>
                      </a:lnTo>
                      <a:lnTo>
                        <a:pt x="109" y="233"/>
                      </a:lnTo>
                      <a:lnTo>
                        <a:pt x="107" y="233"/>
                      </a:lnTo>
                      <a:lnTo>
                        <a:pt x="107" y="232"/>
                      </a:lnTo>
                      <a:lnTo>
                        <a:pt x="107" y="231"/>
                      </a:lnTo>
                      <a:lnTo>
                        <a:pt x="106" y="231"/>
                      </a:lnTo>
                      <a:lnTo>
                        <a:pt x="105" y="230"/>
                      </a:lnTo>
                      <a:lnTo>
                        <a:pt x="105" y="229"/>
                      </a:lnTo>
                      <a:lnTo>
                        <a:pt x="105" y="227"/>
                      </a:lnTo>
                      <a:lnTo>
                        <a:pt x="104" y="227"/>
                      </a:lnTo>
                      <a:lnTo>
                        <a:pt x="104" y="226"/>
                      </a:lnTo>
                      <a:lnTo>
                        <a:pt x="103" y="225"/>
                      </a:lnTo>
                      <a:lnTo>
                        <a:pt x="102" y="224"/>
                      </a:lnTo>
                      <a:lnTo>
                        <a:pt x="100" y="223"/>
                      </a:lnTo>
                      <a:lnTo>
                        <a:pt x="99" y="220"/>
                      </a:lnTo>
                      <a:lnTo>
                        <a:pt x="99" y="219"/>
                      </a:lnTo>
                      <a:lnTo>
                        <a:pt x="99" y="218"/>
                      </a:lnTo>
                      <a:lnTo>
                        <a:pt x="98" y="217"/>
                      </a:lnTo>
                      <a:lnTo>
                        <a:pt x="99" y="213"/>
                      </a:lnTo>
                      <a:lnTo>
                        <a:pt x="99" y="212"/>
                      </a:lnTo>
                      <a:lnTo>
                        <a:pt x="98" y="212"/>
                      </a:lnTo>
                      <a:lnTo>
                        <a:pt x="98" y="211"/>
                      </a:lnTo>
                      <a:lnTo>
                        <a:pt x="98" y="210"/>
                      </a:lnTo>
                      <a:lnTo>
                        <a:pt x="98" y="209"/>
                      </a:lnTo>
                      <a:lnTo>
                        <a:pt x="97" y="208"/>
                      </a:lnTo>
                      <a:lnTo>
                        <a:pt x="96" y="208"/>
                      </a:lnTo>
                      <a:lnTo>
                        <a:pt x="96" y="206"/>
                      </a:lnTo>
                      <a:lnTo>
                        <a:pt x="93" y="205"/>
                      </a:lnTo>
                      <a:lnTo>
                        <a:pt x="92" y="205"/>
                      </a:lnTo>
                      <a:lnTo>
                        <a:pt x="91" y="204"/>
                      </a:lnTo>
                      <a:lnTo>
                        <a:pt x="91" y="203"/>
                      </a:lnTo>
                      <a:lnTo>
                        <a:pt x="90" y="204"/>
                      </a:lnTo>
                      <a:lnTo>
                        <a:pt x="89" y="204"/>
                      </a:lnTo>
                      <a:lnTo>
                        <a:pt x="89" y="203"/>
                      </a:lnTo>
                      <a:lnTo>
                        <a:pt x="88" y="202"/>
                      </a:lnTo>
                      <a:lnTo>
                        <a:pt x="88" y="203"/>
                      </a:lnTo>
                      <a:lnTo>
                        <a:pt x="86" y="203"/>
                      </a:lnTo>
                      <a:lnTo>
                        <a:pt x="85" y="202"/>
                      </a:lnTo>
                      <a:lnTo>
                        <a:pt x="85" y="201"/>
                      </a:lnTo>
                      <a:lnTo>
                        <a:pt x="85" y="199"/>
                      </a:lnTo>
                      <a:lnTo>
                        <a:pt x="84" y="199"/>
                      </a:lnTo>
                      <a:lnTo>
                        <a:pt x="82" y="198"/>
                      </a:lnTo>
                      <a:lnTo>
                        <a:pt x="79" y="198"/>
                      </a:lnTo>
                      <a:lnTo>
                        <a:pt x="77" y="198"/>
                      </a:lnTo>
                      <a:lnTo>
                        <a:pt x="77" y="197"/>
                      </a:lnTo>
                      <a:lnTo>
                        <a:pt x="76" y="197"/>
                      </a:lnTo>
                      <a:lnTo>
                        <a:pt x="76" y="196"/>
                      </a:lnTo>
                      <a:lnTo>
                        <a:pt x="75" y="196"/>
                      </a:lnTo>
                      <a:lnTo>
                        <a:pt x="74" y="196"/>
                      </a:lnTo>
                      <a:lnTo>
                        <a:pt x="74" y="195"/>
                      </a:lnTo>
                      <a:lnTo>
                        <a:pt x="75" y="194"/>
                      </a:lnTo>
                      <a:lnTo>
                        <a:pt x="76" y="194"/>
                      </a:lnTo>
                      <a:lnTo>
                        <a:pt x="76" y="192"/>
                      </a:lnTo>
                      <a:lnTo>
                        <a:pt x="76" y="191"/>
                      </a:lnTo>
                      <a:lnTo>
                        <a:pt x="75" y="191"/>
                      </a:lnTo>
                      <a:lnTo>
                        <a:pt x="75" y="190"/>
                      </a:lnTo>
                      <a:lnTo>
                        <a:pt x="74" y="190"/>
                      </a:lnTo>
                      <a:lnTo>
                        <a:pt x="74" y="189"/>
                      </a:lnTo>
                      <a:lnTo>
                        <a:pt x="73" y="189"/>
                      </a:lnTo>
                      <a:lnTo>
                        <a:pt x="71" y="189"/>
                      </a:lnTo>
                      <a:lnTo>
                        <a:pt x="71" y="188"/>
                      </a:lnTo>
                      <a:lnTo>
                        <a:pt x="70" y="188"/>
                      </a:lnTo>
                      <a:lnTo>
                        <a:pt x="70" y="187"/>
                      </a:lnTo>
                      <a:lnTo>
                        <a:pt x="69" y="187"/>
                      </a:lnTo>
                      <a:lnTo>
                        <a:pt x="69" y="185"/>
                      </a:lnTo>
                      <a:lnTo>
                        <a:pt x="69" y="184"/>
                      </a:lnTo>
                      <a:lnTo>
                        <a:pt x="68" y="184"/>
                      </a:lnTo>
                      <a:lnTo>
                        <a:pt x="69" y="183"/>
                      </a:lnTo>
                      <a:lnTo>
                        <a:pt x="70" y="182"/>
                      </a:lnTo>
                      <a:lnTo>
                        <a:pt x="71" y="181"/>
                      </a:lnTo>
                      <a:lnTo>
                        <a:pt x="71" y="180"/>
                      </a:lnTo>
                      <a:lnTo>
                        <a:pt x="71" y="178"/>
                      </a:lnTo>
                      <a:lnTo>
                        <a:pt x="70" y="177"/>
                      </a:lnTo>
                      <a:lnTo>
                        <a:pt x="68" y="176"/>
                      </a:lnTo>
                      <a:lnTo>
                        <a:pt x="67" y="175"/>
                      </a:lnTo>
                      <a:lnTo>
                        <a:pt x="66" y="175"/>
                      </a:lnTo>
                      <a:lnTo>
                        <a:pt x="64" y="173"/>
                      </a:lnTo>
                      <a:lnTo>
                        <a:pt x="63" y="173"/>
                      </a:lnTo>
                      <a:lnTo>
                        <a:pt x="62" y="171"/>
                      </a:lnTo>
                      <a:lnTo>
                        <a:pt x="62" y="170"/>
                      </a:lnTo>
                      <a:lnTo>
                        <a:pt x="61" y="170"/>
                      </a:lnTo>
                      <a:lnTo>
                        <a:pt x="61" y="169"/>
                      </a:lnTo>
                      <a:lnTo>
                        <a:pt x="61" y="168"/>
                      </a:lnTo>
                      <a:lnTo>
                        <a:pt x="61" y="167"/>
                      </a:lnTo>
                      <a:lnTo>
                        <a:pt x="60" y="167"/>
                      </a:lnTo>
                      <a:lnTo>
                        <a:pt x="59" y="167"/>
                      </a:lnTo>
                      <a:lnTo>
                        <a:pt x="59" y="166"/>
                      </a:lnTo>
                      <a:lnTo>
                        <a:pt x="57" y="166"/>
                      </a:lnTo>
                      <a:lnTo>
                        <a:pt x="56" y="166"/>
                      </a:lnTo>
                      <a:lnTo>
                        <a:pt x="56" y="164"/>
                      </a:lnTo>
                      <a:lnTo>
                        <a:pt x="55" y="164"/>
                      </a:lnTo>
                      <a:lnTo>
                        <a:pt x="54" y="163"/>
                      </a:lnTo>
                      <a:lnTo>
                        <a:pt x="53" y="163"/>
                      </a:lnTo>
                      <a:lnTo>
                        <a:pt x="53" y="162"/>
                      </a:lnTo>
                      <a:lnTo>
                        <a:pt x="52" y="162"/>
                      </a:lnTo>
                      <a:lnTo>
                        <a:pt x="50" y="162"/>
                      </a:lnTo>
                      <a:lnTo>
                        <a:pt x="49" y="161"/>
                      </a:lnTo>
                      <a:lnTo>
                        <a:pt x="47" y="160"/>
                      </a:lnTo>
                      <a:lnTo>
                        <a:pt x="45" y="159"/>
                      </a:lnTo>
                      <a:lnTo>
                        <a:pt x="43" y="159"/>
                      </a:lnTo>
                      <a:lnTo>
                        <a:pt x="42" y="159"/>
                      </a:lnTo>
                      <a:lnTo>
                        <a:pt x="41" y="157"/>
                      </a:lnTo>
                      <a:lnTo>
                        <a:pt x="40" y="156"/>
                      </a:lnTo>
                      <a:lnTo>
                        <a:pt x="39" y="156"/>
                      </a:lnTo>
                      <a:lnTo>
                        <a:pt x="39" y="155"/>
                      </a:lnTo>
                      <a:lnTo>
                        <a:pt x="39" y="154"/>
                      </a:lnTo>
                      <a:lnTo>
                        <a:pt x="38" y="154"/>
                      </a:lnTo>
                      <a:lnTo>
                        <a:pt x="38" y="153"/>
                      </a:lnTo>
                      <a:lnTo>
                        <a:pt x="36" y="153"/>
                      </a:lnTo>
                      <a:lnTo>
                        <a:pt x="36" y="152"/>
                      </a:lnTo>
                      <a:lnTo>
                        <a:pt x="34" y="150"/>
                      </a:lnTo>
                      <a:lnTo>
                        <a:pt x="33" y="149"/>
                      </a:lnTo>
                      <a:lnTo>
                        <a:pt x="33" y="148"/>
                      </a:lnTo>
                      <a:lnTo>
                        <a:pt x="34" y="148"/>
                      </a:lnTo>
                      <a:lnTo>
                        <a:pt x="36" y="147"/>
                      </a:lnTo>
                      <a:lnTo>
                        <a:pt x="36" y="146"/>
                      </a:lnTo>
                      <a:lnTo>
                        <a:pt x="36" y="145"/>
                      </a:lnTo>
                      <a:lnTo>
                        <a:pt x="36" y="143"/>
                      </a:lnTo>
                      <a:lnTo>
                        <a:pt x="36" y="142"/>
                      </a:lnTo>
                      <a:lnTo>
                        <a:pt x="36" y="141"/>
                      </a:lnTo>
                      <a:lnTo>
                        <a:pt x="35" y="140"/>
                      </a:lnTo>
                      <a:lnTo>
                        <a:pt x="35" y="139"/>
                      </a:lnTo>
                      <a:lnTo>
                        <a:pt x="34" y="139"/>
                      </a:lnTo>
                      <a:lnTo>
                        <a:pt x="33" y="139"/>
                      </a:lnTo>
                      <a:lnTo>
                        <a:pt x="32" y="139"/>
                      </a:lnTo>
                      <a:lnTo>
                        <a:pt x="31" y="139"/>
                      </a:lnTo>
                      <a:lnTo>
                        <a:pt x="29" y="139"/>
                      </a:lnTo>
                      <a:lnTo>
                        <a:pt x="29" y="138"/>
                      </a:lnTo>
                      <a:lnTo>
                        <a:pt x="27" y="136"/>
                      </a:lnTo>
                      <a:lnTo>
                        <a:pt x="27" y="135"/>
                      </a:lnTo>
                      <a:lnTo>
                        <a:pt x="26" y="134"/>
                      </a:lnTo>
                      <a:lnTo>
                        <a:pt x="26" y="133"/>
                      </a:lnTo>
                      <a:lnTo>
                        <a:pt x="26" y="132"/>
                      </a:lnTo>
                      <a:lnTo>
                        <a:pt x="22" y="129"/>
                      </a:lnTo>
                      <a:lnTo>
                        <a:pt x="21" y="129"/>
                      </a:lnTo>
                      <a:lnTo>
                        <a:pt x="20" y="129"/>
                      </a:lnTo>
                      <a:lnTo>
                        <a:pt x="19" y="128"/>
                      </a:lnTo>
                      <a:lnTo>
                        <a:pt x="18" y="128"/>
                      </a:lnTo>
                      <a:lnTo>
                        <a:pt x="15" y="128"/>
                      </a:lnTo>
                      <a:lnTo>
                        <a:pt x="13" y="128"/>
                      </a:lnTo>
                      <a:lnTo>
                        <a:pt x="12" y="128"/>
                      </a:lnTo>
                      <a:lnTo>
                        <a:pt x="11" y="127"/>
                      </a:lnTo>
                      <a:lnTo>
                        <a:pt x="10" y="126"/>
                      </a:lnTo>
                      <a:lnTo>
                        <a:pt x="9" y="126"/>
                      </a:lnTo>
                      <a:lnTo>
                        <a:pt x="7" y="127"/>
                      </a:lnTo>
                      <a:lnTo>
                        <a:pt x="6" y="127"/>
                      </a:lnTo>
                      <a:lnTo>
                        <a:pt x="6" y="126"/>
                      </a:lnTo>
                      <a:lnTo>
                        <a:pt x="5" y="126"/>
                      </a:lnTo>
                      <a:lnTo>
                        <a:pt x="4" y="126"/>
                      </a:lnTo>
                      <a:lnTo>
                        <a:pt x="3" y="126"/>
                      </a:lnTo>
                      <a:lnTo>
                        <a:pt x="2" y="126"/>
                      </a:lnTo>
                      <a:lnTo>
                        <a:pt x="2" y="125"/>
                      </a:lnTo>
                      <a:lnTo>
                        <a:pt x="0" y="124"/>
                      </a:lnTo>
                      <a:lnTo>
                        <a:pt x="0" y="122"/>
                      </a:lnTo>
                      <a:lnTo>
                        <a:pt x="0" y="121"/>
                      </a:lnTo>
                      <a:lnTo>
                        <a:pt x="3" y="118"/>
                      </a:lnTo>
                      <a:lnTo>
                        <a:pt x="4" y="117"/>
                      </a:lnTo>
                      <a:lnTo>
                        <a:pt x="3" y="115"/>
                      </a:lnTo>
                      <a:lnTo>
                        <a:pt x="3" y="114"/>
                      </a:lnTo>
                      <a:lnTo>
                        <a:pt x="4" y="113"/>
                      </a:lnTo>
                      <a:lnTo>
                        <a:pt x="3" y="113"/>
                      </a:lnTo>
                      <a:lnTo>
                        <a:pt x="2" y="113"/>
                      </a:lnTo>
                      <a:lnTo>
                        <a:pt x="2" y="112"/>
                      </a:lnTo>
                      <a:lnTo>
                        <a:pt x="4" y="111"/>
                      </a:lnTo>
                      <a:lnTo>
                        <a:pt x="5" y="110"/>
                      </a:lnTo>
                      <a:lnTo>
                        <a:pt x="9" y="108"/>
                      </a:lnTo>
                      <a:lnTo>
                        <a:pt x="10" y="107"/>
                      </a:lnTo>
                      <a:lnTo>
                        <a:pt x="12" y="107"/>
                      </a:lnTo>
                      <a:lnTo>
                        <a:pt x="13" y="107"/>
                      </a:lnTo>
                      <a:lnTo>
                        <a:pt x="14" y="107"/>
                      </a:lnTo>
                      <a:lnTo>
                        <a:pt x="14" y="106"/>
                      </a:lnTo>
                      <a:lnTo>
                        <a:pt x="14" y="104"/>
                      </a:lnTo>
                      <a:lnTo>
                        <a:pt x="14" y="103"/>
                      </a:lnTo>
                      <a:lnTo>
                        <a:pt x="17" y="98"/>
                      </a:lnTo>
                      <a:lnTo>
                        <a:pt x="18" y="97"/>
                      </a:lnTo>
                      <a:lnTo>
                        <a:pt x="18" y="91"/>
                      </a:lnTo>
                      <a:lnTo>
                        <a:pt x="18" y="90"/>
                      </a:lnTo>
                      <a:lnTo>
                        <a:pt x="19" y="90"/>
                      </a:lnTo>
                      <a:lnTo>
                        <a:pt x="21" y="87"/>
                      </a:lnTo>
                      <a:lnTo>
                        <a:pt x="21" y="86"/>
                      </a:lnTo>
                      <a:lnTo>
                        <a:pt x="21" y="77"/>
                      </a:lnTo>
                      <a:lnTo>
                        <a:pt x="21" y="76"/>
                      </a:lnTo>
                      <a:lnTo>
                        <a:pt x="22" y="76"/>
                      </a:lnTo>
                      <a:lnTo>
                        <a:pt x="24" y="76"/>
                      </a:lnTo>
                      <a:lnTo>
                        <a:pt x="25" y="75"/>
                      </a:lnTo>
                      <a:lnTo>
                        <a:pt x="26" y="73"/>
                      </a:lnTo>
                      <a:lnTo>
                        <a:pt x="27" y="72"/>
                      </a:lnTo>
                      <a:lnTo>
                        <a:pt x="27" y="71"/>
                      </a:lnTo>
                      <a:lnTo>
                        <a:pt x="28" y="71"/>
                      </a:lnTo>
                      <a:lnTo>
                        <a:pt x="28" y="69"/>
                      </a:lnTo>
                      <a:lnTo>
                        <a:pt x="29" y="68"/>
                      </a:lnTo>
                      <a:lnTo>
                        <a:pt x="28" y="66"/>
                      </a:lnTo>
                      <a:lnTo>
                        <a:pt x="28" y="65"/>
                      </a:lnTo>
                      <a:lnTo>
                        <a:pt x="31" y="62"/>
                      </a:lnTo>
                      <a:lnTo>
                        <a:pt x="32" y="62"/>
                      </a:lnTo>
                      <a:lnTo>
                        <a:pt x="32" y="61"/>
                      </a:lnTo>
                      <a:lnTo>
                        <a:pt x="33" y="61"/>
                      </a:lnTo>
                      <a:lnTo>
                        <a:pt x="34" y="61"/>
                      </a:lnTo>
                      <a:lnTo>
                        <a:pt x="35" y="61"/>
                      </a:lnTo>
                      <a:lnTo>
                        <a:pt x="36" y="61"/>
                      </a:lnTo>
                      <a:lnTo>
                        <a:pt x="38" y="61"/>
                      </a:lnTo>
                      <a:lnTo>
                        <a:pt x="39" y="61"/>
                      </a:lnTo>
                      <a:lnTo>
                        <a:pt x="40" y="61"/>
                      </a:lnTo>
                      <a:lnTo>
                        <a:pt x="41" y="61"/>
                      </a:lnTo>
                      <a:lnTo>
                        <a:pt x="41" y="59"/>
                      </a:lnTo>
                      <a:lnTo>
                        <a:pt x="42" y="59"/>
                      </a:lnTo>
                      <a:lnTo>
                        <a:pt x="43" y="59"/>
                      </a:lnTo>
                      <a:lnTo>
                        <a:pt x="45" y="59"/>
                      </a:lnTo>
                      <a:lnTo>
                        <a:pt x="47" y="58"/>
                      </a:lnTo>
                      <a:lnTo>
                        <a:pt x="48" y="58"/>
                      </a:lnTo>
                      <a:lnTo>
                        <a:pt x="49" y="58"/>
                      </a:lnTo>
                      <a:lnTo>
                        <a:pt x="50" y="58"/>
                      </a:lnTo>
                      <a:lnTo>
                        <a:pt x="52" y="58"/>
                      </a:lnTo>
                      <a:lnTo>
                        <a:pt x="53" y="58"/>
                      </a:lnTo>
                      <a:lnTo>
                        <a:pt x="54" y="57"/>
                      </a:lnTo>
                      <a:lnTo>
                        <a:pt x="55" y="57"/>
                      </a:lnTo>
                      <a:lnTo>
                        <a:pt x="56" y="59"/>
                      </a:lnTo>
                      <a:lnTo>
                        <a:pt x="56" y="65"/>
                      </a:lnTo>
                      <a:lnTo>
                        <a:pt x="57" y="65"/>
                      </a:lnTo>
                      <a:lnTo>
                        <a:pt x="59" y="66"/>
                      </a:lnTo>
                      <a:lnTo>
                        <a:pt x="60" y="66"/>
                      </a:lnTo>
                      <a:lnTo>
                        <a:pt x="61" y="68"/>
                      </a:lnTo>
                      <a:lnTo>
                        <a:pt x="62" y="70"/>
                      </a:lnTo>
                      <a:lnTo>
                        <a:pt x="63" y="71"/>
                      </a:lnTo>
                      <a:lnTo>
                        <a:pt x="66" y="72"/>
                      </a:lnTo>
                      <a:lnTo>
                        <a:pt x="71" y="79"/>
                      </a:lnTo>
                      <a:lnTo>
                        <a:pt x="77" y="86"/>
                      </a:lnTo>
                      <a:lnTo>
                        <a:pt x="79" y="87"/>
                      </a:lnTo>
                      <a:lnTo>
                        <a:pt x="82" y="87"/>
                      </a:lnTo>
                      <a:lnTo>
                        <a:pt x="95" y="84"/>
                      </a:lnTo>
                      <a:lnTo>
                        <a:pt x="103" y="83"/>
                      </a:lnTo>
                      <a:lnTo>
                        <a:pt x="104" y="84"/>
                      </a:lnTo>
                      <a:lnTo>
                        <a:pt x="109" y="84"/>
                      </a:lnTo>
                      <a:lnTo>
                        <a:pt x="111" y="84"/>
                      </a:lnTo>
                      <a:lnTo>
                        <a:pt x="112" y="84"/>
                      </a:lnTo>
                      <a:lnTo>
                        <a:pt x="117" y="84"/>
                      </a:lnTo>
                      <a:lnTo>
                        <a:pt x="119" y="84"/>
                      </a:lnTo>
                      <a:lnTo>
                        <a:pt x="120" y="84"/>
                      </a:lnTo>
                      <a:lnTo>
                        <a:pt x="124" y="91"/>
                      </a:lnTo>
                      <a:lnTo>
                        <a:pt x="125" y="92"/>
                      </a:lnTo>
                      <a:lnTo>
                        <a:pt x="138" y="92"/>
                      </a:lnTo>
                      <a:lnTo>
                        <a:pt x="150" y="92"/>
                      </a:lnTo>
                      <a:lnTo>
                        <a:pt x="149" y="91"/>
                      </a:lnTo>
                      <a:lnTo>
                        <a:pt x="149" y="90"/>
                      </a:lnTo>
                      <a:lnTo>
                        <a:pt x="150" y="89"/>
                      </a:lnTo>
                      <a:lnTo>
                        <a:pt x="153" y="86"/>
                      </a:lnTo>
                      <a:lnTo>
                        <a:pt x="155" y="84"/>
                      </a:lnTo>
                      <a:lnTo>
                        <a:pt x="160" y="82"/>
                      </a:lnTo>
                      <a:lnTo>
                        <a:pt x="163" y="80"/>
                      </a:lnTo>
                      <a:lnTo>
                        <a:pt x="170" y="78"/>
                      </a:lnTo>
                      <a:lnTo>
                        <a:pt x="174" y="76"/>
                      </a:lnTo>
                      <a:lnTo>
                        <a:pt x="175" y="73"/>
                      </a:lnTo>
                      <a:lnTo>
                        <a:pt x="175" y="69"/>
                      </a:lnTo>
                      <a:lnTo>
                        <a:pt x="176" y="69"/>
                      </a:lnTo>
                      <a:lnTo>
                        <a:pt x="177" y="68"/>
                      </a:lnTo>
                      <a:lnTo>
                        <a:pt x="187" y="63"/>
                      </a:lnTo>
                      <a:lnTo>
                        <a:pt x="188" y="62"/>
                      </a:lnTo>
                      <a:lnTo>
                        <a:pt x="195" y="68"/>
                      </a:lnTo>
                      <a:lnTo>
                        <a:pt x="203" y="72"/>
                      </a:lnTo>
                      <a:lnTo>
                        <a:pt x="211" y="79"/>
                      </a:lnTo>
                      <a:lnTo>
                        <a:pt x="211" y="80"/>
                      </a:lnTo>
                      <a:lnTo>
                        <a:pt x="212" y="80"/>
                      </a:lnTo>
                      <a:lnTo>
                        <a:pt x="212" y="79"/>
                      </a:lnTo>
                      <a:lnTo>
                        <a:pt x="213" y="79"/>
                      </a:lnTo>
                      <a:lnTo>
                        <a:pt x="217" y="79"/>
                      </a:lnTo>
                      <a:lnTo>
                        <a:pt x="224" y="79"/>
                      </a:lnTo>
                      <a:lnTo>
                        <a:pt x="226" y="78"/>
                      </a:lnTo>
                      <a:lnTo>
                        <a:pt x="233" y="71"/>
                      </a:lnTo>
                      <a:lnTo>
                        <a:pt x="240" y="64"/>
                      </a:lnTo>
                      <a:lnTo>
                        <a:pt x="244" y="59"/>
                      </a:lnTo>
                      <a:lnTo>
                        <a:pt x="245" y="59"/>
                      </a:lnTo>
                      <a:lnTo>
                        <a:pt x="246" y="56"/>
                      </a:lnTo>
                      <a:lnTo>
                        <a:pt x="248" y="51"/>
                      </a:lnTo>
                      <a:lnTo>
                        <a:pt x="249" y="50"/>
                      </a:lnTo>
                      <a:lnTo>
                        <a:pt x="256" y="44"/>
                      </a:lnTo>
                      <a:lnTo>
                        <a:pt x="265" y="37"/>
                      </a:lnTo>
                      <a:lnTo>
                        <a:pt x="265" y="36"/>
                      </a:lnTo>
                      <a:lnTo>
                        <a:pt x="262" y="31"/>
                      </a:lnTo>
                      <a:lnTo>
                        <a:pt x="262" y="29"/>
                      </a:lnTo>
                      <a:lnTo>
                        <a:pt x="262" y="26"/>
                      </a:lnTo>
                      <a:lnTo>
                        <a:pt x="262" y="21"/>
                      </a:lnTo>
                      <a:lnTo>
                        <a:pt x="262" y="17"/>
                      </a:lnTo>
                      <a:lnTo>
                        <a:pt x="262" y="16"/>
                      </a:lnTo>
                      <a:lnTo>
                        <a:pt x="254" y="7"/>
                      </a:lnTo>
                      <a:lnTo>
                        <a:pt x="265" y="7"/>
                      </a:lnTo>
                      <a:lnTo>
                        <a:pt x="275" y="7"/>
                      </a:lnTo>
                      <a:lnTo>
                        <a:pt x="275" y="6"/>
                      </a:lnTo>
                      <a:lnTo>
                        <a:pt x="275" y="5"/>
                      </a:lnTo>
                      <a:lnTo>
                        <a:pt x="274" y="3"/>
                      </a:lnTo>
                      <a:lnTo>
                        <a:pt x="274" y="2"/>
                      </a:lnTo>
                      <a:lnTo>
                        <a:pt x="274" y="1"/>
                      </a:lnTo>
                      <a:lnTo>
                        <a:pt x="274" y="0"/>
                      </a:lnTo>
                      <a:lnTo>
                        <a:pt x="289" y="0"/>
                      </a:lnTo>
                      <a:lnTo>
                        <a:pt x="289" y="2"/>
                      </a:lnTo>
                      <a:lnTo>
                        <a:pt x="288" y="9"/>
                      </a:lnTo>
                      <a:lnTo>
                        <a:pt x="288" y="13"/>
                      </a:lnTo>
                      <a:lnTo>
                        <a:pt x="287" y="17"/>
                      </a:lnTo>
                      <a:lnTo>
                        <a:pt x="287" y="19"/>
                      </a:lnTo>
                      <a:lnTo>
                        <a:pt x="285" y="20"/>
                      </a:lnTo>
                      <a:lnTo>
                        <a:pt x="287" y="33"/>
                      </a:lnTo>
                      <a:lnTo>
                        <a:pt x="289" y="44"/>
                      </a:lnTo>
                      <a:lnTo>
                        <a:pt x="288" y="44"/>
                      </a:lnTo>
                      <a:lnTo>
                        <a:pt x="288" y="45"/>
                      </a:lnTo>
                      <a:lnTo>
                        <a:pt x="288" y="47"/>
                      </a:lnTo>
                      <a:lnTo>
                        <a:pt x="287" y="47"/>
                      </a:lnTo>
                      <a:lnTo>
                        <a:pt x="287" y="48"/>
                      </a:lnTo>
                      <a:lnTo>
                        <a:pt x="288" y="48"/>
                      </a:lnTo>
                      <a:lnTo>
                        <a:pt x="295" y="50"/>
                      </a:lnTo>
                      <a:lnTo>
                        <a:pt x="295" y="51"/>
                      </a:lnTo>
                      <a:lnTo>
                        <a:pt x="297" y="54"/>
                      </a:lnTo>
                      <a:lnTo>
                        <a:pt x="304" y="59"/>
                      </a:lnTo>
                      <a:lnTo>
                        <a:pt x="311" y="65"/>
                      </a:lnTo>
                      <a:lnTo>
                        <a:pt x="312" y="65"/>
                      </a:lnTo>
                      <a:lnTo>
                        <a:pt x="313" y="70"/>
                      </a:lnTo>
                      <a:lnTo>
                        <a:pt x="313" y="71"/>
                      </a:lnTo>
                      <a:lnTo>
                        <a:pt x="313" y="73"/>
                      </a:lnTo>
                      <a:lnTo>
                        <a:pt x="313" y="75"/>
                      </a:lnTo>
                      <a:lnTo>
                        <a:pt x="313" y="76"/>
                      </a:lnTo>
                      <a:lnTo>
                        <a:pt x="313" y="77"/>
                      </a:lnTo>
                      <a:lnTo>
                        <a:pt x="311" y="80"/>
                      </a:lnTo>
                      <a:lnTo>
                        <a:pt x="311" y="84"/>
                      </a:lnTo>
                      <a:lnTo>
                        <a:pt x="310" y="86"/>
                      </a:lnTo>
                      <a:lnTo>
                        <a:pt x="311" y="87"/>
                      </a:lnTo>
                      <a:lnTo>
                        <a:pt x="311" y="89"/>
                      </a:lnTo>
                      <a:lnTo>
                        <a:pt x="317" y="89"/>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6" name="Freeform 113">
                  <a:extLst>
                    <a:ext uri="{FF2B5EF4-FFF2-40B4-BE49-F238E27FC236}">
                      <a16:creationId xmlns:a16="http://schemas.microsoft.com/office/drawing/2014/main" id="{F3145D0F-F27F-27BA-3346-7C01865A594F}"/>
                    </a:ext>
                  </a:extLst>
                </p:cNvPr>
                <p:cNvSpPr>
                  <a:spLocks noEditPoints="1"/>
                </p:cNvSpPr>
                <p:nvPr/>
              </p:nvSpPr>
              <p:spPr bwMode="auto">
                <a:xfrm>
                  <a:off x="5768281" y="3464360"/>
                  <a:ext cx="104928" cy="108173"/>
                </a:xfrm>
                <a:custGeom>
                  <a:avLst/>
                  <a:gdLst>
                    <a:gd name="T0" fmla="*/ 27 w 97"/>
                    <a:gd name="T1" fmla="*/ 81 h 100"/>
                    <a:gd name="T2" fmla="*/ 26 w 97"/>
                    <a:gd name="T3" fmla="*/ 84 h 100"/>
                    <a:gd name="T4" fmla="*/ 13 w 97"/>
                    <a:gd name="T5" fmla="*/ 80 h 100"/>
                    <a:gd name="T6" fmla="*/ 24 w 97"/>
                    <a:gd name="T7" fmla="*/ 77 h 100"/>
                    <a:gd name="T8" fmla="*/ 73 w 97"/>
                    <a:gd name="T9" fmla="*/ 10 h 100"/>
                    <a:gd name="T10" fmla="*/ 78 w 97"/>
                    <a:gd name="T11" fmla="*/ 16 h 100"/>
                    <a:gd name="T12" fmla="*/ 81 w 97"/>
                    <a:gd name="T13" fmla="*/ 21 h 100"/>
                    <a:gd name="T14" fmla="*/ 81 w 97"/>
                    <a:gd name="T15" fmla="*/ 27 h 100"/>
                    <a:gd name="T16" fmla="*/ 86 w 97"/>
                    <a:gd name="T17" fmla="*/ 33 h 100"/>
                    <a:gd name="T18" fmla="*/ 88 w 97"/>
                    <a:gd name="T19" fmla="*/ 41 h 100"/>
                    <a:gd name="T20" fmla="*/ 86 w 97"/>
                    <a:gd name="T21" fmla="*/ 47 h 100"/>
                    <a:gd name="T22" fmla="*/ 83 w 97"/>
                    <a:gd name="T23" fmla="*/ 56 h 100"/>
                    <a:gd name="T24" fmla="*/ 88 w 97"/>
                    <a:gd name="T25" fmla="*/ 54 h 100"/>
                    <a:gd name="T26" fmla="*/ 94 w 97"/>
                    <a:gd name="T27" fmla="*/ 48 h 100"/>
                    <a:gd name="T28" fmla="*/ 95 w 97"/>
                    <a:gd name="T29" fmla="*/ 58 h 100"/>
                    <a:gd name="T30" fmla="*/ 88 w 97"/>
                    <a:gd name="T31" fmla="*/ 62 h 100"/>
                    <a:gd name="T32" fmla="*/ 83 w 97"/>
                    <a:gd name="T33" fmla="*/ 74 h 100"/>
                    <a:gd name="T34" fmla="*/ 67 w 97"/>
                    <a:gd name="T35" fmla="*/ 88 h 100"/>
                    <a:gd name="T36" fmla="*/ 64 w 97"/>
                    <a:gd name="T37" fmla="*/ 94 h 100"/>
                    <a:gd name="T38" fmla="*/ 62 w 97"/>
                    <a:gd name="T39" fmla="*/ 97 h 100"/>
                    <a:gd name="T40" fmla="*/ 56 w 97"/>
                    <a:gd name="T41" fmla="*/ 97 h 100"/>
                    <a:gd name="T42" fmla="*/ 41 w 97"/>
                    <a:gd name="T43" fmla="*/ 90 h 100"/>
                    <a:gd name="T44" fmla="*/ 30 w 97"/>
                    <a:gd name="T45" fmla="*/ 84 h 100"/>
                    <a:gd name="T46" fmla="*/ 29 w 97"/>
                    <a:gd name="T47" fmla="*/ 81 h 100"/>
                    <a:gd name="T48" fmla="*/ 34 w 97"/>
                    <a:gd name="T49" fmla="*/ 80 h 100"/>
                    <a:gd name="T50" fmla="*/ 36 w 97"/>
                    <a:gd name="T51" fmla="*/ 79 h 100"/>
                    <a:gd name="T52" fmla="*/ 30 w 97"/>
                    <a:gd name="T53" fmla="*/ 80 h 100"/>
                    <a:gd name="T54" fmla="*/ 27 w 97"/>
                    <a:gd name="T55" fmla="*/ 76 h 100"/>
                    <a:gd name="T56" fmla="*/ 28 w 97"/>
                    <a:gd name="T57" fmla="*/ 73 h 100"/>
                    <a:gd name="T58" fmla="*/ 19 w 97"/>
                    <a:gd name="T59" fmla="*/ 74 h 100"/>
                    <a:gd name="T60" fmla="*/ 15 w 97"/>
                    <a:gd name="T61" fmla="*/ 72 h 100"/>
                    <a:gd name="T62" fmla="*/ 16 w 97"/>
                    <a:gd name="T63" fmla="*/ 68 h 100"/>
                    <a:gd name="T64" fmla="*/ 13 w 97"/>
                    <a:gd name="T65" fmla="*/ 61 h 100"/>
                    <a:gd name="T66" fmla="*/ 9 w 97"/>
                    <a:gd name="T67" fmla="*/ 58 h 100"/>
                    <a:gd name="T68" fmla="*/ 5 w 97"/>
                    <a:gd name="T69" fmla="*/ 56 h 100"/>
                    <a:gd name="T70" fmla="*/ 2 w 97"/>
                    <a:gd name="T71" fmla="*/ 51 h 100"/>
                    <a:gd name="T72" fmla="*/ 3 w 97"/>
                    <a:gd name="T73" fmla="*/ 51 h 100"/>
                    <a:gd name="T74" fmla="*/ 9 w 97"/>
                    <a:gd name="T75" fmla="*/ 53 h 100"/>
                    <a:gd name="T76" fmla="*/ 9 w 97"/>
                    <a:gd name="T77" fmla="*/ 49 h 100"/>
                    <a:gd name="T78" fmla="*/ 13 w 97"/>
                    <a:gd name="T79" fmla="*/ 46 h 100"/>
                    <a:gd name="T80" fmla="*/ 8 w 97"/>
                    <a:gd name="T81" fmla="*/ 47 h 100"/>
                    <a:gd name="T82" fmla="*/ 7 w 97"/>
                    <a:gd name="T83" fmla="*/ 46 h 100"/>
                    <a:gd name="T84" fmla="*/ 6 w 97"/>
                    <a:gd name="T85" fmla="*/ 48 h 100"/>
                    <a:gd name="T86" fmla="*/ 2 w 97"/>
                    <a:gd name="T87" fmla="*/ 45 h 100"/>
                    <a:gd name="T88" fmla="*/ 8 w 97"/>
                    <a:gd name="T89" fmla="*/ 39 h 100"/>
                    <a:gd name="T90" fmla="*/ 5 w 97"/>
                    <a:gd name="T91" fmla="*/ 38 h 100"/>
                    <a:gd name="T92" fmla="*/ 3 w 97"/>
                    <a:gd name="T93" fmla="*/ 35 h 100"/>
                    <a:gd name="T94" fmla="*/ 3 w 97"/>
                    <a:gd name="T95" fmla="*/ 32 h 100"/>
                    <a:gd name="T96" fmla="*/ 10 w 97"/>
                    <a:gd name="T97" fmla="*/ 30 h 100"/>
                    <a:gd name="T98" fmla="*/ 13 w 97"/>
                    <a:gd name="T99" fmla="*/ 25 h 100"/>
                    <a:gd name="T100" fmla="*/ 19 w 97"/>
                    <a:gd name="T101" fmla="*/ 21 h 100"/>
                    <a:gd name="T102" fmla="*/ 22 w 97"/>
                    <a:gd name="T103" fmla="*/ 14 h 100"/>
                    <a:gd name="T104" fmla="*/ 26 w 97"/>
                    <a:gd name="T105" fmla="*/ 6 h 100"/>
                    <a:gd name="T106" fmla="*/ 36 w 97"/>
                    <a:gd name="T107" fmla="*/ 5 h 100"/>
                    <a:gd name="T108" fmla="*/ 64 w 97"/>
                    <a:gd name="T10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100">
                      <a:moveTo>
                        <a:pt x="23" y="77"/>
                      </a:moveTo>
                      <a:lnTo>
                        <a:pt x="24" y="79"/>
                      </a:lnTo>
                      <a:lnTo>
                        <a:pt x="26" y="77"/>
                      </a:lnTo>
                      <a:lnTo>
                        <a:pt x="26" y="79"/>
                      </a:lnTo>
                      <a:lnTo>
                        <a:pt x="27" y="79"/>
                      </a:lnTo>
                      <a:lnTo>
                        <a:pt x="27" y="80"/>
                      </a:lnTo>
                      <a:lnTo>
                        <a:pt x="27" y="81"/>
                      </a:lnTo>
                      <a:lnTo>
                        <a:pt x="27" y="82"/>
                      </a:lnTo>
                      <a:lnTo>
                        <a:pt x="26" y="82"/>
                      </a:lnTo>
                      <a:lnTo>
                        <a:pt x="26" y="83"/>
                      </a:lnTo>
                      <a:lnTo>
                        <a:pt x="27" y="84"/>
                      </a:lnTo>
                      <a:lnTo>
                        <a:pt x="26" y="84"/>
                      </a:lnTo>
                      <a:lnTo>
                        <a:pt x="24" y="84"/>
                      </a:lnTo>
                      <a:lnTo>
                        <a:pt x="26" y="84"/>
                      </a:lnTo>
                      <a:lnTo>
                        <a:pt x="24" y="83"/>
                      </a:lnTo>
                      <a:lnTo>
                        <a:pt x="23" y="82"/>
                      </a:lnTo>
                      <a:lnTo>
                        <a:pt x="22" y="82"/>
                      </a:lnTo>
                      <a:lnTo>
                        <a:pt x="20" y="81"/>
                      </a:lnTo>
                      <a:lnTo>
                        <a:pt x="19" y="81"/>
                      </a:lnTo>
                      <a:lnTo>
                        <a:pt x="15" y="80"/>
                      </a:lnTo>
                      <a:lnTo>
                        <a:pt x="13" y="80"/>
                      </a:lnTo>
                      <a:lnTo>
                        <a:pt x="14" y="79"/>
                      </a:lnTo>
                      <a:lnTo>
                        <a:pt x="15" y="77"/>
                      </a:lnTo>
                      <a:lnTo>
                        <a:pt x="16" y="77"/>
                      </a:lnTo>
                      <a:lnTo>
                        <a:pt x="20" y="77"/>
                      </a:lnTo>
                      <a:lnTo>
                        <a:pt x="21" y="77"/>
                      </a:lnTo>
                      <a:lnTo>
                        <a:pt x="23" y="77"/>
                      </a:lnTo>
                      <a:lnTo>
                        <a:pt x="24" y="77"/>
                      </a:lnTo>
                      <a:lnTo>
                        <a:pt x="23" y="77"/>
                      </a:lnTo>
                      <a:close/>
                      <a:moveTo>
                        <a:pt x="67" y="4"/>
                      </a:moveTo>
                      <a:lnTo>
                        <a:pt x="69" y="5"/>
                      </a:lnTo>
                      <a:lnTo>
                        <a:pt x="71" y="6"/>
                      </a:lnTo>
                      <a:lnTo>
                        <a:pt x="72" y="7"/>
                      </a:lnTo>
                      <a:lnTo>
                        <a:pt x="73" y="9"/>
                      </a:lnTo>
                      <a:lnTo>
                        <a:pt x="73" y="10"/>
                      </a:lnTo>
                      <a:lnTo>
                        <a:pt x="74" y="11"/>
                      </a:lnTo>
                      <a:lnTo>
                        <a:pt x="74" y="12"/>
                      </a:lnTo>
                      <a:lnTo>
                        <a:pt x="76" y="12"/>
                      </a:lnTo>
                      <a:lnTo>
                        <a:pt x="76" y="13"/>
                      </a:lnTo>
                      <a:lnTo>
                        <a:pt x="77" y="14"/>
                      </a:lnTo>
                      <a:lnTo>
                        <a:pt x="77" y="16"/>
                      </a:lnTo>
                      <a:lnTo>
                        <a:pt x="78" y="16"/>
                      </a:lnTo>
                      <a:lnTo>
                        <a:pt x="78" y="17"/>
                      </a:lnTo>
                      <a:lnTo>
                        <a:pt x="78" y="18"/>
                      </a:lnTo>
                      <a:lnTo>
                        <a:pt x="79" y="19"/>
                      </a:lnTo>
                      <a:lnTo>
                        <a:pt x="79" y="20"/>
                      </a:lnTo>
                      <a:lnTo>
                        <a:pt x="80" y="20"/>
                      </a:lnTo>
                      <a:lnTo>
                        <a:pt x="81" y="20"/>
                      </a:lnTo>
                      <a:lnTo>
                        <a:pt x="81" y="21"/>
                      </a:lnTo>
                      <a:lnTo>
                        <a:pt x="83" y="21"/>
                      </a:lnTo>
                      <a:lnTo>
                        <a:pt x="84" y="23"/>
                      </a:lnTo>
                      <a:lnTo>
                        <a:pt x="84" y="24"/>
                      </a:lnTo>
                      <a:lnTo>
                        <a:pt x="84" y="25"/>
                      </a:lnTo>
                      <a:lnTo>
                        <a:pt x="84" y="26"/>
                      </a:lnTo>
                      <a:lnTo>
                        <a:pt x="83" y="26"/>
                      </a:lnTo>
                      <a:lnTo>
                        <a:pt x="81" y="27"/>
                      </a:lnTo>
                      <a:lnTo>
                        <a:pt x="81" y="28"/>
                      </a:lnTo>
                      <a:lnTo>
                        <a:pt x="81" y="30"/>
                      </a:lnTo>
                      <a:lnTo>
                        <a:pt x="83" y="30"/>
                      </a:lnTo>
                      <a:lnTo>
                        <a:pt x="84" y="30"/>
                      </a:lnTo>
                      <a:lnTo>
                        <a:pt x="85" y="31"/>
                      </a:lnTo>
                      <a:lnTo>
                        <a:pt x="86" y="31"/>
                      </a:lnTo>
                      <a:lnTo>
                        <a:pt x="86" y="33"/>
                      </a:lnTo>
                      <a:lnTo>
                        <a:pt x="86" y="34"/>
                      </a:lnTo>
                      <a:lnTo>
                        <a:pt x="86" y="37"/>
                      </a:lnTo>
                      <a:lnTo>
                        <a:pt x="86" y="38"/>
                      </a:lnTo>
                      <a:lnTo>
                        <a:pt x="86" y="39"/>
                      </a:lnTo>
                      <a:lnTo>
                        <a:pt x="87" y="39"/>
                      </a:lnTo>
                      <a:lnTo>
                        <a:pt x="88" y="40"/>
                      </a:lnTo>
                      <a:lnTo>
                        <a:pt x="88" y="41"/>
                      </a:lnTo>
                      <a:lnTo>
                        <a:pt x="91" y="42"/>
                      </a:lnTo>
                      <a:lnTo>
                        <a:pt x="90" y="44"/>
                      </a:lnTo>
                      <a:lnTo>
                        <a:pt x="90" y="45"/>
                      </a:lnTo>
                      <a:lnTo>
                        <a:pt x="88" y="45"/>
                      </a:lnTo>
                      <a:lnTo>
                        <a:pt x="87" y="45"/>
                      </a:lnTo>
                      <a:lnTo>
                        <a:pt x="86" y="46"/>
                      </a:lnTo>
                      <a:lnTo>
                        <a:pt x="86" y="47"/>
                      </a:lnTo>
                      <a:lnTo>
                        <a:pt x="85" y="48"/>
                      </a:lnTo>
                      <a:lnTo>
                        <a:pt x="85" y="49"/>
                      </a:lnTo>
                      <a:lnTo>
                        <a:pt x="85" y="52"/>
                      </a:lnTo>
                      <a:lnTo>
                        <a:pt x="84" y="53"/>
                      </a:lnTo>
                      <a:lnTo>
                        <a:pt x="83" y="54"/>
                      </a:lnTo>
                      <a:lnTo>
                        <a:pt x="83" y="55"/>
                      </a:lnTo>
                      <a:lnTo>
                        <a:pt x="83" y="56"/>
                      </a:lnTo>
                      <a:lnTo>
                        <a:pt x="84" y="55"/>
                      </a:lnTo>
                      <a:lnTo>
                        <a:pt x="84" y="54"/>
                      </a:lnTo>
                      <a:lnTo>
                        <a:pt x="85" y="54"/>
                      </a:lnTo>
                      <a:lnTo>
                        <a:pt x="86" y="54"/>
                      </a:lnTo>
                      <a:lnTo>
                        <a:pt x="87" y="54"/>
                      </a:lnTo>
                      <a:lnTo>
                        <a:pt x="87" y="55"/>
                      </a:lnTo>
                      <a:lnTo>
                        <a:pt x="88" y="54"/>
                      </a:lnTo>
                      <a:lnTo>
                        <a:pt x="90" y="54"/>
                      </a:lnTo>
                      <a:lnTo>
                        <a:pt x="91" y="52"/>
                      </a:lnTo>
                      <a:lnTo>
                        <a:pt x="92" y="52"/>
                      </a:lnTo>
                      <a:lnTo>
                        <a:pt x="92" y="49"/>
                      </a:lnTo>
                      <a:lnTo>
                        <a:pt x="93" y="49"/>
                      </a:lnTo>
                      <a:lnTo>
                        <a:pt x="93" y="48"/>
                      </a:lnTo>
                      <a:lnTo>
                        <a:pt x="94" y="48"/>
                      </a:lnTo>
                      <a:lnTo>
                        <a:pt x="95" y="48"/>
                      </a:lnTo>
                      <a:lnTo>
                        <a:pt x="97" y="48"/>
                      </a:lnTo>
                      <a:lnTo>
                        <a:pt x="97" y="51"/>
                      </a:lnTo>
                      <a:lnTo>
                        <a:pt x="95" y="54"/>
                      </a:lnTo>
                      <a:lnTo>
                        <a:pt x="95" y="55"/>
                      </a:lnTo>
                      <a:lnTo>
                        <a:pt x="95" y="56"/>
                      </a:lnTo>
                      <a:lnTo>
                        <a:pt x="95" y="58"/>
                      </a:lnTo>
                      <a:lnTo>
                        <a:pt x="95" y="59"/>
                      </a:lnTo>
                      <a:lnTo>
                        <a:pt x="94" y="60"/>
                      </a:lnTo>
                      <a:lnTo>
                        <a:pt x="93" y="60"/>
                      </a:lnTo>
                      <a:lnTo>
                        <a:pt x="91" y="60"/>
                      </a:lnTo>
                      <a:lnTo>
                        <a:pt x="90" y="60"/>
                      </a:lnTo>
                      <a:lnTo>
                        <a:pt x="88" y="61"/>
                      </a:lnTo>
                      <a:lnTo>
                        <a:pt x="88" y="62"/>
                      </a:lnTo>
                      <a:lnTo>
                        <a:pt x="87" y="62"/>
                      </a:lnTo>
                      <a:lnTo>
                        <a:pt x="87" y="63"/>
                      </a:lnTo>
                      <a:lnTo>
                        <a:pt x="86" y="63"/>
                      </a:lnTo>
                      <a:lnTo>
                        <a:pt x="86" y="65"/>
                      </a:lnTo>
                      <a:lnTo>
                        <a:pt x="86" y="72"/>
                      </a:lnTo>
                      <a:lnTo>
                        <a:pt x="84" y="73"/>
                      </a:lnTo>
                      <a:lnTo>
                        <a:pt x="83" y="74"/>
                      </a:lnTo>
                      <a:lnTo>
                        <a:pt x="79" y="79"/>
                      </a:lnTo>
                      <a:lnTo>
                        <a:pt x="78" y="80"/>
                      </a:lnTo>
                      <a:lnTo>
                        <a:pt x="77" y="80"/>
                      </a:lnTo>
                      <a:lnTo>
                        <a:pt x="76" y="81"/>
                      </a:lnTo>
                      <a:lnTo>
                        <a:pt x="71" y="84"/>
                      </a:lnTo>
                      <a:lnTo>
                        <a:pt x="70" y="86"/>
                      </a:lnTo>
                      <a:lnTo>
                        <a:pt x="67" y="88"/>
                      </a:lnTo>
                      <a:lnTo>
                        <a:pt x="67" y="89"/>
                      </a:lnTo>
                      <a:lnTo>
                        <a:pt x="65" y="90"/>
                      </a:lnTo>
                      <a:lnTo>
                        <a:pt x="64" y="90"/>
                      </a:lnTo>
                      <a:lnTo>
                        <a:pt x="64" y="91"/>
                      </a:lnTo>
                      <a:lnTo>
                        <a:pt x="63" y="93"/>
                      </a:lnTo>
                      <a:lnTo>
                        <a:pt x="63" y="94"/>
                      </a:lnTo>
                      <a:lnTo>
                        <a:pt x="64" y="94"/>
                      </a:lnTo>
                      <a:lnTo>
                        <a:pt x="63" y="94"/>
                      </a:lnTo>
                      <a:lnTo>
                        <a:pt x="63" y="95"/>
                      </a:lnTo>
                      <a:lnTo>
                        <a:pt x="62" y="95"/>
                      </a:lnTo>
                      <a:lnTo>
                        <a:pt x="63" y="95"/>
                      </a:lnTo>
                      <a:lnTo>
                        <a:pt x="63" y="96"/>
                      </a:lnTo>
                      <a:lnTo>
                        <a:pt x="62" y="96"/>
                      </a:lnTo>
                      <a:lnTo>
                        <a:pt x="62" y="97"/>
                      </a:lnTo>
                      <a:lnTo>
                        <a:pt x="60" y="97"/>
                      </a:lnTo>
                      <a:lnTo>
                        <a:pt x="60" y="98"/>
                      </a:lnTo>
                      <a:lnTo>
                        <a:pt x="59" y="100"/>
                      </a:lnTo>
                      <a:lnTo>
                        <a:pt x="59" y="98"/>
                      </a:lnTo>
                      <a:lnTo>
                        <a:pt x="58" y="98"/>
                      </a:lnTo>
                      <a:lnTo>
                        <a:pt x="57" y="98"/>
                      </a:lnTo>
                      <a:lnTo>
                        <a:pt x="56" y="97"/>
                      </a:lnTo>
                      <a:lnTo>
                        <a:pt x="57" y="97"/>
                      </a:lnTo>
                      <a:lnTo>
                        <a:pt x="56" y="97"/>
                      </a:lnTo>
                      <a:lnTo>
                        <a:pt x="55" y="97"/>
                      </a:lnTo>
                      <a:lnTo>
                        <a:pt x="55" y="96"/>
                      </a:lnTo>
                      <a:lnTo>
                        <a:pt x="52" y="95"/>
                      </a:lnTo>
                      <a:lnTo>
                        <a:pt x="48" y="93"/>
                      </a:lnTo>
                      <a:lnTo>
                        <a:pt x="41" y="90"/>
                      </a:lnTo>
                      <a:lnTo>
                        <a:pt x="33" y="87"/>
                      </a:lnTo>
                      <a:lnTo>
                        <a:pt x="27" y="84"/>
                      </a:lnTo>
                      <a:lnTo>
                        <a:pt x="28" y="84"/>
                      </a:lnTo>
                      <a:lnTo>
                        <a:pt x="29" y="84"/>
                      </a:lnTo>
                      <a:lnTo>
                        <a:pt x="30" y="84"/>
                      </a:lnTo>
                      <a:lnTo>
                        <a:pt x="31" y="84"/>
                      </a:lnTo>
                      <a:lnTo>
                        <a:pt x="30" y="84"/>
                      </a:lnTo>
                      <a:lnTo>
                        <a:pt x="30" y="83"/>
                      </a:lnTo>
                      <a:lnTo>
                        <a:pt x="29" y="83"/>
                      </a:lnTo>
                      <a:lnTo>
                        <a:pt x="28" y="83"/>
                      </a:lnTo>
                      <a:lnTo>
                        <a:pt x="27" y="83"/>
                      </a:lnTo>
                      <a:lnTo>
                        <a:pt x="28" y="82"/>
                      </a:lnTo>
                      <a:lnTo>
                        <a:pt x="28" y="81"/>
                      </a:lnTo>
                      <a:lnTo>
                        <a:pt x="29" y="81"/>
                      </a:lnTo>
                      <a:lnTo>
                        <a:pt x="29" y="80"/>
                      </a:lnTo>
                      <a:lnTo>
                        <a:pt x="29" y="81"/>
                      </a:lnTo>
                      <a:lnTo>
                        <a:pt x="30" y="80"/>
                      </a:lnTo>
                      <a:lnTo>
                        <a:pt x="31" y="80"/>
                      </a:lnTo>
                      <a:lnTo>
                        <a:pt x="33" y="80"/>
                      </a:lnTo>
                      <a:lnTo>
                        <a:pt x="33" y="81"/>
                      </a:lnTo>
                      <a:lnTo>
                        <a:pt x="34" y="80"/>
                      </a:lnTo>
                      <a:lnTo>
                        <a:pt x="35" y="80"/>
                      </a:lnTo>
                      <a:lnTo>
                        <a:pt x="35" y="79"/>
                      </a:lnTo>
                      <a:lnTo>
                        <a:pt x="36" y="79"/>
                      </a:lnTo>
                      <a:lnTo>
                        <a:pt x="37" y="79"/>
                      </a:lnTo>
                      <a:lnTo>
                        <a:pt x="37" y="77"/>
                      </a:lnTo>
                      <a:lnTo>
                        <a:pt x="36" y="77"/>
                      </a:lnTo>
                      <a:lnTo>
                        <a:pt x="36" y="79"/>
                      </a:lnTo>
                      <a:lnTo>
                        <a:pt x="36" y="77"/>
                      </a:lnTo>
                      <a:lnTo>
                        <a:pt x="35" y="77"/>
                      </a:lnTo>
                      <a:lnTo>
                        <a:pt x="35" y="79"/>
                      </a:lnTo>
                      <a:lnTo>
                        <a:pt x="34" y="79"/>
                      </a:lnTo>
                      <a:lnTo>
                        <a:pt x="33" y="79"/>
                      </a:lnTo>
                      <a:lnTo>
                        <a:pt x="31" y="80"/>
                      </a:lnTo>
                      <a:lnTo>
                        <a:pt x="30" y="80"/>
                      </a:lnTo>
                      <a:lnTo>
                        <a:pt x="29" y="80"/>
                      </a:lnTo>
                      <a:lnTo>
                        <a:pt x="28" y="80"/>
                      </a:lnTo>
                      <a:lnTo>
                        <a:pt x="28" y="79"/>
                      </a:lnTo>
                      <a:lnTo>
                        <a:pt x="27" y="77"/>
                      </a:lnTo>
                      <a:lnTo>
                        <a:pt x="27" y="76"/>
                      </a:lnTo>
                      <a:lnTo>
                        <a:pt x="27" y="77"/>
                      </a:lnTo>
                      <a:lnTo>
                        <a:pt x="27" y="76"/>
                      </a:lnTo>
                      <a:lnTo>
                        <a:pt x="26" y="76"/>
                      </a:lnTo>
                      <a:lnTo>
                        <a:pt x="26" y="77"/>
                      </a:lnTo>
                      <a:lnTo>
                        <a:pt x="26" y="76"/>
                      </a:lnTo>
                      <a:lnTo>
                        <a:pt x="26" y="75"/>
                      </a:lnTo>
                      <a:lnTo>
                        <a:pt x="27" y="74"/>
                      </a:lnTo>
                      <a:lnTo>
                        <a:pt x="28" y="74"/>
                      </a:lnTo>
                      <a:lnTo>
                        <a:pt x="28" y="73"/>
                      </a:lnTo>
                      <a:lnTo>
                        <a:pt x="27" y="73"/>
                      </a:lnTo>
                      <a:lnTo>
                        <a:pt x="26" y="74"/>
                      </a:lnTo>
                      <a:lnTo>
                        <a:pt x="24" y="75"/>
                      </a:lnTo>
                      <a:lnTo>
                        <a:pt x="23" y="75"/>
                      </a:lnTo>
                      <a:lnTo>
                        <a:pt x="21" y="75"/>
                      </a:lnTo>
                      <a:lnTo>
                        <a:pt x="20" y="75"/>
                      </a:lnTo>
                      <a:lnTo>
                        <a:pt x="19" y="74"/>
                      </a:lnTo>
                      <a:lnTo>
                        <a:pt x="17" y="74"/>
                      </a:lnTo>
                      <a:lnTo>
                        <a:pt x="17" y="73"/>
                      </a:lnTo>
                      <a:lnTo>
                        <a:pt x="17" y="72"/>
                      </a:lnTo>
                      <a:lnTo>
                        <a:pt x="19" y="72"/>
                      </a:lnTo>
                      <a:lnTo>
                        <a:pt x="17" y="72"/>
                      </a:lnTo>
                      <a:lnTo>
                        <a:pt x="16" y="72"/>
                      </a:lnTo>
                      <a:lnTo>
                        <a:pt x="15" y="72"/>
                      </a:lnTo>
                      <a:lnTo>
                        <a:pt x="14" y="70"/>
                      </a:lnTo>
                      <a:lnTo>
                        <a:pt x="13" y="69"/>
                      </a:lnTo>
                      <a:lnTo>
                        <a:pt x="12" y="68"/>
                      </a:lnTo>
                      <a:lnTo>
                        <a:pt x="13" y="68"/>
                      </a:lnTo>
                      <a:lnTo>
                        <a:pt x="14" y="68"/>
                      </a:lnTo>
                      <a:lnTo>
                        <a:pt x="15" y="68"/>
                      </a:lnTo>
                      <a:lnTo>
                        <a:pt x="16" y="68"/>
                      </a:lnTo>
                      <a:lnTo>
                        <a:pt x="15" y="67"/>
                      </a:lnTo>
                      <a:lnTo>
                        <a:pt x="14" y="67"/>
                      </a:lnTo>
                      <a:lnTo>
                        <a:pt x="14" y="65"/>
                      </a:lnTo>
                      <a:lnTo>
                        <a:pt x="14" y="63"/>
                      </a:lnTo>
                      <a:lnTo>
                        <a:pt x="14" y="62"/>
                      </a:lnTo>
                      <a:lnTo>
                        <a:pt x="13" y="62"/>
                      </a:lnTo>
                      <a:lnTo>
                        <a:pt x="13" y="61"/>
                      </a:lnTo>
                      <a:lnTo>
                        <a:pt x="13" y="60"/>
                      </a:lnTo>
                      <a:lnTo>
                        <a:pt x="12" y="60"/>
                      </a:lnTo>
                      <a:lnTo>
                        <a:pt x="10" y="59"/>
                      </a:lnTo>
                      <a:lnTo>
                        <a:pt x="12" y="59"/>
                      </a:lnTo>
                      <a:lnTo>
                        <a:pt x="12" y="58"/>
                      </a:lnTo>
                      <a:lnTo>
                        <a:pt x="10" y="58"/>
                      </a:lnTo>
                      <a:lnTo>
                        <a:pt x="9" y="58"/>
                      </a:lnTo>
                      <a:lnTo>
                        <a:pt x="8" y="59"/>
                      </a:lnTo>
                      <a:lnTo>
                        <a:pt x="7" y="59"/>
                      </a:lnTo>
                      <a:lnTo>
                        <a:pt x="6" y="60"/>
                      </a:lnTo>
                      <a:lnTo>
                        <a:pt x="6" y="59"/>
                      </a:lnTo>
                      <a:lnTo>
                        <a:pt x="5" y="58"/>
                      </a:lnTo>
                      <a:lnTo>
                        <a:pt x="6" y="58"/>
                      </a:lnTo>
                      <a:lnTo>
                        <a:pt x="5" y="56"/>
                      </a:lnTo>
                      <a:lnTo>
                        <a:pt x="3" y="55"/>
                      </a:lnTo>
                      <a:lnTo>
                        <a:pt x="3" y="54"/>
                      </a:lnTo>
                      <a:lnTo>
                        <a:pt x="2" y="53"/>
                      </a:lnTo>
                      <a:lnTo>
                        <a:pt x="1" y="53"/>
                      </a:lnTo>
                      <a:lnTo>
                        <a:pt x="1" y="52"/>
                      </a:lnTo>
                      <a:lnTo>
                        <a:pt x="2" y="52"/>
                      </a:lnTo>
                      <a:lnTo>
                        <a:pt x="2" y="51"/>
                      </a:lnTo>
                      <a:lnTo>
                        <a:pt x="1" y="51"/>
                      </a:lnTo>
                      <a:lnTo>
                        <a:pt x="1" y="49"/>
                      </a:lnTo>
                      <a:lnTo>
                        <a:pt x="2" y="49"/>
                      </a:lnTo>
                      <a:lnTo>
                        <a:pt x="2" y="51"/>
                      </a:lnTo>
                      <a:lnTo>
                        <a:pt x="2" y="49"/>
                      </a:lnTo>
                      <a:lnTo>
                        <a:pt x="2" y="51"/>
                      </a:lnTo>
                      <a:lnTo>
                        <a:pt x="3" y="51"/>
                      </a:lnTo>
                      <a:lnTo>
                        <a:pt x="5" y="51"/>
                      </a:lnTo>
                      <a:lnTo>
                        <a:pt x="6" y="52"/>
                      </a:lnTo>
                      <a:lnTo>
                        <a:pt x="7" y="53"/>
                      </a:lnTo>
                      <a:lnTo>
                        <a:pt x="8" y="53"/>
                      </a:lnTo>
                      <a:lnTo>
                        <a:pt x="8" y="54"/>
                      </a:lnTo>
                      <a:lnTo>
                        <a:pt x="9" y="54"/>
                      </a:lnTo>
                      <a:lnTo>
                        <a:pt x="9" y="53"/>
                      </a:lnTo>
                      <a:lnTo>
                        <a:pt x="8" y="53"/>
                      </a:lnTo>
                      <a:lnTo>
                        <a:pt x="8" y="52"/>
                      </a:lnTo>
                      <a:lnTo>
                        <a:pt x="7" y="52"/>
                      </a:lnTo>
                      <a:lnTo>
                        <a:pt x="7" y="51"/>
                      </a:lnTo>
                      <a:lnTo>
                        <a:pt x="8" y="51"/>
                      </a:lnTo>
                      <a:lnTo>
                        <a:pt x="8" y="49"/>
                      </a:lnTo>
                      <a:lnTo>
                        <a:pt x="9" y="49"/>
                      </a:lnTo>
                      <a:lnTo>
                        <a:pt x="9" y="48"/>
                      </a:lnTo>
                      <a:lnTo>
                        <a:pt x="10" y="48"/>
                      </a:lnTo>
                      <a:lnTo>
                        <a:pt x="13" y="48"/>
                      </a:lnTo>
                      <a:lnTo>
                        <a:pt x="14" y="48"/>
                      </a:lnTo>
                      <a:lnTo>
                        <a:pt x="14" y="47"/>
                      </a:lnTo>
                      <a:lnTo>
                        <a:pt x="13" y="47"/>
                      </a:lnTo>
                      <a:lnTo>
                        <a:pt x="13" y="46"/>
                      </a:lnTo>
                      <a:lnTo>
                        <a:pt x="14" y="44"/>
                      </a:lnTo>
                      <a:lnTo>
                        <a:pt x="14" y="45"/>
                      </a:lnTo>
                      <a:lnTo>
                        <a:pt x="13" y="46"/>
                      </a:lnTo>
                      <a:lnTo>
                        <a:pt x="12" y="47"/>
                      </a:lnTo>
                      <a:lnTo>
                        <a:pt x="10" y="47"/>
                      </a:lnTo>
                      <a:lnTo>
                        <a:pt x="9" y="47"/>
                      </a:lnTo>
                      <a:lnTo>
                        <a:pt x="8" y="47"/>
                      </a:lnTo>
                      <a:lnTo>
                        <a:pt x="7" y="47"/>
                      </a:lnTo>
                      <a:lnTo>
                        <a:pt x="8" y="46"/>
                      </a:lnTo>
                      <a:lnTo>
                        <a:pt x="9" y="46"/>
                      </a:lnTo>
                      <a:lnTo>
                        <a:pt x="9" y="45"/>
                      </a:lnTo>
                      <a:lnTo>
                        <a:pt x="8" y="45"/>
                      </a:lnTo>
                      <a:lnTo>
                        <a:pt x="8" y="46"/>
                      </a:lnTo>
                      <a:lnTo>
                        <a:pt x="7" y="46"/>
                      </a:lnTo>
                      <a:lnTo>
                        <a:pt x="6" y="45"/>
                      </a:lnTo>
                      <a:lnTo>
                        <a:pt x="5" y="45"/>
                      </a:lnTo>
                      <a:lnTo>
                        <a:pt x="6" y="45"/>
                      </a:lnTo>
                      <a:lnTo>
                        <a:pt x="6" y="46"/>
                      </a:lnTo>
                      <a:lnTo>
                        <a:pt x="7" y="47"/>
                      </a:lnTo>
                      <a:lnTo>
                        <a:pt x="7" y="48"/>
                      </a:lnTo>
                      <a:lnTo>
                        <a:pt x="6" y="48"/>
                      </a:lnTo>
                      <a:lnTo>
                        <a:pt x="6" y="49"/>
                      </a:lnTo>
                      <a:lnTo>
                        <a:pt x="5" y="49"/>
                      </a:lnTo>
                      <a:lnTo>
                        <a:pt x="5" y="47"/>
                      </a:lnTo>
                      <a:lnTo>
                        <a:pt x="3" y="47"/>
                      </a:lnTo>
                      <a:lnTo>
                        <a:pt x="3" y="46"/>
                      </a:lnTo>
                      <a:lnTo>
                        <a:pt x="3" y="45"/>
                      </a:lnTo>
                      <a:lnTo>
                        <a:pt x="2" y="45"/>
                      </a:lnTo>
                      <a:lnTo>
                        <a:pt x="2" y="44"/>
                      </a:lnTo>
                      <a:lnTo>
                        <a:pt x="2" y="42"/>
                      </a:lnTo>
                      <a:lnTo>
                        <a:pt x="2" y="39"/>
                      </a:lnTo>
                      <a:lnTo>
                        <a:pt x="3" y="39"/>
                      </a:lnTo>
                      <a:lnTo>
                        <a:pt x="5" y="39"/>
                      </a:lnTo>
                      <a:lnTo>
                        <a:pt x="7" y="39"/>
                      </a:lnTo>
                      <a:lnTo>
                        <a:pt x="8" y="39"/>
                      </a:lnTo>
                      <a:lnTo>
                        <a:pt x="9" y="38"/>
                      </a:lnTo>
                      <a:lnTo>
                        <a:pt x="10" y="38"/>
                      </a:lnTo>
                      <a:lnTo>
                        <a:pt x="9" y="38"/>
                      </a:lnTo>
                      <a:lnTo>
                        <a:pt x="8" y="38"/>
                      </a:lnTo>
                      <a:lnTo>
                        <a:pt x="7" y="38"/>
                      </a:lnTo>
                      <a:lnTo>
                        <a:pt x="6" y="38"/>
                      </a:lnTo>
                      <a:lnTo>
                        <a:pt x="5" y="38"/>
                      </a:lnTo>
                      <a:lnTo>
                        <a:pt x="6" y="37"/>
                      </a:lnTo>
                      <a:lnTo>
                        <a:pt x="7" y="37"/>
                      </a:lnTo>
                      <a:lnTo>
                        <a:pt x="8" y="35"/>
                      </a:lnTo>
                      <a:lnTo>
                        <a:pt x="7" y="35"/>
                      </a:lnTo>
                      <a:lnTo>
                        <a:pt x="5" y="37"/>
                      </a:lnTo>
                      <a:lnTo>
                        <a:pt x="3" y="37"/>
                      </a:lnTo>
                      <a:lnTo>
                        <a:pt x="3" y="35"/>
                      </a:lnTo>
                      <a:lnTo>
                        <a:pt x="2" y="35"/>
                      </a:lnTo>
                      <a:lnTo>
                        <a:pt x="1" y="35"/>
                      </a:lnTo>
                      <a:lnTo>
                        <a:pt x="1" y="33"/>
                      </a:lnTo>
                      <a:lnTo>
                        <a:pt x="0" y="33"/>
                      </a:lnTo>
                      <a:lnTo>
                        <a:pt x="1" y="32"/>
                      </a:lnTo>
                      <a:lnTo>
                        <a:pt x="2" y="32"/>
                      </a:lnTo>
                      <a:lnTo>
                        <a:pt x="3" y="32"/>
                      </a:lnTo>
                      <a:lnTo>
                        <a:pt x="5" y="32"/>
                      </a:lnTo>
                      <a:lnTo>
                        <a:pt x="6" y="32"/>
                      </a:lnTo>
                      <a:lnTo>
                        <a:pt x="7" y="32"/>
                      </a:lnTo>
                      <a:lnTo>
                        <a:pt x="8" y="31"/>
                      </a:lnTo>
                      <a:lnTo>
                        <a:pt x="9" y="31"/>
                      </a:lnTo>
                      <a:lnTo>
                        <a:pt x="9" y="30"/>
                      </a:lnTo>
                      <a:lnTo>
                        <a:pt x="10" y="30"/>
                      </a:lnTo>
                      <a:lnTo>
                        <a:pt x="10" y="28"/>
                      </a:lnTo>
                      <a:lnTo>
                        <a:pt x="12" y="28"/>
                      </a:lnTo>
                      <a:lnTo>
                        <a:pt x="12" y="27"/>
                      </a:lnTo>
                      <a:lnTo>
                        <a:pt x="10" y="27"/>
                      </a:lnTo>
                      <a:lnTo>
                        <a:pt x="10" y="26"/>
                      </a:lnTo>
                      <a:lnTo>
                        <a:pt x="12" y="25"/>
                      </a:lnTo>
                      <a:lnTo>
                        <a:pt x="13" y="25"/>
                      </a:lnTo>
                      <a:lnTo>
                        <a:pt x="14" y="25"/>
                      </a:lnTo>
                      <a:lnTo>
                        <a:pt x="15" y="25"/>
                      </a:lnTo>
                      <a:lnTo>
                        <a:pt x="15" y="24"/>
                      </a:lnTo>
                      <a:lnTo>
                        <a:pt x="16" y="23"/>
                      </a:lnTo>
                      <a:lnTo>
                        <a:pt x="17" y="23"/>
                      </a:lnTo>
                      <a:lnTo>
                        <a:pt x="17" y="21"/>
                      </a:lnTo>
                      <a:lnTo>
                        <a:pt x="19" y="21"/>
                      </a:lnTo>
                      <a:lnTo>
                        <a:pt x="19" y="20"/>
                      </a:lnTo>
                      <a:lnTo>
                        <a:pt x="20" y="20"/>
                      </a:lnTo>
                      <a:lnTo>
                        <a:pt x="20" y="17"/>
                      </a:lnTo>
                      <a:lnTo>
                        <a:pt x="20" y="16"/>
                      </a:lnTo>
                      <a:lnTo>
                        <a:pt x="21" y="16"/>
                      </a:lnTo>
                      <a:lnTo>
                        <a:pt x="21" y="14"/>
                      </a:lnTo>
                      <a:lnTo>
                        <a:pt x="22" y="14"/>
                      </a:lnTo>
                      <a:lnTo>
                        <a:pt x="22" y="12"/>
                      </a:lnTo>
                      <a:lnTo>
                        <a:pt x="23" y="12"/>
                      </a:lnTo>
                      <a:lnTo>
                        <a:pt x="23" y="11"/>
                      </a:lnTo>
                      <a:lnTo>
                        <a:pt x="24" y="11"/>
                      </a:lnTo>
                      <a:lnTo>
                        <a:pt x="24" y="10"/>
                      </a:lnTo>
                      <a:lnTo>
                        <a:pt x="26" y="7"/>
                      </a:lnTo>
                      <a:lnTo>
                        <a:pt x="26" y="6"/>
                      </a:lnTo>
                      <a:lnTo>
                        <a:pt x="27" y="5"/>
                      </a:lnTo>
                      <a:lnTo>
                        <a:pt x="28" y="5"/>
                      </a:lnTo>
                      <a:lnTo>
                        <a:pt x="33" y="4"/>
                      </a:lnTo>
                      <a:lnTo>
                        <a:pt x="34" y="4"/>
                      </a:lnTo>
                      <a:lnTo>
                        <a:pt x="35" y="4"/>
                      </a:lnTo>
                      <a:lnTo>
                        <a:pt x="35" y="5"/>
                      </a:lnTo>
                      <a:lnTo>
                        <a:pt x="36" y="5"/>
                      </a:lnTo>
                      <a:lnTo>
                        <a:pt x="37" y="5"/>
                      </a:lnTo>
                      <a:lnTo>
                        <a:pt x="38" y="5"/>
                      </a:lnTo>
                      <a:lnTo>
                        <a:pt x="44" y="4"/>
                      </a:lnTo>
                      <a:lnTo>
                        <a:pt x="44" y="3"/>
                      </a:lnTo>
                      <a:lnTo>
                        <a:pt x="44" y="2"/>
                      </a:lnTo>
                      <a:lnTo>
                        <a:pt x="58" y="0"/>
                      </a:lnTo>
                      <a:lnTo>
                        <a:pt x="64" y="0"/>
                      </a:lnTo>
                      <a:lnTo>
                        <a:pt x="65" y="0"/>
                      </a:lnTo>
                      <a:lnTo>
                        <a:pt x="66" y="2"/>
                      </a:lnTo>
                      <a:lnTo>
                        <a:pt x="67" y="2"/>
                      </a:lnTo>
                      <a:lnTo>
                        <a:pt x="67" y="3"/>
                      </a:lnTo>
                      <a:lnTo>
                        <a:pt x="67"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7" name="Freeform 114">
                  <a:extLst>
                    <a:ext uri="{FF2B5EF4-FFF2-40B4-BE49-F238E27FC236}">
                      <a16:creationId xmlns:a16="http://schemas.microsoft.com/office/drawing/2014/main" id="{E2A649AA-E318-2FBB-5E78-2BDC4B791F1E}"/>
                    </a:ext>
                  </a:extLst>
                </p:cNvPr>
                <p:cNvSpPr>
                  <a:spLocks/>
                </p:cNvSpPr>
                <p:nvPr/>
              </p:nvSpPr>
              <p:spPr bwMode="auto">
                <a:xfrm>
                  <a:off x="7632106" y="3390803"/>
                  <a:ext cx="362381" cy="467307"/>
                </a:xfrm>
                <a:custGeom>
                  <a:avLst/>
                  <a:gdLst>
                    <a:gd name="T0" fmla="*/ 331 w 335"/>
                    <a:gd name="T1" fmla="*/ 10 h 432"/>
                    <a:gd name="T2" fmla="*/ 325 w 335"/>
                    <a:gd name="T3" fmla="*/ 25 h 432"/>
                    <a:gd name="T4" fmla="*/ 326 w 335"/>
                    <a:gd name="T5" fmla="*/ 45 h 432"/>
                    <a:gd name="T6" fmla="*/ 328 w 335"/>
                    <a:gd name="T7" fmla="*/ 49 h 432"/>
                    <a:gd name="T8" fmla="*/ 334 w 335"/>
                    <a:gd name="T9" fmla="*/ 51 h 432"/>
                    <a:gd name="T10" fmla="*/ 319 w 335"/>
                    <a:gd name="T11" fmla="*/ 58 h 432"/>
                    <a:gd name="T12" fmla="*/ 317 w 335"/>
                    <a:gd name="T13" fmla="*/ 73 h 432"/>
                    <a:gd name="T14" fmla="*/ 311 w 335"/>
                    <a:gd name="T15" fmla="*/ 89 h 432"/>
                    <a:gd name="T16" fmla="*/ 301 w 335"/>
                    <a:gd name="T17" fmla="*/ 107 h 432"/>
                    <a:gd name="T18" fmla="*/ 291 w 335"/>
                    <a:gd name="T19" fmla="*/ 123 h 432"/>
                    <a:gd name="T20" fmla="*/ 282 w 335"/>
                    <a:gd name="T21" fmla="*/ 140 h 432"/>
                    <a:gd name="T22" fmla="*/ 260 w 335"/>
                    <a:gd name="T23" fmla="*/ 182 h 432"/>
                    <a:gd name="T24" fmla="*/ 226 w 335"/>
                    <a:gd name="T25" fmla="*/ 235 h 432"/>
                    <a:gd name="T26" fmla="*/ 176 w 335"/>
                    <a:gd name="T27" fmla="*/ 288 h 432"/>
                    <a:gd name="T28" fmla="*/ 162 w 335"/>
                    <a:gd name="T29" fmla="*/ 302 h 432"/>
                    <a:gd name="T30" fmla="*/ 119 w 335"/>
                    <a:gd name="T31" fmla="*/ 327 h 432"/>
                    <a:gd name="T32" fmla="*/ 95 w 335"/>
                    <a:gd name="T33" fmla="*/ 347 h 432"/>
                    <a:gd name="T34" fmla="*/ 57 w 335"/>
                    <a:gd name="T35" fmla="*/ 383 h 432"/>
                    <a:gd name="T36" fmla="*/ 46 w 335"/>
                    <a:gd name="T37" fmla="*/ 395 h 432"/>
                    <a:gd name="T38" fmla="*/ 34 w 335"/>
                    <a:gd name="T39" fmla="*/ 408 h 432"/>
                    <a:gd name="T40" fmla="*/ 31 w 335"/>
                    <a:gd name="T41" fmla="*/ 413 h 432"/>
                    <a:gd name="T42" fmla="*/ 24 w 335"/>
                    <a:gd name="T43" fmla="*/ 424 h 432"/>
                    <a:gd name="T44" fmla="*/ 15 w 335"/>
                    <a:gd name="T45" fmla="*/ 424 h 432"/>
                    <a:gd name="T46" fmla="*/ 0 w 335"/>
                    <a:gd name="T47" fmla="*/ 403 h 432"/>
                    <a:gd name="T48" fmla="*/ 0 w 335"/>
                    <a:gd name="T49" fmla="*/ 367 h 432"/>
                    <a:gd name="T50" fmla="*/ 1 w 335"/>
                    <a:gd name="T51" fmla="*/ 319 h 432"/>
                    <a:gd name="T52" fmla="*/ 5 w 335"/>
                    <a:gd name="T53" fmla="*/ 285 h 432"/>
                    <a:gd name="T54" fmla="*/ 32 w 335"/>
                    <a:gd name="T55" fmla="*/ 252 h 432"/>
                    <a:gd name="T56" fmla="*/ 60 w 335"/>
                    <a:gd name="T57" fmla="*/ 243 h 432"/>
                    <a:gd name="T58" fmla="*/ 83 w 335"/>
                    <a:gd name="T59" fmla="*/ 226 h 432"/>
                    <a:gd name="T60" fmla="*/ 107 w 335"/>
                    <a:gd name="T61" fmla="*/ 224 h 432"/>
                    <a:gd name="T62" fmla="*/ 127 w 335"/>
                    <a:gd name="T63" fmla="*/ 225 h 432"/>
                    <a:gd name="T64" fmla="*/ 162 w 335"/>
                    <a:gd name="T65" fmla="*/ 189 h 432"/>
                    <a:gd name="T66" fmla="*/ 181 w 335"/>
                    <a:gd name="T67" fmla="*/ 169 h 432"/>
                    <a:gd name="T68" fmla="*/ 199 w 335"/>
                    <a:gd name="T69" fmla="*/ 152 h 432"/>
                    <a:gd name="T70" fmla="*/ 218 w 335"/>
                    <a:gd name="T71" fmla="*/ 135 h 432"/>
                    <a:gd name="T72" fmla="*/ 193 w 335"/>
                    <a:gd name="T73" fmla="*/ 127 h 432"/>
                    <a:gd name="T74" fmla="*/ 163 w 335"/>
                    <a:gd name="T75" fmla="*/ 116 h 432"/>
                    <a:gd name="T76" fmla="*/ 131 w 335"/>
                    <a:gd name="T77" fmla="*/ 105 h 432"/>
                    <a:gd name="T78" fmla="*/ 98 w 335"/>
                    <a:gd name="T79" fmla="*/ 93 h 432"/>
                    <a:gd name="T80" fmla="*/ 79 w 335"/>
                    <a:gd name="T81" fmla="*/ 77 h 432"/>
                    <a:gd name="T82" fmla="*/ 70 w 335"/>
                    <a:gd name="T83" fmla="*/ 64 h 432"/>
                    <a:gd name="T84" fmla="*/ 60 w 335"/>
                    <a:gd name="T85" fmla="*/ 46 h 432"/>
                    <a:gd name="T86" fmla="*/ 62 w 335"/>
                    <a:gd name="T87" fmla="*/ 33 h 432"/>
                    <a:gd name="T88" fmla="*/ 78 w 335"/>
                    <a:gd name="T89" fmla="*/ 16 h 432"/>
                    <a:gd name="T90" fmla="*/ 86 w 335"/>
                    <a:gd name="T91" fmla="*/ 24 h 432"/>
                    <a:gd name="T92" fmla="*/ 111 w 335"/>
                    <a:gd name="T93" fmla="*/ 49 h 432"/>
                    <a:gd name="T94" fmla="*/ 131 w 335"/>
                    <a:gd name="T95" fmla="*/ 49 h 432"/>
                    <a:gd name="T96" fmla="*/ 148 w 335"/>
                    <a:gd name="T97" fmla="*/ 39 h 432"/>
                    <a:gd name="T98" fmla="*/ 159 w 335"/>
                    <a:gd name="T99" fmla="*/ 35 h 432"/>
                    <a:gd name="T100" fmla="*/ 171 w 335"/>
                    <a:gd name="T101" fmla="*/ 37 h 432"/>
                    <a:gd name="T102" fmla="*/ 185 w 335"/>
                    <a:gd name="T103" fmla="*/ 37 h 432"/>
                    <a:gd name="T104" fmla="*/ 207 w 335"/>
                    <a:gd name="T105" fmla="*/ 25 h 432"/>
                    <a:gd name="T106" fmla="*/ 233 w 335"/>
                    <a:gd name="T107" fmla="*/ 25 h 432"/>
                    <a:gd name="T108" fmla="*/ 247 w 335"/>
                    <a:gd name="T109" fmla="*/ 21 h 432"/>
                    <a:gd name="T110" fmla="*/ 269 w 335"/>
                    <a:gd name="T111" fmla="*/ 19 h 432"/>
                    <a:gd name="T112" fmla="*/ 284 w 335"/>
                    <a:gd name="T113" fmla="*/ 16 h 432"/>
                    <a:gd name="T114" fmla="*/ 299 w 335"/>
                    <a:gd name="T115" fmla="*/ 12 h 432"/>
                    <a:gd name="T116" fmla="*/ 310 w 335"/>
                    <a:gd name="T117" fmla="*/ 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5" h="432">
                      <a:moveTo>
                        <a:pt x="317" y="0"/>
                      </a:moveTo>
                      <a:lnTo>
                        <a:pt x="319" y="1"/>
                      </a:lnTo>
                      <a:lnTo>
                        <a:pt x="321" y="2"/>
                      </a:lnTo>
                      <a:lnTo>
                        <a:pt x="324" y="3"/>
                      </a:lnTo>
                      <a:lnTo>
                        <a:pt x="327" y="3"/>
                      </a:lnTo>
                      <a:lnTo>
                        <a:pt x="328" y="4"/>
                      </a:lnTo>
                      <a:lnTo>
                        <a:pt x="330" y="4"/>
                      </a:lnTo>
                      <a:lnTo>
                        <a:pt x="331" y="4"/>
                      </a:lnTo>
                      <a:lnTo>
                        <a:pt x="332" y="4"/>
                      </a:lnTo>
                      <a:lnTo>
                        <a:pt x="332" y="5"/>
                      </a:lnTo>
                      <a:lnTo>
                        <a:pt x="331" y="8"/>
                      </a:lnTo>
                      <a:lnTo>
                        <a:pt x="331" y="10"/>
                      </a:lnTo>
                      <a:lnTo>
                        <a:pt x="330" y="11"/>
                      </a:lnTo>
                      <a:lnTo>
                        <a:pt x="330" y="12"/>
                      </a:lnTo>
                      <a:lnTo>
                        <a:pt x="328" y="14"/>
                      </a:lnTo>
                      <a:lnTo>
                        <a:pt x="327" y="15"/>
                      </a:lnTo>
                      <a:lnTo>
                        <a:pt x="326" y="15"/>
                      </a:lnTo>
                      <a:lnTo>
                        <a:pt x="326" y="16"/>
                      </a:lnTo>
                      <a:lnTo>
                        <a:pt x="326" y="17"/>
                      </a:lnTo>
                      <a:lnTo>
                        <a:pt x="326" y="18"/>
                      </a:lnTo>
                      <a:lnTo>
                        <a:pt x="325" y="21"/>
                      </a:lnTo>
                      <a:lnTo>
                        <a:pt x="325" y="23"/>
                      </a:lnTo>
                      <a:lnTo>
                        <a:pt x="325" y="24"/>
                      </a:lnTo>
                      <a:lnTo>
                        <a:pt x="325" y="25"/>
                      </a:lnTo>
                      <a:lnTo>
                        <a:pt x="326" y="26"/>
                      </a:lnTo>
                      <a:lnTo>
                        <a:pt x="328" y="26"/>
                      </a:lnTo>
                      <a:lnTo>
                        <a:pt x="328" y="28"/>
                      </a:lnTo>
                      <a:lnTo>
                        <a:pt x="327" y="28"/>
                      </a:lnTo>
                      <a:lnTo>
                        <a:pt x="327" y="30"/>
                      </a:lnTo>
                      <a:lnTo>
                        <a:pt x="326" y="30"/>
                      </a:lnTo>
                      <a:lnTo>
                        <a:pt x="326" y="31"/>
                      </a:lnTo>
                      <a:lnTo>
                        <a:pt x="326" y="32"/>
                      </a:lnTo>
                      <a:lnTo>
                        <a:pt x="326" y="37"/>
                      </a:lnTo>
                      <a:lnTo>
                        <a:pt x="326" y="42"/>
                      </a:lnTo>
                      <a:lnTo>
                        <a:pt x="327" y="45"/>
                      </a:lnTo>
                      <a:lnTo>
                        <a:pt x="326" y="45"/>
                      </a:lnTo>
                      <a:lnTo>
                        <a:pt x="325" y="46"/>
                      </a:lnTo>
                      <a:lnTo>
                        <a:pt x="326" y="47"/>
                      </a:lnTo>
                      <a:lnTo>
                        <a:pt x="325" y="47"/>
                      </a:lnTo>
                      <a:lnTo>
                        <a:pt x="325" y="49"/>
                      </a:lnTo>
                      <a:lnTo>
                        <a:pt x="324" y="49"/>
                      </a:lnTo>
                      <a:lnTo>
                        <a:pt x="323" y="50"/>
                      </a:lnTo>
                      <a:lnTo>
                        <a:pt x="323" y="51"/>
                      </a:lnTo>
                      <a:lnTo>
                        <a:pt x="324" y="51"/>
                      </a:lnTo>
                      <a:lnTo>
                        <a:pt x="328" y="50"/>
                      </a:lnTo>
                      <a:lnTo>
                        <a:pt x="330" y="50"/>
                      </a:lnTo>
                      <a:lnTo>
                        <a:pt x="330" y="49"/>
                      </a:lnTo>
                      <a:lnTo>
                        <a:pt x="328" y="49"/>
                      </a:lnTo>
                      <a:lnTo>
                        <a:pt x="328" y="47"/>
                      </a:lnTo>
                      <a:lnTo>
                        <a:pt x="328" y="46"/>
                      </a:lnTo>
                      <a:lnTo>
                        <a:pt x="327" y="46"/>
                      </a:lnTo>
                      <a:lnTo>
                        <a:pt x="328" y="46"/>
                      </a:lnTo>
                      <a:lnTo>
                        <a:pt x="330" y="47"/>
                      </a:lnTo>
                      <a:lnTo>
                        <a:pt x="331" y="47"/>
                      </a:lnTo>
                      <a:lnTo>
                        <a:pt x="331" y="49"/>
                      </a:lnTo>
                      <a:lnTo>
                        <a:pt x="332" y="49"/>
                      </a:lnTo>
                      <a:lnTo>
                        <a:pt x="333" y="49"/>
                      </a:lnTo>
                      <a:lnTo>
                        <a:pt x="334" y="49"/>
                      </a:lnTo>
                      <a:lnTo>
                        <a:pt x="335" y="50"/>
                      </a:lnTo>
                      <a:lnTo>
                        <a:pt x="334" y="51"/>
                      </a:lnTo>
                      <a:lnTo>
                        <a:pt x="334" y="52"/>
                      </a:lnTo>
                      <a:lnTo>
                        <a:pt x="333" y="52"/>
                      </a:lnTo>
                      <a:lnTo>
                        <a:pt x="332" y="52"/>
                      </a:lnTo>
                      <a:lnTo>
                        <a:pt x="331" y="52"/>
                      </a:lnTo>
                      <a:lnTo>
                        <a:pt x="331" y="51"/>
                      </a:lnTo>
                      <a:lnTo>
                        <a:pt x="330" y="50"/>
                      </a:lnTo>
                      <a:lnTo>
                        <a:pt x="325" y="51"/>
                      </a:lnTo>
                      <a:lnTo>
                        <a:pt x="323" y="52"/>
                      </a:lnTo>
                      <a:lnTo>
                        <a:pt x="320" y="53"/>
                      </a:lnTo>
                      <a:lnTo>
                        <a:pt x="319" y="54"/>
                      </a:lnTo>
                      <a:lnTo>
                        <a:pt x="319" y="57"/>
                      </a:lnTo>
                      <a:lnTo>
                        <a:pt x="319" y="58"/>
                      </a:lnTo>
                      <a:lnTo>
                        <a:pt x="318" y="60"/>
                      </a:lnTo>
                      <a:lnTo>
                        <a:pt x="318" y="63"/>
                      </a:lnTo>
                      <a:lnTo>
                        <a:pt x="319" y="63"/>
                      </a:lnTo>
                      <a:lnTo>
                        <a:pt x="319" y="64"/>
                      </a:lnTo>
                      <a:lnTo>
                        <a:pt x="318" y="64"/>
                      </a:lnTo>
                      <a:lnTo>
                        <a:pt x="318" y="66"/>
                      </a:lnTo>
                      <a:lnTo>
                        <a:pt x="318" y="67"/>
                      </a:lnTo>
                      <a:lnTo>
                        <a:pt x="318" y="68"/>
                      </a:lnTo>
                      <a:lnTo>
                        <a:pt x="317" y="70"/>
                      </a:lnTo>
                      <a:lnTo>
                        <a:pt x="317" y="71"/>
                      </a:lnTo>
                      <a:lnTo>
                        <a:pt x="317" y="72"/>
                      </a:lnTo>
                      <a:lnTo>
                        <a:pt x="317" y="73"/>
                      </a:lnTo>
                      <a:lnTo>
                        <a:pt x="317" y="75"/>
                      </a:lnTo>
                      <a:lnTo>
                        <a:pt x="316" y="75"/>
                      </a:lnTo>
                      <a:lnTo>
                        <a:pt x="316" y="77"/>
                      </a:lnTo>
                      <a:lnTo>
                        <a:pt x="316" y="79"/>
                      </a:lnTo>
                      <a:lnTo>
                        <a:pt x="317" y="80"/>
                      </a:lnTo>
                      <a:lnTo>
                        <a:pt x="317" y="81"/>
                      </a:lnTo>
                      <a:lnTo>
                        <a:pt x="317" y="82"/>
                      </a:lnTo>
                      <a:lnTo>
                        <a:pt x="314" y="86"/>
                      </a:lnTo>
                      <a:lnTo>
                        <a:pt x="313" y="86"/>
                      </a:lnTo>
                      <a:lnTo>
                        <a:pt x="312" y="87"/>
                      </a:lnTo>
                      <a:lnTo>
                        <a:pt x="311" y="87"/>
                      </a:lnTo>
                      <a:lnTo>
                        <a:pt x="311" y="89"/>
                      </a:lnTo>
                      <a:lnTo>
                        <a:pt x="310" y="89"/>
                      </a:lnTo>
                      <a:lnTo>
                        <a:pt x="311" y="92"/>
                      </a:lnTo>
                      <a:lnTo>
                        <a:pt x="310" y="94"/>
                      </a:lnTo>
                      <a:lnTo>
                        <a:pt x="309" y="94"/>
                      </a:lnTo>
                      <a:lnTo>
                        <a:pt x="305" y="98"/>
                      </a:lnTo>
                      <a:lnTo>
                        <a:pt x="304" y="99"/>
                      </a:lnTo>
                      <a:lnTo>
                        <a:pt x="304" y="100"/>
                      </a:lnTo>
                      <a:lnTo>
                        <a:pt x="303" y="100"/>
                      </a:lnTo>
                      <a:lnTo>
                        <a:pt x="303" y="101"/>
                      </a:lnTo>
                      <a:lnTo>
                        <a:pt x="302" y="105"/>
                      </a:lnTo>
                      <a:lnTo>
                        <a:pt x="302" y="106"/>
                      </a:lnTo>
                      <a:lnTo>
                        <a:pt x="301" y="107"/>
                      </a:lnTo>
                      <a:lnTo>
                        <a:pt x="299" y="108"/>
                      </a:lnTo>
                      <a:lnTo>
                        <a:pt x="299" y="110"/>
                      </a:lnTo>
                      <a:lnTo>
                        <a:pt x="299" y="112"/>
                      </a:lnTo>
                      <a:lnTo>
                        <a:pt x="299" y="113"/>
                      </a:lnTo>
                      <a:lnTo>
                        <a:pt x="298" y="113"/>
                      </a:lnTo>
                      <a:lnTo>
                        <a:pt x="297" y="113"/>
                      </a:lnTo>
                      <a:lnTo>
                        <a:pt x="297" y="114"/>
                      </a:lnTo>
                      <a:lnTo>
                        <a:pt x="295" y="117"/>
                      </a:lnTo>
                      <a:lnTo>
                        <a:pt x="294" y="119"/>
                      </a:lnTo>
                      <a:lnTo>
                        <a:pt x="294" y="121"/>
                      </a:lnTo>
                      <a:lnTo>
                        <a:pt x="292" y="122"/>
                      </a:lnTo>
                      <a:lnTo>
                        <a:pt x="291" y="123"/>
                      </a:lnTo>
                      <a:lnTo>
                        <a:pt x="288" y="126"/>
                      </a:lnTo>
                      <a:lnTo>
                        <a:pt x="284" y="129"/>
                      </a:lnTo>
                      <a:lnTo>
                        <a:pt x="284" y="130"/>
                      </a:lnTo>
                      <a:lnTo>
                        <a:pt x="283" y="130"/>
                      </a:lnTo>
                      <a:lnTo>
                        <a:pt x="283" y="133"/>
                      </a:lnTo>
                      <a:lnTo>
                        <a:pt x="283" y="134"/>
                      </a:lnTo>
                      <a:lnTo>
                        <a:pt x="284" y="134"/>
                      </a:lnTo>
                      <a:lnTo>
                        <a:pt x="284" y="135"/>
                      </a:lnTo>
                      <a:lnTo>
                        <a:pt x="283" y="136"/>
                      </a:lnTo>
                      <a:lnTo>
                        <a:pt x="283" y="137"/>
                      </a:lnTo>
                      <a:lnTo>
                        <a:pt x="282" y="138"/>
                      </a:lnTo>
                      <a:lnTo>
                        <a:pt x="282" y="140"/>
                      </a:lnTo>
                      <a:lnTo>
                        <a:pt x="281" y="141"/>
                      </a:lnTo>
                      <a:lnTo>
                        <a:pt x="278" y="147"/>
                      </a:lnTo>
                      <a:lnTo>
                        <a:pt x="276" y="149"/>
                      </a:lnTo>
                      <a:lnTo>
                        <a:pt x="274" y="151"/>
                      </a:lnTo>
                      <a:lnTo>
                        <a:pt x="269" y="158"/>
                      </a:lnTo>
                      <a:lnTo>
                        <a:pt x="267" y="163"/>
                      </a:lnTo>
                      <a:lnTo>
                        <a:pt x="266" y="165"/>
                      </a:lnTo>
                      <a:lnTo>
                        <a:pt x="263" y="170"/>
                      </a:lnTo>
                      <a:lnTo>
                        <a:pt x="260" y="178"/>
                      </a:lnTo>
                      <a:lnTo>
                        <a:pt x="260" y="179"/>
                      </a:lnTo>
                      <a:lnTo>
                        <a:pt x="260" y="180"/>
                      </a:lnTo>
                      <a:lnTo>
                        <a:pt x="260" y="182"/>
                      </a:lnTo>
                      <a:lnTo>
                        <a:pt x="260" y="184"/>
                      </a:lnTo>
                      <a:lnTo>
                        <a:pt x="259" y="186"/>
                      </a:lnTo>
                      <a:lnTo>
                        <a:pt x="255" y="191"/>
                      </a:lnTo>
                      <a:lnTo>
                        <a:pt x="252" y="197"/>
                      </a:lnTo>
                      <a:lnTo>
                        <a:pt x="247" y="204"/>
                      </a:lnTo>
                      <a:lnTo>
                        <a:pt x="246" y="207"/>
                      </a:lnTo>
                      <a:lnTo>
                        <a:pt x="245" y="208"/>
                      </a:lnTo>
                      <a:lnTo>
                        <a:pt x="242" y="211"/>
                      </a:lnTo>
                      <a:lnTo>
                        <a:pt x="239" y="215"/>
                      </a:lnTo>
                      <a:lnTo>
                        <a:pt x="235" y="220"/>
                      </a:lnTo>
                      <a:lnTo>
                        <a:pt x="232" y="226"/>
                      </a:lnTo>
                      <a:lnTo>
                        <a:pt x="226" y="235"/>
                      </a:lnTo>
                      <a:lnTo>
                        <a:pt x="223" y="240"/>
                      </a:lnTo>
                      <a:lnTo>
                        <a:pt x="219" y="243"/>
                      </a:lnTo>
                      <a:lnTo>
                        <a:pt x="211" y="252"/>
                      </a:lnTo>
                      <a:lnTo>
                        <a:pt x="209" y="256"/>
                      </a:lnTo>
                      <a:lnTo>
                        <a:pt x="204" y="261"/>
                      </a:lnTo>
                      <a:lnTo>
                        <a:pt x="199" y="266"/>
                      </a:lnTo>
                      <a:lnTo>
                        <a:pt x="193" y="270"/>
                      </a:lnTo>
                      <a:lnTo>
                        <a:pt x="193" y="271"/>
                      </a:lnTo>
                      <a:lnTo>
                        <a:pt x="188" y="278"/>
                      </a:lnTo>
                      <a:lnTo>
                        <a:pt x="183" y="282"/>
                      </a:lnTo>
                      <a:lnTo>
                        <a:pt x="181" y="284"/>
                      </a:lnTo>
                      <a:lnTo>
                        <a:pt x="176" y="288"/>
                      </a:lnTo>
                      <a:lnTo>
                        <a:pt x="174" y="290"/>
                      </a:lnTo>
                      <a:lnTo>
                        <a:pt x="171" y="292"/>
                      </a:lnTo>
                      <a:lnTo>
                        <a:pt x="171" y="294"/>
                      </a:lnTo>
                      <a:lnTo>
                        <a:pt x="170" y="294"/>
                      </a:lnTo>
                      <a:lnTo>
                        <a:pt x="170" y="295"/>
                      </a:lnTo>
                      <a:lnTo>
                        <a:pt x="169" y="295"/>
                      </a:lnTo>
                      <a:lnTo>
                        <a:pt x="168" y="296"/>
                      </a:lnTo>
                      <a:lnTo>
                        <a:pt x="166" y="298"/>
                      </a:lnTo>
                      <a:lnTo>
                        <a:pt x="164" y="299"/>
                      </a:lnTo>
                      <a:lnTo>
                        <a:pt x="164" y="301"/>
                      </a:lnTo>
                      <a:lnTo>
                        <a:pt x="163" y="302"/>
                      </a:lnTo>
                      <a:lnTo>
                        <a:pt x="162" y="302"/>
                      </a:lnTo>
                      <a:lnTo>
                        <a:pt x="162" y="303"/>
                      </a:lnTo>
                      <a:lnTo>
                        <a:pt x="155" y="306"/>
                      </a:lnTo>
                      <a:lnTo>
                        <a:pt x="152" y="309"/>
                      </a:lnTo>
                      <a:lnTo>
                        <a:pt x="148" y="311"/>
                      </a:lnTo>
                      <a:lnTo>
                        <a:pt x="138" y="317"/>
                      </a:lnTo>
                      <a:lnTo>
                        <a:pt x="136" y="317"/>
                      </a:lnTo>
                      <a:lnTo>
                        <a:pt x="135" y="318"/>
                      </a:lnTo>
                      <a:lnTo>
                        <a:pt x="128" y="320"/>
                      </a:lnTo>
                      <a:lnTo>
                        <a:pt x="124" y="324"/>
                      </a:lnTo>
                      <a:lnTo>
                        <a:pt x="124" y="325"/>
                      </a:lnTo>
                      <a:lnTo>
                        <a:pt x="122" y="325"/>
                      </a:lnTo>
                      <a:lnTo>
                        <a:pt x="119" y="327"/>
                      </a:lnTo>
                      <a:lnTo>
                        <a:pt x="114" y="330"/>
                      </a:lnTo>
                      <a:lnTo>
                        <a:pt x="107" y="336"/>
                      </a:lnTo>
                      <a:lnTo>
                        <a:pt x="104" y="339"/>
                      </a:lnTo>
                      <a:lnTo>
                        <a:pt x="103" y="339"/>
                      </a:lnTo>
                      <a:lnTo>
                        <a:pt x="102" y="340"/>
                      </a:lnTo>
                      <a:lnTo>
                        <a:pt x="102" y="341"/>
                      </a:lnTo>
                      <a:lnTo>
                        <a:pt x="100" y="341"/>
                      </a:lnTo>
                      <a:lnTo>
                        <a:pt x="100" y="343"/>
                      </a:lnTo>
                      <a:lnTo>
                        <a:pt x="98" y="345"/>
                      </a:lnTo>
                      <a:lnTo>
                        <a:pt x="97" y="345"/>
                      </a:lnTo>
                      <a:lnTo>
                        <a:pt x="96" y="345"/>
                      </a:lnTo>
                      <a:lnTo>
                        <a:pt x="95" y="347"/>
                      </a:lnTo>
                      <a:lnTo>
                        <a:pt x="91" y="350"/>
                      </a:lnTo>
                      <a:lnTo>
                        <a:pt x="90" y="350"/>
                      </a:lnTo>
                      <a:lnTo>
                        <a:pt x="89" y="352"/>
                      </a:lnTo>
                      <a:lnTo>
                        <a:pt x="88" y="352"/>
                      </a:lnTo>
                      <a:lnTo>
                        <a:pt x="88" y="353"/>
                      </a:lnTo>
                      <a:lnTo>
                        <a:pt x="86" y="354"/>
                      </a:lnTo>
                      <a:lnTo>
                        <a:pt x="79" y="359"/>
                      </a:lnTo>
                      <a:lnTo>
                        <a:pt x="74" y="366"/>
                      </a:lnTo>
                      <a:lnTo>
                        <a:pt x="71" y="369"/>
                      </a:lnTo>
                      <a:lnTo>
                        <a:pt x="68" y="372"/>
                      </a:lnTo>
                      <a:lnTo>
                        <a:pt x="62" y="379"/>
                      </a:lnTo>
                      <a:lnTo>
                        <a:pt x="57" y="383"/>
                      </a:lnTo>
                      <a:lnTo>
                        <a:pt x="56" y="385"/>
                      </a:lnTo>
                      <a:lnTo>
                        <a:pt x="54" y="386"/>
                      </a:lnTo>
                      <a:lnTo>
                        <a:pt x="52" y="388"/>
                      </a:lnTo>
                      <a:lnTo>
                        <a:pt x="50" y="389"/>
                      </a:lnTo>
                      <a:lnTo>
                        <a:pt x="50" y="390"/>
                      </a:lnTo>
                      <a:lnTo>
                        <a:pt x="49" y="390"/>
                      </a:lnTo>
                      <a:lnTo>
                        <a:pt x="48" y="392"/>
                      </a:lnTo>
                      <a:lnTo>
                        <a:pt x="48" y="393"/>
                      </a:lnTo>
                      <a:lnTo>
                        <a:pt x="48" y="394"/>
                      </a:lnTo>
                      <a:lnTo>
                        <a:pt x="48" y="393"/>
                      </a:lnTo>
                      <a:lnTo>
                        <a:pt x="46" y="394"/>
                      </a:lnTo>
                      <a:lnTo>
                        <a:pt x="46" y="395"/>
                      </a:lnTo>
                      <a:lnTo>
                        <a:pt x="45" y="396"/>
                      </a:lnTo>
                      <a:lnTo>
                        <a:pt x="41" y="400"/>
                      </a:lnTo>
                      <a:lnTo>
                        <a:pt x="41" y="401"/>
                      </a:lnTo>
                      <a:lnTo>
                        <a:pt x="40" y="401"/>
                      </a:lnTo>
                      <a:lnTo>
                        <a:pt x="39" y="403"/>
                      </a:lnTo>
                      <a:lnTo>
                        <a:pt x="39" y="404"/>
                      </a:lnTo>
                      <a:lnTo>
                        <a:pt x="38" y="404"/>
                      </a:lnTo>
                      <a:lnTo>
                        <a:pt x="36" y="404"/>
                      </a:lnTo>
                      <a:lnTo>
                        <a:pt x="35" y="404"/>
                      </a:lnTo>
                      <a:lnTo>
                        <a:pt x="35" y="406"/>
                      </a:lnTo>
                      <a:lnTo>
                        <a:pt x="35" y="407"/>
                      </a:lnTo>
                      <a:lnTo>
                        <a:pt x="34" y="408"/>
                      </a:lnTo>
                      <a:lnTo>
                        <a:pt x="34" y="409"/>
                      </a:lnTo>
                      <a:lnTo>
                        <a:pt x="33" y="410"/>
                      </a:lnTo>
                      <a:lnTo>
                        <a:pt x="32" y="410"/>
                      </a:lnTo>
                      <a:lnTo>
                        <a:pt x="32" y="409"/>
                      </a:lnTo>
                      <a:lnTo>
                        <a:pt x="32" y="408"/>
                      </a:lnTo>
                      <a:lnTo>
                        <a:pt x="32" y="407"/>
                      </a:lnTo>
                      <a:lnTo>
                        <a:pt x="32" y="408"/>
                      </a:lnTo>
                      <a:lnTo>
                        <a:pt x="32" y="409"/>
                      </a:lnTo>
                      <a:lnTo>
                        <a:pt x="32" y="410"/>
                      </a:lnTo>
                      <a:lnTo>
                        <a:pt x="32" y="411"/>
                      </a:lnTo>
                      <a:lnTo>
                        <a:pt x="32" y="413"/>
                      </a:lnTo>
                      <a:lnTo>
                        <a:pt x="31" y="413"/>
                      </a:lnTo>
                      <a:lnTo>
                        <a:pt x="31" y="414"/>
                      </a:lnTo>
                      <a:lnTo>
                        <a:pt x="29" y="416"/>
                      </a:lnTo>
                      <a:lnTo>
                        <a:pt x="29" y="417"/>
                      </a:lnTo>
                      <a:lnTo>
                        <a:pt x="28" y="417"/>
                      </a:lnTo>
                      <a:lnTo>
                        <a:pt x="28" y="416"/>
                      </a:lnTo>
                      <a:lnTo>
                        <a:pt x="28" y="415"/>
                      </a:lnTo>
                      <a:lnTo>
                        <a:pt x="27" y="415"/>
                      </a:lnTo>
                      <a:lnTo>
                        <a:pt x="27" y="416"/>
                      </a:lnTo>
                      <a:lnTo>
                        <a:pt x="28" y="417"/>
                      </a:lnTo>
                      <a:lnTo>
                        <a:pt x="28" y="418"/>
                      </a:lnTo>
                      <a:lnTo>
                        <a:pt x="25" y="424"/>
                      </a:lnTo>
                      <a:lnTo>
                        <a:pt x="24" y="424"/>
                      </a:lnTo>
                      <a:lnTo>
                        <a:pt x="24" y="425"/>
                      </a:lnTo>
                      <a:lnTo>
                        <a:pt x="22" y="428"/>
                      </a:lnTo>
                      <a:lnTo>
                        <a:pt x="21" y="429"/>
                      </a:lnTo>
                      <a:lnTo>
                        <a:pt x="20" y="429"/>
                      </a:lnTo>
                      <a:lnTo>
                        <a:pt x="19" y="430"/>
                      </a:lnTo>
                      <a:lnTo>
                        <a:pt x="19" y="431"/>
                      </a:lnTo>
                      <a:lnTo>
                        <a:pt x="18" y="432"/>
                      </a:lnTo>
                      <a:lnTo>
                        <a:pt x="18" y="431"/>
                      </a:lnTo>
                      <a:lnTo>
                        <a:pt x="18" y="429"/>
                      </a:lnTo>
                      <a:lnTo>
                        <a:pt x="18" y="428"/>
                      </a:lnTo>
                      <a:lnTo>
                        <a:pt x="17" y="427"/>
                      </a:lnTo>
                      <a:lnTo>
                        <a:pt x="15" y="424"/>
                      </a:lnTo>
                      <a:lnTo>
                        <a:pt x="13" y="422"/>
                      </a:lnTo>
                      <a:lnTo>
                        <a:pt x="12" y="421"/>
                      </a:lnTo>
                      <a:lnTo>
                        <a:pt x="11" y="418"/>
                      </a:lnTo>
                      <a:lnTo>
                        <a:pt x="8" y="416"/>
                      </a:lnTo>
                      <a:lnTo>
                        <a:pt x="7" y="414"/>
                      </a:lnTo>
                      <a:lnTo>
                        <a:pt x="5" y="413"/>
                      </a:lnTo>
                      <a:lnTo>
                        <a:pt x="4" y="410"/>
                      </a:lnTo>
                      <a:lnTo>
                        <a:pt x="3" y="409"/>
                      </a:lnTo>
                      <a:lnTo>
                        <a:pt x="3" y="408"/>
                      </a:lnTo>
                      <a:lnTo>
                        <a:pt x="1" y="407"/>
                      </a:lnTo>
                      <a:lnTo>
                        <a:pt x="0" y="406"/>
                      </a:lnTo>
                      <a:lnTo>
                        <a:pt x="0" y="403"/>
                      </a:lnTo>
                      <a:lnTo>
                        <a:pt x="0" y="401"/>
                      </a:lnTo>
                      <a:lnTo>
                        <a:pt x="0" y="399"/>
                      </a:lnTo>
                      <a:lnTo>
                        <a:pt x="0" y="395"/>
                      </a:lnTo>
                      <a:lnTo>
                        <a:pt x="0" y="392"/>
                      </a:lnTo>
                      <a:lnTo>
                        <a:pt x="0" y="389"/>
                      </a:lnTo>
                      <a:lnTo>
                        <a:pt x="0" y="386"/>
                      </a:lnTo>
                      <a:lnTo>
                        <a:pt x="0" y="383"/>
                      </a:lnTo>
                      <a:lnTo>
                        <a:pt x="0" y="381"/>
                      </a:lnTo>
                      <a:lnTo>
                        <a:pt x="0" y="379"/>
                      </a:lnTo>
                      <a:lnTo>
                        <a:pt x="0" y="374"/>
                      </a:lnTo>
                      <a:lnTo>
                        <a:pt x="0" y="371"/>
                      </a:lnTo>
                      <a:lnTo>
                        <a:pt x="0" y="367"/>
                      </a:lnTo>
                      <a:lnTo>
                        <a:pt x="0" y="362"/>
                      </a:lnTo>
                      <a:lnTo>
                        <a:pt x="0" y="359"/>
                      </a:lnTo>
                      <a:lnTo>
                        <a:pt x="0" y="354"/>
                      </a:lnTo>
                      <a:lnTo>
                        <a:pt x="0" y="351"/>
                      </a:lnTo>
                      <a:lnTo>
                        <a:pt x="0" y="347"/>
                      </a:lnTo>
                      <a:lnTo>
                        <a:pt x="0" y="343"/>
                      </a:lnTo>
                      <a:lnTo>
                        <a:pt x="1" y="339"/>
                      </a:lnTo>
                      <a:lnTo>
                        <a:pt x="1" y="336"/>
                      </a:lnTo>
                      <a:lnTo>
                        <a:pt x="1" y="331"/>
                      </a:lnTo>
                      <a:lnTo>
                        <a:pt x="1" y="327"/>
                      </a:lnTo>
                      <a:lnTo>
                        <a:pt x="1" y="323"/>
                      </a:lnTo>
                      <a:lnTo>
                        <a:pt x="1" y="319"/>
                      </a:lnTo>
                      <a:lnTo>
                        <a:pt x="1" y="316"/>
                      </a:lnTo>
                      <a:lnTo>
                        <a:pt x="1" y="312"/>
                      </a:lnTo>
                      <a:lnTo>
                        <a:pt x="1" y="309"/>
                      </a:lnTo>
                      <a:lnTo>
                        <a:pt x="1" y="305"/>
                      </a:lnTo>
                      <a:lnTo>
                        <a:pt x="1" y="302"/>
                      </a:lnTo>
                      <a:lnTo>
                        <a:pt x="1" y="299"/>
                      </a:lnTo>
                      <a:lnTo>
                        <a:pt x="1" y="296"/>
                      </a:lnTo>
                      <a:lnTo>
                        <a:pt x="1" y="291"/>
                      </a:lnTo>
                      <a:lnTo>
                        <a:pt x="1" y="290"/>
                      </a:lnTo>
                      <a:lnTo>
                        <a:pt x="1" y="289"/>
                      </a:lnTo>
                      <a:lnTo>
                        <a:pt x="3" y="288"/>
                      </a:lnTo>
                      <a:lnTo>
                        <a:pt x="5" y="285"/>
                      </a:lnTo>
                      <a:lnTo>
                        <a:pt x="8" y="283"/>
                      </a:lnTo>
                      <a:lnTo>
                        <a:pt x="11" y="280"/>
                      </a:lnTo>
                      <a:lnTo>
                        <a:pt x="13" y="277"/>
                      </a:lnTo>
                      <a:lnTo>
                        <a:pt x="15" y="275"/>
                      </a:lnTo>
                      <a:lnTo>
                        <a:pt x="17" y="273"/>
                      </a:lnTo>
                      <a:lnTo>
                        <a:pt x="18" y="270"/>
                      </a:lnTo>
                      <a:lnTo>
                        <a:pt x="20" y="268"/>
                      </a:lnTo>
                      <a:lnTo>
                        <a:pt x="22" y="264"/>
                      </a:lnTo>
                      <a:lnTo>
                        <a:pt x="25" y="261"/>
                      </a:lnTo>
                      <a:lnTo>
                        <a:pt x="28" y="256"/>
                      </a:lnTo>
                      <a:lnTo>
                        <a:pt x="31" y="253"/>
                      </a:lnTo>
                      <a:lnTo>
                        <a:pt x="32" y="252"/>
                      </a:lnTo>
                      <a:lnTo>
                        <a:pt x="32" y="250"/>
                      </a:lnTo>
                      <a:lnTo>
                        <a:pt x="33" y="249"/>
                      </a:lnTo>
                      <a:lnTo>
                        <a:pt x="35" y="248"/>
                      </a:lnTo>
                      <a:lnTo>
                        <a:pt x="36" y="247"/>
                      </a:lnTo>
                      <a:lnTo>
                        <a:pt x="38" y="246"/>
                      </a:lnTo>
                      <a:lnTo>
                        <a:pt x="39" y="246"/>
                      </a:lnTo>
                      <a:lnTo>
                        <a:pt x="41" y="246"/>
                      </a:lnTo>
                      <a:lnTo>
                        <a:pt x="43" y="246"/>
                      </a:lnTo>
                      <a:lnTo>
                        <a:pt x="48" y="246"/>
                      </a:lnTo>
                      <a:lnTo>
                        <a:pt x="53" y="245"/>
                      </a:lnTo>
                      <a:lnTo>
                        <a:pt x="57" y="243"/>
                      </a:lnTo>
                      <a:lnTo>
                        <a:pt x="60" y="243"/>
                      </a:lnTo>
                      <a:lnTo>
                        <a:pt x="61" y="243"/>
                      </a:lnTo>
                      <a:lnTo>
                        <a:pt x="62" y="242"/>
                      </a:lnTo>
                      <a:lnTo>
                        <a:pt x="63" y="241"/>
                      </a:lnTo>
                      <a:lnTo>
                        <a:pt x="63" y="240"/>
                      </a:lnTo>
                      <a:lnTo>
                        <a:pt x="64" y="238"/>
                      </a:lnTo>
                      <a:lnTo>
                        <a:pt x="64" y="236"/>
                      </a:lnTo>
                      <a:lnTo>
                        <a:pt x="68" y="234"/>
                      </a:lnTo>
                      <a:lnTo>
                        <a:pt x="70" y="232"/>
                      </a:lnTo>
                      <a:lnTo>
                        <a:pt x="74" y="231"/>
                      </a:lnTo>
                      <a:lnTo>
                        <a:pt x="77" y="228"/>
                      </a:lnTo>
                      <a:lnTo>
                        <a:pt x="81" y="227"/>
                      </a:lnTo>
                      <a:lnTo>
                        <a:pt x="83" y="226"/>
                      </a:lnTo>
                      <a:lnTo>
                        <a:pt x="86" y="225"/>
                      </a:lnTo>
                      <a:lnTo>
                        <a:pt x="89" y="225"/>
                      </a:lnTo>
                      <a:lnTo>
                        <a:pt x="92" y="224"/>
                      </a:lnTo>
                      <a:lnTo>
                        <a:pt x="93" y="224"/>
                      </a:lnTo>
                      <a:lnTo>
                        <a:pt x="96" y="222"/>
                      </a:lnTo>
                      <a:lnTo>
                        <a:pt x="97" y="222"/>
                      </a:lnTo>
                      <a:lnTo>
                        <a:pt x="99" y="222"/>
                      </a:lnTo>
                      <a:lnTo>
                        <a:pt x="100" y="222"/>
                      </a:lnTo>
                      <a:lnTo>
                        <a:pt x="103" y="222"/>
                      </a:lnTo>
                      <a:lnTo>
                        <a:pt x="104" y="224"/>
                      </a:lnTo>
                      <a:lnTo>
                        <a:pt x="105" y="224"/>
                      </a:lnTo>
                      <a:lnTo>
                        <a:pt x="107" y="224"/>
                      </a:lnTo>
                      <a:lnTo>
                        <a:pt x="109" y="224"/>
                      </a:lnTo>
                      <a:lnTo>
                        <a:pt x="111" y="224"/>
                      </a:lnTo>
                      <a:lnTo>
                        <a:pt x="112" y="224"/>
                      </a:lnTo>
                      <a:lnTo>
                        <a:pt x="113" y="224"/>
                      </a:lnTo>
                      <a:lnTo>
                        <a:pt x="116" y="224"/>
                      </a:lnTo>
                      <a:lnTo>
                        <a:pt x="117" y="224"/>
                      </a:lnTo>
                      <a:lnTo>
                        <a:pt x="119" y="224"/>
                      </a:lnTo>
                      <a:lnTo>
                        <a:pt x="120" y="225"/>
                      </a:lnTo>
                      <a:lnTo>
                        <a:pt x="121" y="225"/>
                      </a:lnTo>
                      <a:lnTo>
                        <a:pt x="124" y="225"/>
                      </a:lnTo>
                      <a:lnTo>
                        <a:pt x="125" y="225"/>
                      </a:lnTo>
                      <a:lnTo>
                        <a:pt x="127" y="225"/>
                      </a:lnTo>
                      <a:lnTo>
                        <a:pt x="128" y="225"/>
                      </a:lnTo>
                      <a:lnTo>
                        <a:pt x="131" y="221"/>
                      </a:lnTo>
                      <a:lnTo>
                        <a:pt x="132" y="220"/>
                      </a:lnTo>
                      <a:lnTo>
                        <a:pt x="135" y="215"/>
                      </a:lnTo>
                      <a:lnTo>
                        <a:pt x="139" y="212"/>
                      </a:lnTo>
                      <a:lnTo>
                        <a:pt x="142" y="208"/>
                      </a:lnTo>
                      <a:lnTo>
                        <a:pt x="146" y="205"/>
                      </a:lnTo>
                      <a:lnTo>
                        <a:pt x="149" y="201"/>
                      </a:lnTo>
                      <a:lnTo>
                        <a:pt x="153" y="198"/>
                      </a:lnTo>
                      <a:lnTo>
                        <a:pt x="156" y="193"/>
                      </a:lnTo>
                      <a:lnTo>
                        <a:pt x="160" y="190"/>
                      </a:lnTo>
                      <a:lnTo>
                        <a:pt x="162" y="189"/>
                      </a:lnTo>
                      <a:lnTo>
                        <a:pt x="163" y="186"/>
                      </a:lnTo>
                      <a:lnTo>
                        <a:pt x="166" y="184"/>
                      </a:lnTo>
                      <a:lnTo>
                        <a:pt x="168" y="183"/>
                      </a:lnTo>
                      <a:lnTo>
                        <a:pt x="169" y="180"/>
                      </a:lnTo>
                      <a:lnTo>
                        <a:pt x="171" y="178"/>
                      </a:lnTo>
                      <a:lnTo>
                        <a:pt x="174" y="176"/>
                      </a:lnTo>
                      <a:lnTo>
                        <a:pt x="175" y="175"/>
                      </a:lnTo>
                      <a:lnTo>
                        <a:pt x="177" y="173"/>
                      </a:lnTo>
                      <a:lnTo>
                        <a:pt x="177" y="172"/>
                      </a:lnTo>
                      <a:lnTo>
                        <a:pt x="178" y="172"/>
                      </a:lnTo>
                      <a:lnTo>
                        <a:pt x="180" y="170"/>
                      </a:lnTo>
                      <a:lnTo>
                        <a:pt x="181" y="169"/>
                      </a:lnTo>
                      <a:lnTo>
                        <a:pt x="182" y="169"/>
                      </a:lnTo>
                      <a:lnTo>
                        <a:pt x="183" y="166"/>
                      </a:lnTo>
                      <a:lnTo>
                        <a:pt x="184" y="165"/>
                      </a:lnTo>
                      <a:lnTo>
                        <a:pt x="186" y="164"/>
                      </a:lnTo>
                      <a:lnTo>
                        <a:pt x="188" y="163"/>
                      </a:lnTo>
                      <a:lnTo>
                        <a:pt x="190" y="161"/>
                      </a:lnTo>
                      <a:lnTo>
                        <a:pt x="191" y="159"/>
                      </a:lnTo>
                      <a:lnTo>
                        <a:pt x="192" y="158"/>
                      </a:lnTo>
                      <a:lnTo>
                        <a:pt x="195" y="157"/>
                      </a:lnTo>
                      <a:lnTo>
                        <a:pt x="196" y="155"/>
                      </a:lnTo>
                      <a:lnTo>
                        <a:pt x="197" y="154"/>
                      </a:lnTo>
                      <a:lnTo>
                        <a:pt x="199" y="152"/>
                      </a:lnTo>
                      <a:lnTo>
                        <a:pt x="200" y="151"/>
                      </a:lnTo>
                      <a:lnTo>
                        <a:pt x="202" y="149"/>
                      </a:lnTo>
                      <a:lnTo>
                        <a:pt x="204" y="148"/>
                      </a:lnTo>
                      <a:lnTo>
                        <a:pt x="205" y="147"/>
                      </a:lnTo>
                      <a:lnTo>
                        <a:pt x="206" y="144"/>
                      </a:lnTo>
                      <a:lnTo>
                        <a:pt x="209" y="143"/>
                      </a:lnTo>
                      <a:lnTo>
                        <a:pt x="210" y="142"/>
                      </a:lnTo>
                      <a:lnTo>
                        <a:pt x="211" y="141"/>
                      </a:lnTo>
                      <a:lnTo>
                        <a:pt x="213" y="138"/>
                      </a:lnTo>
                      <a:lnTo>
                        <a:pt x="214" y="137"/>
                      </a:lnTo>
                      <a:lnTo>
                        <a:pt x="216" y="136"/>
                      </a:lnTo>
                      <a:lnTo>
                        <a:pt x="218" y="135"/>
                      </a:lnTo>
                      <a:lnTo>
                        <a:pt x="219" y="133"/>
                      </a:lnTo>
                      <a:lnTo>
                        <a:pt x="220" y="131"/>
                      </a:lnTo>
                      <a:lnTo>
                        <a:pt x="223" y="130"/>
                      </a:lnTo>
                      <a:lnTo>
                        <a:pt x="224" y="128"/>
                      </a:lnTo>
                      <a:lnTo>
                        <a:pt x="225" y="127"/>
                      </a:lnTo>
                      <a:lnTo>
                        <a:pt x="220" y="127"/>
                      </a:lnTo>
                      <a:lnTo>
                        <a:pt x="214" y="127"/>
                      </a:lnTo>
                      <a:lnTo>
                        <a:pt x="211" y="127"/>
                      </a:lnTo>
                      <a:lnTo>
                        <a:pt x="206" y="127"/>
                      </a:lnTo>
                      <a:lnTo>
                        <a:pt x="200" y="127"/>
                      </a:lnTo>
                      <a:lnTo>
                        <a:pt x="196" y="127"/>
                      </a:lnTo>
                      <a:lnTo>
                        <a:pt x="193" y="127"/>
                      </a:lnTo>
                      <a:lnTo>
                        <a:pt x="191" y="126"/>
                      </a:lnTo>
                      <a:lnTo>
                        <a:pt x="190" y="126"/>
                      </a:lnTo>
                      <a:lnTo>
                        <a:pt x="186" y="124"/>
                      </a:lnTo>
                      <a:lnTo>
                        <a:pt x="184" y="123"/>
                      </a:lnTo>
                      <a:lnTo>
                        <a:pt x="182" y="122"/>
                      </a:lnTo>
                      <a:lnTo>
                        <a:pt x="180" y="121"/>
                      </a:lnTo>
                      <a:lnTo>
                        <a:pt x="176" y="121"/>
                      </a:lnTo>
                      <a:lnTo>
                        <a:pt x="174" y="120"/>
                      </a:lnTo>
                      <a:lnTo>
                        <a:pt x="171" y="119"/>
                      </a:lnTo>
                      <a:lnTo>
                        <a:pt x="168" y="117"/>
                      </a:lnTo>
                      <a:lnTo>
                        <a:pt x="166" y="116"/>
                      </a:lnTo>
                      <a:lnTo>
                        <a:pt x="163" y="116"/>
                      </a:lnTo>
                      <a:lnTo>
                        <a:pt x="161" y="115"/>
                      </a:lnTo>
                      <a:lnTo>
                        <a:pt x="157" y="114"/>
                      </a:lnTo>
                      <a:lnTo>
                        <a:pt x="155" y="113"/>
                      </a:lnTo>
                      <a:lnTo>
                        <a:pt x="153" y="112"/>
                      </a:lnTo>
                      <a:lnTo>
                        <a:pt x="149" y="112"/>
                      </a:lnTo>
                      <a:lnTo>
                        <a:pt x="147" y="110"/>
                      </a:lnTo>
                      <a:lnTo>
                        <a:pt x="145" y="109"/>
                      </a:lnTo>
                      <a:lnTo>
                        <a:pt x="141" y="108"/>
                      </a:lnTo>
                      <a:lnTo>
                        <a:pt x="139" y="107"/>
                      </a:lnTo>
                      <a:lnTo>
                        <a:pt x="136" y="107"/>
                      </a:lnTo>
                      <a:lnTo>
                        <a:pt x="133" y="106"/>
                      </a:lnTo>
                      <a:lnTo>
                        <a:pt x="131" y="105"/>
                      </a:lnTo>
                      <a:lnTo>
                        <a:pt x="127" y="103"/>
                      </a:lnTo>
                      <a:lnTo>
                        <a:pt x="125" y="102"/>
                      </a:lnTo>
                      <a:lnTo>
                        <a:pt x="122" y="101"/>
                      </a:lnTo>
                      <a:lnTo>
                        <a:pt x="119" y="101"/>
                      </a:lnTo>
                      <a:lnTo>
                        <a:pt x="117" y="100"/>
                      </a:lnTo>
                      <a:lnTo>
                        <a:pt x="113" y="99"/>
                      </a:lnTo>
                      <a:lnTo>
                        <a:pt x="111" y="98"/>
                      </a:lnTo>
                      <a:lnTo>
                        <a:pt x="109" y="96"/>
                      </a:lnTo>
                      <a:lnTo>
                        <a:pt x="105" y="96"/>
                      </a:lnTo>
                      <a:lnTo>
                        <a:pt x="103" y="95"/>
                      </a:lnTo>
                      <a:lnTo>
                        <a:pt x="100" y="94"/>
                      </a:lnTo>
                      <a:lnTo>
                        <a:pt x="98" y="93"/>
                      </a:lnTo>
                      <a:lnTo>
                        <a:pt x="97" y="92"/>
                      </a:lnTo>
                      <a:lnTo>
                        <a:pt x="92" y="87"/>
                      </a:lnTo>
                      <a:lnTo>
                        <a:pt x="90" y="85"/>
                      </a:lnTo>
                      <a:lnTo>
                        <a:pt x="88" y="82"/>
                      </a:lnTo>
                      <a:lnTo>
                        <a:pt x="86" y="82"/>
                      </a:lnTo>
                      <a:lnTo>
                        <a:pt x="85" y="82"/>
                      </a:lnTo>
                      <a:lnTo>
                        <a:pt x="83" y="81"/>
                      </a:lnTo>
                      <a:lnTo>
                        <a:pt x="81" y="80"/>
                      </a:lnTo>
                      <a:lnTo>
                        <a:pt x="81" y="79"/>
                      </a:lnTo>
                      <a:lnTo>
                        <a:pt x="81" y="78"/>
                      </a:lnTo>
                      <a:lnTo>
                        <a:pt x="79" y="78"/>
                      </a:lnTo>
                      <a:lnTo>
                        <a:pt x="79" y="77"/>
                      </a:lnTo>
                      <a:lnTo>
                        <a:pt x="79" y="75"/>
                      </a:lnTo>
                      <a:lnTo>
                        <a:pt x="78" y="75"/>
                      </a:lnTo>
                      <a:lnTo>
                        <a:pt x="78" y="74"/>
                      </a:lnTo>
                      <a:lnTo>
                        <a:pt x="77" y="74"/>
                      </a:lnTo>
                      <a:lnTo>
                        <a:pt x="77" y="73"/>
                      </a:lnTo>
                      <a:lnTo>
                        <a:pt x="76" y="73"/>
                      </a:lnTo>
                      <a:lnTo>
                        <a:pt x="75" y="71"/>
                      </a:lnTo>
                      <a:lnTo>
                        <a:pt x="74" y="66"/>
                      </a:lnTo>
                      <a:lnTo>
                        <a:pt x="74" y="65"/>
                      </a:lnTo>
                      <a:lnTo>
                        <a:pt x="72" y="65"/>
                      </a:lnTo>
                      <a:lnTo>
                        <a:pt x="71" y="64"/>
                      </a:lnTo>
                      <a:lnTo>
                        <a:pt x="70" y="64"/>
                      </a:lnTo>
                      <a:lnTo>
                        <a:pt x="69" y="63"/>
                      </a:lnTo>
                      <a:lnTo>
                        <a:pt x="68" y="61"/>
                      </a:lnTo>
                      <a:lnTo>
                        <a:pt x="68" y="60"/>
                      </a:lnTo>
                      <a:lnTo>
                        <a:pt x="68" y="59"/>
                      </a:lnTo>
                      <a:lnTo>
                        <a:pt x="67" y="58"/>
                      </a:lnTo>
                      <a:lnTo>
                        <a:pt x="63" y="56"/>
                      </a:lnTo>
                      <a:lnTo>
                        <a:pt x="62" y="54"/>
                      </a:lnTo>
                      <a:lnTo>
                        <a:pt x="62" y="52"/>
                      </a:lnTo>
                      <a:lnTo>
                        <a:pt x="61" y="51"/>
                      </a:lnTo>
                      <a:lnTo>
                        <a:pt x="61" y="47"/>
                      </a:lnTo>
                      <a:lnTo>
                        <a:pt x="61" y="46"/>
                      </a:lnTo>
                      <a:lnTo>
                        <a:pt x="60" y="46"/>
                      </a:lnTo>
                      <a:lnTo>
                        <a:pt x="58" y="44"/>
                      </a:lnTo>
                      <a:lnTo>
                        <a:pt x="57" y="43"/>
                      </a:lnTo>
                      <a:lnTo>
                        <a:pt x="56" y="42"/>
                      </a:lnTo>
                      <a:lnTo>
                        <a:pt x="56" y="40"/>
                      </a:lnTo>
                      <a:lnTo>
                        <a:pt x="57" y="40"/>
                      </a:lnTo>
                      <a:lnTo>
                        <a:pt x="58" y="40"/>
                      </a:lnTo>
                      <a:lnTo>
                        <a:pt x="58" y="39"/>
                      </a:lnTo>
                      <a:lnTo>
                        <a:pt x="60" y="37"/>
                      </a:lnTo>
                      <a:lnTo>
                        <a:pt x="60" y="36"/>
                      </a:lnTo>
                      <a:lnTo>
                        <a:pt x="61" y="36"/>
                      </a:lnTo>
                      <a:lnTo>
                        <a:pt x="62" y="35"/>
                      </a:lnTo>
                      <a:lnTo>
                        <a:pt x="62" y="33"/>
                      </a:lnTo>
                      <a:lnTo>
                        <a:pt x="63" y="32"/>
                      </a:lnTo>
                      <a:lnTo>
                        <a:pt x="64" y="32"/>
                      </a:lnTo>
                      <a:lnTo>
                        <a:pt x="64" y="31"/>
                      </a:lnTo>
                      <a:lnTo>
                        <a:pt x="65" y="30"/>
                      </a:lnTo>
                      <a:lnTo>
                        <a:pt x="65" y="29"/>
                      </a:lnTo>
                      <a:lnTo>
                        <a:pt x="74" y="16"/>
                      </a:lnTo>
                      <a:lnTo>
                        <a:pt x="76" y="14"/>
                      </a:lnTo>
                      <a:lnTo>
                        <a:pt x="77" y="15"/>
                      </a:lnTo>
                      <a:lnTo>
                        <a:pt x="77" y="12"/>
                      </a:lnTo>
                      <a:lnTo>
                        <a:pt x="77" y="14"/>
                      </a:lnTo>
                      <a:lnTo>
                        <a:pt x="78" y="15"/>
                      </a:lnTo>
                      <a:lnTo>
                        <a:pt x="78" y="16"/>
                      </a:lnTo>
                      <a:lnTo>
                        <a:pt x="79" y="16"/>
                      </a:lnTo>
                      <a:lnTo>
                        <a:pt x="81" y="17"/>
                      </a:lnTo>
                      <a:lnTo>
                        <a:pt x="82" y="17"/>
                      </a:lnTo>
                      <a:lnTo>
                        <a:pt x="83" y="18"/>
                      </a:lnTo>
                      <a:lnTo>
                        <a:pt x="83" y="17"/>
                      </a:lnTo>
                      <a:lnTo>
                        <a:pt x="84" y="17"/>
                      </a:lnTo>
                      <a:lnTo>
                        <a:pt x="83" y="21"/>
                      </a:lnTo>
                      <a:lnTo>
                        <a:pt x="83" y="22"/>
                      </a:lnTo>
                      <a:lnTo>
                        <a:pt x="84" y="23"/>
                      </a:lnTo>
                      <a:lnTo>
                        <a:pt x="85" y="23"/>
                      </a:lnTo>
                      <a:lnTo>
                        <a:pt x="85" y="24"/>
                      </a:lnTo>
                      <a:lnTo>
                        <a:pt x="86" y="24"/>
                      </a:lnTo>
                      <a:lnTo>
                        <a:pt x="86" y="25"/>
                      </a:lnTo>
                      <a:lnTo>
                        <a:pt x="88" y="26"/>
                      </a:lnTo>
                      <a:lnTo>
                        <a:pt x="89" y="30"/>
                      </a:lnTo>
                      <a:lnTo>
                        <a:pt x="92" y="32"/>
                      </a:lnTo>
                      <a:lnTo>
                        <a:pt x="95" y="36"/>
                      </a:lnTo>
                      <a:lnTo>
                        <a:pt x="97" y="38"/>
                      </a:lnTo>
                      <a:lnTo>
                        <a:pt x="100" y="40"/>
                      </a:lnTo>
                      <a:lnTo>
                        <a:pt x="103" y="43"/>
                      </a:lnTo>
                      <a:lnTo>
                        <a:pt x="104" y="44"/>
                      </a:lnTo>
                      <a:lnTo>
                        <a:pt x="109" y="47"/>
                      </a:lnTo>
                      <a:lnTo>
                        <a:pt x="110" y="47"/>
                      </a:lnTo>
                      <a:lnTo>
                        <a:pt x="111" y="49"/>
                      </a:lnTo>
                      <a:lnTo>
                        <a:pt x="112" y="49"/>
                      </a:lnTo>
                      <a:lnTo>
                        <a:pt x="114" y="49"/>
                      </a:lnTo>
                      <a:lnTo>
                        <a:pt x="117" y="49"/>
                      </a:lnTo>
                      <a:lnTo>
                        <a:pt x="118" y="50"/>
                      </a:lnTo>
                      <a:lnTo>
                        <a:pt x="119" y="49"/>
                      </a:lnTo>
                      <a:lnTo>
                        <a:pt x="120" y="49"/>
                      </a:lnTo>
                      <a:lnTo>
                        <a:pt x="122" y="49"/>
                      </a:lnTo>
                      <a:lnTo>
                        <a:pt x="124" y="47"/>
                      </a:lnTo>
                      <a:lnTo>
                        <a:pt x="125" y="49"/>
                      </a:lnTo>
                      <a:lnTo>
                        <a:pt x="127" y="49"/>
                      </a:lnTo>
                      <a:lnTo>
                        <a:pt x="128" y="49"/>
                      </a:lnTo>
                      <a:lnTo>
                        <a:pt x="131" y="49"/>
                      </a:lnTo>
                      <a:lnTo>
                        <a:pt x="131" y="47"/>
                      </a:lnTo>
                      <a:lnTo>
                        <a:pt x="132" y="47"/>
                      </a:lnTo>
                      <a:lnTo>
                        <a:pt x="135" y="45"/>
                      </a:lnTo>
                      <a:lnTo>
                        <a:pt x="136" y="44"/>
                      </a:lnTo>
                      <a:lnTo>
                        <a:pt x="140" y="43"/>
                      </a:lnTo>
                      <a:lnTo>
                        <a:pt x="141" y="40"/>
                      </a:lnTo>
                      <a:lnTo>
                        <a:pt x="142" y="40"/>
                      </a:lnTo>
                      <a:lnTo>
                        <a:pt x="143" y="40"/>
                      </a:lnTo>
                      <a:lnTo>
                        <a:pt x="145" y="40"/>
                      </a:lnTo>
                      <a:lnTo>
                        <a:pt x="146" y="40"/>
                      </a:lnTo>
                      <a:lnTo>
                        <a:pt x="147" y="40"/>
                      </a:lnTo>
                      <a:lnTo>
                        <a:pt x="148" y="39"/>
                      </a:lnTo>
                      <a:lnTo>
                        <a:pt x="149" y="39"/>
                      </a:lnTo>
                      <a:lnTo>
                        <a:pt x="149" y="38"/>
                      </a:lnTo>
                      <a:lnTo>
                        <a:pt x="150" y="37"/>
                      </a:lnTo>
                      <a:lnTo>
                        <a:pt x="153" y="37"/>
                      </a:lnTo>
                      <a:lnTo>
                        <a:pt x="153" y="36"/>
                      </a:lnTo>
                      <a:lnTo>
                        <a:pt x="154" y="36"/>
                      </a:lnTo>
                      <a:lnTo>
                        <a:pt x="155" y="35"/>
                      </a:lnTo>
                      <a:lnTo>
                        <a:pt x="155" y="33"/>
                      </a:lnTo>
                      <a:lnTo>
                        <a:pt x="156" y="33"/>
                      </a:lnTo>
                      <a:lnTo>
                        <a:pt x="157" y="33"/>
                      </a:lnTo>
                      <a:lnTo>
                        <a:pt x="157" y="35"/>
                      </a:lnTo>
                      <a:lnTo>
                        <a:pt x="159" y="35"/>
                      </a:lnTo>
                      <a:lnTo>
                        <a:pt x="159" y="36"/>
                      </a:lnTo>
                      <a:lnTo>
                        <a:pt x="160" y="36"/>
                      </a:lnTo>
                      <a:lnTo>
                        <a:pt x="159" y="35"/>
                      </a:lnTo>
                      <a:lnTo>
                        <a:pt x="160" y="35"/>
                      </a:lnTo>
                      <a:lnTo>
                        <a:pt x="162" y="37"/>
                      </a:lnTo>
                      <a:lnTo>
                        <a:pt x="163" y="37"/>
                      </a:lnTo>
                      <a:lnTo>
                        <a:pt x="164" y="37"/>
                      </a:lnTo>
                      <a:lnTo>
                        <a:pt x="166" y="37"/>
                      </a:lnTo>
                      <a:lnTo>
                        <a:pt x="167" y="37"/>
                      </a:lnTo>
                      <a:lnTo>
                        <a:pt x="168" y="37"/>
                      </a:lnTo>
                      <a:lnTo>
                        <a:pt x="170" y="37"/>
                      </a:lnTo>
                      <a:lnTo>
                        <a:pt x="171" y="37"/>
                      </a:lnTo>
                      <a:lnTo>
                        <a:pt x="173" y="39"/>
                      </a:lnTo>
                      <a:lnTo>
                        <a:pt x="174" y="39"/>
                      </a:lnTo>
                      <a:lnTo>
                        <a:pt x="175" y="39"/>
                      </a:lnTo>
                      <a:lnTo>
                        <a:pt x="176" y="40"/>
                      </a:lnTo>
                      <a:lnTo>
                        <a:pt x="177" y="40"/>
                      </a:lnTo>
                      <a:lnTo>
                        <a:pt x="178" y="39"/>
                      </a:lnTo>
                      <a:lnTo>
                        <a:pt x="180" y="39"/>
                      </a:lnTo>
                      <a:lnTo>
                        <a:pt x="181" y="39"/>
                      </a:lnTo>
                      <a:lnTo>
                        <a:pt x="182" y="38"/>
                      </a:lnTo>
                      <a:lnTo>
                        <a:pt x="183" y="38"/>
                      </a:lnTo>
                      <a:lnTo>
                        <a:pt x="184" y="38"/>
                      </a:lnTo>
                      <a:lnTo>
                        <a:pt x="185" y="37"/>
                      </a:lnTo>
                      <a:lnTo>
                        <a:pt x="188" y="36"/>
                      </a:lnTo>
                      <a:lnTo>
                        <a:pt x="190" y="35"/>
                      </a:lnTo>
                      <a:lnTo>
                        <a:pt x="191" y="35"/>
                      </a:lnTo>
                      <a:lnTo>
                        <a:pt x="191" y="33"/>
                      </a:lnTo>
                      <a:lnTo>
                        <a:pt x="192" y="33"/>
                      </a:lnTo>
                      <a:lnTo>
                        <a:pt x="196" y="32"/>
                      </a:lnTo>
                      <a:lnTo>
                        <a:pt x="198" y="30"/>
                      </a:lnTo>
                      <a:lnTo>
                        <a:pt x="199" y="29"/>
                      </a:lnTo>
                      <a:lnTo>
                        <a:pt x="200" y="28"/>
                      </a:lnTo>
                      <a:lnTo>
                        <a:pt x="203" y="28"/>
                      </a:lnTo>
                      <a:lnTo>
                        <a:pt x="204" y="26"/>
                      </a:lnTo>
                      <a:lnTo>
                        <a:pt x="207" y="25"/>
                      </a:lnTo>
                      <a:lnTo>
                        <a:pt x="207" y="24"/>
                      </a:lnTo>
                      <a:lnTo>
                        <a:pt x="209" y="24"/>
                      </a:lnTo>
                      <a:lnTo>
                        <a:pt x="211" y="24"/>
                      </a:lnTo>
                      <a:lnTo>
                        <a:pt x="212" y="24"/>
                      </a:lnTo>
                      <a:lnTo>
                        <a:pt x="217" y="26"/>
                      </a:lnTo>
                      <a:lnTo>
                        <a:pt x="218" y="28"/>
                      </a:lnTo>
                      <a:lnTo>
                        <a:pt x="219" y="26"/>
                      </a:lnTo>
                      <a:lnTo>
                        <a:pt x="224" y="26"/>
                      </a:lnTo>
                      <a:lnTo>
                        <a:pt x="225" y="26"/>
                      </a:lnTo>
                      <a:lnTo>
                        <a:pt x="231" y="26"/>
                      </a:lnTo>
                      <a:lnTo>
                        <a:pt x="232" y="26"/>
                      </a:lnTo>
                      <a:lnTo>
                        <a:pt x="233" y="25"/>
                      </a:lnTo>
                      <a:lnTo>
                        <a:pt x="233" y="24"/>
                      </a:lnTo>
                      <a:lnTo>
                        <a:pt x="234" y="24"/>
                      </a:lnTo>
                      <a:lnTo>
                        <a:pt x="235" y="24"/>
                      </a:lnTo>
                      <a:lnTo>
                        <a:pt x="237" y="23"/>
                      </a:lnTo>
                      <a:lnTo>
                        <a:pt x="238" y="23"/>
                      </a:lnTo>
                      <a:lnTo>
                        <a:pt x="238" y="22"/>
                      </a:lnTo>
                      <a:lnTo>
                        <a:pt x="239" y="22"/>
                      </a:lnTo>
                      <a:lnTo>
                        <a:pt x="241" y="22"/>
                      </a:lnTo>
                      <a:lnTo>
                        <a:pt x="242" y="21"/>
                      </a:lnTo>
                      <a:lnTo>
                        <a:pt x="244" y="21"/>
                      </a:lnTo>
                      <a:lnTo>
                        <a:pt x="246" y="21"/>
                      </a:lnTo>
                      <a:lnTo>
                        <a:pt x="247" y="21"/>
                      </a:lnTo>
                      <a:lnTo>
                        <a:pt x="248" y="21"/>
                      </a:lnTo>
                      <a:lnTo>
                        <a:pt x="250" y="21"/>
                      </a:lnTo>
                      <a:lnTo>
                        <a:pt x="252" y="21"/>
                      </a:lnTo>
                      <a:lnTo>
                        <a:pt x="253" y="22"/>
                      </a:lnTo>
                      <a:lnTo>
                        <a:pt x="255" y="23"/>
                      </a:lnTo>
                      <a:lnTo>
                        <a:pt x="256" y="23"/>
                      </a:lnTo>
                      <a:lnTo>
                        <a:pt x="257" y="23"/>
                      </a:lnTo>
                      <a:lnTo>
                        <a:pt x="259" y="23"/>
                      </a:lnTo>
                      <a:lnTo>
                        <a:pt x="262" y="22"/>
                      </a:lnTo>
                      <a:lnTo>
                        <a:pt x="267" y="22"/>
                      </a:lnTo>
                      <a:lnTo>
                        <a:pt x="268" y="21"/>
                      </a:lnTo>
                      <a:lnTo>
                        <a:pt x="269" y="19"/>
                      </a:lnTo>
                      <a:lnTo>
                        <a:pt x="269" y="21"/>
                      </a:lnTo>
                      <a:lnTo>
                        <a:pt x="271" y="21"/>
                      </a:lnTo>
                      <a:lnTo>
                        <a:pt x="273" y="19"/>
                      </a:lnTo>
                      <a:lnTo>
                        <a:pt x="275" y="18"/>
                      </a:lnTo>
                      <a:lnTo>
                        <a:pt x="276" y="18"/>
                      </a:lnTo>
                      <a:lnTo>
                        <a:pt x="276" y="17"/>
                      </a:lnTo>
                      <a:lnTo>
                        <a:pt x="277" y="16"/>
                      </a:lnTo>
                      <a:lnTo>
                        <a:pt x="278" y="16"/>
                      </a:lnTo>
                      <a:lnTo>
                        <a:pt x="280" y="16"/>
                      </a:lnTo>
                      <a:lnTo>
                        <a:pt x="281" y="16"/>
                      </a:lnTo>
                      <a:lnTo>
                        <a:pt x="282" y="16"/>
                      </a:lnTo>
                      <a:lnTo>
                        <a:pt x="284" y="16"/>
                      </a:lnTo>
                      <a:lnTo>
                        <a:pt x="287" y="16"/>
                      </a:lnTo>
                      <a:lnTo>
                        <a:pt x="288" y="16"/>
                      </a:lnTo>
                      <a:lnTo>
                        <a:pt x="288" y="15"/>
                      </a:lnTo>
                      <a:lnTo>
                        <a:pt x="289" y="15"/>
                      </a:lnTo>
                      <a:lnTo>
                        <a:pt x="290" y="15"/>
                      </a:lnTo>
                      <a:lnTo>
                        <a:pt x="292" y="15"/>
                      </a:lnTo>
                      <a:lnTo>
                        <a:pt x="294" y="15"/>
                      </a:lnTo>
                      <a:lnTo>
                        <a:pt x="295" y="14"/>
                      </a:lnTo>
                      <a:lnTo>
                        <a:pt x="296" y="14"/>
                      </a:lnTo>
                      <a:lnTo>
                        <a:pt x="297" y="14"/>
                      </a:lnTo>
                      <a:lnTo>
                        <a:pt x="298" y="12"/>
                      </a:lnTo>
                      <a:lnTo>
                        <a:pt x="299" y="12"/>
                      </a:lnTo>
                      <a:lnTo>
                        <a:pt x="301" y="12"/>
                      </a:lnTo>
                      <a:lnTo>
                        <a:pt x="303" y="10"/>
                      </a:lnTo>
                      <a:lnTo>
                        <a:pt x="304" y="10"/>
                      </a:lnTo>
                      <a:lnTo>
                        <a:pt x="305" y="9"/>
                      </a:lnTo>
                      <a:lnTo>
                        <a:pt x="306" y="8"/>
                      </a:lnTo>
                      <a:lnTo>
                        <a:pt x="306" y="7"/>
                      </a:lnTo>
                      <a:lnTo>
                        <a:pt x="308" y="7"/>
                      </a:lnTo>
                      <a:lnTo>
                        <a:pt x="308" y="5"/>
                      </a:lnTo>
                      <a:lnTo>
                        <a:pt x="308" y="4"/>
                      </a:lnTo>
                      <a:lnTo>
                        <a:pt x="308" y="3"/>
                      </a:lnTo>
                      <a:lnTo>
                        <a:pt x="309" y="2"/>
                      </a:lnTo>
                      <a:lnTo>
                        <a:pt x="310" y="2"/>
                      </a:lnTo>
                      <a:lnTo>
                        <a:pt x="311" y="1"/>
                      </a:lnTo>
                      <a:lnTo>
                        <a:pt x="312" y="1"/>
                      </a:lnTo>
                      <a:lnTo>
                        <a:pt x="314" y="0"/>
                      </a:lnTo>
                      <a:lnTo>
                        <a:pt x="316" y="0"/>
                      </a:lnTo>
                      <a:lnTo>
                        <a:pt x="317"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8" name="Freeform 115">
                  <a:extLst>
                    <a:ext uri="{FF2B5EF4-FFF2-40B4-BE49-F238E27FC236}">
                      <a16:creationId xmlns:a16="http://schemas.microsoft.com/office/drawing/2014/main" id="{01DBF7E8-0DC5-71A8-C30B-28EB6F19E85A}"/>
                    </a:ext>
                  </a:extLst>
                </p:cNvPr>
                <p:cNvSpPr>
                  <a:spLocks noEditPoints="1"/>
                </p:cNvSpPr>
                <p:nvPr/>
              </p:nvSpPr>
              <p:spPr bwMode="auto">
                <a:xfrm>
                  <a:off x="6450855" y="3742365"/>
                  <a:ext cx="33534" cy="58413"/>
                </a:xfrm>
                <a:custGeom>
                  <a:avLst/>
                  <a:gdLst>
                    <a:gd name="T0" fmla="*/ 4 w 31"/>
                    <a:gd name="T1" fmla="*/ 51 h 54"/>
                    <a:gd name="T2" fmla="*/ 3 w 31"/>
                    <a:gd name="T3" fmla="*/ 53 h 54"/>
                    <a:gd name="T4" fmla="*/ 3 w 31"/>
                    <a:gd name="T5" fmla="*/ 53 h 54"/>
                    <a:gd name="T6" fmla="*/ 2 w 31"/>
                    <a:gd name="T7" fmla="*/ 54 h 54"/>
                    <a:gd name="T8" fmla="*/ 2 w 31"/>
                    <a:gd name="T9" fmla="*/ 53 h 54"/>
                    <a:gd name="T10" fmla="*/ 2 w 31"/>
                    <a:gd name="T11" fmla="*/ 51 h 54"/>
                    <a:gd name="T12" fmla="*/ 2 w 31"/>
                    <a:gd name="T13" fmla="*/ 51 h 54"/>
                    <a:gd name="T14" fmla="*/ 2 w 31"/>
                    <a:gd name="T15" fmla="*/ 51 h 54"/>
                    <a:gd name="T16" fmla="*/ 1 w 31"/>
                    <a:gd name="T17" fmla="*/ 48 h 54"/>
                    <a:gd name="T18" fmla="*/ 1 w 31"/>
                    <a:gd name="T19" fmla="*/ 47 h 54"/>
                    <a:gd name="T20" fmla="*/ 1 w 31"/>
                    <a:gd name="T21" fmla="*/ 46 h 54"/>
                    <a:gd name="T22" fmla="*/ 1 w 31"/>
                    <a:gd name="T23" fmla="*/ 44 h 54"/>
                    <a:gd name="T24" fmla="*/ 1 w 31"/>
                    <a:gd name="T25" fmla="*/ 44 h 54"/>
                    <a:gd name="T26" fmla="*/ 2 w 31"/>
                    <a:gd name="T27" fmla="*/ 43 h 54"/>
                    <a:gd name="T28" fmla="*/ 4 w 31"/>
                    <a:gd name="T29" fmla="*/ 42 h 54"/>
                    <a:gd name="T30" fmla="*/ 5 w 31"/>
                    <a:gd name="T31" fmla="*/ 41 h 54"/>
                    <a:gd name="T32" fmla="*/ 8 w 31"/>
                    <a:gd name="T33" fmla="*/ 42 h 54"/>
                    <a:gd name="T34" fmla="*/ 9 w 31"/>
                    <a:gd name="T35" fmla="*/ 43 h 54"/>
                    <a:gd name="T36" fmla="*/ 10 w 31"/>
                    <a:gd name="T37" fmla="*/ 46 h 54"/>
                    <a:gd name="T38" fmla="*/ 9 w 31"/>
                    <a:gd name="T39" fmla="*/ 46 h 54"/>
                    <a:gd name="T40" fmla="*/ 9 w 31"/>
                    <a:gd name="T41" fmla="*/ 47 h 54"/>
                    <a:gd name="T42" fmla="*/ 8 w 31"/>
                    <a:gd name="T43" fmla="*/ 48 h 54"/>
                    <a:gd name="T44" fmla="*/ 7 w 31"/>
                    <a:gd name="T45" fmla="*/ 50 h 54"/>
                    <a:gd name="T46" fmla="*/ 7 w 31"/>
                    <a:gd name="T47" fmla="*/ 50 h 54"/>
                    <a:gd name="T48" fmla="*/ 7 w 31"/>
                    <a:gd name="T49" fmla="*/ 50 h 54"/>
                    <a:gd name="T50" fmla="*/ 5 w 31"/>
                    <a:gd name="T51" fmla="*/ 51 h 54"/>
                    <a:gd name="T52" fmla="*/ 5 w 31"/>
                    <a:gd name="T53" fmla="*/ 51 h 54"/>
                    <a:gd name="T54" fmla="*/ 31 w 31"/>
                    <a:gd name="T55" fmla="*/ 4 h 54"/>
                    <a:gd name="T56" fmla="*/ 30 w 31"/>
                    <a:gd name="T57" fmla="*/ 5 h 54"/>
                    <a:gd name="T58" fmla="*/ 30 w 31"/>
                    <a:gd name="T59" fmla="*/ 5 h 54"/>
                    <a:gd name="T60" fmla="*/ 30 w 31"/>
                    <a:gd name="T61" fmla="*/ 5 h 54"/>
                    <a:gd name="T62" fmla="*/ 30 w 31"/>
                    <a:gd name="T63" fmla="*/ 6 h 54"/>
                    <a:gd name="T64" fmla="*/ 29 w 31"/>
                    <a:gd name="T65" fmla="*/ 5 h 54"/>
                    <a:gd name="T66" fmla="*/ 29 w 31"/>
                    <a:gd name="T67" fmla="*/ 5 h 54"/>
                    <a:gd name="T68" fmla="*/ 29 w 31"/>
                    <a:gd name="T69" fmla="*/ 5 h 54"/>
                    <a:gd name="T70" fmla="*/ 28 w 31"/>
                    <a:gd name="T71" fmla="*/ 5 h 54"/>
                    <a:gd name="T72" fmla="*/ 28 w 31"/>
                    <a:gd name="T73" fmla="*/ 2 h 54"/>
                    <a:gd name="T74" fmla="*/ 28 w 31"/>
                    <a:gd name="T75" fmla="*/ 2 h 54"/>
                    <a:gd name="T76" fmla="*/ 29 w 31"/>
                    <a:gd name="T77" fmla="*/ 2 h 54"/>
                    <a:gd name="T78" fmla="*/ 29 w 31"/>
                    <a:gd name="T79" fmla="*/ 1 h 54"/>
                    <a:gd name="T80" fmla="*/ 30 w 31"/>
                    <a:gd name="T81" fmla="*/ 0 h 54"/>
                    <a:gd name="T82" fmla="*/ 31 w 31"/>
                    <a:gd name="T83" fmla="*/ 0 h 54"/>
                    <a:gd name="T84" fmla="*/ 31 w 31"/>
                    <a:gd name="T85" fmla="*/ 1 h 54"/>
                    <a:gd name="T86" fmla="*/ 31 w 31"/>
                    <a:gd name="T87" fmla="*/ 1 h 54"/>
                    <a:gd name="T88" fmla="*/ 30 w 31"/>
                    <a:gd name="T89" fmla="*/ 1 h 54"/>
                    <a:gd name="T90" fmla="*/ 31 w 31"/>
                    <a:gd name="T91" fmla="*/ 2 h 54"/>
                    <a:gd name="T92" fmla="*/ 31 w 31"/>
                    <a:gd name="T93" fmla="*/ 2 h 54"/>
                    <a:gd name="T94" fmla="*/ 31 w 31"/>
                    <a:gd name="T95"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 h="54">
                      <a:moveTo>
                        <a:pt x="5" y="51"/>
                      </a:moveTo>
                      <a:lnTo>
                        <a:pt x="4" y="51"/>
                      </a:lnTo>
                      <a:lnTo>
                        <a:pt x="4" y="51"/>
                      </a:lnTo>
                      <a:lnTo>
                        <a:pt x="3" y="53"/>
                      </a:lnTo>
                      <a:lnTo>
                        <a:pt x="3" y="53"/>
                      </a:lnTo>
                      <a:lnTo>
                        <a:pt x="3" y="53"/>
                      </a:lnTo>
                      <a:lnTo>
                        <a:pt x="2" y="54"/>
                      </a:lnTo>
                      <a:lnTo>
                        <a:pt x="2" y="54"/>
                      </a:lnTo>
                      <a:lnTo>
                        <a:pt x="2" y="53"/>
                      </a:lnTo>
                      <a:lnTo>
                        <a:pt x="2" y="53"/>
                      </a:lnTo>
                      <a:lnTo>
                        <a:pt x="2" y="53"/>
                      </a:lnTo>
                      <a:lnTo>
                        <a:pt x="2" y="51"/>
                      </a:lnTo>
                      <a:lnTo>
                        <a:pt x="2" y="51"/>
                      </a:lnTo>
                      <a:lnTo>
                        <a:pt x="2" y="51"/>
                      </a:lnTo>
                      <a:lnTo>
                        <a:pt x="2" y="51"/>
                      </a:lnTo>
                      <a:lnTo>
                        <a:pt x="2" y="51"/>
                      </a:lnTo>
                      <a:lnTo>
                        <a:pt x="2" y="51"/>
                      </a:lnTo>
                      <a:lnTo>
                        <a:pt x="1" y="48"/>
                      </a:lnTo>
                      <a:lnTo>
                        <a:pt x="0" y="47"/>
                      </a:lnTo>
                      <a:lnTo>
                        <a:pt x="1" y="47"/>
                      </a:lnTo>
                      <a:lnTo>
                        <a:pt x="1" y="47"/>
                      </a:lnTo>
                      <a:lnTo>
                        <a:pt x="1" y="46"/>
                      </a:lnTo>
                      <a:lnTo>
                        <a:pt x="1" y="46"/>
                      </a:lnTo>
                      <a:lnTo>
                        <a:pt x="1" y="44"/>
                      </a:lnTo>
                      <a:lnTo>
                        <a:pt x="1" y="44"/>
                      </a:lnTo>
                      <a:lnTo>
                        <a:pt x="1" y="44"/>
                      </a:lnTo>
                      <a:lnTo>
                        <a:pt x="1" y="44"/>
                      </a:lnTo>
                      <a:lnTo>
                        <a:pt x="2" y="43"/>
                      </a:lnTo>
                      <a:lnTo>
                        <a:pt x="3" y="43"/>
                      </a:lnTo>
                      <a:lnTo>
                        <a:pt x="4" y="42"/>
                      </a:lnTo>
                      <a:lnTo>
                        <a:pt x="4" y="42"/>
                      </a:lnTo>
                      <a:lnTo>
                        <a:pt x="5" y="41"/>
                      </a:lnTo>
                      <a:lnTo>
                        <a:pt x="7" y="41"/>
                      </a:lnTo>
                      <a:lnTo>
                        <a:pt x="8" y="42"/>
                      </a:lnTo>
                      <a:lnTo>
                        <a:pt x="9" y="42"/>
                      </a:lnTo>
                      <a:lnTo>
                        <a:pt x="9" y="43"/>
                      </a:lnTo>
                      <a:lnTo>
                        <a:pt x="9" y="44"/>
                      </a:lnTo>
                      <a:lnTo>
                        <a:pt x="10" y="46"/>
                      </a:lnTo>
                      <a:lnTo>
                        <a:pt x="10" y="46"/>
                      </a:lnTo>
                      <a:lnTo>
                        <a:pt x="9" y="46"/>
                      </a:lnTo>
                      <a:lnTo>
                        <a:pt x="9" y="47"/>
                      </a:lnTo>
                      <a:lnTo>
                        <a:pt x="9" y="47"/>
                      </a:lnTo>
                      <a:lnTo>
                        <a:pt x="8" y="48"/>
                      </a:lnTo>
                      <a:lnTo>
                        <a:pt x="8" y="48"/>
                      </a:lnTo>
                      <a:lnTo>
                        <a:pt x="7" y="50"/>
                      </a:lnTo>
                      <a:lnTo>
                        <a:pt x="7" y="50"/>
                      </a:lnTo>
                      <a:lnTo>
                        <a:pt x="7" y="50"/>
                      </a:lnTo>
                      <a:lnTo>
                        <a:pt x="7" y="50"/>
                      </a:lnTo>
                      <a:lnTo>
                        <a:pt x="7" y="50"/>
                      </a:lnTo>
                      <a:lnTo>
                        <a:pt x="7" y="50"/>
                      </a:lnTo>
                      <a:lnTo>
                        <a:pt x="5" y="50"/>
                      </a:lnTo>
                      <a:lnTo>
                        <a:pt x="5" y="51"/>
                      </a:lnTo>
                      <a:lnTo>
                        <a:pt x="5" y="51"/>
                      </a:lnTo>
                      <a:lnTo>
                        <a:pt x="5" y="51"/>
                      </a:lnTo>
                      <a:close/>
                      <a:moveTo>
                        <a:pt x="31" y="2"/>
                      </a:moveTo>
                      <a:lnTo>
                        <a:pt x="31" y="4"/>
                      </a:lnTo>
                      <a:lnTo>
                        <a:pt x="30" y="5"/>
                      </a:lnTo>
                      <a:lnTo>
                        <a:pt x="30" y="5"/>
                      </a:lnTo>
                      <a:lnTo>
                        <a:pt x="30" y="5"/>
                      </a:lnTo>
                      <a:lnTo>
                        <a:pt x="30" y="5"/>
                      </a:lnTo>
                      <a:lnTo>
                        <a:pt x="30" y="5"/>
                      </a:lnTo>
                      <a:lnTo>
                        <a:pt x="30" y="5"/>
                      </a:lnTo>
                      <a:lnTo>
                        <a:pt x="30" y="6"/>
                      </a:lnTo>
                      <a:lnTo>
                        <a:pt x="30" y="6"/>
                      </a:lnTo>
                      <a:lnTo>
                        <a:pt x="30" y="5"/>
                      </a:lnTo>
                      <a:lnTo>
                        <a:pt x="29" y="5"/>
                      </a:lnTo>
                      <a:lnTo>
                        <a:pt x="29" y="5"/>
                      </a:lnTo>
                      <a:lnTo>
                        <a:pt x="29" y="5"/>
                      </a:lnTo>
                      <a:lnTo>
                        <a:pt x="29" y="5"/>
                      </a:lnTo>
                      <a:lnTo>
                        <a:pt x="29" y="5"/>
                      </a:lnTo>
                      <a:lnTo>
                        <a:pt x="28" y="5"/>
                      </a:lnTo>
                      <a:lnTo>
                        <a:pt x="28" y="5"/>
                      </a:lnTo>
                      <a:lnTo>
                        <a:pt x="28" y="4"/>
                      </a:lnTo>
                      <a:lnTo>
                        <a:pt x="28" y="2"/>
                      </a:lnTo>
                      <a:lnTo>
                        <a:pt x="28" y="2"/>
                      </a:lnTo>
                      <a:lnTo>
                        <a:pt x="28" y="2"/>
                      </a:lnTo>
                      <a:lnTo>
                        <a:pt x="29" y="2"/>
                      </a:lnTo>
                      <a:lnTo>
                        <a:pt x="29" y="2"/>
                      </a:lnTo>
                      <a:lnTo>
                        <a:pt x="29" y="1"/>
                      </a:lnTo>
                      <a:lnTo>
                        <a:pt x="29" y="1"/>
                      </a:lnTo>
                      <a:lnTo>
                        <a:pt x="29" y="0"/>
                      </a:lnTo>
                      <a:lnTo>
                        <a:pt x="30" y="0"/>
                      </a:lnTo>
                      <a:lnTo>
                        <a:pt x="30" y="0"/>
                      </a:lnTo>
                      <a:lnTo>
                        <a:pt x="31" y="0"/>
                      </a:lnTo>
                      <a:lnTo>
                        <a:pt x="31" y="0"/>
                      </a:lnTo>
                      <a:lnTo>
                        <a:pt x="31" y="1"/>
                      </a:lnTo>
                      <a:lnTo>
                        <a:pt x="31" y="1"/>
                      </a:lnTo>
                      <a:lnTo>
                        <a:pt x="31" y="1"/>
                      </a:lnTo>
                      <a:lnTo>
                        <a:pt x="31" y="1"/>
                      </a:lnTo>
                      <a:lnTo>
                        <a:pt x="30" y="1"/>
                      </a:lnTo>
                      <a:lnTo>
                        <a:pt x="31" y="2"/>
                      </a:lnTo>
                      <a:lnTo>
                        <a:pt x="31" y="2"/>
                      </a:lnTo>
                      <a:lnTo>
                        <a:pt x="31" y="2"/>
                      </a:lnTo>
                      <a:lnTo>
                        <a:pt x="31" y="2"/>
                      </a:lnTo>
                      <a:lnTo>
                        <a:pt x="31" y="2"/>
                      </a:lnTo>
                      <a:lnTo>
                        <a:pt x="3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9" name="Freeform 116">
                  <a:extLst>
                    <a:ext uri="{FF2B5EF4-FFF2-40B4-BE49-F238E27FC236}">
                      <a16:creationId xmlns:a16="http://schemas.microsoft.com/office/drawing/2014/main" id="{1893A4C0-6DFC-7180-E50B-BCA0C61C6A53}"/>
                    </a:ext>
                  </a:extLst>
                </p:cNvPr>
                <p:cNvSpPr>
                  <a:spLocks/>
                </p:cNvSpPr>
                <p:nvPr/>
              </p:nvSpPr>
              <p:spPr bwMode="auto">
                <a:xfrm>
                  <a:off x="7281625" y="4701861"/>
                  <a:ext cx="45433" cy="60578"/>
                </a:xfrm>
                <a:custGeom>
                  <a:avLst/>
                  <a:gdLst>
                    <a:gd name="T0" fmla="*/ 37 w 42"/>
                    <a:gd name="T1" fmla="*/ 9 h 56"/>
                    <a:gd name="T2" fmla="*/ 40 w 42"/>
                    <a:gd name="T3" fmla="*/ 10 h 56"/>
                    <a:gd name="T4" fmla="*/ 40 w 42"/>
                    <a:gd name="T5" fmla="*/ 12 h 56"/>
                    <a:gd name="T6" fmla="*/ 40 w 42"/>
                    <a:gd name="T7" fmla="*/ 15 h 56"/>
                    <a:gd name="T8" fmla="*/ 39 w 42"/>
                    <a:gd name="T9" fmla="*/ 18 h 56"/>
                    <a:gd name="T10" fmla="*/ 39 w 42"/>
                    <a:gd name="T11" fmla="*/ 23 h 56"/>
                    <a:gd name="T12" fmla="*/ 42 w 42"/>
                    <a:gd name="T13" fmla="*/ 26 h 56"/>
                    <a:gd name="T14" fmla="*/ 42 w 42"/>
                    <a:gd name="T15" fmla="*/ 38 h 56"/>
                    <a:gd name="T16" fmla="*/ 40 w 42"/>
                    <a:gd name="T17" fmla="*/ 37 h 56"/>
                    <a:gd name="T18" fmla="*/ 38 w 42"/>
                    <a:gd name="T19" fmla="*/ 37 h 56"/>
                    <a:gd name="T20" fmla="*/ 37 w 42"/>
                    <a:gd name="T21" fmla="*/ 42 h 56"/>
                    <a:gd name="T22" fmla="*/ 36 w 42"/>
                    <a:gd name="T23" fmla="*/ 47 h 56"/>
                    <a:gd name="T24" fmla="*/ 36 w 42"/>
                    <a:gd name="T25" fmla="*/ 51 h 56"/>
                    <a:gd name="T26" fmla="*/ 36 w 42"/>
                    <a:gd name="T27" fmla="*/ 53 h 56"/>
                    <a:gd name="T28" fmla="*/ 37 w 42"/>
                    <a:gd name="T29" fmla="*/ 54 h 56"/>
                    <a:gd name="T30" fmla="*/ 37 w 42"/>
                    <a:gd name="T31" fmla="*/ 56 h 56"/>
                    <a:gd name="T32" fmla="*/ 31 w 42"/>
                    <a:gd name="T33" fmla="*/ 54 h 56"/>
                    <a:gd name="T34" fmla="*/ 23 w 42"/>
                    <a:gd name="T35" fmla="*/ 54 h 56"/>
                    <a:gd name="T36" fmla="*/ 17 w 42"/>
                    <a:gd name="T37" fmla="*/ 53 h 56"/>
                    <a:gd name="T38" fmla="*/ 14 w 42"/>
                    <a:gd name="T39" fmla="*/ 52 h 56"/>
                    <a:gd name="T40" fmla="*/ 11 w 42"/>
                    <a:gd name="T41" fmla="*/ 51 h 56"/>
                    <a:gd name="T42" fmla="*/ 9 w 42"/>
                    <a:gd name="T43" fmla="*/ 49 h 56"/>
                    <a:gd name="T44" fmla="*/ 5 w 42"/>
                    <a:gd name="T45" fmla="*/ 44 h 56"/>
                    <a:gd name="T46" fmla="*/ 5 w 42"/>
                    <a:gd name="T47" fmla="*/ 42 h 56"/>
                    <a:gd name="T48" fmla="*/ 5 w 42"/>
                    <a:gd name="T49" fmla="*/ 40 h 56"/>
                    <a:gd name="T50" fmla="*/ 4 w 42"/>
                    <a:gd name="T51" fmla="*/ 38 h 56"/>
                    <a:gd name="T52" fmla="*/ 3 w 42"/>
                    <a:gd name="T53" fmla="*/ 37 h 56"/>
                    <a:gd name="T54" fmla="*/ 2 w 42"/>
                    <a:gd name="T55" fmla="*/ 37 h 56"/>
                    <a:gd name="T56" fmla="*/ 2 w 42"/>
                    <a:gd name="T57" fmla="*/ 37 h 56"/>
                    <a:gd name="T58" fmla="*/ 1 w 42"/>
                    <a:gd name="T59" fmla="*/ 37 h 56"/>
                    <a:gd name="T60" fmla="*/ 0 w 42"/>
                    <a:gd name="T61" fmla="*/ 35 h 56"/>
                    <a:gd name="T62" fmla="*/ 0 w 42"/>
                    <a:gd name="T63" fmla="*/ 25 h 56"/>
                    <a:gd name="T64" fmla="*/ 3 w 42"/>
                    <a:gd name="T65" fmla="*/ 19 h 56"/>
                    <a:gd name="T66" fmla="*/ 5 w 42"/>
                    <a:gd name="T67" fmla="*/ 16 h 56"/>
                    <a:gd name="T68" fmla="*/ 9 w 42"/>
                    <a:gd name="T69" fmla="*/ 9 h 56"/>
                    <a:gd name="T70" fmla="*/ 10 w 42"/>
                    <a:gd name="T71" fmla="*/ 5 h 56"/>
                    <a:gd name="T72" fmla="*/ 16 w 42"/>
                    <a:gd name="T73" fmla="*/ 1 h 56"/>
                    <a:gd name="T74" fmla="*/ 18 w 42"/>
                    <a:gd name="T75" fmla="*/ 0 h 56"/>
                    <a:gd name="T76" fmla="*/ 21 w 42"/>
                    <a:gd name="T77" fmla="*/ 1 h 56"/>
                    <a:gd name="T78" fmla="*/ 26 w 42"/>
                    <a:gd name="T79" fmla="*/ 4 h 56"/>
                    <a:gd name="T80" fmla="*/ 30 w 42"/>
                    <a:gd name="T81" fmla="*/ 7 h 56"/>
                    <a:gd name="T82" fmla="*/ 33 w 42"/>
                    <a:gd name="T83" fmla="*/ 9 h 56"/>
                    <a:gd name="T84" fmla="*/ 37 w 42"/>
                    <a:gd name="T8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6">
                      <a:moveTo>
                        <a:pt x="37" y="8"/>
                      </a:moveTo>
                      <a:lnTo>
                        <a:pt x="37" y="9"/>
                      </a:lnTo>
                      <a:lnTo>
                        <a:pt x="38" y="9"/>
                      </a:lnTo>
                      <a:lnTo>
                        <a:pt x="40" y="10"/>
                      </a:lnTo>
                      <a:lnTo>
                        <a:pt x="39" y="10"/>
                      </a:lnTo>
                      <a:lnTo>
                        <a:pt x="40" y="12"/>
                      </a:lnTo>
                      <a:lnTo>
                        <a:pt x="40" y="14"/>
                      </a:lnTo>
                      <a:lnTo>
                        <a:pt x="40" y="15"/>
                      </a:lnTo>
                      <a:lnTo>
                        <a:pt x="40" y="15"/>
                      </a:lnTo>
                      <a:lnTo>
                        <a:pt x="39" y="18"/>
                      </a:lnTo>
                      <a:lnTo>
                        <a:pt x="39" y="19"/>
                      </a:lnTo>
                      <a:lnTo>
                        <a:pt x="39" y="23"/>
                      </a:lnTo>
                      <a:lnTo>
                        <a:pt x="39" y="24"/>
                      </a:lnTo>
                      <a:lnTo>
                        <a:pt x="42" y="26"/>
                      </a:lnTo>
                      <a:lnTo>
                        <a:pt x="42" y="30"/>
                      </a:lnTo>
                      <a:lnTo>
                        <a:pt x="42" y="38"/>
                      </a:lnTo>
                      <a:lnTo>
                        <a:pt x="40" y="38"/>
                      </a:lnTo>
                      <a:lnTo>
                        <a:pt x="40" y="37"/>
                      </a:lnTo>
                      <a:lnTo>
                        <a:pt x="39" y="37"/>
                      </a:lnTo>
                      <a:lnTo>
                        <a:pt x="38" y="37"/>
                      </a:lnTo>
                      <a:lnTo>
                        <a:pt x="38" y="38"/>
                      </a:lnTo>
                      <a:lnTo>
                        <a:pt x="37" y="42"/>
                      </a:lnTo>
                      <a:lnTo>
                        <a:pt x="37" y="44"/>
                      </a:lnTo>
                      <a:lnTo>
                        <a:pt x="36" y="47"/>
                      </a:lnTo>
                      <a:lnTo>
                        <a:pt x="36" y="50"/>
                      </a:lnTo>
                      <a:lnTo>
                        <a:pt x="36" y="51"/>
                      </a:lnTo>
                      <a:lnTo>
                        <a:pt x="36" y="53"/>
                      </a:lnTo>
                      <a:lnTo>
                        <a:pt x="36" y="53"/>
                      </a:lnTo>
                      <a:lnTo>
                        <a:pt x="37" y="54"/>
                      </a:lnTo>
                      <a:lnTo>
                        <a:pt x="37" y="54"/>
                      </a:lnTo>
                      <a:lnTo>
                        <a:pt x="37" y="54"/>
                      </a:lnTo>
                      <a:lnTo>
                        <a:pt x="37" y="56"/>
                      </a:lnTo>
                      <a:lnTo>
                        <a:pt x="33" y="56"/>
                      </a:lnTo>
                      <a:lnTo>
                        <a:pt x="31" y="54"/>
                      </a:lnTo>
                      <a:lnTo>
                        <a:pt x="26" y="54"/>
                      </a:lnTo>
                      <a:lnTo>
                        <a:pt x="23" y="54"/>
                      </a:lnTo>
                      <a:lnTo>
                        <a:pt x="21" y="54"/>
                      </a:lnTo>
                      <a:lnTo>
                        <a:pt x="17" y="53"/>
                      </a:lnTo>
                      <a:lnTo>
                        <a:pt x="15" y="52"/>
                      </a:lnTo>
                      <a:lnTo>
                        <a:pt x="14" y="52"/>
                      </a:lnTo>
                      <a:lnTo>
                        <a:pt x="11" y="51"/>
                      </a:lnTo>
                      <a:lnTo>
                        <a:pt x="11" y="51"/>
                      </a:lnTo>
                      <a:lnTo>
                        <a:pt x="10" y="50"/>
                      </a:lnTo>
                      <a:lnTo>
                        <a:pt x="9" y="49"/>
                      </a:lnTo>
                      <a:lnTo>
                        <a:pt x="5" y="45"/>
                      </a:lnTo>
                      <a:lnTo>
                        <a:pt x="5" y="44"/>
                      </a:lnTo>
                      <a:lnTo>
                        <a:pt x="5" y="43"/>
                      </a:lnTo>
                      <a:lnTo>
                        <a:pt x="5" y="42"/>
                      </a:lnTo>
                      <a:lnTo>
                        <a:pt x="5" y="40"/>
                      </a:lnTo>
                      <a:lnTo>
                        <a:pt x="5" y="40"/>
                      </a:lnTo>
                      <a:lnTo>
                        <a:pt x="4" y="39"/>
                      </a:lnTo>
                      <a:lnTo>
                        <a:pt x="4" y="38"/>
                      </a:lnTo>
                      <a:lnTo>
                        <a:pt x="3" y="38"/>
                      </a:lnTo>
                      <a:lnTo>
                        <a:pt x="3" y="37"/>
                      </a:lnTo>
                      <a:lnTo>
                        <a:pt x="3" y="36"/>
                      </a:lnTo>
                      <a:lnTo>
                        <a:pt x="2" y="37"/>
                      </a:lnTo>
                      <a:lnTo>
                        <a:pt x="2" y="37"/>
                      </a:lnTo>
                      <a:lnTo>
                        <a:pt x="2" y="37"/>
                      </a:lnTo>
                      <a:lnTo>
                        <a:pt x="1" y="37"/>
                      </a:lnTo>
                      <a:lnTo>
                        <a:pt x="1" y="37"/>
                      </a:lnTo>
                      <a:lnTo>
                        <a:pt x="0" y="37"/>
                      </a:lnTo>
                      <a:lnTo>
                        <a:pt x="0" y="35"/>
                      </a:lnTo>
                      <a:lnTo>
                        <a:pt x="0" y="29"/>
                      </a:lnTo>
                      <a:lnTo>
                        <a:pt x="0" y="25"/>
                      </a:lnTo>
                      <a:lnTo>
                        <a:pt x="1" y="23"/>
                      </a:lnTo>
                      <a:lnTo>
                        <a:pt x="3" y="19"/>
                      </a:lnTo>
                      <a:lnTo>
                        <a:pt x="3" y="19"/>
                      </a:lnTo>
                      <a:lnTo>
                        <a:pt x="5" y="16"/>
                      </a:lnTo>
                      <a:lnTo>
                        <a:pt x="8" y="12"/>
                      </a:lnTo>
                      <a:lnTo>
                        <a:pt x="9" y="9"/>
                      </a:lnTo>
                      <a:lnTo>
                        <a:pt x="10" y="7"/>
                      </a:lnTo>
                      <a:lnTo>
                        <a:pt x="10" y="5"/>
                      </a:lnTo>
                      <a:lnTo>
                        <a:pt x="14" y="3"/>
                      </a:lnTo>
                      <a:lnTo>
                        <a:pt x="16" y="1"/>
                      </a:lnTo>
                      <a:lnTo>
                        <a:pt x="17" y="1"/>
                      </a:lnTo>
                      <a:lnTo>
                        <a:pt x="18" y="0"/>
                      </a:lnTo>
                      <a:lnTo>
                        <a:pt x="19" y="0"/>
                      </a:lnTo>
                      <a:lnTo>
                        <a:pt x="21" y="1"/>
                      </a:lnTo>
                      <a:lnTo>
                        <a:pt x="23" y="2"/>
                      </a:lnTo>
                      <a:lnTo>
                        <a:pt x="26" y="4"/>
                      </a:lnTo>
                      <a:lnTo>
                        <a:pt x="30" y="7"/>
                      </a:lnTo>
                      <a:lnTo>
                        <a:pt x="30" y="7"/>
                      </a:lnTo>
                      <a:lnTo>
                        <a:pt x="32" y="9"/>
                      </a:lnTo>
                      <a:lnTo>
                        <a:pt x="33" y="9"/>
                      </a:lnTo>
                      <a:lnTo>
                        <a:pt x="35" y="9"/>
                      </a:lnTo>
                      <a:lnTo>
                        <a:pt x="37" y="8"/>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0" name="Freeform 118">
                  <a:extLst>
                    <a:ext uri="{FF2B5EF4-FFF2-40B4-BE49-F238E27FC236}">
                      <a16:creationId xmlns:a16="http://schemas.microsoft.com/office/drawing/2014/main" id="{50AD9FA7-C744-70C3-FDCF-C68836B10D2B}"/>
                    </a:ext>
                  </a:extLst>
                </p:cNvPr>
                <p:cNvSpPr>
                  <a:spLocks/>
                </p:cNvSpPr>
                <p:nvPr/>
              </p:nvSpPr>
              <p:spPr bwMode="auto">
                <a:xfrm>
                  <a:off x="6686672" y="2971092"/>
                  <a:ext cx="364544" cy="572236"/>
                </a:xfrm>
                <a:custGeom>
                  <a:avLst/>
                  <a:gdLst>
                    <a:gd name="T0" fmla="*/ 337 w 337"/>
                    <a:gd name="T1" fmla="*/ 236 h 529"/>
                    <a:gd name="T2" fmla="*/ 309 w 337"/>
                    <a:gd name="T3" fmla="*/ 262 h 529"/>
                    <a:gd name="T4" fmla="*/ 302 w 337"/>
                    <a:gd name="T5" fmla="*/ 280 h 529"/>
                    <a:gd name="T6" fmla="*/ 288 w 337"/>
                    <a:gd name="T7" fmla="*/ 297 h 529"/>
                    <a:gd name="T8" fmla="*/ 291 w 337"/>
                    <a:gd name="T9" fmla="*/ 312 h 529"/>
                    <a:gd name="T10" fmla="*/ 277 w 337"/>
                    <a:gd name="T11" fmla="*/ 328 h 529"/>
                    <a:gd name="T12" fmla="*/ 272 w 337"/>
                    <a:gd name="T13" fmla="*/ 348 h 529"/>
                    <a:gd name="T14" fmla="*/ 279 w 337"/>
                    <a:gd name="T15" fmla="*/ 361 h 529"/>
                    <a:gd name="T16" fmla="*/ 292 w 337"/>
                    <a:gd name="T17" fmla="*/ 381 h 529"/>
                    <a:gd name="T18" fmla="*/ 302 w 337"/>
                    <a:gd name="T19" fmla="*/ 402 h 529"/>
                    <a:gd name="T20" fmla="*/ 295 w 337"/>
                    <a:gd name="T21" fmla="*/ 416 h 529"/>
                    <a:gd name="T22" fmla="*/ 281 w 337"/>
                    <a:gd name="T23" fmla="*/ 418 h 529"/>
                    <a:gd name="T24" fmla="*/ 267 w 337"/>
                    <a:gd name="T25" fmla="*/ 426 h 529"/>
                    <a:gd name="T26" fmla="*/ 263 w 337"/>
                    <a:gd name="T27" fmla="*/ 439 h 529"/>
                    <a:gd name="T28" fmla="*/ 251 w 337"/>
                    <a:gd name="T29" fmla="*/ 448 h 529"/>
                    <a:gd name="T30" fmla="*/ 240 w 337"/>
                    <a:gd name="T31" fmla="*/ 461 h 529"/>
                    <a:gd name="T32" fmla="*/ 228 w 337"/>
                    <a:gd name="T33" fmla="*/ 469 h 529"/>
                    <a:gd name="T34" fmla="*/ 217 w 337"/>
                    <a:gd name="T35" fmla="*/ 474 h 529"/>
                    <a:gd name="T36" fmla="*/ 206 w 337"/>
                    <a:gd name="T37" fmla="*/ 477 h 529"/>
                    <a:gd name="T38" fmla="*/ 190 w 337"/>
                    <a:gd name="T39" fmla="*/ 479 h 529"/>
                    <a:gd name="T40" fmla="*/ 174 w 337"/>
                    <a:gd name="T41" fmla="*/ 484 h 529"/>
                    <a:gd name="T42" fmla="*/ 171 w 337"/>
                    <a:gd name="T43" fmla="*/ 503 h 529"/>
                    <a:gd name="T44" fmla="*/ 135 w 337"/>
                    <a:gd name="T45" fmla="*/ 511 h 529"/>
                    <a:gd name="T46" fmla="*/ 119 w 337"/>
                    <a:gd name="T47" fmla="*/ 521 h 529"/>
                    <a:gd name="T48" fmla="*/ 107 w 337"/>
                    <a:gd name="T49" fmla="*/ 526 h 529"/>
                    <a:gd name="T50" fmla="*/ 98 w 337"/>
                    <a:gd name="T51" fmla="*/ 518 h 529"/>
                    <a:gd name="T52" fmla="*/ 83 w 337"/>
                    <a:gd name="T53" fmla="*/ 525 h 529"/>
                    <a:gd name="T54" fmla="*/ 69 w 337"/>
                    <a:gd name="T55" fmla="*/ 518 h 529"/>
                    <a:gd name="T56" fmla="*/ 50 w 337"/>
                    <a:gd name="T57" fmla="*/ 490 h 529"/>
                    <a:gd name="T58" fmla="*/ 18 w 337"/>
                    <a:gd name="T59" fmla="*/ 460 h 529"/>
                    <a:gd name="T60" fmla="*/ 53 w 337"/>
                    <a:gd name="T61" fmla="*/ 449 h 529"/>
                    <a:gd name="T62" fmla="*/ 60 w 337"/>
                    <a:gd name="T63" fmla="*/ 437 h 529"/>
                    <a:gd name="T64" fmla="*/ 53 w 337"/>
                    <a:gd name="T65" fmla="*/ 420 h 529"/>
                    <a:gd name="T66" fmla="*/ 55 w 337"/>
                    <a:gd name="T67" fmla="*/ 398 h 529"/>
                    <a:gd name="T68" fmla="*/ 53 w 337"/>
                    <a:gd name="T69" fmla="*/ 383 h 529"/>
                    <a:gd name="T70" fmla="*/ 47 w 337"/>
                    <a:gd name="T71" fmla="*/ 377 h 529"/>
                    <a:gd name="T72" fmla="*/ 43 w 337"/>
                    <a:gd name="T73" fmla="*/ 362 h 529"/>
                    <a:gd name="T74" fmla="*/ 34 w 337"/>
                    <a:gd name="T75" fmla="*/ 354 h 529"/>
                    <a:gd name="T76" fmla="*/ 42 w 337"/>
                    <a:gd name="T77" fmla="*/ 348 h 529"/>
                    <a:gd name="T78" fmla="*/ 33 w 337"/>
                    <a:gd name="T79" fmla="*/ 343 h 529"/>
                    <a:gd name="T80" fmla="*/ 28 w 337"/>
                    <a:gd name="T81" fmla="*/ 348 h 529"/>
                    <a:gd name="T82" fmla="*/ 3 w 337"/>
                    <a:gd name="T83" fmla="*/ 315 h 529"/>
                    <a:gd name="T84" fmla="*/ 7 w 337"/>
                    <a:gd name="T85" fmla="*/ 300 h 529"/>
                    <a:gd name="T86" fmla="*/ 13 w 337"/>
                    <a:gd name="T87" fmla="*/ 285 h 529"/>
                    <a:gd name="T88" fmla="*/ 26 w 337"/>
                    <a:gd name="T89" fmla="*/ 266 h 529"/>
                    <a:gd name="T90" fmla="*/ 47 w 337"/>
                    <a:gd name="T91" fmla="*/ 242 h 529"/>
                    <a:gd name="T92" fmla="*/ 66 w 337"/>
                    <a:gd name="T93" fmla="*/ 220 h 529"/>
                    <a:gd name="T94" fmla="*/ 67 w 337"/>
                    <a:gd name="T95" fmla="*/ 198 h 529"/>
                    <a:gd name="T96" fmla="*/ 69 w 337"/>
                    <a:gd name="T97" fmla="*/ 177 h 529"/>
                    <a:gd name="T98" fmla="*/ 70 w 337"/>
                    <a:gd name="T99" fmla="*/ 156 h 529"/>
                    <a:gd name="T100" fmla="*/ 73 w 337"/>
                    <a:gd name="T101" fmla="*/ 133 h 529"/>
                    <a:gd name="T102" fmla="*/ 80 w 337"/>
                    <a:gd name="T103" fmla="*/ 109 h 529"/>
                    <a:gd name="T104" fmla="*/ 67 w 337"/>
                    <a:gd name="T105" fmla="*/ 89 h 529"/>
                    <a:gd name="T106" fmla="*/ 63 w 337"/>
                    <a:gd name="T107" fmla="*/ 76 h 529"/>
                    <a:gd name="T108" fmla="*/ 55 w 337"/>
                    <a:gd name="T109" fmla="*/ 55 h 529"/>
                    <a:gd name="T110" fmla="*/ 50 w 337"/>
                    <a:gd name="T111" fmla="*/ 26 h 529"/>
                    <a:gd name="T112" fmla="*/ 63 w 337"/>
                    <a:gd name="T113" fmla="*/ 9 h 529"/>
                    <a:gd name="T114" fmla="*/ 96 w 337"/>
                    <a:gd name="T115" fmla="*/ 7 h 529"/>
                    <a:gd name="T116" fmla="*/ 151 w 337"/>
                    <a:gd name="T117" fmla="*/ 38 h 529"/>
                    <a:gd name="T118" fmla="*/ 202 w 337"/>
                    <a:gd name="T119" fmla="*/ 65 h 529"/>
                    <a:gd name="T120" fmla="*/ 258 w 337"/>
                    <a:gd name="T121" fmla="*/ 94 h 529"/>
                    <a:gd name="T122" fmla="*/ 312 w 337"/>
                    <a:gd name="T123" fmla="*/ 123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7" h="529">
                      <a:moveTo>
                        <a:pt x="337" y="135"/>
                      </a:moveTo>
                      <a:lnTo>
                        <a:pt x="337" y="143"/>
                      </a:lnTo>
                      <a:lnTo>
                        <a:pt x="337" y="151"/>
                      </a:lnTo>
                      <a:lnTo>
                        <a:pt x="337" y="158"/>
                      </a:lnTo>
                      <a:lnTo>
                        <a:pt x="337" y="166"/>
                      </a:lnTo>
                      <a:lnTo>
                        <a:pt x="337" y="174"/>
                      </a:lnTo>
                      <a:lnTo>
                        <a:pt x="337" y="181"/>
                      </a:lnTo>
                      <a:lnTo>
                        <a:pt x="337" y="189"/>
                      </a:lnTo>
                      <a:lnTo>
                        <a:pt x="337" y="198"/>
                      </a:lnTo>
                      <a:lnTo>
                        <a:pt x="337" y="205"/>
                      </a:lnTo>
                      <a:lnTo>
                        <a:pt x="337" y="213"/>
                      </a:lnTo>
                      <a:lnTo>
                        <a:pt x="337" y="220"/>
                      </a:lnTo>
                      <a:lnTo>
                        <a:pt x="337" y="228"/>
                      </a:lnTo>
                      <a:lnTo>
                        <a:pt x="337" y="236"/>
                      </a:lnTo>
                      <a:lnTo>
                        <a:pt x="337" y="243"/>
                      </a:lnTo>
                      <a:lnTo>
                        <a:pt x="337" y="251"/>
                      </a:lnTo>
                      <a:lnTo>
                        <a:pt x="337" y="258"/>
                      </a:lnTo>
                      <a:lnTo>
                        <a:pt x="337" y="260"/>
                      </a:lnTo>
                      <a:lnTo>
                        <a:pt x="337" y="262"/>
                      </a:lnTo>
                      <a:lnTo>
                        <a:pt x="336" y="262"/>
                      </a:lnTo>
                      <a:lnTo>
                        <a:pt x="332" y="260"/>
                      </a:lnTo>
                      <a:lnTo>
                        <a:pt x="327" y="259"/>
                      </a:lnTo>
                      <a:lnTo>
                        <a:pt x="324" y="259"/>
                      </a:lnTo>
                      <a:lnTo>
                        <a:pt x="322" y="260"/>
                      </a:lnTo>
                      <a:lnTo>
                        <a:pt x="318" y="262"/>
                      </a:lnTo>
                      <a:lnTo>
                        <a:pt x="316" y="262"/>
                      </a:lnTo>
                      <a:lnTo>
                        <a:pt x="311" y="260"/>
                      </a:lnTo>
                      <a:lnTo>
                        <a:pt x="309" y="262"/>
                      </a:lnTo>
                      <a:lnTo>
                        <a:pt x="308" y="262"/>
                      </a:lnTo>
                      <a:lnTo>
                        <a:pt x="305" y="264"/>
                      </a:lnTo>
                      <a:lnTo>
                        <a:pt x="303" y="266"/>
                      </a:lnTo>
                      <a:lnTo>
                        <a:pt x="302" y="266"/>
                      </a:lnTo>
                      <a:lnTo>
                        <a:pt x="302" y="267"/>
                      </a:lnTo>
                      <a:lnTo>
                        <a:pt x="302" y="269"/>
                      </a:lnTo>
                      <a:lnTo>
                        <a:pt x="303" y="270"/>
                      </a:lnTo>
                      <a:lnTo>
                        <a:pt x="304" y="271"/>
                      </a:lnTo>
                      <a:lnTo>
                        <a:pt x="304" y="272"/>
                      </a:lnTo>
                      <a:lnTo>
                        <a:pt x="304" y="273"/>
                      </a:lnTo>
                      <a:lnTo>
                        <a:pt x="304" y="277"/>
                      </a:lnTo>
                      <a:lnTo>
                        <a:pt x="304" y="278"/>
                      </a:lnTo>
                      <a:lnTo>
                        <a:pt x="303" y="280"/>
                      </a:lnTo>
                      <a:lnTo>
                        <a:pt x="302" y="280"/>
                      </a:lnTo>
                      <a:lnTo>
                        <a:pt x="301" y="281"/>
                      </a:lnTo>
                      <a:lnTo>
                        <a:pt x="299" y="281"/>
                      </a:lnTo>
                      <a:lnTo>
                        <a:pt x="297" y="285"/>
                      </a:lnTo>
                      <a:lnTo>
                        <a:pt x="297" y="286"/>
                      </a:lnTo>
                      <a:lnTo>
                        <a:pt x="296" y="286"/>
                      </a:lnTo>
                      <a:lnTo>
                        <a:pt x="296" y="287"/>
                      </a:lnTo>
                      <a:lnTo>
                        <a:pt x="296" y="288"/>
                      </a:lnTo>
                      <a:lnTo>
                        <a:pt x="295" y="290"/>
                      </a:lnTo>
                      <a:lnTo>
                        <a:pt x="294" y="290"/>
                      </a:lnTo>
                      <a:lnTo>
                        <a:pt x="294" y="291"/>
                      </a:lnTo>
                      <a:lnTo>
                        <a:pt x="295" y="292"/>
                      </a:lnTo>
                      <a:lnTo>
                        <a:pt x="295" y="293"/>
                      </a:lnTo>
                      <a:lnTo>
                        <a:pt x="295" y="294"/>
                      </a:lnTo>
                      <a:lnTo>
                        <a:pt x="288" y="297"/>
                      </a:lnTo>
                      <a:lnTo>
                        <a:pt x="287" y="298"/>
                      </a:lnTo>
                      <a:lnTo>
                        <a:pt x="286" y="298"/>
                      </a:lnTo>
                      <a:lnTo>
                        <a:pt x="286" y="299"/>
                      </a:lnTo>
                      <a:lnTo>
                        <a:pt x="286" y="300"/>
                      </a:lnTo>
                      <a:lnTo>
                        <a:pt x="287" y="301"/>
                      </a:lnTo>
                      <a:lnTo>
                        <a:pt x="288" y="305"/>
                      </a:lnTo>
                      <a:lnTo>
                        <a:pt x="288" y="306"/>
                      </a:lnTo>
                      <a:lnTo>
                        <a:pt x="287" y="306"/>
                      </a:lnTo>
                      <a:lnTo>
                        <a:pt x="287" y="307"/>
                      </a:lnTo>
                      <a:lnTo>
                        <a:pt x="287" y="308"/>
                      </a:lnTo>
                      <a:lnTo>
                        <a:pt x="288" y="309"/>
                      </a:lnTo>
                      <a:lnTo>
                        <a:pt x="290" y="309"/>
                      </a:lnTo>
                      <a:lnTo>
                        <a:pt x="290" y="311"/>
                      </a:lnTo>
                      <a:lnTo>
                        <a:pt x="291" y="312"/>
                      </a:lnTo>
                      <a:lnTo>
                        <a:pt x="291" y="313"/>
                      </a:lnTo>
                      <a:lnTo>
                        <a:pt x="290" y="313"/>
                      </a:lnTo>
                      <a:lnTo>
                        <a:pt x="289" y="314"/>
                      </a:lnTo>
                      <a:lnTo>
                        <a:pt x="288" y="314"/>
                      </a:lnTo>
                      <a:lnTo>
                        <a:pt x="287" y="315"/>
                      </a:lnTo>
                      <a:lnTo>
                        <a:pt x="281" y="318"/>
                      </a:lnTo>
                      <a:lnTo>
                        <a:pt x="281" y="319"/>
                      </a:lnTo>
                      <a:lnTo>
                        <a:pt x="280" y="320"/>
                      </a:lnTo>
                      <a:lnTo>
                        <a:pt x="276" y="323"/>
                      </a:lnTo>
                      <a:lnTo>
                        <a:pt x="276" y="325"/>
                      </a:lnTo>
                      <a:lnTo>
                        <a:pt x="276" y="326"/>
                      </a:lnTo>
                      <a:lnTo>
                        <a:pt x="277" y="326"/>
                      </a:lnTo>
                      <a:lnTo>
                        <a:pt x="277" y="327"/>
                      </a:lnTo>
                      <a:lnTo>
                        <a:pt x="277" y="328"/>
                      </a:lnTo>
                      <a:lnTo>
                        <a:pt x="277" y="329"/>
                      </a:lnTo>
                      <a:lnTo>
                        <a:pt x="280" y="330"/>
                      </a:lnTo>
                      <a:lnTo>
                        <a:pt x="280" y="332"/>
                      </a:lnTo>
                      <a:lnTo>
                        <a:pt x="280" y="334"/>
                      </a:lnTo>
                      <a:lnTo>
                        <a:pt x="281" y="335"/>
                      </a:lnTo>
                      <a:lnTo>
                        <a:pt x="282" y="336"/>
                      </a:lnTo>
                      <a:lnTo>
                        <a:pt x="282" y="337"/>
                      </a:lnTo>
                      <a:lnTo>
                        <a:pt x="282" y="339"/>
                      </a:lnTo>
                      <a:lnTo>
                        <a:pt x="281" y="341"/>
                      </a:lnTo>
                      <a:lnTo>
                        <a:pt x="279" y="343"/>
                      </a:lnTo>
                      <a:lnTo>
                        <a:pt x="277" y="344"/>
                      </a:lnTo>
                      <a:lnTo>
                        <a:pt x="274" y="346"/>
                      </a:lnTo>
                      <a:lnTo>
                        <a:pt x="273" y="347"/>
                      </a:lnTo>
                      <a:lnTo>
                        <a:pt x="272" y="348"/>
                      </a:lnTo>
                      <a:lnTo>
                        <a:pt x="269" y="353"/>
                      </a:lnTo>
                      <a:lnTo>
                        <a:pt x="268" y="355"/>
                      </a:lnTo>
                      <a:lnTo>
                        <a:pt x="268" y="356"/>
                      </a:lnTo>
                      <a:lnTo>
                        <a:pt x="267" y="356"/>
                      </a:lnTo>
                      <a:lnTo>
                        <a:pt x="268" y="357"/>
                      </a:lnTo>
                      <a:lnTo>
                        <a:pt x="268" y="358"/>
                      </a:lnTo>
                      <a:lnTo>
                        <a:pt x="269" y="361"/>
                      </a:lnTo>
                      <a:lnTo>
                        <a:pt x="270" y="361"/>
                      </a:lnTo>
                      <a:lnTo>
                        <a:pt x="272" y="362"/>
                      </a:lnTo>
                      <a:lnTo>
                        <a:pt x="273" y="362"/>
                      </a:lnTo>
                      <a:lnTo>
                        <a:pt x="274" y="362"/>
                      </a:lnTo>
                      <a:lnTo>
                        <a:pt x="275" y="362"/>
                      </a:lnTo>
                      <a:lnTo>
                        <a:pt x="277" y="361"/>
                      </a:lnTo>
                      <a:lnTo>
                        <a:pt x="279" y="361"/>
                      </a:lnTo>
                      <a:lnTo>
                        <a:pt x="280" y="360"/>
                      </a:lnTo>
                      <a:lnTo>
                        <a:pt x="280" y="358"/>
                      </a:lnTo>
                      <a:lnTo>
                        <a:pt x="284" y="361"/>
                      </a:lnTo>
                      <a:lnTo>
                        <a:pt x="288" y="362"/>
                      </a:lnTo>
                      <a:lnTo>
                        <a:pt x="287" y="367"/>
                      </a:lnTo>
                      <a:lnTo>
                        <a:pt x="286" y="368"/>
                      </a:lnTo>
                      <a:lnTo>
                        <a:pt x="287" y="369"/>
                      </a:lnTo>
                      <a:lnTo>
                        <a:pt x="289" y="377"/>
                      </a:lnTo>
                      <a:lnTo>
                        <a:pt x="289" y="378"/>
                      </a:lnTo>
                      <a:lnTo>
                        <a:pt x="288" y="382"/>
                      </a:lnTo>
                      <a:lnTo>
                        <a:pt x="289" y="381"/>
                      </a:lnTo>
                      <a:lnTo>
                        <a:pt x="291" y="381"/>
                      </a:lnTo>
                      <a:lnTo>
                        <a:pt x="292" y="379"/>
                      </a:lnTo>
                      <a:lnTo>
                        <a:pt x="292" y="381"/>
                      </a:lnTo>
                      <a:lnTo>
                        <a:pt x="292" y="379"/>
                      </a:lnTo>
                      <a:lnTo>
                        <a:pt x="294" y="381"/>
                      </a:lnTo>
                      <a:lnTo>
                        <a:pt x="292" y="381"/>
                      </a:lnTo>
                      <a:lnTo>
                        <a:pt x="292" y="383"/>
                      </a:lnTo>
                      <a:lnTo>
                        <a:pt x="290" y="392"/>
                      </a:lnTo>
                      <a:lnTo>
                        <a:pt x="291" y="395"/>
                      </a:lnTo>
                      <a:lnTo>
                        <a:pt x="291" y="396"/>
                      </a:lnTo>
                      <a:lnTo>
                        <a:pt x="292" y="397"/>
                      </a:lnTo>
                      <a:lnTo>
                        <a:pt x="294" y="398"/>
                      </a:lnTo>
                      <a:lnTo>
                        <a:pt x="295" y="399"/>
                      </a:lnTo>
                      <a:lnTo>
                        <a:pt x="297" y="399"/>
                      </a:lnTo>
                      <a:lnTo>
                        <a:pt x="298" y="400"/>
                      </a:lnTo>
                      <a:lnTo>
                        <a:pt x="298" y="402"/>
                      </a:lnTo>
                      <a:lnTo>
                        <a:pt x="302" y="402"/>
                      </a:lnTo>
                      <a:lnTo>
                        <a:pt x="303" y="402"/>
                      </a:lnTo>
                      <a:lnTo>
                        <a:pt x="303" y="404"/>
                      </a:lnTo>
                      <a:lnTo>
                        <a:pt x="304" y="406"/>
                      </a:lnTo>
                      <a:lnTo>
                        <a:pt x="304" y="407"/>
                      </a:lnTo>
                      <a:lnTo>
                        <a:pt x="304" y="409"/>
                      </a:lnTo>
                      <a:lnTo>
                        <a:pt x="303" y="410"/>
                      </a:lnTo>
                      <a:lnTo>
                        <a:pt x="303" y="411"/>
                      </a:lnTo>
                      <a:lnTo>
                        <a:pt x="303" y="412"/>
                      </a:lnTo>
                      <a:lnTo>
                        <a:pt x="302" y="413"/>
                      </a:lnTo>
                      <a:lnTo>
                        <a:pt x="301" y="417"/>
                      </a:lnTo>
                      <a:lnTo>
                        <a:pt x="299" y="417"/>
                      </a:lnTo>
                      <a:lnTo>
                        <a:pt x="297" y="417"/>
                      </a:lnTo>
                      <a:lnTo>
                        <a:pt x="296" y="416"/>
                      </a:lnTo>
                      <a:lnTo>
                        <a:pt x="295" y="416"/>
                      </a:lnTo>
                      <a:lnTo>
                        <a:pt x="294" y="416"/>
                      </a:lnTo>
                      <a:lnTo>
                        <a:pt x="292" y="416"/>
                      </a:lnTo>
                      <a:lnTo>
                        <a:pt x="291" y="416"/>
                      </a:lnTo>
                      <a:lnTo>
                        <a:pt x="290" y="416"/>
                      </a:lnTo>
                      <a:lnTo>
                        <a:pt x="290" y="414"/>
                      </a:lnTo>
                      <a:lnTo>
                        <a:pt x="289" y="414"/>
                      </a:lnTo>
                      <a:lnTo>
                        <a:pt x="288" y="414"/>
                      </a:lnTo>
                      <a:lnTo>
                        <a:pt x="287" y="416"/>
                      </a:lnTo>
                      <a:lnTo>
                        <a:pt x="286" y="416"/>
                      </a:lnTo>
                      <a:lnTo>
                        <a:pt x="284" y="417"/>
                      </a:lnTo>
                      <a:lnTo>
                        <a:pt x="283" y="417"/>
                      </a:lnTo>
                      <a:lnTo>
                        <a:pt x="283" y="418"/>
                      </a:lnTo>
                      <a:lnTo>
                        <a:pt x="282" y="418"/>
                      </a:lnTo>
                      <a:lnTo>
                        <a:pt x="281" y="418"/>
                      </a:lnTo>
                      <a:lnTo>
                        <a:pt x="280" y="419"/>
                      </a:lnTo>
                      <a:lnTo>
                        <a:pt x="280" y="420"/>
                      </a:lnTo>
                      <a:lnTo>
                        <a:pt x="279" y="420"/>
                      </a:lnTo>
                      <a:lnTo>
                        <a:pt x="277" y="420"/>
                      </a:lnTo>
                      <a:lnTo>
                        <a:pt x="275" y="420"/>
                      </a:lnTo>
                      <a:lnTo>
                        <a:pt x="274" y="420"/>
                      </a:lnTo>
                      <a:lnTo>
                        <a:pt x="274" y="421"/>
                      </a:lnTo>
                      <a:lnTo>
                        <a:pt x="274" y="423"/>
                      </a:lnTo>
                      <a:lnTo>
                        <a:pt x="272" y="424"/>
                      </a:lnTo>
                      <a:lnTo>
                        <a:pt x="270" y="425"/>
                      </a:lnTo>
                      <a:lnTo>
                        <a:pt x="269" y="425"/>
                      </a:lnTo>
                      <a:lnTo>
                        <a:pt x="268" y="425"/>
                      </a:lnTo>
                      <a:lnTo>
                        <a:pt x="267" y="425"/>
                      </a:lnTo>
                      <a:lnTo>
                        <a:pt x="267" y="426"/>
                      </a:lnTo>
                      <a:lnTo>
                        <a:pt x="266" y="426"/>
                      </a:lnTo>
                      <a:lnTo>
                        <a:pt x="265" y="426"/>
                      </a:lnTo>
                      <a:lnTo>
                        <a:pt x="265" y="427"/>
                      </a:lnTo>
                      <a:lnTo>
                        <a:pt x="265" y="428"/>
                      </a:lnTo>
                      <a:lnTo>
                        <a:pt x="265" y="430"/>
                      </a:lnTo>
                      <a:lnTo>
                        <a:pt x="265" y="431"/>
                      </a:lnTo>
                      <a:lnTo>
                        <a:pt x="265" y="432"/>
                      </a:lnTo>
                      <a:lnTo>
                        <a:pt x="266" y="432"/>
                      </a:lnTo>
                      <a:lnTo>
                        <a:pt x="266" y="433"/>
                      </a:lnTo>
                      <a:lnTo>
                        <a:pt x="265" y="435"/>
                      </a:lnTo>
                      <a:lnTo>
                        <a:pt x="265" y="437"/>
                      </a:lnTo>
                      <a:lnTo>
                        <a:pt x="265" y="438"/>
                      </a:lnTo>
                      <a:lnTo>
                        <a:pt x="263" y="438"/>
                      </a:lnTo>
                      <a:lnTo>
                        <a:pt x="263" y="439"/>
                      </a:lnTo>
                      <a:lnTo>
                        <a:pt x="262" y="439"/>
                      </a:lnTo>
                      <a:lnTo>
                        <a:pt x="262" y="440"/>
                      </a:lnTo>
                      <a:lnTo>
                        <a:pt x="261" y="440"/>
                      </a:lnTo>
                      <a:lnTo>
                        <a:pt x="260" y="440"/>
                      </a:lnTo>
                      <a:lnTo>
                        <a:pt x="259" y="440"/>
                      </a:lnTo>
                      <a:lnTo>
                        <a:pt x="258" y="440"/>
                      </a:lnTo>
                      <a:lnTo>
                        <a:pt x="258" y="441"/>
                      </a:lnTo>
                      <a:lnTo>
                        <a:pt x="255" y="446"/>
                      </a:lnTo>
                      <a:lnTo>
                        <a:pt x="255" y="447"/>
                      </a:lnTo>
                      <a:lnTo>
                        <a:pt x="254" y="448"/>
                      </a:lnTo>
                      <a:lnTo>
                        <a:pt x="253" y="448"/>
                      </a:lnTo>
                      <a:lnTo>
                        <a:pt x="252" y="448"/>
                      </a:lnTo>
                      <a:lnTo>
                        <a:pt x="251" y="447"/>
                      </a:lnTo>
                      <a:lnTo>
                        <a:pt x="251" y="448"/>
                      </a:lnTo>
                      <a:lnTo>
                        <a:pt x="248" y="449"/>
                      </a:lnTo>
                      <a:lnTo>
                        <a:pt x="248" y="451"/>
                      </a:lnTo>
                      <a:lnTo>
                        <a:pt x="246" y="452"/>
                      </a:lnTo>
                      <a:lnTo>
                        <a:pt x="246" y="453"/>
                      </a:lnTo>
                      <a:lnTo>
                        <a:pt x="245" y="454"/>
                      </a:lnTo>
                      <a:lnTo>
                        <a:pt x="244" y="455"/>
                      </a:lnTo>
                      <a:lnTo>
                        <a:pt x="244" y="454"/>
                      </a:lnTo>
                      <a:lnTo>
                        <a:pt x="242" y="455"/>
                      </a:lnTo>
                      <a:lnTo>
                        <a:pt x="241" y="456"/>
                      </a:lnTo>
                      <a:lnTo>
                        <a:pt x="241" y="458"/>
                      </a:lnTo>
                      <a:lnTo>
                        <a:pt x="241" y="459"/>
                      </a:lnTo>
                      <a:lnTo>
                        <a:pt x="241" y="460"/>
                      </a:lnTo>
                      <a:lnTo>
                        <a:pt x="240" y="460"/>
                      </a:lnTo>
                      <a:lnTo>
                        <a:pt x="240" y="461"/>
                      </a:lnTo>
                      <a:lnTo>
                        <a:pt x="239" y="461"/>
                      </a:lnTo>
                      <a:lnTo>
                        <a:pt x="238" y="463"/>
                      </a:lnTo>
                      <a:lnTo>
                        <a:pt x="237" y="463"/>
                      </a:lnTo>
                      <a:lnTo>
                        <a:pt x="237" y="465"/>
                      </a:lnTo>
                      <a:lnTo>
                        <a:pt x="237" y="466"/>
                      </a:lnTo>
                      <a:lnTo>
                        <a:pt x="235" y="466"/>
                      </a:lnTo>
                      <a:lnTo>
                        <a:pt x="234" y="466"/>
                      </a:lnTo>
                      <a:lnTo>
                        <a:pt x="234" y="467"/>
                      </a:lnTo>
                      <a:lnTo>
                        <a:pt x="233" y="467"/>
                      </a:lnTo>
                      <a:lnTo>
                        <a:pt x="232" y="467"/>
                      </a:lnTo>
                      <a:lnTo>
                        <a:pt x="231" y="468"/>
                      </a:lnTo>
                      <a:lnTo>
                        <a:pt x="231" y="469"/>
                      </a:lnTo>
                      <a:lnTo>
                        <a:pt x="230" y="469"/>
                      </a:lnTo>
                      <a:lnTo>
                        <a:pt x="228" y="469"/>
                      </a:lnTo>
                      <a:lnTo>
                        <a:pt x="227" y="469"/>
                      </a:lnTo>
                      <a:lnTo>
                        <a:pt x="227" y="470"/>
                      </a:lnTo>
                      <a:lnTo>
                        <a:pt x="226" y="470"/>
                      </a:lnTo>
                      <a:lnTo>
                        <a:pt x="226" y="472"/>
                      </a:lnTo>
                      <a:lnTo>
                        <a:pt x="226" y="473"/>
                      </a:lnTo>
                      <a:lnTo>
                        <a:pt x="225" y="473"/>
                      </a:lnTo>
                      <a:lnTo>
                        <a:pt x="225" y="474"/>
                      </a:lnTo>
                      <a:lnTo>
                        <a:pt x="224" y="475"/>
                      </a:lnTo>
                      <a:lnTo>
                        <a:pt x="223" y="475"/>
                      </a:lnTo>
                      <a:lnTo>
                        <a:pt x="222" y="475"/>
                      </a:lnTo>
                      <a:lnTo>
                        <a:pt x="219" y="475"/>
                      </a:lnTo>
                      <a:lnTo>
                        <a:pt x="218" y="475"/>
                      </a:lnTo>
                      <a:lnTo>
                        <a:pt x="217" y="475"/>
                      </a:lnTo>
                      <a:lnTo>
                        <a:pt x="217" y="474"/>
                      </a:lnTo>
                      <a:lnTo>
                        <a:pt x="217" y="475"/>
                      </a:lnTo>
                      <a:lnTo>
                        <a:pt x="216" y="475"/>
                      </a:lnTo>
                      <a:lnTo>
                        <a:pt x="215" y="475"/>
                      </a:lnTo>
                      <a:lnTo>
                        <a:pt x="213" y="474"/>
                      </a:lnTo>
                      <a:lnTo>
                        <a:pt x="213" y="475"/>
                      </a:lnTo>
                      <a:lnTo>
                        <a:pt x="212" y="475"/>
                      </a:lnTo>
                      <a:lnTo>
                        <a:pt x="211" y="475"/>
                      </a:lnTo>
                      <a:lnTo>
                        <a:pt x="211" y="476"/>
                      </a:lnTo>
                      <a:lnTo>
                        <a:pt x="210" y="475"/>
                      </a:lnTo>
                      <a:lnTo>
                        <a:pt x="210" y="476"/>
                      </a:lnTo>
                      <a:lnTo>
                        <a:pt x="209" y="476"/>
                      </a:lnTo>
                      <a:lnTo>
                        <a:pt x="209" y="477"/>
                      </a:lnTo>
                      <a:lnTo>
                        <a:pt x="208" y="477"/>
                      </a:lnTo>
                      <a:lnTo>
                        <a:pt x="206" y="477"/>
                      </a:lnTo>
                      <a:lnTo>
                        <a:pt x="204" y="477"/>
                      </a:lnTo>
                      <a:lnTo>
                        <a:pt x="203" y="477"/>
                      </a:lnTo>
                      <a:lnTo>
                        <a:pt x="202" y="477"/>
                      </a:lnTo>
                      <a:lnTo>
                        <a:pt x="201" y="479"/>
                      </a:lnTo>
                      <a:lnTo>
                        <a:pt x="199" y="479"/>
                      </a:lnTo>
                      <a:lnTo>
                        <a:pt x="198" y="479"/>
                      </a:lnTo>
                      <a:lnTo>
                        <a:pt x="197" y="479"/>
                      </a:lnTo>
                      <a:lnTo>
                        <a:pt x="196" y="479"/>
                      </a:lnTo>
                      <a:lnTo>
                        <a:pt x="195" y="479"/>
                      </a:lnTo>
                      <a:lnTo>
                        <a:pt x="192" y="479"/>
                      </a:lnTo>
                      <a:lnTo>
                        <a:pt x="191" y="479"/>
                      </a:lnTo>
                      <a:lnTo>
                        <a:pt x="190" y="479"/>
                      </a:lnTo>
                      <a:lnTo>
                        <a:pt x="190" y="480"/>
                      </a:lnTo>
                      <a:lnTo>
                        <a:pt x="190" y="479"/>
                      </a:lnTo>
                      <a:lnTo>
                        <a:pt x="189" y="479"/>
                      </a:lnTo>
                      <a:lnTo>
                        <a:pt x="188" y="479"/>
                      </a:lnTo>
                      <a:lnTo>
                        <a:pt x="187" y="479"/>
                      </a:lnTo>
                      <a:lnTo>
                        <a:pt x="185" y="479"/>
                      </a:lnTo>
                      <a:lnTo>
                        <a:pt x="184" y="479"/>
                      </a:lnTo>
                      <a:lnTo>
                        <a:pt x="183" y="479"/>
                      </a:lnTo>
                      <a:lnTo>
                        <a:pt x="182" y="479"/>
                      </a:lnTo>
                      <a:lnTo>
                        <a:pt x="181" y="479"/>
                      </a:lnTo>
                      <a:lnTo>
                        <a:pt x="178" y="480"/>
                      </a:lnTo>
                      <a:lnTo>
                        <a:pt x="177" y="481"/>
                      </a:lnTo>
                      <a:lnTo>
                        <a:pt x="176" y="482"/>
                      </a:lnTo>
                      <a:lnTo>
                        <a:pt x="175" y="482"/>
                      </a:lnTo>
                      <a:lnTo>
                        <a:pt x="174" y="483"/>
                      </a:lnTo>
                      <a:lnTo>
                        <a:pt x="174" y="484"/>
                      </a:lnTo>
                      <a:lnTo>
                        <a:pt x="175" y="484"/>
                      </a:lnTo>
                      <a:lnTo>
                        <a:pt x="176" y="486"/>
                      </a:lnTo>
                      <a:lnTo>
                        <a:pt x="180" y="488"/>
                      </a:lnTo>
                      <a:lnTo>
                        <a:pt x="181" y="488"/>
                      </a:lnTo>
                      <a:lnTo>
                        <a:pt x="182" y="489"/>
                      </a:lnTo>
                      <a:lnTo>
                        <a:pt x="181" y="490"/>
                      </a:lnTo>
                      <a:lnTo>
                        <a:pt x="181" y="491"/>
                      </a:lnTo>
                      <a:lnTo>
                        <a:pt x="178" y="494"/>
                      </a:lnTo>
                      <a:lnTo>
                        <a:pt x="176" y="497"/>
                      </a:lnTo>
                      <a:lnTo>
                        <a:pt x="175" y="498"/>
                      </a:lnTo>
                      <a:lnTo>
                        <a:pt x="175" y="500"/>
                      </a:lnTo>
                      <a:lnTo>
                        <a:pt x="174" y="501"/>
                      </a:lnTo>
                      <a:lnTo>
                        <a:pt x="173" y="502"/>
                      </a:lnTo>
                      <a:lnTo>
                        <a:pt x="171" y="503"/>
                      </a:lnTo>
                      <a:lnTo>
                        <a:pt x="169" y="504"/>
                      </a:lnTo>
                      <a:lnTo>
                        <a:pt x="168" y="504"/>
                      </a:lnTo>
                      <a:lnTo>
                        <a:pt x="167" y="505"/>
                      </a:lnTo>
                      <a:lnTo>
                        <a:pt x="167" y="507"/>
                      </a:lnTo>
                      <a:lnTo>
                        <a:pt x="167" y="509"/>
                      </a:lnTo>
                      <a:lnTo>
                        <a:pt x="166" y="510"/>
                      </a:lnTo>
                      <a:lnTo>
                        <a:pt x="163" y="510"/>
                      </a:lnTo>
                      <a:lnTo>
                        <a:pt x="149" y="511"/>
                      </a:lnTo>
                      <a:lnTo>
                        <a:pt x="146" y="511"/>
                      </a:lnTo>
                      <a:lnTo>
                        <a:pt x="144" y="512"/>
                      </a:lnTo>
                      <a:lnTo>
                        <a:pt x="142" y="512"/>
                      </a:lnTo>
                      <a:lnTo>
                        <a:pt x="141" y="512"/>
                      </a:lnTo>
                      <a:lnTo>
                        <a:pt x="137" y="512"/>
                      </a:lnTo>
                      <a:lnTo>
                        <a:pt x="135" y="511"/>
                      </a:lnTo>
                      <a:lnTo>
                        <a:pt x="135" y="512"/>
                      </a:lnTo>
                      <a:lnTo>
                        <a:pt x="134" y="512"/>
                      </a:lnTo>
                      <a:lnTo>
                        <a:pt x="133" y="514"/>
                      </a:lnTo>
                      <a:lnTo>
                        <a:pt x="132" y="514"/>
                      </a:lnTo>
                      <a:lnTo>
                        <a:pt x="131" y="514"/>
                      </a:lnTo>
                      <a:lnTo>
                        <a:pt x="130" y="515"/>
                      </a:lnTo>
                      <a:lnTo>
                        <a:pt x="128" y="515"/>
                      </a:lnTo>
                      <a:lnTo>
                        <a:pt x="127" y="515"/>
                      </a:lnTo>
                      <a:lnTo>
                        <a:pt x="127" y="516"/>
                      </a:lnTo>
                      <a:lnTo>
                        <a:pt x="123" y="517"/>
                      </a:lnTo>
                      <a:lnTo>
                        <a:pt x="121" y="518"/>
                      </a:lnTo>
                      <a:lnTo>
                        <a:pt x="121" y="519"/>
                      </a:lnTo>
                      <a:lnTo>
                        <a:pt x="120" y="519"/>
                      </a:lnTo>
                      <a:lnTo>
                        <a:pt x="119" y="521"/>
                      </a:lnTo>
                      <a:lnTo>
                        <a:pt x="119" y="522"/>
                      </a:lnTo>
                      <a:lnTo>
                        <a:pt x="118" y="522"/>
                      </a:lnTo>
                      <a:lnTo>
                        <a:pt x="117" y="521"/>
                      </a:lnTo>
                      <a:lnTo>
                        <a:pt x="117" y="522"/>
                      </a:lnTo>
                      <a:lnTo>
                        <a:pt x="116" y="522"/>
                      </a:lnTo>
                      <a:lnTo>
                        <a:pt x="114" y="522"/>
                      </a:lnTo>
                      <a:lnTo>
                        <a:pt x="114" y="523"/>
                      </a:lnTo>
                      <a:lnTo>
                        <a:pt x="113" y="523"/>
                      </a:lnTo>
                      <a:lnTo>
                        <a:pt x="112" y="523"/>
                      </a:lnTo>
                      <a:lnTo>
                        <a:pt x="111" y="523"/>
                      </a:lnTo>
                      <a:lnTo>
                        <a:pt x="110" y="524"/>
                      </a:lnTo>
                      <a:lnTo>
                        <a:pt x="110" y="525"/>
                      </a:lnTo>
                      <a:lnTo>
                        <a:pt x="109" y="526"/>
                      </a:lnTo>
                      <a:lnTo>
                        <a:pt x="107" y="526"/>
                      </a:lnTo>
                      <a:lnTo>
                        <a:pt x="106" y="525"/>
                      </a:lnTo>
                      <a:lnTo>
                        <a:pt x="105" y="523"/>
                      </a:lnTo>
                      <a:lnTo>
                        <a:pt x="104" y="523"/>
                      </a:lnTo>
                      <a:lnTo>
                        <a:pt x="103" y="522"/>
                      </a:lnTo>
                      <a:lnTo>
                        <a:pt x="103" y="521"/>
                      </a:lnTo>
                      <a:lnTo>
                        <a:pt x="103" y="519"/>
                      </a:lnTo>
                      <a:lnTo>
                        <a:pt x="102" y="519"/>
                      </a:lnTo>
                      <a:lnTo>
                        <a:pt x="100" y="518"/>
                      </a:lnTo>
                      <a:lnTo>
                        <a:pt x="100" y="517"/>
                      </a:lnTo>
                      <a:lnTo>
                        <a:pt x="100" y="516"/>
                      </a:lnTo>
                      <a:lnTo>
                        <a:pt x="99" y="516"/>
                      </a:lnTo>
                      <a:lnTo>
                        <a:pt x="98" y="516"/>
                      </a:lnTo>
                      <a:lnTo>
                        <a:pt x="98" y="517"/>
                      </a:lnTo>
                      <a:lnTo>
                        <a:pt x="98" y="518"/>
                      </a:lnTo>
                      <a:lnTo>
                        <a:pt x="97" y="518"/>
                      </a:lnTo>
                      <a:lnTo>
                        <a:pt x="96" y="518"/>
                      </a:lnTo>
                      <a:lnTo>
                        <a:pt x="96" y="519"/>
                      </a:lnTo>
                      <a:lnTo>
                        <a:pt x="96" y="522"/>
                      </a:lnTo>
                      <a:lnTo>
                        <a:pt x="95" y="522"/>
                      </a:lnTo>
                      <a:lnTo>
                        <a:pt x="92" y="523"/>
                      </a:lnTo>
                      <a:lnTo>
                        <a:pt x="91" y="523"/>
                      </a:lnTo>
                      <a:lnTo>
                        <a:pt x="90" y="523"/>
                      </a:lnTo>
                      <a:lnTo>
                        <a:pt x="90" y="524"/>
                      </a:lnTo>
                      <a:lnTo>
                        <a:pt x="89" y="524"/>
                      </a:lnTo>
                      <a:lnTo>
                        <a:pt x="88" y="524"/>
                      </a:lnTo>
                      <a:lnTo>
                        <a:pt x="85" y="524"/>
                      </a:lnTo>
                      <a:lnTo>
                        <a:pt x="84" y="525"/>
                      </a:lnTo>
                      <a:lnTo>
                        <a:pt x="83" y="525"/>
                      </a:lnTo>
                      <a:lnTo>
                        <a:pt x="83" y="526"/>
                      </a:lnTo>
                      <a:lnTo>
                        <a:pt x="82" y="528"/>
                      </a:lnTo>
                      <a:lnTo>
                        <a:pt x="81" y="528"/>
                      </a:lnTo>
                      <a:lnTo>
                        <a:pt x="76" y="529"/>
                      </a:lnTo>
                      <a:lnTo>
                        <a:pt x="74" y="529"/>
                      </a:lnTo>
                      <a:lnTo>
                        <a:pt x="73" y="528"/>
                      </a:lnTo>
                      <a:lnTo>
                        <a:pt x="71" y="526"/>
                      </a:lnTo>
                      <a:lnTo>
                        <a:pt x="69" y="528"/>
                      </a:lnTo>
                      <a:lnTo>
                        <a:pt x="68" y="528"/>
                      </a:lnTo>
                      <a:lnTo>
                        <a:pt x="67" y="526"/>
                      </a:lnTo>
                      <a:lnTo>
                        <a:pt x="68" y="525"/>
                      </a:lnTo>
                      <a:lnTo>
                        <a:pt x="69" y="523"/>
                      </a:lnTo>
                      <a:lnTo>
                        <a:pt x="69" y="522"/>
                      </a:lnTo>
                      <a:lnTo>
                        <a:pt x="69" y="518"/>
                      </a:lnTo>
                      <a:lnTo>
                        <a:pt x="68" y="518"/>
                      </a:lnTo>
                      <a:lnTo>
                        <a:pt x="67" y="518"/>
                      </a:lnTo>
                      <a:lnTo>
                        <a:pt x="66" y="517"/>
                      </a:lnTo>
                      <a:lnTo>
                        <a:pt x="64" y="514"/>
                      </a:lnTo>
                      <a:lnTo>
                        <a:pt x="62" y="508"/>
                      </a:lnTo>
                      <a:lnTo>
                        <a:pt x="57" y="498"/>
                      </a:lnTo>
                      <a:lnTo>
                        <a:pt x="57" y="496"/>
                      </a:lnTo>
                      <a:lnTo>
                        <a:pt x="56" y="496"/>
                      </a:lnTo>
                      <a:lnTo>
                        <a:pt x="55" y="494"/>
                      </a:lnTo>
                      <a:lnTo>
                        <a:pt x="54" y="491"/>
                      </a:lnTo>
                      <a:lnTo>
                        <a:pt x="53" y="491"/>
                      </a:lnTo>
                      <a:lnTo>
                        <a:pt x="53" y="490"/>
                      </a:lnTo>
                      <a:lnTo>
                        <a:pt x="52" y="490"/>
                      </a:lnTo>
                      <a:lnTo>
                        <a:pt x="50" y="490"/>
                      </a:lnTo>
                      <a:lnTo>
                        <a:pt x="49" y="490"/>
                      </a:lnTo>
                      <a:lnTo>
                        <a:pt x="49" y="489"/>
                      </a:lnTo>
                      <a:lnTo>
                        <a:pt x="49" y="488"/>
                      </a:lnTo>
                      <a:lnTo>
                        <a:pt x="48" y="488"/>
                      </a:lnTo>
                      <a:lnTo>
                        <a:pt x="48" y="487"/>
                      </a:lnTo>
                      <a:lnTo>
                        <a:pt x="47" y="486"/>
                      </a:lnTo>
                      <a:lnTo>
                        <a:pt x="46" y="486"/>
                      </a:lnTo>
                      <a:lnTo>
                        <a:pt x="45" y="486"/>
                      </a:lnTo>
                      <a:lnTo>
                        <a:pt x="38" y="480"/>
                      </a:lnTo>
                      <a:lnTo>
                        <a:pt x="31" y="474"/>
                      </a:lnTo>
                      <a:lnTo>
                        <a:pt x="30" y="474"/>
                      </a:lnTo>
                      <a:lnTo>
                        <a:pt x="30" y="472"/>
                      </a:lnTo>
                      <a:lnTo>
                        <a:pt x="20" y="461"/>
                      </a:lnTo>
                      <a:lnTo>
                        <a:pt x="18" y="460"/>
                      </a:lnTo>
                      <a:lnTo>
                        <a:pt x="18" y="459"/>
                      </a:lnTo>
                      <a:lnTo>
                        <a:pt x="19" y="456"/>
                      </a:lnTo>
                      <a:lnTo>
                        <a:pt x="23" y="454"/>
                      </a:lnTo>
                      <a:lnTo>
                        <a:pt x="23" y="453"/>
                      </a:lnTo>
                      <a:lnTo>
                        <a:pt x="25" y="449"/>
                      </a:lnTo>
                      <a:lnTo>
                        <a:pt x="25" y="448"/>
                      </a:lnTo>
                      <a:lnTo>
                        <a:pt x="26" y="448"/>
                      </a:lnTo>
                      <a:lnTo>
                        <a:pt x="33" y="448"/>
                      </a:lnTo>
                      <a:lnTo>
                        <a:pt x="42" y="451"/>
                      </a:lnTo>
                      <a:lnTo>
                        <a:pt x="43" y="451"/>
                      </a:lnTo>
                      <a:lnTo>
                        <a:pt x="48" y="449"/>
                      </a:lnTo>
                      <a:lnTo>
                        <a:pt x="49" y="449"/>
                      </a:lnTo>
                      <a:lnTo>
                        <a:pt x="52" y="449"/>
                      </a:lnTo>
                      <a:lnTo>
                        <a:pt x="53" y="449"/>
                      </a:lnTo>
                      <a:lnTo>
                        <a:pt x="54" y="448"/>
                      </a:lnTo>
                      <a:lnTo>
                        <a:pt x="56" y="448"/>
                      </a:lnTo>
                      <a:lnTo>
                        <a:pt x="57" y="448"/>
                      </a:lnTo>
                      <a:lnTo>
                        <a:pt x="63" y="449"/>
                      </a:lnTo>
                      <a:lnTo>
                        <a:pt x="64" y="449"/>
                      </a:lnTo>
                      <a:lnTo>
                        <a:pt x="73" y="448"/>
                      </a:lnTo>
                      <a:lnTo>
                        <a:pt x="71" y="447"/>
                      </a:lnTo>
                      <a:lnTo>
                        <a:pt x="70" y="446"/>
                      </a:lnTo>
                      <a:lnTo>
                        <a:pt x="68" y="445"/>
                      </a:lnTo>
                      <a:lnTo>
                        <a:pt x="67" y="444"/>
                      </a:lnTo>
                      <a:lnTo>
                        <a:pt x="66" y="444"/>
                      </a:lnTo>
                      <a:lnTo>
                        <a:pt x="64" y="441"/>
                      </a:lnTo>
                      <a:lnTo>
                        <a:pt x="61" y="438"/>
                      </a:lnTo>
                      <a:lnTo>
                        <a:pt x="60" y="437"/>
                      </a:lnTo>
                      <a:lnTo>
                        <a:pt x="60" y="435"/>
                      </a:lnTo>
                      <a:lnTo>
                        <a:pt x="60" y="434"/>
                      </a:lnTo>
                      <a:lnTo>
                        <a:pt x="59" y="434"/>
                      </a:lnTo>
                      <a:lnTo>
                        <a:pt x="59" y="433"/>
                      </a:lnTo>
                      <a:lnTo>
                        <a:pt x="59" y="432"/>
                      </a:lnTo>
                      <a:lnTo>
                        <a:pt x="57" y="432"/>
                      </a:lnTo>
                      <a:lnTo>
                        <a:pt x="57" y="431"/>
                      </a:lnTo>
                      <a:lnTo>
                        <a:pt x="56" y="431"/>
                      </a:lnTo>
                      <a:lnTo>
                        <a:pt x="55" y="431"/>
                      </a:lnTo>
                      <a:lnTo>
                        <a:pt x="55" y="430"/>
                      </a:lnTo>
                      <a:lnTo>
                        <a:pt x="55" y="428"/>
                      </a:lnTo>
                      <a:lnTo>
                        <a:pt x="55" y="427"/>
                      </a:lnTo>
                      <a:lnTo>
                        <a:pt x="53" y="423"/>
                      </a:lnTo>
                      <a:lnTo>
                        <a:pt x="53" y="420"/>
                      </a:lnTo>
                      <a:lnTo>
                        <a:pt x="53" y="419"/>
                      </a:lnTo>
                      <a:lnTo>
                        <a:pt x="54" y="419"/>
                      </a:lnTo>
                      <a:lnTo>
                        <a:pt x="53" y="418"/>
                      </a:lnTo>
                      <a:lnTo>
                        <a:pt x="52" y="416"/>
                      </a:lnTo>
                      <a:lnTo>
                        <a:pt x="52" y="413"/>
                      </a:lnTo>
                      <a:lnTo>
                        <a:pt x="52" y="410"/>
                      </a:lnTo>
                      <a:lnTo>
                        <a:pt x="52" y="407"/>
                      </a:lnTo>
                      <a:lnTo>
                        <a:pt x="53" y="406"/>
                      </a:lnTo>
                      <a:lnTo>
                        <a:pt x="53" y="405"/>
                      </a:lnTo>
                      <a:lnTo>
                        <a:pt x="53" y="404"/>
                      </a:lnTo>
                      <a:lnTo>
                        <a:pt x="53" y="402"/>
                      </a:lnTo>
                      <a:lnTo>
                        <a:pt x="53" y="400"/>
                      </a:lnTo>
                      <a:lnTo>
                        <a:pt x="55" y="399"/>
                      </a:lnTo>
                      <a:lnTo>
                        <a:pt x="55" y="398"/>
                      </a:lnTo>
                      <a:lnTo>
                        <a:pt x="55" y="397"/>
                      </a:lnTo>
                      <a:lnTo>
                        <a:pt x="54" y="396"/>
                      </a:lnTo>
                      <a:lnTo>
                        <a:pt x="53" y="393"/>
                      </a:lnTo>
                      <a:lnTo>
                        <a:pt x="53" y="392"/>
                      </a:lnTo>
                      <a:lnTo>
                        <a:pt x="54" y="392"/>
                      </a:lnTo>
                      <a:lnTo>
                        <a:pt x="54" y="391"/>
                      </a:lnTo>
                      <a:lnTo>
                        <a:pt x="54" y="390"/>
                      </a:lnTo>
                      <a:lnTo>
                        <a:pt x="54" y="388"/>
                      </a:lnTo>
                      <a:lnTo>
                        <a:pt x="53" y="388"/>
                      </a:lnTo>
                      <a:lnTo>
                        <a:pt x="52" y="386"/>
                      </a:lnTo>
                      <a:lnTo>
                        <a:pt x="53" y="386"/>
                      </a:lnTo>
                      <a:lnTo>
                        <a:pt x="53" y="385"/>
                      </a:lnTo>
                      <a:lnTo>
                        <a:pt x="53" y="384"/>
                      </a:lnTo>
                      <a:lnTo>
                        <a:pt x="53" y="383"/>
                      </a:lnTo>
                      <a:lnTo>
                        <a:pt x="53" y="382"/>
                      </a:lnTo>
                      <a:lnTo>
                        <a:pt x="52" y="382"/>
                      </a:lnTo>
                      <a:lnTo>
                        <a:pt x="52" y="381"/>
                      </a:lnTo>
                      <a:lnTo>
                        <a:pt x="53" y="381"/>
                      </a:lnTo>
                      <a:lnTo>
                        <a:pt x="52" y="379"/>
                      </a:lnTo>
                      <a:lnTo>
                        <a:pt x="50" y="379"/>
                      </a:lnTo>
                      <a:lnTo>
                        <a:pt x="49" y="381"/>
                      </a:lnTo>
                      <a:lnTo>
                        <a:pt x="49" y="379"/>
                      </a:lnTo>
                      <a:lnTo>
                        <a:pt x="48" y="379"/>
                      </a:lnTo>
                      <a:lnTo>
                        <a:pt x="48" y="378"/>
                      </a:lnTo>
                      <a:lnTo>
                        <a:pt x="47" y="378"/>
                      </a:lnTo>
                      <a:lnTo>
                        <a:pt x="47" y="377"/>
                      </a:lnTo>
                      <a:lnTo>
                        <a:pt x="48" y="377"/>
                      </a:lnTo>
                      <a:lnTo>
                        <a:pt x="47" y="377"/>
                      </a:lnTo>
                      <a:lnTo>
                        <a:pt x="47" y="376"/>
                      </a:lnTo>
                      <a:lnTo>
                        <a:pt x="48" y="376"/>
                      </a:lnTo>
                      <a:lnTo>
                        <a:pt x="48" y="375"/>
                      </a:lnTo>
                      <a:lnTo>
                        <a:pt x="48" y="372"/>
                      </a:lnTo>
                      <a:lnTo>
                        <a:pt x="47" y="370"/>
                      </a:lnTo>
                      <a:lnTo>
                        <a:pt x="47" y="369"/>
                      </a:lnTo>
                      <a:lnTo>
                        <a:pt x="46" y="368"/>
                      </a:lnTo>
                      <a:lnTo>
                        <a:pt x="46" y="369"/>
                      </a:lnTo>
                      <a:lnTo>
                        <a:pt x="46" y="368"/>
                      </a:lnTo>
                      <a:lnTo>
                        <a:pt x="46" y="367"/>
                      </a:lnTo>
                      <a:lnTo>
                        <a:pt x="46" y="363"/>
                      </a:lnTo>
                      <a:lnTo>
                        <a:pt x="45" y="362"/>
                      </a:lnTo>
                      <a:lnTo>
                        <a:pt x="43" y="363"/>
                      </a:lnTo>
                      <a:lnTo>
                        <a:pt x="43" y="362"/>
                      </a:lnTo>
                      <a:lnTo>
                        <a:pt x="42" y="361"/>
                      </a:lnTo>
                      <a:lnTo>
                        <a:pt x="41" y="362"/>
                      </a:lnTo>
                      <a:lnTo>
                        <a:pt x="41" y="361"/>
                      </a:lnTo>
                      <a:lnTo>
                        <a:pt x="41" y="360"/>
                      </a:lnTo>
                      <a:lnTo>
                        <a:pt x="40" y="360"/>
                      </a:lnTo>
                      <a:lnTo>
                        <a:pt x="39" y="360"/>
                      </a:lnTo>
                      <a:lnTo>
                        <a:pt x="39" y="358"/>
                      </a:lnTo>
                      <a:lnTo>
                        <a:pt x="38" y="358"/>
                      </a:lnTo>
                      <a:lnTo>
                        <a:pt x="36" y="358"/>
                      </a:lnTo>
                      <a:lnTo>
                        <a:pt x="36" y="357"/>
                      </a:lnTo>
                      <a:lnTo>
                        <a:pt x="36" y="356"/>
                      </a:lnTo>
                      <a:lnTo>
                        <a:pt x="35" y="356"/>
                      </a:lnTo>
                      <a:lnTo>
                        <a:pt x="34" y="355"/>
                      </a:lnTo>
                      <a:lnTo>
                        <a:pt x="34" y="354"/>
                      </a:lnTo>
                      <a:lnTo>
                        <a:pt x="35" y="353"/>
                      </a:lnTo>
                      <a:lnTo>
                        <a:pt x="35" y="351"/>
                      </a:lnTo>
                      <a:lnTo>
                        <a:pt x="34" y="351"/>
                      </a:lnTo>
                      <a:lnTo>
                        <a:pt x="35" y="351"/>
                      </a:lnTo>
                      <a:lnTo>
                        <a:pt x="36" y="351"/>
                      </a:lnTo>
                      <a:lnTo>
                        <a:pt x="38" y="351"/>
                      </a:lnTo>
                      <a:lnTo>
                        <a:pt x="38" y="350"/>
                      </a:lnTo>
                      <a:lnTo>
                        <a:pt x="39" y="351"/>
                      </a:lnTo>
                      <a:lnTo>
                        <a:pt x="40" y="351"/>
                      </a:lnTo>
                      <a:lnTo>
                        <a:pt x="40" y="350"/>
                      </a:lnTo>
                      <a:lnTo>
                        <a:pt x="41" y="350"/>
                      </a:lnTo>
                      <a:lnTo>
                        <a:pt x="41" y="349"/>
                      </a:lnTo>
                      <a:lnTo>
                        <a:pt x="43" y="348"/>
                      </a:lnTo>
                      <a:lnTo>
                        <a:pt x="42" y="348"/>
                      </a:lnTo>
                      <a:lnTo>
                        <a:pt x="41" y="347"/>
                      </a:lnTo>
                      <a:lnTo>
                        <a:pt x="41" y="346"/>
                      </a:lnTo>
                      <a:lnTo>
                        <a:pt x="40" y="346"/>
                      </a:lnTo>
                      <a:lnTo>
                        <a:pt x="40" y="344"/>
                      </a:lnTo>
                      <a:lnTo>
                        <a:pt x="40" y="343"/>
                      </a:lnTo>
                      <a:lnTo>
                        <a:pt x="39" y="343"/>
                      </a:lnTo>
                      <a:lnTo>
                        <a:pt x="38" y="343"/>
                      </a:lnTo>
                      <a:lnTo>
                        <a:pt x="38" y="344"/>
                      </a:lnTo>
                      <a:lnTo>
                        <a:pt x="36" y="343"/>
                      </a:lnTo>
                      <a:lnTo>
                        <a:pt x="36" y="342"/>
                      </a:lnTo>
                      <a:lnTo>
                        <a:pt x="35" y="342"/>
                      </a:lnTo>
                      <a:lnTo>
                        <a:pt x="33" y="343"/>
                      </a:lnTo>
                      <a:lnTo>
                        <a:pt x="34" y="343"/>
                      </a:lnTo>
                      <a:lnTo>
                        <a:pt x="33" y="343"/>
                      </a:lnTo>
                      <a:lnTo>
                        <a:pt x="31" y="344"/>
                      </a:lnTo>
                      <a:lnTo>
                        <a:pt x="31" y="346"/>
                      </a:lnTo>
                      <a:lnTo>
                        <a:pt x="30" y="346"/>
                      </a:lnTo>
                      <a:lnTo>
                        <a:pt x="28" y="346"/>
                      </a:lnTo>
                      <a:lnTo>
                        <a:pt x="28" y="344"/>
                      </a:lnTo>
                      <a:lnTo>
                        <a:pt x="28" y="346"/>
                      </a:lnTo>
                      <a:lnTo>
                        <a:pt x="30" y="347"/>
                      </a:lnTo>
                      <a:lnTo>
                        <a:pt x="31" y="347"/>
                      </a:lnTo>
                      <a:lnTo>
                        <a:pt x="31" y="348"/>
                      </a:lnTo>
                      <a:lnTo>
                        <a:pt x="30" y="348"/>
                      </a:lnTo>
                      <a:lnTo>
                        <a:pt x="28" y="347"/>
                      </a:lnTo>
                      <a:lnTo>
                        <a:pt x="27" y="347"/>
                      </a:lnTo>
                      <a:lnTo>
                        <a:pt x="28" y="347"/>
                      </a:lnTo>
                      <a:lnTo>
                        <a:pt x="28" y="348"/>
                      </a:lnTo>
                      <a:lnTo>
                        <a:pt x="20" y="348"/>
                      </a:lnTo>
                      <a:lnTo>
                        <a:pt x="13" y="337"/>
                      </a:lnTo>
                      <a:lnTo>
                        <a:pt x="6" y="328"/>
                      </a:lnTo>
                      <a:lnTo>
                        <a:pt x="6" y="327"/>
                      </a:lnTo>
                      <a:lnTo>
                        <a:pt x="5" y="326"/>
                      </a:lnTo>
                      <a:lnTo>
                        <a:pt x="5" y="325"/>
                      </a:lnTo>
                      <a:lnTo>
                        <a:pt x="5" y="323"/>
                      </a:lnTo>
                      <a:lnTo>
                        <a:pt x="5" y="322"/>
                      </a:lnTo>
                      <a:lnTo>
                        <a:pt x="5" y="321"/>
                      </a:lnTo>
                      <a:lnTo>
                        <a:pt x="4" y="320"/>
                      </a:lnTo>
                      <a:lnTo>
                        <a:pt x="4" y="319"/>
                      </a:lnTo>
                      <a:lnTo>
                        <a:pt x="4" y="318"/>
                      </a:lnTo>
                      <a:lnTo>
                        <a:pt x="4" y="316"/>
                      </a:lnTo>
                      <a:lnTo>
                        <a:pt x="3" y="315"/>
                      </a:lnTo>
                      <a:lnTo>
                        <a:pt x="3" y="314"/>
                      </a:lnTo>
                      <a:lnTo>
                        <a:pt x="3" y="313"/>
                      </a:lnTo>
                      <a:lnTo>
                        <a:pt x="3" y="312"/>
                      </a:lnTo>
                      <a:lnTo>
                        <a:pt x="3" y="311"/>
                      </a:lnTo>
                      <a:lnTo>
                        <a:pt x="2" y="309"/>
                      </a:lnTo>
                      <a:lnTo>
                        <a:pt x="2" y="308"/>
                      </a:lnTo>
                      <a:lnTo>
                        <a:pt x="0" y="306"/>
                      </a:lnTo>
                      <a:lnTo>
                        <a:pt x="0" y="304"/>
                      </a:lnTo>
                      <a:lnTo>
                        <a:pt x="2" y="302"/>
                      </a:lnTo>
                      <a:lnTo>
                        <a:pt x="3" y="302"/>
                      </a:lnTo>
                      <a:lnTo>
                        <a:pt x="4" y="301"/>
                      </a:lnTo>
                      <a:lnTo>
                        <a:pt x="5" y="301"/>
                      </a:lnTo>
                      <a:lnTo>
                        <a:pt x="6" y="301"/>
                      </a:lnTo>
                      <a:lnTo>
                        <a:pt x="7" y="300"/>
                      </a:lnTo>
                      <a:lnTo>
                        <a:pt x="7" y="299"/>
                      </a:lnTo>
                      <a:lnTo>
                        <a:pt x="7" y="298"/>
                      </a:lnTo>
                      <a:lnTo>
                        <a:pt x="7" y="297"/>
                      </a:lnTo>
                      <a:lnTo>
                        <a:pt x="9" y="295"/>
                      </a:lnTo>
                      <a:lnTo>
                        <a:pt x="10" y="295"/>
                      </a:lnTo>
                      <a:lnTo>
                        <a:pt x="10" y="294"/>
                      </a:lnTo>
                      <a:lnTo>
                        <a:pt x="11" y="294"/>
                      </a:lnTo>
                      <a:lnTo>
                        <a:pt x="11" y="293"/>
                      </a:lnTo>
                      <a:lnTo>
                        <a:pt x="11" y="292"/>
                      </a:lnTo>
                      <a:lnTo>
                        <a:pt x="11" y="291"/>
                      </a:lnTo>
                      <a:lnTo>
                        <a:pt x="11" y="290"/>
                      </a:lnTo>
                      <a:lnTo>
                        <a:pt x="11" y="288"/>
                      </a:lnTo>
                      <a:lnTo>
                        <a:pt x="12" y="286"/>
                      </a:lnTo>
                      <a:lnTo>
                        <a:pt x="13" y="285"/>
                      </a:lnTo>
                      <a:lnTo>
                        <a:pt x="14" y="284"/>
                      </a:lnTo>
                      <a:lnTo>
                        <a:pt x="14" y="281"/>
                      </a:lnTo>
                      <a:lnTo>
                        <a:pt x="16" y="280"/>
                      </a:lnTo>
                      <a:lnTo>
                        <a:pt x="17" y="279"/>
                      </a:lnTo>
                      <a:lnTo>
                        <a:pt x="18" y="278"/>
                      </a:lnTo>
                      <a:lnTo>
                        <a:pt x="19" y="277"/>
                      </a:lnTo>
                      <a:lnTo>
                        <a:pt x="20" y="276"/>
                      </a:lnTo>
                      <a:lnTo>
                        <a:pt x="20" y="274"/>
                      </a:lnTo>
                      <a:lnTo>
                        <a:pt x="21" y="272"/>
                      </a:lnTo>
                      <a:lnTo>
                        <a:pt x="23" y="271"/>
                      </a:lnTo>
                      <a:lnTo>
                        <a:pt x="24" y="270"/>
                      </a:lnTo>
                      <a:lnTo>
                        <a:pt x="25" y="269"/>
                      </a:lnTo>
                      <a:lnTo>
                        <a:pt x="25" y="267"/>
                      </a:lnTo>
                      <a:lnTo>
                        <a:pt x="26" y="266"/>
                      </a:lnTo>
                      <a:lnTo>
                        <a:pt x="27" y="264"/>
                      </a:lnTo>
                      <a:lnTo>
                        <a:pt x="28" y="263"/>
                      </a:lnTo>
                      <a:lnTo>
                        <a:pt x="30" y="262"/>
                      </a:lnTo>
                      <a:lnTo>
                        <a:pt x="30" y="260"/>
                      </a:lnTo>
                      <a:lnTo>
                        <a:pt x="32" y="258"/>
                      </a:lnTo>
                      <a:lnTo>
                        <a:pt x="34" y="257"/>
                      </a:lnTo>
                      <a:lnTo>
                        <a:pt x="35" y="256"/>
                      </a:lnTo>
                      <a:lnTo>
                        <a:pt x="36" y="253"/>
                      </a:lnTo>
                      <a:lnTo>
                        <a:pt x="39" y="251"/>
                      </a:lnTo>
                      <a:lnTo>
                        <a:pt x="40" y="250"/>
                      </a:lnTo>
                      <a:lnTo>
                        <a:pt x="42" y="248"/>
                      </a:lnTo>
                      <a:lnTo>
                        <a:pt x="43" y="245"/>
                      </a:lnTo>
                      <a:lnTo>
                        <a:pt x="46" y="244"/>
                      </a:lnTo>
                      <a:lnTo>
                        <a:pt x="47" y="242"/>
                      </a:lnTo>
                      <a:lnTo>
                        <a:pt x="49" y="239"/>
                      </a:lnTo>
                      <a:lnTo>
                        <a:pt x="50" y="238"/>
                      </a:lnTo>
                      <a:lnTo>
                        <a:pt x="53" y="236"/>
                      </a:lnTo>
                      <a:lnTo>
                        <a:pt x="54" y="234"/>
                      </a:lnTo>
                      <a:lnTo>
                        <a:pt x="56" y="232"/>
                      </a:lnTo>
                      <a:lnTo>
                        <a:pt x="57" y="230"/>
                      </a:lnTo>
                      <a:lnTo>
                        <a:pt x="60" y="228"/>
                      </a:lnTo>
                      <a:lnTo>
                        <a:pt x="62" y="227"/>
                      </a:lnTo>
                      <a:lnTo>
                        <a:pt x="63" y="224"/>
                      </a:lnTo>
                      <a:lnTo>
                        <a:pt x="64" y="223"/>
                      </a:lnTo>
                      <a:lnTo>
                        <a:pt x="64" y="222"/>
                      </a:lnTo>
                      <a:lnTo>
                        <a:pt x="66" y="222"/>
                      </a:lnTo>
                      <a:lnTo>
                        <a:pt x="66" y="221"/>
                      </a:lnTo>
                      <a:lnTo>
                        <a:pt x="66" y="220"/>
                      </a:lnTo>
                      <a:lnTo>
                        <a:pt x="66" y="217"/>
                      </a:lnTo>
                      <a:lnTo>
                        <a:pt x="66" y="216"/>
                      </a:lnTo>
                      <a:lnTo>
                        <a:pt x="66" y="215"/>
                      </a:lnTo>
                      <a:lnTo>
                        <a:pt x="66" y="214"/>
                      </a:lnTo>
                      <a:lnTo>
                        <a:pt x="66" y="211"/>
                      </a:lnTo>
                      <a:lnTo>
                        <a:pt x="66" y="210"/>
                      </a:lnTo>
                      <a:lnTo>
                        <a:pt x="66" y="209"/>
                      </a:lnTo>
                      <a:lnTo>
                        <a:pt x="67" y="207"/>
                      </a:lnTo>
                      <a:lnTo>
                        <a:pt x="67" y="206"/>
                      </a:lnTo>
                      <a:lnTo>
                        <a:pt x="67" y="205"/>
                      </a:lnTo>
                      <a:lnTo>
                        <a:pt x="67" y="202"/>
                      </a:lnTo>
                      <a:lnTo>
                        <a:pt x="67" y="201"/>
                      </a:lnTo>
                      <a:lnTo>
                        <a:pt x="67" y="200"/>
                      </a:lnTo>
                      <a:lnTo>
                        <a:pt x="67" y="198"/>
                      </a:lnTo>
                      <a:lnTo>
                        <a:pt x="67" y="196"/>
                      </a:lnTo>
                      <a:lnTo>
                        <a:pt x="67" y="195"/>
                      </a:lnTo>
                      <a:lnTo>
                        <a:pt x="67" y="194"/>
                      </a:lnTo>
                      <a:lnTo>
                        <a:pt x="68" y="192"/>
                      </a:lnTo>
                      <a:lnTo>
                        <a:pt x="68" y="191"/>
                      </a:lnTo>
                      <a:lnTo>
                        <a:pt x="68" y="189"/>
                      </a:lnTo>
                      <a:lnTo>
                        <a:pt x="68" y="187"/>
                      </a:lnTo>
                      <a:lnTo>
                        <a:pt x="68" y="186"/>
                      </a:lnTo>
                      <a:lnTo>
                        <a:pt x="68" y="185"/>
                      </a:lnTo>
                      <a:lnTo>
                        <a:pt x="68" y="182"/>
                      </a:lnTo>
                      <a:lnTo>
                        <a:pt x="68" y="181"/>
                      </a:lnTo>
                      <a:lnTo>
                        <a:pt x="68" y="180"/>
                      </a:lnTo>
                      <a:lnTo>
                        <a:pt x="69" y="178"/>
                      </a:lnTo>
                      <a:lnTo>
                        <a:pt x="69" y="177"/>
                      </a:lnTo>
                      <a:lnTo>
                        <a:pt x="69" y="175"/>
                      </a:lnTo>
                      <a:lnTo>
                        <a:pt x="69" y="174"/>
                      </a:lnTo>
                      <a:lnTo>
                        <a:pt x="69" y="172"/>
                      </a:lnTo>
                      <a:lnTo>
                        <a:pt x="69" y="171"/>
                      </a:lnTo>
                      <a:lnTo>
                        <a:pt x="69" y="170"/>
                      </a:lnTo>
                      <a:lnTo>
                        <a:pt x="69" y="167"/>
                      </a:lnTo>
                      <a:lnTo>
                        <a:pt x="69" y="166"/>
                      </a:lnTo>
                      <a:lnTo>
                        <a:pt x="69" y="165"/>
                      </a:lnTo>
                      <a:lnTo>
                        <a:pt x="70" y="163"/>
                      </a:lnTo>
                      <a:lnTo>
                        <a:pt x="70" y="161"/>
                      </a:lnTo>
                      <a:lnTo>
                        <a:pt x="70" y="160"/>
                      </a:lnTo>
                      <a:lnTo>
                        <a:pt x="70" y="158"/>
                      </a:lnTo>
                      <a:lnTo>
                        <a:pt x="70" y="157"/>
                      </a:lnTo>
                      <a:lnTo>
                        <a:pt x="70" y="156"/>
                      </a:lnTo>
                      <a:lnTo>
                        <a:pt x="70" y="153"/>
                      </a:lnTo>
                      <a:lnTo>
                        <a:pt x="70" y="152"/>
                      </a:lnTo>
                      <a:lnTo>
                        <a:pt x="70" y="151"/>
                      </a:lnTo>
                      <a:lnTo>
                        <a:pt x="70" y="150"/>
                      </a:lnTo>
                      <a:lnTo>
                        <a:pt x="71" y="147"/>
                      </a:lnTo>
                      <a:lnTo>
                        <a:pt x="71" y="146"/>
                      </a:lnTo>
                      <a:lnTo>
                        <a:pt x="71" y="145"/>
                      </a:lnTo>
                      <a:lnTo>
                        <a:pt x="71" y="143"/>
                      </a:lnTo>
                      <a:lnTo>
                        <a:pt x="71" y="142"/>
                      </a:lnTo>
                      <a:lnTo>
                        <a:pt x="71" y="140"/>
                      </a:lnTo>
                      <a:lnTo>
                        <a:pt x="71" y="138"/>
                      </a:lnTo>
                      <a:lnTo>
                        <a:pt x="71" y="137"/>
                      </a:lnTo>
                      <a:lnTo>
                        <a:pt x="71" y="136"/>
                      </a:lnTo>
                      <a:lnTo>
                        <a:pt x="73" y="133"/>
                      </a:lnTo>
                      <a:lnTo>
                        <a:pt x="73" y="132"/>
                      </a:lnTo>
                      <a:lnTo>
                        <a:pt x="73" y="131"/>
                      </a:lnTo>
                      <a:lnTo>
                        <a:pt x="73" y="129"/>
                      </a:lnTo>
                      <a:lnTo>
                        <a:pt x="73" y="128"/>
                      </a:lnTo>
                      <a:lnTo>
                        <a:pt x="73" y="126"/>
                      </a:lnTo>
                      <a:lnTo>
                        <a:pt x="73" y="124"/>
                      </a:lnTo>
                      <a:lnTo>
                        <a:pt x="73" y="123"/>
                      </a:lnTo>
                      <a:lnTo>
                        <a:pt x="73" y="122"/>
                      </a:lnTo>
                      <a:lnTo>
                        <a:pt x="74" y="119"/>
                      </a:lnTo>
                      <a:lnTo>
                        <a:pt x="75" y="118"/>
                      </a:lnTo>
                      <a:lnTo>
                        <a:pt x="76" y="116"/>
                      </a:lnTo>
                      <a:lnTo>
                        <a:pt x="77" y="114"/>
                      </a:lnTo>
                      <a:lnTo>
                        <a:pt x="78" y="111"/>
                      </a:lnTo>
                      <a:lnTo>
                        <a:pt x="80" y="109"/>
                      </a:lnTo>
                      <a:lnTo>
                        <a:pt x="81" y="108"/>
                      </a:lnTo>
                      <a:lnTo>
                        <a:pt x="81" y="107"/>
                      </a:lnTo>
                      <a:lnTo>
                        <a:pt x="80" y="105"/>
                      </a:lnTo>
                      <a:lnTo>
                        <a:pt x="80" y="104"/>
                      </a:lnTo>
                      <a:lnTo>
                        <a:pt x="77" y="103"/>
                      </a:lnTo>
                      <a:lnTo>
                        <a:pt x="75" y="101"/>
                      </a:lnTo>
                      <a:lnTo>
                        <a:pt x="74" y="98"/>
                      </a:lnTo>
                      <a:lnTo>
                        <a:pt x="71" y="96"/>
                      </a:lnTo>
                      <a:lnTo>
                        <a:pt x="70" y="95"/>
                      </a:lnTo>
                      <a:lnTo>
                        <a:pt x="68" y="94"/>
                      </a:lnTo>
                      <a:lnTo>
                        <a:pt x="68" y="93"/>
                      </a:lnTo>
                      <a:lnTo>
                        <a:pt x="67" y="93"/>
                      </a:lnTo>
                      <a:lnTo>
                        <a:pt x="67" y="91"/>
                      </a:lnTo>
                      <a:lnTo>
                        <a:pt x="67" y="89"/>
                      </a:lnTo>
                      <a:lnTo>
                        <a:pt x="67" y="88"/>
                      </a:lnTo>
                      <a:lnTo>
                        <a:pt x="68" y="87"/>
                      </a:lnTo>
                      <a:lnTo>
                        <a:pt x="69" y="86"/>
                      </a:lnTo>
                      <a:lnTo>
                        <a:pt x="68" y="86"/>
                      </a:lnTo>
                      <a:lnTo>
                        <a:pt x="68" y="84"/>
                      </a:lnTo>
                      <a:lnTo>
                        <a:pt x="67" y="83"/>
                      </a:lnTo>
                      <a:lnTo>
                        <a:pt x="67" y="82"/>
                      </a:lnTo>
                      <a:lnTo>
                        <a:pt x="66" y="82"/>
                      </a:lnTo>
                      <a:lnTo>
                        <a:pt x="66" y="81"/>
                      </a:lnTo>
                      <a:lnTo>
                        <a:pt x="66" y="80"/>
                      </a:lnTo>
                      <a:lnTo>
                        <a:pt x="64" y="80"/>
                      </a:lnTo>
                      <a:lnTo>
                        <a:pt x="64" y="79"/>
                      </a:lnTo>
                      <a:lnTo>
                        <a:pt x="63" y="77"/>
                      </a:lnTo>
                      <a:lnTo>
                        <a:pt x="63" y="76"/>
                      </a:lnTo>
                      <a:lnTo>
                        <a:pt x="62" y="76"/>
                      </a:lnTo>
                      <a:lnTo>
                        <a:pt x="62" y="75"/>
                      </a:lnTo>
                      <a:lnTo>
                        <a:pt x="61" y="74"/>
                      </a:lnTo>
                      <a:lnTo>
                        <a:pt x="60" y="73"/>
                      </a:lnTo>
                      <a:lnTo>
                        <a:pt x="60" y="72"/>
                      </a:lnTo>
                      <a:lnTo>
                        <a:pt x="59" y="70"/>
                      </a:lnTo>
                      <a:lnTo>
                        <a:pt x="57" y="69"/>
                      </a:lnTo>
                      <a:lnTo>
                        <a:pt x="55" y="68"/>
                      </a:lnTo>
                      <a:lnTo>
                        <a:pt x="55" y="67"/>
                      </a:lnTo>
                      <a:lnTo>
                        <a:pt x="55" y="66"/>
                      </a:lnTo>
                      <a:lnTo>
                        <a:pt x="55" y="63"/>
                      </a:lnTo>
                      <a:lnTo>
                        <a:pt x="55" y="61"/>
                      </a:lnTo>
                      <a:lnTo>
                        <a:pt x="55" y="59"/>
                      </a:lnTo>
                      <a:lnTo>
                        <a:pt x="55" y="55"/>
                      </a:lnTo>
                      <a:lnTo>
                        <a:pt x="55" y="53"/>
                      </a:lnTo>
                      <a:lnTo>
                        <a:pt x="55" y="51"/>
                      </a:lnTo>
                      <a:lnTo>
                        <a:pt x="54" y="49"/>
                      </a:lnTo>
                      <a:lnTo>
                        <a:pt x="54" y="47"/>
                      </a:lnTo>
                      <a:lnTo>
                        <a:pt x="54" y="46"/>
                      </a:lnTo>
                      <a:lnTo>
                        <a:pt x="54" y="44"/>
                      </a:lnTo>
                      <a:lnTo>
                        <a:pt x="53" y="41"/>
                      </a:lnTo>
                      <a:lnTo>
                        <a:pt x="53" y="40"/>
                      </a:lnTo>
                      <a:lnTo>
                        <a:pt x="53" y="38"/>
                      </a:lnTo>
                      <a:lnTo>
                        <a:pt x="52" y="35"/>
                      </a:lnTo>
                      <a:lnTo>
                        <a:pt x="52" y="33"/>
                      </a:lnTo>
                      <a:lnTo>
                        <a:pt x="52" y="31"/>
                      </a:lnTo>
                      <a:lnTo>
                        <a:pt x="50" y="28"/>
                      </a:lnTo>
                      <a:lnTo>
                        <a:pt x="50" y="26"/>
                      </a:lnTo>
                      <a:lnTo>
                        <a:pt x="50" y="25"/>
                      </a:lnTo>
                      <a:lnTo>
                        <a:pt x="49" y="23"/>
                      </a:lnTo>
                      <a:lnTo>
                        <a:pt x="49" y="20"/>
                      </a:lnTo>
                      <a:lnTo>
                        <a:pt x="49" y="18"/>
                      </a:lnTo>
                      <a:lnTo>
                        <a:pt x="48" y="16"/>
                      </a:lnTo>
                      <a:lnTo>
                        <a:pt x="49" y="16"/>
                      </a:lnTo>
                      <a:lnTo>
                        <a:pt x="50" y="14"/>
                      </a:lnTo>
                      <a:lnTo>
                        <a:pt x="53" y="13"/>
                      </a:lnTo>
                      <a:lnTo>
                        <a:pt x="54" y="13"/>
                      </a:lnTo>
                      <a:lnTo>
                        <a:pt x="56" y="12"/>
                      </a:lnTo>
                      <a:lnTo>
                        <a:pt x="59" y="11"/>
                      </a:lnTo>
                      <a:lnTo>
                        <a:pt x="60" y="10"/>
                      </a:lnTo>
                      <a:lnTo>
                        <a:pt x="62" y="9"/>
                      </a:lnTo>
                      <a:lnTo>
                        <a:pt x="63" y="9"/>
                      </a:lnTo>
                      <a:lnTo>
                        <a:pt x="66" y="7"/>
                      </a:lnTo>
                      <a:lnTo>
                        <a:pt x="68" y="6"/>
                      </a:lnTo>
                      <a:lnTo>
                        <a:pt x="69" y="5"/>
                      </a:lnTo>
                      <a:lnTo>
                        <a:pt x="71" y="4"/>
                      </a:lnTo>
                      <a:lnTo>
                        <a:pt x="73" y="4"/>
                      </a:lnTo>
                      <a:lnTo>
                        <a:pt x="75" y="3"/>
                      </a:lnTo>
                      <a:lnTo>
                        <a:pt x="76" y="2"/>
                      </a:lnTo>
                      <a:lnTo>
                        <a:pt x="78" y="0"/>
                      </a:lnTo>
                      <a:lnTo>
                        <a:pt x="80" y="0"/>
                      </a:lnTo>
                      <a:lnTo>
                        <a:pt x="81" y="0"/>
                      </a:lnTo>
                      <a:lnTo>
                        <a:pt x="83" y="2"/>
                      </a:lnTo>
                      <a:lnTo>
                        <a:pt x="88" y="4"/>
                      </a:lnTo>
                      <a:lnTo>
                        <a:pt x="91" y="6"/>
                      </a:lnTo>
                      <a:lnTo>
                        <a:pt x="96" y="7"/>
                      </a:lnTo>
                      <a:lnTo>
                        <a:pt x="99" y="10"/>
                      </a:lnTo>
                      <a:lnTo>
                        <a:pt x="103" y="12"/>
                      </a:lnTo>
                      <a:lnTo>
                        <a:pt x="107" y="14"/>
                      </a:lnTo>
                      <a:lnTo>
                        <a:pt x="111" y="17"/>
                      </a:lnTo>
                      <a:lnTo>
                        <a:pt x="116" y="18"/>
                      </a:lnTo>
                      <a:lnTo>
                        <a:pt x="119" y="20"/>
                      </a:lnTo>
                      <a:lnTo>
                        <a:pt x="123" y="23"/>
                      </a:lnTo>
                      <a:lnTo>
                        <a:pt x="127" y="25"/>
                      </a:lnTo>
                      <a:lnTo>
                        <a:pt x="131" y="27"/>
                      </a:lnTo>
                      <a:lnTo>
                        <a:pt x="135" y="28"/>
                      </a:lnTo>
                      <a:lnTo>
                        <a:pt x="139" y="31"/>
                      </a:lnTo>
                      <a:lnTo>
                        <a:pt x="142" y="33"/>
                      </a:lnTo>
                      <a:lnTo>
                        <a:pt x="147" y="35"/>
                      </a:lnTo>
                      <a:lnTo>
                        <a:pt x="151" y="38"/>
                      </a:lnTo>
                      <a:lnTo>
                        <a:pt x="155" y="39"/>
                      </a:lnTo>
                      <a:lnTo>
                        <a:pt x="159" y="41"/>
                      </a:lnTo>
                      <a:lnTo>
                        <a:pt x="162" y="44"/>
                      </a:lnTo>
                      <a:lnTo>
                        <a:pt x="167" y="46"/>
                      </a:lnTo>
                      <a:lnTo>
                        <a:pt x="170" y="47"/>
                      </a:lnTo>
                      <a:lnTo>
                        <a:pt x="175" y="49"/>
                      </a:lnTo>
                      <a:lnTo>
                        <a:pt x="178" y="52"/>
                      </a:lnTo>
                      <a:lnTo>
                        <a:pt x="182" y="54"/>
                      </a:lnTo>
                      <a:lnTo>
                        <a:pt x="183" y="54"/>
                      </a:lnTo>
                      <a:lnTo>
                        <a:pt x="187" y="56"/>
                      </a:lnTo>
                      <a:lnTo>
                        <a:pt x="190" y="58"/>
                      </a:lnTo>
                      <a:lnTo>
                        <a:pt x="195" y="60"/>
                      </a:lnTo>
                      <a:lnTo>
                        <a:pt x="198" y="62"/>
                      </a:lnTo>
                      <a:lnTo>
                        <a:pt x="202" y="65"/>
                      </a:lnTo>
                      <a:lnTo>
                        <a:pt x="206" y="67"/>
                      </a:lnTo>
                      <a:lnTo>
                        <a:pt x="210" y="68"/>
                      </a:lnTo>
                      <a:lnTo>
                        <a:pt x="215" y="70"/>
                      </a:lnTo>
                      <a:lnTo>
                        <a:pt x="218" y="73"/>
                      </a:lnTo>
                      <a:lnTo>
                        <a:pt x="222" y="75"/>
                      </a:lnTo>
                      <a:lnTo>
                        <a:pt x="226" y="76"/>
                      </a:lnTo>
                      <a:lnTo>
                        <a:pt x="230" y="79"/>
                      </a:lnTo>
                      <a:lnTo>
                        <a:pt x="234" y="81"/>
                      </a:lnTo>
                      <a:lnTo>
                        <a:pt x="238" y="83"/>
                      </a:lnTo>
                      <a:lnTo>
                        <a:pt x="241" y="86"/>
                      </a:lnTo>
                      <a:lnTo>
                        <a:pt x="246" y="87"/>
                      </a:lnTo>
                      <a:lnTo>
                        <a:pt x="249" y="89"/>
                      </a:lnTo>
                      <a:lnTo>
                        <a:pt x="254" y="91"/>
                      </a:lnTo>
                      <a:lnTo>
                        <a:pt x="258" y="94"/>
                      </a:lnTo>
                      <a:lnTo>
                        <a:pt x="261" y="95"/>
                      </a:lnTo>
                      <a:lnTo>
                        <a:pt x="266" y="97"/>
                      </a:lnTo>
                      <a:lnTo>
                        <a:pt x="269" y="100"/>
                      </a:lnTo>
                      <a:lnTo>
                        <a:pt x="274" y="102"/>
                      </a:lnTo>
                      <a:lnTo>
                        <a:pt x="277" y="104"/>
                      </a:lnTo>
                      <a:lnTo>
                        <a:pt x="281" y="105"/>
                      </a:lnTo>
                      <a:lnTo>
                        <a:pt x="286" y="108"/>
                      </a:lnTo>
                      <a:lnTo>
                        <a:pt x="289" y="110"/>
                      </a:lnTo>
                      <a:lnTo>
                        <a:pt x="294" y="112"/>
                      </a:lnTo>
                      <a:lnTo>
                        <a:pt x="297" y="114"/>
                      </a:lnTo>
                      <a:lnTo>
                        <a:pt x="301" y="116"/>
                      </a:lnTo>
                      <a:lnTo>
                        <a:pt x="305" y="118"/>
                      </a:lnTo>
                      <a:lnTo>
                        <a:pt x="309" y="121"/>
                      </a:lnTo>
                      <a:lnTo>
                        <a:pt x="312" y="123"/>
                      </a:lnTo>
                      <a:lnTo>
                        <a:pt x="317" y="124"/>
                      </a:lnTo>
                      <a:lnTo>
                        <a:pt x="320" y="126"/>
                      </a:lnTo>
                      <a:lnTo>
                        <a:pt x="325" y="129"/>
                      </a:lnTo>
                      <a:lnTo>
                        <a:pt x="329" y="131"/>
                      </a:lnTo>
                      <a:lnTo>
                        <a:pt x="332" y="132"/>
                      </a:lnTo>
                      <a:lnTo>
                        <a:pt x="337" y="13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1" name="Freeform 119">
                  <a:extLst>
                    <a:ext uri="{FF2B5EF4-FFF2-40B4-BE49-F238E27FC236}">
                      <a16:creationId xmlns:a16="http://schemas.microsoft.com/office/drawing/2014/main" id="{1FF171E9-499D-E1B9-FDB4-AA5A93300070}"/>
                    </a:ext>
                  </a:extLst>
                </p:cNvPr>
                <p:cNvSpPr>
                  <a:spLocks/>
                </p:cNvSpPr>
                <p:nvPr/>
              </p:nvSpPr>
              <p:spPr bwMode="auto">
                <a:xfrm>
                  <a:off x="6220445" y="3418928"/>
                  <a:ext cx="68150" cy="174160"/>
                </a:xfrm>
                <a:custGeom>
                  <a:avLst/>
                  <a:gdLst>
                    <a:gd name="T0" fmla="*/ 32 w 63"/>
                    <a:gd name="T1" fmla="*/ 11 h 161"/>
                    <a:gd name="T2" fmla="*/ 29 w 63"/>
                    <a:gd name="T3" fmla="*/ 21 h 161"/>
                    <a:gd name="T4" fmla="*/ 44 w 63"/>
                    <a:gd name="T5" fmla="*/ 35 h 161"/>
                    <a:gd name="T6" fmla="*/ 49 w 63"/>
                    <a:gd name="T7" fmla="*/ 48 h 161"/>
                    <a:gd name="T8" fmla="*/ 47 w 63"/>
                    <a:gd name="T9" fmla="*/ 53 h 161"/>
                    <a:gd name="T10" fmla="*/ 53 w 63"/>
                    <a:gd name="T11" fmla="*/ 62 h 161"/>
                    <a:gd name="T12" fmla="*/ 57 w 63"/>
                    <a:gd name="T13" fmla="*/ 82 h 161"/>
                    <a:gd name="T14" fmla="*/ 57 w 63"/>
                    <a:gd name="T15" fmla="*/ 88 h 161"/>
                    <a:gd name="T16" fmla="*/ 57 w 63"/>
                    <a:gd name="T17" fmla="*/ 96 h 161"/>
                    <a:gd name="T18" fmla="*/ 58 w 63"/>
                    <a:gd name="T19" fmla="*/ 129 h 161"/>
                    <a:gd name="T20" fmla="*/ 57 w 63"/>
                    <a:gd name="T21" fmla="*/ 137 h 161"/>
                    <a:gd name="T22" fmla="*/ 57 w 63"/>
                    <a:gd name="T23" fmla="*/ 142 h 161"/>
                    <a:gd name="T24" fmla="*/ 57 w 63"/>
                    <a:gd name="T25" fmla="*/ 145 h 161"/>
                    <a:gd name="T26" fmla="*/ 59 w 63"/>
                    <a:gd name="T27" fmla="*/ 146 h 161"/>
                    <a:gd name="T28" fmla="*/ 60 w 63"/>
                    <a:gd name="T29" fmla="*/ 150 h 161"/>
                    <a:gd name="T30" fmla="*/ 58 w 63"/>
                    <a:gd name="T31" fmla="*/ 157 h 161"/>
                    <a:gd name="T32" fmla="*/ 44 w 63"/>
                    <a:gd name="T33" fmla="*/ 161 h 161"/>
                    <a:gd name="T34" fmla="*/ 39 w 63"/>
                    <a:gd name="T35" fmla="*/ 158 h 161"/>
                    <a:gd name="T36" fmla="*/ 33 w 63"/>
                    <a:gd name="T37" fmla="*/ 153 h 161"/>
                    <a:gd name="T38" fmla="*/ 29 w 63"/>
                    <a:gd name="T39" fmla="*/ 147 h 161"/>
                    <a:gd name="T40" fmla="*/ 28 w 63"/>
                    <a:gd name="T41" fmla="*/ 146 h 161"/>
                    <a:gd name="T42" fmla="*/ 25 w 63"/>
                    <a:gd name="T43" fmla="*/ 142 h 161"/>
                    <a:gd name="T44" fmla="*/ 23 w 63"/>
                    <a:gd name="T45" fmla="*/ 137 h 161"/>
                    <a:gd name="T46" fmla="*/ 24 w 63"/>
                    <a:gd name="T47" fmla="*/ 133 h 161"/>
                    <a:gd name="T48" fmla="*/ 26 w 63"/>
                    <a:gd name="T49" fmla="*/ 123 h 161"/>
                    <a:gd name="T50" fmla="*/ 22 w 63"/>
                    <a:gd name="T51" fmla="*/ 117 h 161"/>
                    <a:gd name="T52" fmla="*/ 24 w 63"/>
                    <a:gd name="T53" fmla="*/ 114 h 161"/>
                    <a:gd name="T54" fmla="*/ 25 w 63"/>
                    <a:gd name="T55" fmla="*/ 105 h 161"/>
                    <a:gd name="T56" fmla="*/ 24 w 63"/>
                    <a:gd name="T57" fmla="*/ 97 h 161"/>
                    <a:gd name="T58" fmla="*/ 24 w 63"/>
                    <a:gd name="T59" fmla="*/ 95 h 161"/>
                    <a:gd name="T60" fmla="*/ 28 w 63"/>
                    <a:gd name="T61" fmla="*/ 91 h 161"/>
                    <a:gd name="T62" fmla="*/ 28 w 63"/>
                    <a:gd name="T63" fmla="*/ 89 h 161"/>
                    <a:gd name="T64" fmla="*/ 19 w 63"/>
                    <a:gd name="T65" fmla="*/ 82 h 161"/>
                    <a:gd name="T66" fmla="*/ 18 w 63"/>
                    <a:gd name="T67" fmla="*/ 77 h 161"/>
                    <a:gd name="T68" fmla="*/ 21 w 63"/>
                    <a:gd name="T69" fmla="*/ 76 h 161"/>
                    <a:gd name="T70" fmla="*/ 19 w 63"/>
                    <a:gd name="T71" fmla="*/ 69 h 161"/>
                    <a:gd name="T72" fmla="*/ 21 w 63"/>
                    <a:gd name="T73" fmla="*/ 65 h 161"/>
                    <a:gd name="T74" fmla="*/ 22 w 63"/>
                    <a:gd name="T75" fmla="*/ 60 h 161"/>
                    <a:gd name="T76" fmla="*/ 21 w 63"/>
                    <a:gd name="T77" fmla="*/ 55 h 161"/>
                    <a:gd name="T78" fmla="*/ 16 w 63"/>
                    <a:gd name="T79" fmla="*/ 54 h 161"/>
                    <a:gd name="T80" fmla="*/ 12 w 63"/>
                    <a:gd name="T81" fmla="*/ 56 h 161"/>
                    <a:gd name="T82" fmla="*/ 15 w 63"/>
                    <a:gd name="T83" fmla="*/ 53 h 161"/>
                    <a:gd name="T84" fmla="*/ 12 w 63"/>
                    <a:gd name="T85" fmla="*/ 52 h 161"/>
                    <a:gd name="T86" fmla="*/ 17 w 63"/>
                    <a:gd name="T87" fmla="*/ 51 h 161"/>
                    <a:gd name="T88" fmla="*/ 14 w 63"/>
                    <a:gd name="T89" fmla="*/ 47 h 161"/>
                    <a:gd name="T90" fmla="*/ 16 w 63"/>
                    <a:gd name="T91" fmla="*/ 46 h 161"/>
                    <a:gd name="T92" fmla="*/ 16 w 63"/>
                    <a:gd name="T93" fmla="*/ 40 h 161"/>
                    <a:gd name="T94" fmla="*/ 16 w 63"/>
                    <a:gd name="T95" fmla="*/ 37 h 161"/>
                    <a:gd name="T96" fmla="*/ 17 w 63"/>
                    <a:gd name="T97" fmla="*/ 35 h 161"/>
                    <a:gd name="T98" fmla="*/ 16 w 63"/>
                    <a:gd name="T99" fmla="*/ 30 h 161"/>
                    <a:gd name="T100" fmla="*/ 15 w 63"/>
                    <a:gd name="T101" fmla="*/ 26 h 161"/>
                    <a:gd name="T102" fmla="*/ 12 w 63"/>
                    <a:gd name="T103" fmla="*/ 25 h 161"/>
                    <a:gd name="T104" fmla="*/ 10 w 63"/>
                    <a:gd name="T105" fmla="*/ 25 h 161"/>
                    <a:gd name="T106" fmla="*/ 6 w 63"/>
                    <a:gd name="T107" fmla="*/ 19 h 161"/>
                    <a:gd name="T108" fmla="*/ 2 w 63"/>
                    <a:gd name="T109" fmla="*/ 17 h 161"/>
                    <a:gd name="T110" fmla="*/ 3 w 63"/>
                    <a:gd name="T111" fmla="*/ 12 h 161"/>
                    <a:gd name="T112" fmla="*/ 4 w 63"/>
                    <a:gd name="T113" fmla="*/ 6 h 161"/>
                    <a:gd name="T114" fmla="*/ 2 w 63"/>
                    <a:gd name="T115" fmla="*/ 3 h 161"/>
                    <a:gd name="T116" fmla="*/ 7 w 63"/>
                    <a:gd name="T117" fmla="*/ 3 h 161"/>
                    <a:gd name="T118" fmla="*/ 21 w 63"/>
                    <a:gd name="T119" fmla="*/ 5 h 161"/>
                    <a:gd name="T120" fmla="*/ 33 w 63"/>
                    <a:gd name="T121"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 h="161">
                      <a:moveTo>
                        <a:pt x="33" y="5"/>
                      </a:moveTo>
                      <a:lnTo>
                        <a:pt x="32" y="7"/>
                      </a:lnTo>
                      <a:lnTo>
                        <a:pt x="32" y="7"/>
                      </a:lnTo>
                      <a:lnTo>
                        <a:pt x="32" y="9"/>
                      </a:lnTo>
                      <a:lnTo>
                        <a:pt x="32" y="9"/>
                      </a:lnTo>
                      <a:lnTo>
                        <a:pt x="32" y="10"/>
                      </a:lnTo>
                      <a:lnTo>
                        <a:pt x="32" y="10"/>
                      </a:lnTo>
                      <a:lnTo>
                        <a:pt x="32" y="11"/>
                      </a:lnTo>
                      <a:lnTo>
                        <a:pt x="32" y="11"/>
                      </a:lnTo>
                      <a:lnTo>
                        <a:pt x="32" y="12"/>
                      </a:lnTo>
                      <a:lnTo>
                        <a:pt x="31" y="12"/>
                      </a:lnTo>
                      <a:lnTo>
                        <a:pt x="30" y="13"/>
                      </a:lnTo>
                      <a:lnTo>
                        <a:pt x="30" y="14"/>
                      </a:lnTo>
                      <a:lnTo>
                        <a:pt x="30" y="18"/>
                      </a:lnTo>
                      <a:lnTo>
                        <a:pt x="30" y="19"/>
                      </a:lnTo>
                      <a:lnTo>
                        <a:pt x="29" y="21"/>
                      </a:lnTo>
                      <a:lnTo>
                        <a:pt x="29" y="24"/>
                      </a:lnTo>
                      <a:lnTo>
                        <a:pt x="29" y="25"/>
                      </a:lnTo>
                      <a:lnTo>
                        <a:pt x="29" y="25"/>
                      </a:lnTo>
                      <a:lnTo>
                        <a:pt x="31" y="27"/>
                      </a:lnTo>
                      <a:lnTo>
                        <a:pt x="35" y="28"/>
                      </a:lnTo>
                      <a:lnTo>
                        <a:pt x="37" y="31"/>
                      </a:lnTo>
                      <a:lnTo>
                        <a:pt x="39" y="32"/>
                      </a:lnTo>
                      <a:lnTo>
                        <a:pt x="44" y="35"/>
                      </a:lnTo>
                      <a:lnTo>
                        <a:pt x="47" y="37"/>
                      </a:lnTo>
                      <a:lnTo>
                        <a:pt x="47" y="38"/>
                      </a:lnTo>
                      <a:lnTo>
                        <a:pt x="47" y="39"/>
                      </a:lnTo>
                      <a:lnTo>
                        <a:pt x="47" y="41"/>
                      </a:lnTo>
                      <a:lnTo>
                        <a:pt x="47" y="45"/>
                      </a:lnTo>
                      <a:lnTo>
                        <a:pt x="47" y="47"/>
                      </a:lnTo>
                      <a:lnTo>
                        <a:pt x="49" y="48"/>
                      </a:lnTo>
                      <a:lnTo>
                        <a:pt x="49" y="48"/>
                      </a:lnTo>
                      <a:lnTo>
                        <a:pt x="49" y="49"/>
                      </a:lnTo>
                      <a:lnTo>
                        <a:pt x="49" y="49"/>
                      </a:lnTo>
                      <a:lnTo>
                        <a:pt x="49" y="51"/>
                      </a:lnTo>
                      <a:lnTo>
                        <a:pt x="47" y="51"/>
                      </a:lnTo>
                      <a:lnTo>
                        <a:pt x="47" y="52"/>
                      </a:lnTo>
                      <a:lnTo>
                        <a:pt x="47" y="52"/>
                      </a:lnTo>
                      <a:lnTo>
                        <a:pt x="47" y="53"/>
                      </a:lnTo>
                      <a:lnTo>
                        <a:pt x="47" y="53"/>
                      </a:lnTo>
                      <a:lnTo>
                        <a:pt x="49" y="54"/>
                      </a:lnTo>
                      <a:lnTo>
                        <a:pt x="49" y="53"/>
                      </a:lnTo>
                      <a:lnTo>
                        <a:pt x="49" y="54"/>
                      </a:lnTo>
                      <a:lnTo>
                        <a:pt x="50" y="58"/>
                      </a:lnTo>
                      <a:lnTo>
                        <a:pt x="50" y="59"/>
                      </a:lnTo>
                      <a:lnTo>
                        <a:pt x="51" y="60"/>
                      </a:lnTo>
                      <a:lnTo>
                        <a:pt x="51" y="60"/>
                      </a:lnTo>
                      <a:lnTo>
                        <a:pt x="53" y="62"/>
                      </a:lnTo>
                      <a:lnTo>
                        <a:pt x="56" y="65"/>
                      </a:lnTo>
                      <a:lnTo>
                        <a:pt x="56" y="66"/>
                      </a:lnTo>
                      <a:lnTo>
                        <a:pt x="56" y="67"/>
                      </a:lnTo>
                      <a:lnTo>
                        <a:pt x="57" y="67"/>
                      </a:lnTo>
                      <a:lnTo>
                        <a:pt x="57" y="72"/>
                      </a:lnTo>
                      <a:lnTo>
                        <a:pt x="57" y="75"/>
                      </a:lnTo>
                      <a:lnTo>
                        <a:pt x="57" y="77"/>
                      </a:lnTo>
                      <a:lnTo>
                        <a:pt x="57" y="82"/>
                      </a:lnTo>
                      <a:lnTo>
                        <a:pt x="57" y="83"/>
                      </a:lnTo>
                      <a:lnTo>
                        <a:pt x="57" y="83"/>
                      </a:lnTo>
                      <a:lnTo>
                        <a:pt x="57" y="84"/>
                      </a:lnTo>
                      <a:lnTo>
                        <a:pt x="58" y="84"/>
                      </a:lnTo>
                      <a:lnTo>
                        <a:pt x="58" y="86"/>
                      </a:lnTo>
                      <a:lnTo>
                        <a:pt x="58" y="86"/>
                      </a:lnTo>
                      <a:lnTo>
                        <a:pt x="57" y="88"/>
                      </a:lnTo>
                      <a:lnTo>
                        <a:pt x="57" y="88"/>
                      </a:lnTo>
                      <a:lnTo>
                        <a:pt x="57" y="88"/>
                      </a:lnTo>
                      <a:lnTo>
                        <a:pt x="57" y="89"/>
                      </a:lnTo>
                      <a:lnTo>
                        <a:pt x="57" y="89"/>
                      </a:lnTo>
                      <a:lnTo>
                        <a:pt x="57" y="89"/>
                      </a:lnTo>
                      <a:lnTo>
                        <a:pt x="57" y="89"/>
                      </a:lnTo>
                      <a:lnTo>
                        <a:pt x="57" y="89"/>
                      </a:lnTo>
                      <a:lnTo>
                        <a:pt x="57" y="93"/>
                      </a:lnTo>
                      <a:lnTo>
                        <a:pt x="57" y="96"/>
                      </a:lnTo>
                      <a:lnTo>
                        <a:pt x="57" y="101"/>
                      </a:lnTo>
                      <a:lnTo>
                        <a:pt x="57" y="107"/>
                      </a:lnTo>
                      <a:lnTo>
                        <a:pt x="58" y="112"/>
                      </a:lnTo>
                      <a:lnTo>
                        <a:pt x="58" y="114"/>
                      </a:lnTo>
                      <a:lnTo>
                        <a:pt x="58" y="116"/>
                      </a:lnTo>
                      <a:lnTo>
                        <a:pt x="58" y="119"/>
                      </a:lnTo>
                      <a:lnTo>
                        <a:pt x="58" y="124"/>
                      </a:lnTo>
                      <a:lnTo>
                        <a:pt x="58" y="129"/>
                      </a:lnTo>
                      <a:lnTo>
                        <a:pt x="58" y="133"/>
                      </a:lnTo>
                      <a:lnTo>
                        <a:pt x="57" y="133"/>
                      </a:lnTo>
                      <a:lnTo>
                        <a:pt x="54" y="133"/>
                      </a:lnTo>
                      <a:lnTo>
                        <a:pt x="56" y="136"/>
                      </a:lnTo>
                      <a:lnTo>
                        <a:pt x="56" y="136"/>
                      </a:lnTo>
                      <a:lnTo>
                        <a:pt x="56" y="136"/>
                      </a:lnTo>
                      <a:lnTo>
                        <a:pt x="57" y="137"/>
                      </a:lnTo>
                      <a:lnTo>
                        <a:pt x="57" y="137"/>
                      </a:lnTo>
                      <a:lnTo>
                        <a:pt x="57" y="137"/>
                      </a:lnTo>
                      <a:lnTo>
                        <a:pt x="57" y="138"/>
                      </a:lnTo>
                      <a:lnTo>
                        <a:pt x="57" y="139"/>
                      </a:lnTo>
                      <a:lnTo>
                        <a:pt x="57" y="139"/>
                      </a:lnTo>
                      <a:lnTo>
                        <a:pt x="57" y="140"/>
                      </a:lnTo>
                      <a:lnTo>
                        <a:pt x="57" y="142"/>
                      </a:lnTo>
                      <a:lnTo>
                        <a:pt x="57" y="142"/>
                      </a:lnTo>
                      <a:lnTo>
                        <a:pt x="57" y="142"/>
                      </a:lnTo>
                      <a:lnTo>
                        <a:pt x="57" y="143"/>
                      </a:lnTo>
                      <a:lnTo>
                        <a:pt x="56" y="143"/>
                      </a:lnTo>
                      <a:lnTo>
                        <a:pt x="56" y="144"/>
                      </a:lnTo>
                      <a:lnTo>
                        <a:pt x="57" y="144"/>
                      </a:lnTo>
                      <a:lnTo>
                        <a:pt x="57" y="145"/>
                      </a:lnTo>
                      <a:lnTo>
                        <a:pt x="57" y="145"/>
                      </a:lnTo>
                      <a:lnTo>
                        <a:pt x="57" y="145"/>
                      </a:lnTo>
                      <a:lnTo>
                        <a:pt x="57" y="145"/>
                      </a:lnTo>
                      <a:lnTo>
                        <a:pt x="57" y="146"/>
                      </a:lnTo>
                      <a:lnTo>
                        <a:pt x="57" y="146"/>
                      </a:lnTo>
                      <a:lnTo>
                        <a:pt x="58" y="146"/>
                      </a:lnTo>
                      <a:lnTo>
                        <a:pt x="58" y="146"/>
                      </a:lnTo>
                      <a:lnTo>
                        <a:pt x="58" y="146"/>
                      </a:lnTo>
                      <a:lnTo>
                        <a:pt x="58" y="146"/>
                      </a:lnTo>
                      <a:lnTo>
                        <a:pt x="59" y="146"/>
                      </a:lnTo>
                      <a:lnTo>
                        <a:pt x="59" y="146"/>
                      </a:lnTo>
                      <a:lnTo>
                        <a:pt x="59" y="147"/>
                      </a:lnTo>
                      <a:lnTo>
                        <a:pt x="59" y="147"/>
                      </a:lnTo>
                      <a:lnTo>
                        <a:pt x="59" y="147"/>
                      </a:lnTo>
                      <a:lnTo>
                        <a:pt x="59" y="147"/>
                      </a:lnTo>
                      <a:lnTo>
                        <a:pt x="59" y="149"/>
                      </a:lnTo>
                      <a:lnTo>
                        <a:pt x="59" y="149"/>
                      </a:lnTo>
                      <a:lnTo>
                        <a:pt x="59" y="150"/>
                      </a:lnTo>
                      <a:lnTo>
                        <a:pt x="60" y="150"/>
                      </a:lnTo>
                      <a:lnTo>
                        <a:pt x="60" y="150"/>
                      </a:lnTo>
                      <a:lnTo>
                        <a:pt x="61" y="150"/>
                      </a:lnTo>
                      <a:lnTo>
                        <a:pt x="61" y="151"/>
                      </a:lnTo>
                      <a:lnTo>
                        <a:pt x="63" y="153"/>
                      </a:lnTo>
                      <a:lnTo>
                        <a:pt x="63" y="156"/>
                      </a:lnTo>
                      <a:lnTo>
                        <a:pt x="63" y="156"/>
                      </a:lnTo>
                      <a:lnTo>
                        <a:pt x="58" y="157"/>
                      </a:lnTo>
                      <a:lnTo>
                        <a:pt x="58" y="157"/>
                      </a:lnTo>
                      <a:lnTo>
                        <a:pt x="58" y="158"/>
                      </a:lnTo>
                      <a:lnTo>
                        <a:pt x="58" y="158"/>
                      </a:lnTo>
                      <a:lnTo>
                        <a:pt x="58" y="158"/>
                      </a:lnTo>
                      <a:lnTo>
                        <a:pt x="52" y="159"/>
                      </a:lnTo>
                      <a:lnTo>
                        <a:pt x="46" y="160"/>
                      </a:lnTo>
                      <a:lnTo>
                        <a:pt x="44" y="161"/>
                      </a:lnTo>
                      <a:lnTo>
                        <a:pt x="44" y="161"/>
                      </a:lnTo>
                      <a:lnTo>
                        <a:pt x="44" y="161"/>
                      </a:lnTo>
                      <a:lnTo>
                        <a:pt x="44" y="160"/>
                      </a:lnTo>
                      <a:lnTo>
                        <a:pt x="44" y="160"/>
                      </a:lnTo>
                      <a:lnTo>
                        <a:pt x="42" y="160"/>
                      </a:lnTo>
                      <a:lnTo>
                        <a:pt x="40" y="159"/>
                      </a:lnTo>
                      <a:lnTo>
                        <a:pt x="40" y="159"/>
                      </a:lnTo>
                      <a:lnTo>
                        <a:pt x="40" y="159"/>
                      </a:lnTo>
                      <a:lnTo>
                        <a:pt x="39" y="158"/>
                      </a:lnTo>
                      <a:lnTo>
                        <a:pt x="39" y="158"/>
                      </a:lnTo>
                      <a:lnTo>
                        <a:pt x="39" y="158"/>
                      </a:lnTo>
                      <a:lnTo>
                        <a:pt x="39" y="158"/>
                      </a:lnTo>
                      <a:lnTo>
                        <a:pt x="38" y="157"/>
                      </a:lnTo>
                      <a:lnTo>
                        <a:pt x="37" y="154"/>
                      </a:lnTo>
                      <a:lnTo>
                        <a:pt x="35" y="154"/>
                      </a:lnTo>
                      <a:lnTo>
                        <a:pt x="35" y="154"/>
                      </a:lnTo>
                      <a:lnTo>
                        <a:pt x="33" y="154"/>
                      </a:lnTo>
                      <a:lnTo>
                        <a:pt x="33" y="153"/>
                      </a:lnTo>
                      <a:lnTo>
                        <a:pt x="32" y="152"/>
                      </a:lnTo>
                      <a:lnTo>
                        <a:pt x="31" y="152"/>
                      </a:lnTo>
                      <a:lnTo>
                        <a:pt x="30" y="151"/>
                      </a:lnTo>
                      <a:lnTo>
                        <a:pt x="30" y="150"/>
                      </a:lnTo>
                      <a:lnTo>
                        <a:pt x="29" y="150"/>
                      </a:lnTo>
                      <a:lnTo>
                        <a:pt x="29" y="149"/>
                      </a:lnTo>
                      <a:lnTo>
                        <a:pt x="29" y="149"/>
                      </a:lnTo>
                      <a:lnTo>
                        <a:pt x="29" y="147"/>
                      </a:lnTo>
                      <a:lnTo>
                        <a:pt x="29" y="147"/>
                      </a:lnTo>
                      <a:lnTo>
                        <a:pt x="29" y="147"/>
                      </a:lnTo>
                      <a:lnTo>
                        <a:pt x="29" y="147"/>
                      </a:lnTo>
                      <a:lnTo>
                        <a:pt x="29" y="146"/>
                      </a:lnTo>
                      <a:lnTo>
                        <a:pt x="29" y="146"/>
                      </a:lnTo>
                      <a:lnTo>
                        <a:pt x="28" y="146"/>
                      </a:lnTo>
                      <a:lnTo>
                        <a:pt x="28" y="146"/>
                      </a:lnTo>
                      <a:lnTo>
                        <a:pt x="28" y="146"/>
                      </a:lnTo>
                      <a:lnTo>
                        <a:pt x="26" y="145"/>
                      </a:lnTo>
                      <a:lnTo>
                        <a:pt x="26" y="145"/>
                      </a:lnTo>
                      <a:lnTo>
                        <a:pt x="26" y="145"/>
                      </a:lnTo>
                      <a:lnTo>
                        <a:pt x="26" y="143"/>
                      </a:lnTo>
                      <a:lnTo>
                        <a:pt x="26" y="143"/>
                      </a:lnTo>
                      <a:lnTo>
                        <a:pt x="26" y="142"/>
                      </a:lnTo>
                      <a:lnTo>
                        <a:pt x="25" y="142"/>
                      </a:lnTo>
                      <a:lnTo>
                        <a:pt x="25" y="142"/>
                      </a:lnTo>
                      <a:lnTo>
                        <a:pt x="24" y="142"/>
                      </a:lnTo>
                      <a:lnTo>
                        <a:pt x="24" y="140"/>
                      </a:lnTo>
                      <a:lnTo>
                        <a:pt x="23" y="139"/>
                      </a:lnTo>
                      <a:lnTo>
                        <a:pt x="23" y="139"/>
                      </a:lnTo>
                      <a:lnTo>
                        <a:pt x="23" y="139"/>
                      </a:lnTo>
                      <a:lnTo>
                        <a:pt x="23" y="138"/>
                      </a:lnTo>
                      <a:lnTo>
                        <a:pt x="23" y="138"/>
                      </a:lnTo>
                      <a:lnTo>
                        <a:pt x="23" y="137"/>
                      </a:lnTo>
                      <a:lnTo>
                        <a:pt x="23" y="136"/>
                      </a:lnTo>
                      <a:lnTo>
                        <a:pt x="23" y="136"/>
                      </a:lnTo>
                      <a:lnTo>
                        <a:pt x="22" y="135"/>
                      </a:lnTo>
                      <a:lnTo>
                        <a:pt x="22" y="135"/>
                      </a:lnTo>
                      <a:lnTo>
                        <a:pt x="22" y="135"/>
                      </a:lnTo>
                      <a:lnTo>
                        <a:pt x="23" y="135"/>
                      </a:lnTo>
                      <a:lnTo>
                        <a:pt x="24" y="133"/>
                      </a:lnTo>
                      <a:lnTo>
                        <a:pt x="24" y="133"/>
                      </a:lnTo>
                      <a:lnTo>
                        <a:pt x="25" y="132"/>
                      </a:lnTo>
                      <a:lnTo>
                        <a:pt x="25" y="131"/>
                      </a:lnTo>
                      <a:lnTo>
                        <a:pt x="25" y="130"/>
                      </a:lnTo>
                      <a:lnTo>
                        <a:pt x="25" y="129"/>
                      </a:lnTo>
                      <a:lnTo>
                        <a:pt x="25" y="126"/>
                      </a:lnTo>
                      <a:lnTo>
                        <a:pt x="26" y="125"/>
                      </a:lnTo>
                      <a:lnTo>
                        <a:pt x="26" y="124"/>
                      </a:lnTo>
                      <a:lnTo>
                        <a:pt x="26" y="123"/>
                      </a:lnTo>
                      <a:lnTo>
                        <a:pt x="26" y="121"/>
                      </a:lnTo>
                      <a:lnTo>
                        <a:pt x="25" y="121"/>
                      </a:lnTo>
                      <a:lnTo>
                        <a:pt x="24" y="121"/>
                      </a:lnTo>
                      <a:lnTo>
                        <a:pt x="24" y="122"/>
                      </a:lnTo>
                      <a:lnTo>
                        <a:pt x="23" y="121"/>
                      </a:lnTo>
                      <a:lnTo>
                        <a:pt x="22" y="121"/>
                      </a:lnTo>
                      <a:lnTo>
                        <a:pt x="22" y="119"/>
                      </a:lnTo>
                      <a:lnTo>
                        <a:pt x="22" y="117"/>
                      </a:lnTo>
                      <a:lnTo>
                        <a:pt x="22" y="116"/>
                      </a:lnTo>
                      <a:lnTo>
                        <a:pt x="22" y="115"/>
                      </a:lnTo>
                      <a:lnTo>
                        <a:pt x="22" y="115"/>
                      </a:lnTo>
                      <a:lnTo>
                        <a:pt x="22" y="115"/>
                      </a:lnTo>
                      <a:lnTo>
                        <a:pt x="23" y="115"/>
                      </a:lnTo>
                      <a:lnTo>
                        <a:pt x="23" y="114"/>
                      </a:lnTo>
                      <a:lnTo>
                        <a:pt x="24" y="114"/>
                      </a:lnTo>
                      <a:lnTo>
                        <a:pt x="24" y="114"/>
                      </a:lnTo>
                      <a:lnTo>
                        <a:pt x="24" y="112"/>
                      </a:lnTo>
                      <a:lnTo>
                        <a:pt x="24" y="111"/>
                      </a:lnTo>
                      <a:lnTo>
                        <a:pt x="24" y="111"/>
                      </a:lnTo>
                      <a:lnTo>
                        <a:pt x="25" y="111"/>
                      </a:lnTo>
                      <a:lnTo>
                        <a:pt x="25" y="110"/>
                      </a:lnTo>
                      <a:lnTo>
                        <a:pt x="25" y="109"/>
                      </a:lnTo>
                      <a:lnTo>
                        <a:pt x="25" y="107"/>
                      </a:lnTo>
                      <a:lnTo>
                        <a:pt x="25" y="105"/>
                      </a:lnTo>
                      <a:lnTo>
                        <a:pt x="25" y="104"/>
                      </a:lnTo>
                      <a:lnTo>
                        <a:pt x="24" y="103"/>
                      </a:lnTo>
                      <a:lnTo>
                        <a:pt x="24" y="102"/>
                      </a:lnTo>
                      <a:lnTo>
                        <a:pt x="24" y="101"/>
                      </a:lnTo>
                      <a:lnTo>
                        <a:pt x="24" y="100"/>
                      </a:lnTo>
                      <a:lnTo>
                        <a:pt x="24" y="98"/>
                      </a:lnTo>
                      <a:lnTo>
                        <a:pt x="24" y="97"/>
                      </a:lnTo>
                      <a:lnTo>
                        <a:pt x="24" y="97"/>
                      </a:lnTo>
                      <a:lnTo>
                        <a:pt x="24" y="97"/>
                      </a:lnTo>
                      <a:lnTo>
                        <a:pt x="24" y="96"/>
                      </a:lnTo>
                      <a:lnTo>
                        <a:pt x="24" y="96"/>
                      </a:lnTo>
                      <a:lnTo>
                        <a:pt x="24" y="96"/>
                      </a:lnTo>
                      <a:lnTo>
                        <a:pt x="24" y="96"/>
                      </a:lnTo>
                      <a:lnTo>
                        <a:pt x="24" y="95"/>
                      </a:lnTo>
                      <a:lnTo>
                        <a:pt x="24" y="95"/>
                      </a:lnTo>
                      <a:lnTo>
                        <a:pt x="24" y="95"/>
                      </a:lnTo>
                      <a:lnTo>
                        <a:pt x="24" y="95"/>
                      </a:lnTo>
                      <a:lnTo>
                        <a:pt x="24" y="95"/>
                      </a:lnTo>
                      <a:lnTo>
                        <a:pt x="25" y="94"/>
                      </a:lnTo>
                      <a:lnTo>
                        <a:pt x="26" y="94"/>
                      </a:lnTo>
                      <a:lnTo>
                        <a:pt x="28" y="93"/>
                      </a:lnTo>
                      <a:lnTo>
                        <a:pt x="28" y="93"/>
                      </a:lnTo>
                      <a:lnTo>
                        <a:pt x="28" y="91"/>
                      </a:lnTo>
                      <a:lnTo>
                        <a:pt x="28" y="91"/>
                      </a:lnTo>
                      <a:lnTo>
                        <a:pt x="28" y="91"/>
                      </a:lnTo>
                      <a:lnTo>
                        <a:pt x="28" y="91"/>
                      </a:lnTo>
                      <a:lnTo>
                        <a:pt x="28" y="90"/>
                      </a:lnTo>
                      <a:lnTo>
                        <a:pt x="28" y="90"/>
                      </a:lnTo>
                      <a:lnTo>
                        <a:pt x="28" y="90"/>
                      </a:lnTo>
                      <a:lnTo>
                        <a:pt x="28" y="90"/>
                      </a:lnTo>
                      <a:lnTo>
                        <a:pt x="28" y="89"/>
                      </a:lnTo>
                      <a:lnTo>
                        <a:pt x="28" y="89"/>
                      </a:lnTo>
                      <a:lnTo>
                        <a:pt x="26" y="88"/>
                      </a:lnTo>
                      <a:lnTo>
                        <a:pt x="25" y="87"/>
                      </a:lnTo>
                      <a:lnTo>
                        <a:pt x="25" y="86"/>
                      </a:lnTo>
                      <a:lnTo>
                        <a:pt x="23" y="84"/>
                      </a:lnTo>
                      <a:lnTo>
                        <a:pt x="22" y="84"/>
                      </a:lnTo>
                      <a:lnTo>
                        <a:pt x="22" y="83"/>
                      </a:lnTo>
                      <a:lnTo>
                        <a:pt x="21" y="83"/>
                      </a:lnTo>
                      <a:lnTo>
                        <a:pt x="19" y="82"/>
                      </a:lnTo>
                      <a:lnTo>
                        <a:pt x="18" y="80"/>
                      </a:lnTo>
                      <a:lnTo>
                        <a:pt x="17" y="79"/>
                      </a:lnTo>
                      <a:lnTo>
                        <a:pt x="17" y="77"/>
                      </a:lnTo>
                      <a:lnTo>
                        <a:pt x="17" y="76"/>
                      </a:lnTo>
                      <a:lnTo>
                        <a:pt x="17" y="76"/>
                      </a:lnTo>
                      <a:lnTo>
                        <a:pt x="17" y="76"/>
                      </a:lnTo>
                      <a:lnTo>
                        <a:pt x="18" y="76"/>
                      </a:lnTo>
                      <a:lnTo>
                        <a:pt x="18" y="77"/>
                      </a:lnTo>
                      <a:lnTo>
                        <a:pt x="18" y="76"/>
                      </a:lnTo>
                      <a:lnTo>
                        <a:pt x="18" y="76"/>
                      </a:lnTo>
                      <a:lnTo>
                        <a:pt x="18" y="76"/>
                      </a:lnTo>
                      <a:lnTo>
                        <a:pt x="19" y="76"/>
                      </a:lnTo>
                      <a:lnTo>
                        <a:pt x="19" y="76"/>
                      </a:lnTo>
                      <a:lnTo>
                        <a:pt x="19" y="76"/>
                      </a:lnTo>
                      <a:lnTo>
                        <a:pt x="21" y="76"/>
                      </a:lnTo>
                      <a:lnTo>
                        <a:pt x="21" y="76"/>
                      </a:lnTo>
                      <a:lnTo>
                        <a:pt x="21" y="75"/>
                      </a:lnTo>
                      <a:lnTo>
                        <a:pt x="21" y="75"/>
                      </a:lnTo>
                      <a:lnTo>
                        <a:pt x="21" y="75"/>
                      </a:lnTo>
                      <a:lnTo>
                        <a:pt x="21" y="75"/>
                      </a:lnTo>
                      <a:lnTo>
                        <a:pt x="22" y="74"/>
                      </a:lnTo>
                      <a:lnTo>
                        <a:pt x="21" y="72"/>
                      </a:lnTo>
                      <a:lnTo>
                        <a:pt x="19" y="69"/>
                      </a:lnTo>
                      <a:lnTo>
                        <a:pt x="19" y="69"/>
                      </a:lnTo>
                      <a:lnTo>
                        <a:pt x="19" y="69"/>
                      </a:lnTo>
                      <a:lnTo>
                        <a:pt x="19" y="68"/>
                      </a:lnTo>
                      <a:lnTo>
                        <a:pt x="19" y="68"/>
                      </a:lnTo>
                      <a:lnTo>
                        <a:pt x="19" y="67"/>
                      </a:lnTo>
                      <a:lnTo>
                        <a:pt x="19" y="66"/>
                      </a:lnTo>
                      <a:lnTo>
                        <a:pt x="19" y="65"/>
                      </a:lnTo>
                      <a:lnTo>
                        <a:pt x="21" y="65"/>
                      </a:lnTo>
                      <a:lnTo>
                        <a:pt x="21" y="65"/>
                      </a:lnTo>
                      <a:lnTo>
                        <a:pt x="22" y="63"/>
                      </a:lnTo>
                      <a:lnTo>
                        <a:pt x="22" y="63"/>
                      </a:lnTo>
                      <a:lnTo>
                        <a:pt x="21" y="62"/>
                      </a:lnTo>
                      <a:lnTo>
                        <a:pt x="21" y="61"/>
                      </a:lnTo>
                      <a:lnTo>
                        <a:pt x="21" y="61"/>
                      </a:lnTo>
                      <a:lnTo>
                        <a:pt x="22" y="61"/>
                      </a:lnTo>
                      <a:lnTo>
                        <a:pt x="22" y="60"/>
                      </a:lnTo>
                      <a:lnTo>
                        <a:pt x="22" y="60"/>
                      </a:lnTo>
                      <a:lnTo>
                        <a:pt x="22" y="59"/>
                      </a:lnTo>
                      <a:lnTo>
                        <a:pt x="22" y="58"/>
                      </a:lnTo>
                      <a:lnTo>
                        <a:pt x="22" y="56"/>
                      </a:lnTo>
                      <a:lnTo>
                        <a:pt x="22" y="56"/>
                      </a:lnTo>
                      <a:lnTo>
                        <a:pt x="21" y="55"/>
                      </a:lnTo>
                      <a:lnTo>
                        <a:pt x="21" y="55"/>
                      </a:lnTo>
                      <a:lnTo>
                        <a:pt x="21" y="55"/>
                      </a:lnTo>
                      <a:lnTo>
                        <a:pt x="21" y="55"/>
                      </a:lnTo>
                      <a:lnTo>
                        <a:pt x="21" y="55"/>
                      </a:lnTo>
                      <a:lnTo>
                        <a:pt x="21" y="55"/>
                      </a:lnTo>
                      <a:lnTo>
                        <a:pt x="21" y="54"/>
                      </a:lnTo>
                      <a:lnTo>
                        <a:pt x="21" y="54"/>
                      </a:lnTo>
                      <a:lnTo>
                        <a:pt x="18" y="54"/>
                      </a:lnTo>
                      <a:lnTo>
                        <a:pt x="18" y="54"/>
                      </a:lnTo>
                      <a:lnTo>
                        <a:pt x="17" y="54"/>
                      </a:lnTo>
                      <a:lnTo>
                        <a:pt x="16" y="54"/>
                      </a:lnTo>
                      <a:lnTo>
                        <a:pt x="16" y="54"/>
                      </a:lnTo>
                      <a:lnTo>
                        <a:pt x="16" y="54"/>
                      </a:lnTo>
                      <a:lnTo>
                        <a:pt x="16" y="55"/>
                      </a:lnTo>
                      <a:lnTo>
                        <a:pt x="15" y="55"/>
                      </a:lnTo>
                      <a:lnTo>
                        <a:pt x="15" y="55"/>
                      </a:lnTo>
                      <a:lnTo>
                        <a:pt x="14" y="56"/>
                      </a:lnTo>
                      <a:lnTo>
                        <a:pt x="12" y="56"/>
                      </a:lnTo>
                      <a:lnTo>
                        <a:pt x="12" y="56"/>
                      </a:lnTo>
                      <a:lnTo>
                        <a:pt x="12" y="55"/>
                      </a:lnTo>
                      <a:lnTo>
                        <a:pt x="12" y="55"/>
                      </a:lnTo>
                      <a:lnTo>
                        <a:pt x="12" y="55"/>
                      </a:lnTo>
                      <a:lnTo>
                        <a:pt x="12" y="54"/>
                      </a:lnTo>
                      <a:lnTo>
                        <a:pt x="14" y="54"/>
                      </a:lnTo>
                      <a:lnTo>
                        <a:pt x="14" y="54"/>
                      </a:lnTo>
                      <a:lnTo>
                        <a:pt x="15" y="54"/>
                      </a:lnTo>
                      <a:lnTo>
                        <a:pt x="15" y="53"/>
                      </a:lnTo>
                      <a:lnTo>
                        <a:pt x="15" y="53"/>
                      </a:lnTo>
                      <a:lnTo>
                        <a:pt x="14" y="53"/>
                      </a:lnTo>
                      <a:lnTo>
                        <a:pt x="14" y="53"/>
                      </a:lnTo>
                      <a:lnTo>
                        <a:pt x="12" y="53"/>
                      </a:lnTo>
                      <a:lnTo>
                        <a:pt x="12" y="53"/>
                      </a:lnTo>
                      <a:lnTo>
                        <a:pt x="12" y="53"/>
                      </a:lnTo>
                      <a:lnTo>
                        <a:pt x="12" y="53"/>
                      </a:lnTo>
                      <a:lnTo>
                        <a:pt x="12" y="52"/>
                      </a:lnTo>
                      <a:lnTo>
                        <a:pt x="12" y="52"/>
                      </a:lnTo>
                      <a:lnTo>
                        <a:pt x="12" y="51"/>
                      </a:lnTo>
                      <a:lnTo>
                        <a:pt x="14" y="52"/>
                      </a:lnTo>
                      <a:lnTo>
                        <a:pt x="15" y="51"/>
                      </a:lnTo>
                      <a:lnTo>
                        <a:pt x="15" y="51"/>
                      </a:lnTo>
                      <a:lnTo>
                        <a:pt x="16" y="51"/>
                      </a:lnTo>
                      <a:lnTo>
                        <a:pt x="16" y="51"/>
                      </a:lnTo>
                      <a:lnTo>
                        <a:pt x="17" y="51"/>
                      </a:lnTo>
                      <a:lnTo>
                        <a:pt x="17" y="51"/>
                      </a:lnTo>
                      <a:lnTo>
                        <a:pt x="17" y="49"/>
                      </a:lnTo>
                      <a:lnTo>
                        <a:pt x="16" y="49"/>
                      </a:lnTo>
                      <a:lnTo>
                        <a:pt x="15" y="51"/>
                      </a:lnTo>
                      <a:lnTo>
                        <a:pt x="14" y="51"/>
                      </a:lnTo>
                      <a:lnTo>
                        <a:pt x="14" y="49"/>
                      </a:lnTo>
                      <a:lnTo>
                        <a:pt x="14" y="48"/>
                      </a:lnTo>
                      <a:lnTo>
                        <a:pt x="14" y="47"/>
                      </a:lnTo>
                      <a:lnTo>
                        <a:pt x="15" y="48"/>
                      </a:lnTo>
                      <a:lnTo>
                        <a:pt x="15" y="48"/>
                      </a:lnTo>
                      <a:lnTo>
                        <a:pt x="16" y="48"/>
                      </a:lnTo>
                      <a:lnTo>
                        <a:pt x="16" y="48"/>
                      </a:lnTo>
                      <a:lnTo>
                        <a:pt x="16" y="47"/>
                      </a:lnTo>
                      <a:lnTo>
                        <a:pt x="16" y="47"/>
                      </a:lnTo>
                      <a:lnTo>
                        <a:pt x="16" y="47"/>
                      </a:lnTo>
                      <a:lnTo>
                        <a:pt x="16" y="46"/>
                      </a:lnTo>
                      <a:lnTo>
                        <a:pt x="16" y="46"/>
                      </a:lnTo>
                      <a:lnTo>
                        <a:pt x="15" y="46"/>
                      </a:lnTo>
                      <a:lnTo>
                        <a:pt x="15" y="45"/>
                      </a:lnTo>
                      <a:lnTo>
                        <a:pt x="16" y="42"/>
                      </a:lnTo>
                      <a:lnTo>
                        <a:pt x="16" y="42"/>
                      </a:lnTo>
                      <a:lnTo>
                        <a:pt x="16" y="41"/>
                      </a:lnTo>
                      <a:lnTo>
                        <a:pt x="16" y="40"/>
                      </a:lnTo>
                      <a:lnTo>
                        <a:pt x="16" y="40"/>
                      </a:lnTo>
                      <a:lnTo>
                        <a:pt x="16" y="40"/>
                      </a:lnTo>
                      <a:lnTo>
                        <a:pt x="17" y="39"/>
                      </a:lnTo>
                      <a:lnTo>
                        <a:pt x="17" y="39"/>
                      </a:lnTo>
                      <a:lnTo>
                        <a:pt x="16" y="39"/>
                      </a:lnTo>
                      <a:lnTo>
                        <a:pt x="16" y="38"/>
                      </a:lnTo>
                      <a:lnTo>
                        <a:pt x="16" y="38"/>
                      </a:lnTo>
                      <a:lnTo>
                        <a:pt x="16" y="38"/>
                      </a:lnTo>
                      <a:lnTo>
                        <a:pt x="16" y="37"/>
                      </a:lnTo>
                      <a:lnTo>
                        <a:pt x="16" y="37"/>
                      </a:lnTo>
                      <a:lnTo>
                        <a:pt x="16" y="37"/>
                      </a:lnTo>
                      <a:lnTo>
                        <a:pt x="17" y="37"/>
                      </a:lnTo>
                      <a:lnTo>
                        <a:pt x="17" y="37"/>
                      </a:lnTo>
                      <a:lnTo>
                        <a:pt x="17" y="37"/>
                      </a:lnTo>
                      <a:lnTo>
                        <a:pt x="17" y="37"/>
                      </a:lnTo>
                      <a:lnTo>
                        <a:pt x="17" y="35"/>
                      </a:lnTo>
                      <a:lnTo>
                        <a:pt x="17" y="35"/>
                      </a:lnTo>
                      <a:lnTo>
                        <a:pt x="17" y="34"/>
                      </a:lnTo>
                      <a:lnTo>
                        <a:pt x="17" y="34"/>
                      </a:lnTo>
                      <a:lnTo>
                        <a:pt x="16" y="34"/>
                      </a:lnTo>
                      <a:lnTo>
                        <a:pt x="16" y="33"/>
                      </a:lnTo>
                      <a:lnTo>
                        <a:pt x="16" y="32"/>
                      </a:lnTo>
                      <a:lnTo>
                        <a:pt x="16" y="31"/>
                      </a:lnTo>
                      <a:lnTo>
                        <a:pt x="16" y="30"/>
                      </a:lnTo>
                      <a:lnTo>
                        <a:pt x="16" y="30"/>
                      </a:lnTo>
                      <a:lnTo>
                        <a:pt x="17" y="28"/>
                      </a:lnTo>
                      <a:lnTo>
                        <a:pt x="17" y="28"/>
                      </a:lnTo>
                      <a:lnTo>
                        <a:pt x="17" y="27"/>
                      </a:lnTo>
                      <a:lnTo>
                        <a:pt x="16" y="27"/>
                      </a:lnTo>
                      <a:lnTo>
                        <a:pt x="15" y="27"/>
                      </a:lnTo>
                      <a:lnTo>
                        <a:pt x="15" y="27"/>
                      </a:lnTo>
                      <a:lnTo>
                        <a:pt x="15" y="27"/>
                      </a:lnTo>
                      <a:lnTo>
                        <a:pt x="15" y="26"/>
                      </a:lnTo>
                      <a:lnTo>
                        <a:pt x="14" y="26"/>
                      </a:lnTo>
                      <a:lnTo>
                        <a:pt x="14" y="26"/>
                      </a:lnTo>
                      <a:lnTo>
                        <a:pt x="14" y="25"/>
                      </a:lnTo>
                      <a:lnTo>
                        <a:pt x="14" y="25"/>
                      </a:lnTo>
                      <a:lnTo>
                        <a:pt x="14" y="25"/>
                      </a:lnTo>
                      <a:lnTo>
                        <a:pt x="14" y="24"/>
                      </a:lnTo>
                      <a:lnTo>
                        <a:pt x="14" y="24"/>
                      </a:lnTo>
                      <a:lnTo>
                        <a:pt x="12" y="25"/>
                      </a:lnTo>
                      <a:lnTo>
                        <a:pt x="12" y="25"/>
                      </a:lnTo>
                      <a:lnTo>
                        <a:pt x="12" y="25"/>
                      </a:lnTo>
                      <a:lnTo>
                        <a:pt x="11" y="25"/>
                      </a:lnTo>
                      <a:lnTo>
                        <a:pt x="11" y="24"/>
                      </a:lnTo>
                      <a:lnTo>
                        <a:pt x="11" y="24"/>
                      </a:lnTo>
                      <a:lnTo>
                        <a:pt x="11" y="25"/>
                      </a:lnTo>
                      <a:lnTo>
                        <a:pt x="10" y="25"/>
                      </a:lnTo>
                      <a:lnTo>
                        <a:pt x="10" y="25"/>
                      </a:lnTo>
                      <a:lnTo>
                        <a:pt x="10" y="25"/>
                      </a:lnTo>
                      <a:lnTo>
                        <a:pt x="9" y="21"/>
                      </a:lnTo>
                      <a:lnTo>
                        <a:pt x="8" y="21"/>
                      </a:lnTo>
                      <a:lnTo>
                        <a:pt x="7" y="20"/>
                      </a:lnTo>
                      <a:lnTo>
                        <a:pt x="7" y="20"/>
                      </a:lnTo>
                      <a:lnTo>
                        <a:pt x="6" y="19"/>
                      </a:lnTo>
                      <a:lnTo>
                        <a:pt x="6" y="19"/>
                      </a:lnTo>
                      <a:lnTo>
                        <a:pt x="6" y="19"/>
                      </a:lnTo>
                      <a:lnTo>
                        <a:pt x="4" y="18"/>
                      </a:lnTo>
                      <a:lnTo>
                        <a:pt x="4" y="18"/>
                      </a:lnTo>
                      <a:lnTo>
                        <a:pt x="4" y="18"/>
                      </a:lnTo>
                      <a:lnTo>
                        <a:pt x="3" y="18"/>
                      </a:lnTo>
                      <a:lnTo>
                        <a:pt x="3" y="18"/>
                      </a:lnTo>
                      <a:lnTo>
                        <a:pt x="2" y="18"/>
                      </a:lnTo>
                      <a:lnTo>
                        <a:pt x="2" y="18"/>
                      </a:lnTo>
                      <a:lnTo>
                        <a:pt x="2" y="17"/>
                      </a:lnTo>
                      <a:lnTo>
                        <a:pt x="2" y="17"/>
                      </a:lnTo>
                      <a:lnTo>
                        <a:pt x="2" y="16"/>
                      </a:lnTo>
                      <a:lnTo>
                        <a:pt x="2" y="14"/>
                      </a:lnTo>
                      <a:lnTo>
                        <a:pt x="2" y="14"/>
                      </a:lnTo>
                      <a:lnTo>
                        <a:pt x="2" y="13"/>
                      </a:lnTo>
                      <a:lnTo>
                        <a:pt x="2" y="12"/>
                      </a:lnTo>
                      <a:lnTo>
                        <a:pt x="3" y="12"/>
                      </a:lnTo>
                      <a:lnTo>
                        <a:pt x="3" y="12"/>
                      </a:lnTo>
                      <a:lnTo>
                        <a:pt x="3" y="11"/>
                      </a:lnTo>
                      <a:lnTo>
                        <a:pt x="3" y="11"/>
                      </a:lnTo>
                      <a:lnTo>
                        <a:pt x="3" y="11"/>
                      </a:lnTo>
                      <a:lnTo>
                        <a:pt x="3" y="10"/>
                      </a:lnTo>
                      <a:lnTo>
                        <a:pt x="4" y="6"/>
                      </a:lnTo>
                      <a:lnTo>
                        <a:pt x="4" y="6"/>
                      </a:lnTo>
                      <a:lnTo>
                        <a:pt x="4" y="6"/>
                      </a:lnTo>
                      <a:lnTo>
                        <a:pt x="4" y="6"/>
                      </a:lnTo>
                      <a:lnTo>
                        <a:pt x="6" y="6"/>
                      </a:lnTo>
                      <a:lnTo>
                        <a:pt x="6" y="5"/>
                      </a:lnTo>
                      <a:lnTo>
                        <a:pt x="6" y="4"/>
                      </a:lnTo>
                      <a:lnTo>
                        <a:pt x="6" y="3"/>
                      </a:lnTo>
                      <a:lnTo>
                        <a:pt x="4" y="3"/>
                      </a:lnTo>
                      <a:lnTo>
                        <a:pt x="3" y="2"/>
                      </a:lnTo>
                      <a:lnTo>
                        <a:pt x="3" y="2"/>
                      </a:lnTo>
                      <a:lnTo>
                        <a:pt x="2" y="3"/>
                      </a:lnTo>
                      <a:lnTo>
                        <a:pt x="1" y="3"/>
                      </a:lnTo>
                      <a:lnTo>
                        <a:pt x="1" y="3"/>
                      </a:lnTo>
                      <a:lnTo>
                        <a:pt x="0" y="2"/>
                      </a:lnTo>
                      <a:lnTo>
                        <a:pt x="0" y="2"/>
                      </a:lnTo>
                      <a:lnTo>
                        <a:pt x="0" y="0"/>
                      </a:lnTo>
                      <a:lnTo>
                        <a:pt x="1" y="2"/>
                      </a:lnTo>
                      <a:lnTo>
                        <a:pt x="2" y="2"/>
                      </a:lnTo>
                      <a:lnTo>
                        <a:pt x="7" y="3"/>
                      </a:lnTo>
                      <a:lnTo>
                        <a:pt x="14" y="4"/>
                      </a:lnTo>
                      <a:lnTo>
                        <a:pt x="16" y="4"/>
                      </a:lnTo>
                      <a:lnTo>
                        <a:pt x="19" y="5"/>
                      </a:lnTo>
                      <a:lnTo>
                        <a:pt x="21" y="5"/>
                      </a:lnTo>
                      <a:lnTo>
                        <a:pt x="21" y="5"/>
                      </a:lnTo>
                      <a:lnTo>
                        <a:pt x="21" y="5"/>
                      </a:lnTo>
                      <a:lnTo>
                        <a:pt x="21" y="5"/>
                      </a:lnTo>
                      <a:lnTo>
                        <a:pt x="21" y="5"/>
                      </a:lnTo>
                      <a:lnTo>
                        <a:pt x="19" y="5"/>
                      </a:lnTo>
                      <a:lnTo>
                        <a:pt x="19" y="6"/>
                      </a:lnTo>
                      <a:lnTo>
                        <a:pt x="21" y="6"/>
                      </a:lnTo>
                      <a:lnTo>
                        <a:pt x="21" y="7"/>
                      </a:lnTo>
                      <a:lnTo>
                        <a:pt x="24" y="6"/>
                      </a:lnTo>
                      <a:lnTo>
                        <a:pt x="26" y="5"/>
                      </a:lnTo>
                      <a:lnTo>
                        <a:pt x="29" y="5"/>
                      </a:lnTo>
                      <a:lnTo>
                        <a:pt x="33" y="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2" name="Freeform 124">
                  <a:extLst>
                    <a:ext uri="{FF2B5EF4-FFF2-40B4-BE49-F238E27FC236}">
                      <a16:creationId xmlns:a16="http://schemas.microsoft.com/office/drawing/2014/main" id="{63887EE3-2280-7DE1-4465-41671AFF5661}"/>
                    </a:ext>
                  </a:extLst>
                </p:cNvPr>
                <p:cNvSpPr>
                  <a:spLocks/>
                </p:cNvSpPr>
                <p:nvPr/>
              </p:nvSpPr>
              <p:spPr bwMode="auto">
                <a:xfrm>
                  <a:off x="6983067" y="4079865"/>
                  <a:ext cx="399160" cy="342909"/>
                </a:xfrm>
                <a:custGeom>
                  <a:avLst/>
                  <a:gdLst>
                    <a:gd name="T0" fmla="*/ 307 w 369"/>
                    <a:gd name="T1" fmla="*/ 22 h 317"/>
                    <a:gd name="T2" fmla="*/ 329 w 369"/>
                    <a:gd name="T3" fmla="*/ 29 h 317"/>
                    <a:gd name="T4" fmla="*/ 348 w 369"/>
                    <a:gd name="T5" fmla="*/ 44 h 317"/>
                    <a:gd name="T6" fmla="*/ 358 w 369"/>
                    <a:gd name="T7" fmla="*/ 53 h 317"/>
                    <a:gd name="T8" fmla="*/ 369 w 369"/>
                    <a:gd name="T9" fmla="*/ 74 h 317"/>
                    <a:gd name="T10" fmla="*/ 356 w 369"/>
                    <a:gd name="T11" fmla="*/ 85 h 317"/>
                    <a:gd name="T12" fmla="*/ 355 w 369"/>
                    <a:gd name="T13" fmla="*/ 107 h 317"/>
                    <a:gd name="T14" fmla="*/ 357 w 369"/>
                    <a:gd name="T15" fmla="*/ 130 h 317"/>
                    <a:gd name="T16" fmla="*/ 352 w 369"/>
                    <a:gd name="T17" fmla="*/ 139 h 317"/>
                    <a:gd name="T18" fmla="*/ 345 w 369"/>
                    <a:gd name="T19" fmla="*/ 156 h 317"/>
                    <a:gd name="T20" fmla="*/ 337 w 369"/>
                    <a:gd name="T21" fmla="*/ 171 h 317"/>
                    <a:gd name="T22" fmla="*/ 345 w 369"/>
                    <a:gd name="T23" fmla="*/ 183 h 317"/>
                    <a:gd name="T24" fmla="*/ 326 w 369"/>
                    <a:gd name="T25" fmla="*/ 194 h 317"/>
                    <a:gd name="T26" fmla="*/ 271 w 369"/>
                    <a:gd name="T27" fmla="*/ 212 h 317"/>
                    <a:gd name="T28" fmla="*/ 264 w 369"/>
                    <a:gd name="T29" fmla="*/ 235 h 317"/>
                    <a:gd name="T30" fmla="*/ 245 w 369"/>
                    <a:gd name="T31" fmla="*/ 237 h 317"/>
                    <a:gd name="T32" fmla="*/ 216 w 369"/>
                    <a:gd name="T33" fmla="*/ 251 h 317"/>
                    <a:gd name="T34" fmla="*/ 207 w 369"/>
                    <a:gd name="T35" fmla="*/ 265 h 317"/>
                    <a:gd name="T36" fmla="*/ 199 w 369"/>
                    <a:gd name="T37" fmla="*/ 268 h 317"/>
                    <a:gd name="T38" fmla="*/ 188 w 369"/>
                    <a:gd name="T39" fmla="*/ 276 h 317"/>
                    <a:gd name="T40" fmla="*/ 180 w 369"/>
                    <a:gd name="T41" fmla="*/ 279 h 317"/>
                    <a:gd name="T42" fmla="*/ 174 w 369"/>
                    <a:gd name="T43" fmla="*/ 288 h 317"/>
                    <a:gd name="T44" fmla="*/ 170 w 369"/>
                    <a:gd name="T45" fmla="*/ 298 h 317"/>
                    <a:gd name="T46" fmla="*/ 160 w 369"/>
                    <a:gd name="T47" fmla="*/ 309 h 317"/>
                    <a:gd name="T48" fmla="*/ 145 w 369"/>
                    <a:gd name="T49" fmla="*/ 316 h 317"/>
                    <a:gd name="T50" fmla="*/ 126 w 369"/>
                    <a:gd name="T51" fmla="*/ 314 h 317"/>
                    <a:gd name="T52" fmla="*/ 105 w 369"/>
                    <a:gd name="T53" fmla="*/ 307 h 317"/>
                    <a:gd name="T54" fmla="*/ 89 w 369"/>
                    <a:gd name="T55" fmla="*/ 298 h 317"/>
                    <a:gd name="T56" fmla="*/ 71 w 369"/>
                    <a:gd name="T57" fmla="*/ 297 h 317"/>
                    <a:gd name="T58" fmla="*/ 48 w 369"/>
                    <a:gd name="T59" fmla="*/ 302 h 317"/>
                    <a:gd name="T60" fmla="*/ 34 w 369"/>
                    <a:gd name="T61" fmla="*/ 292 h 317"/>
                    <a:gd name="T62" fmla="*/ 17 w 369"/>
                    <a:gd name="T63" fmla="*/ 278 h 317"/>
                    <a:gd name="T64" fmla="*/ 5 w 369"/>
                    <a:gd name="T65" fmla="*/ 261 h 317"/>
                    <a:gd name="T66" fmla="*/ 0 w 369"/>
                    <a:gd name="T67" fmla="*/ 233 h 317"/>
                    <a:gd name="T68" fmla="*/ 0 w 369"/>
                    <a:gd name="T69" fmla="*/ 162 h 317"/>
                    <a:gd name="T70" fmla="*/ 63 w 369"/>
                    <a:gd name="T71" fmla="*/ 151 h 317"/>
                    <a:gd name="T72" fmla="*/ 63 w 369"/>
                    <a:gd name="T73" fmla="*/ 125 h 317"/>
                    <a:gd name="T74" fmla="*/ 64 w 369"/>
                    <a:gd name="T75" fmla="*/ 92 h 317"/>
                    <a:gd name="T76" fmla="*/ 70 w 369"/>
                    <a:gd name="T77" fmla="*/ 88 h 317"/>
                    <a:gd name="T78" fmla="*/ 76 w 369"/>
                    <a:gd name="T79" fmla="*/ 101 h 317"/>
                    <a:gd name="T80" fmla="*/ 101 w 369"/>
                    <a:gd name="T81" fmla="*/ 95 h 317"/>
                    <a:gd name="T82" fmla="*/ 109 w 369"/>
                    <a:gd name="T83" fmla="*/ 110 h 317"/>
                    <a:gd name="T84" fmla="*/ 126 w 369"/>
                    <a:gd name="T85" fmla="*/ 116 h 317"/>
                    <a:gd name="T86" fmla="*/ 150 w 369"/>
                    <a:gd name="T87" fmla="*/ 120 h 317"/>
                    <a:gd name="T88" fmla="*/ 163 w 369"/>
                    <a:gd name="T89" fmla="*/ 106 h 317"/>
                    <a:gd name="T90" fmla="*/ 184 w 369"/>
                    <a:gd name="T91" fmla="*/ 128 h 317"/>
                    <a:gd name="T92" fmla="*/ 202 w 369"/>
                    <a:gd name="T93" fmla="*/ 136 h 317"/>
                    <a:gd name="T94" fmla="*/ 215 w 369"/>
                    <a:gd name="T95" fmla="*/ 152 h 317"/>
                    <a:gd name="T96" fmla="*/ 227 w 369"/>
                    <a:gd name="T97" fmla="*/ 166 h 317"/>
                    <a:gd name="T98" fmla="*/ 241 w 369"/>
                    <a:gd name="T99" fmla="*/ 165 h 317"/>
                    <a:gd name="T100" fmla="*/ 242 w 369"/>
                    <a:gd name="T101" fmla="*/ 127 h 317"/>
                    <a:gd name="T102" fmla="*/ 233 w 369"/>
                    <a:gd name="T103" fmla="*/ 132 h 317"/>
                    <a:gd name="T104" fmla="*/ 213 w 369"/>
                    <a:gd name="T105" fmla="*/ 121 h 317"/>
                    <a:gd name="T106" fmla="*/ 201 w 369"/>
                    <a:gd name="T107" fmla="*/ 102 h 317"/>
                    <a:gd name="T108" fmla="*/ 207 w 369"/>
                    <a:gd name="T109" fmla="*/ 81 h 317"/>
                    <a:gd name="T110" fmla="*/ 209 w 369"/>
                    <a:gd name="T111" fmla="*/ 66 h 317"/>
                    <a:gd name="T112" fmla="*/ 209 w 369"/>
                    <a:gd name="T113" fmla="*/ 46 h 317"/>
                    <a:gd name="T114" fmla="*/ 212 w 369"/>
                    <a:gd name="T115" fmla="*/ 38 h 317"/>
                    <a:gd name="T116" fmla="*/ 220 w 369"/>
                    <a:gd name="T117" fmla="*/ 25 h 317"/>
                    <a:gd name="T118" fmla="*/ 248 w 369"/>
                    <a:gd name="T119" fmla="*/ 3 h 317"/>
                    <a:gd name="T120" fmla="*/ 270 w 369"/>
                    <a:gd name="T121" fmla="*/ 10 h 317"/>
                    <a:gd name="T122" fmla="*/ 285 w 369"/>
                    <a:gd name="T123" fmla="*/ 18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9" h="317">
                      <a:moveTo>
                        <a:pt x="290" y="11"/>
                      </a:moveTo>
                      <a:lnTo>
                        <a:pt x="291" y="11"/>
                      </a:lnTo>
                      <a:lnTo>
                        <a:pt x="292" y="12"/>
                      </a:lnTo>
                      <a:lnTo>
                        <a:pt x="293" y="12"/>
                      </a:lnTo>
                      <a:lnTo>
                        <a:pt x="294" y="11"/>
                      </a:lnTo>
                      <a:lnTo>
                        <a:pt x="295" y="11"/>
                      </a:lnTo>
                      <a:lnTo>
                        <a:pt x="295" y="12"/>
                      </a:lnTo>
                      <a:lnTo>
                        <a:pt x="297" y="12"/>
                      </a:lnTo>
                      <a:lnTo>
                        <a:pt x="298" y="12"/>
                      </a:lnTo>
                      <a:lnTo>
                        <a:pt x="299" y="14"/>
                      </a:lnTo>
                      <a:lnTo>
                        <a:pt x="300" y="15"/>
                      </a:lnTo>
                      <a:lnTo>
                        <a:pt x="301" y="15"/>
                      </a:lnTo>
                      <a:lnTo>
                        <a:pt x="301" y="16"/>
                      </a:lnTo>
                      <a:lnTo>
                        <a:pt x="301" y="17"/>
                      </a:lnTo>
                      <a:lnTo>
                        <a:pt x="301" y="18"/>
                      </a:lnTo>
                      <a:lnTo>
                        <a:pt x="302" y="19"/>
                      </a:lnTo>
                      <a:lnTo>
                        <a:pt x="306" y="22"/>
                      </a:lnTo>
                      <a:lnTo>
                        <a:pt x="307" y="22"/>
                      </a:lnTo>
                      <a:lnTo>
                        <a:pt x="308" y="21"/>
                      </a:lnTo>
                      <a:lnTo>
                        <a:pt x="309" y="21"/>
                      </a:lnTo>
                      <a:lnTo>
                        <a:pt x="314" y="22"/>
                      </a:lnTo>
                      <a:lnTo>
                        <a:pt x="313" y="23"/>
                      </a:lnTo>
                      <a:lnTo>
                        <a:pt x="313" y="25"/>
                      </a:lnTo>
                      <a:lnTo>
                        <a:pt x="314" y="26"/>
                      </a:lnTo>
                      <a:lnTo>
                        <a:pt x="315" y="26"/>
                      </a:lnTo>
                      <a:lnTo>
                        <a:pt x="316" y="26"/>
                      </a:lnTo>
                      <a:lnTo>
                        <a:pt x="316" y="25"/>
                      </a:lnTo>
                      <a:lnTo>
                        <a:pt x="318" y="25"/>
                      </a:lnTo>
                      <a:lnTo>
                        <a:pt x="319" y="26"/>
                      </a:lnTo>
                      <a:lnTo>
                        <a:pt x="320" y="26"/>
                      </a:lnTo>
                      <a:lnTo>
                        <a:pt x="321" y="26"/>
                      </a:lnTo>
                      <a:lnTo>
                        <a:pt x="322" y="28"/>
                      </a:lnTo>
                      <a:lnTo>
                        <a:pt x="322" y="29"/>
                      </a:lnTo>
                      <a:lnTo>
                        <a:pt x="323" y="29"/>
                      </a:lnTo>
                      <a:lnTo>
                        <a:pt x="328" y="29"/>
                      </a:lnTo>
                      <a:lnTo>
                        <a:pt x="329" y="29"/>
                      </a:lnTo>
                      <a:lnTo>
                        <a:pt x="330" y="30"/>
                      </a:lnTo>
                      <a:lnTo>
                        <a:pt x="332" y="31"/>
                      </a:lnTo>
                      <a:lnTo>
                        <a:pt x="332" y="32"/>
                      </a:lnTo>
                      <a:lnTo>
                        <a:pt x="333" y="32"/>
                      </a:lnTo>
                      <a:lnTo>
                        <a:pt x="336" y="33"/>
                      </a:lnTo>
                      <a:lnTo>
                        <a:pt x="338" y="33"/>
                      </a:lnTo>
                      <a:lnTo>
                        <a:pt x="338" y="35"/>
                      </a:lnTo>
                      <a:lnTo>
                        <a:pt x="340" y="35"/>
                      </a:lnTo>
                      <a:lnTo>
                        <a:pt x="341" y="35"/>
                      </a:lnTo>
                      <a:lnTo>
                        <a:pt x="342" y="36"/>
                      </a:lnTo>
                      <a:lnTo>
                        <a:pt x="344" y="37"/>
                      </a:lnTo>
                      <a:lnTo>
                        <a:pt x="344" y="39"/>
                      </a:lnTo>
                      <a:lnTo>
                        <a:pt x="345" y="39"/>
                      </a:lnTo>
                      <a:lnTo>
                        <a:pt x="347" y="39"/>
                      </a:lnTo>
                      <a:lnTo>
                        <a:pt x="347" y="40"/>
                      </a:lnTo>
                      <a:lnTo>
                        <a:pt x="347" y="42"/>
                      </a:lnTo>
                      <a:lnTo>
                        <a:pt x="347" y="44"/>
                      </a:lnTo>
                      <a:lnTo>
                        <a:pt x="348" y="44"/>
                      </a:lnTo>
                      <a:lnTo>
                        <a:pt x="349" y="44"/>
                      </a:lnTo>
                      <a:lnTo>
                        <a:pt x="349" y="45"/>
                      </a:lnTo>
                      <a:lnTo>
                        <a:pt x="350" y="45"/>
                      </a:lnTo>
                      <a:lnTo>
                        <a:pt x="350" y="44"/>
                      </a:lnTo>
                      <a:lnTo>
                        <a:pt x="350" y="43"/>
                      </a:lnTo>
                      <a:lnTo>
                        <a:pt x="351" y="44"/>
                      </a:lnTo>
                      <a:lnTo>
                        <a:pt x="352" y="44"/>
                      </a:lnTo>
                      <a:lnTo>
                        <a:pt x="354" y="44"/>
                      </a:lnTo>
                      <a:lnTo>
                        <a:pt x="354" y="45"/>
                      </a:lnTo>
                      <a:lnTo>
                        <a:pt x="354" y="46"/>
                      </a:lnTo>
                      <a:lnTo>
                        <a:pt x="354" y="47"/>
                      </a:lnTo>
                      <a:lnTo>
                        <a:pt x="355" y="47"/>
                      </a:lnTo>
                      <a:lnTo>
                        <a:pt x="355" y="49"/>
                      </a:lnTo>
                      <a:lnTo>
                        <a:pt x="356" y="50"/>
                      </a:lnTo>
                      <a:lnTo>
                        <a:pt x="357" y="50"/>
                      </a:lnTo>
                      <a:lnTo>
                        <a:pt x="358" y="51"/>
                      </a:lnTo>
                      <a:lnTo>
                        <a:pt x="358" y="52"/>
                      </a:lnTo>
                      <a:lnTo>
                        <a:pt x="358" y="53"/>
                      </a:lnTo>
                      <a:lnTo>
                        <a:pt x="357" y="56"/>
                      </a:lnTo>
                      <a:lnTo>
                        <a:pt x="357" y="57"/>
                      </a:lnTo>
                      <a:lnTo>
                        <a:pt x="357" y="58"/>
                      </a:lnTo>
                      <a:lnTo>
                        <a:pt x="357" y="59"/>
                      </a:lnTo>
                      <a:lnTo>
                        <a:pt x="359" y="60"/>
                      </a:lnTo>
                      <a:lnTo>
                        <a:pt x="361" y="60"/>
                      </a:lnTo>
                      <a:lnTo>
                        <a:pt x="361" y="61"/>
                      </a:lnTo>
                      <a:lnTo>
                        <a:pt x="362" y="61"/>
                      </a:lnTo>
                      <a:lnTo>
                        <a:pt x="363" y="63"/>
                      </a:lnTo>
                      <a:lnTo>
                        <a:pt x="364" y="64"/>
                      </a:lnTo>
                      <a:lnTo>
                        <a:pt x="364" y="65"/>
                      </a:lnTo>
                      <a:lnTo>
                        <a:pt x="364" y="66"/>
                      </a:lnTo>
                      <a:lnTo>
                        <a:pt x="364" y="67"/>
                      </a:lnTo>
                      <a:lnTo>
                        <a:pt x="365" y="70"/>
                      </a:lnTo>
                      <a:lnTo>
                        <a:pt x="366" y="71"/>
                      </a:lnTo>
                      <a:lnTo>
                        <a:pt x="366" y="72"/>
                      </a:lnTo>
                      <a:lnTo>
                        <a:pt x="368" y="73"/>
                      </a:lnTo>
                      <a:lnTo>
                        <a:pt x="369" y="74"/>
                      </a:lnTo>
                      <a:lnTo>
                        <a:pt x="368" y="75"/>
                      </a:lnTo>
                      <a:lnTo>
                        <a:pt x="366" y="77"/>
                      </a:lnTo>
                      <a:lnTo>
                        <a:pt x="365" y="77"/>
                      </a:lnTo>
                      <a:lnTo>
                        <a:pt x="365" y="78"/>
                      </a:lnTo>
                      <a:lnTo>
                        <a:pt x="364" y="79"/>
                      </a:lnTo>
                      <a:lnTo>
                        <a:pt x="363" y="80"/>
                      </a:lnTo>
                      <a:lnTo>
                        <a:pt x="363" y="81"/>
                      </a:lnTo>
                      <a:lnTo>
                        <a:pt x="362" y="81"/>
                      </a:lnTo>
                      <a:lnTo>
                        <a:pt x="361" y="81"/>
                      </a:lnTo>
                      <a:lnTo>
                        <a:pt x="361" y="82"/>
                      </a:lnTo>
                      <a:lnTo>
                        <a:pt x="359" y="81"/>
                      </a:lnTo>
                      <a:lnTo>
                        <a:pt x="358" y="81"/>
                      </a:lnTo>
                      <a:lnTo>
                        <a:pt x="358" y="82"/>
                      </a:lnTo>
                      <a:lnTo>
                        <a:pt x="357" y="82"/>
                      </a:lnTo>
                      <a:lnTo>
                        <a:pt x="356" y="84"/>
                      </a:lnTo>
                      <a:lnTo>
                        <a:pt x="355" y="84"/>
                      </a:lnTo>
                      <a:lnTo>
                        <a:pt x="355" y="85"/>
                      </a:lnTo>
                      <a:lnTo>
                        <a:pt x="356" y="85"/>
                      </a:lnTo>
                      <a:lnTo>
                        <a:pt x="356" y="86"/>
                      </a:lnTo>
                      <a:lnTo>
                        <a:pt x="356" y="87"/>
                      </a:lnTo>
                      <a:lnTo>
                        <a:pt x="356" y="88"/>
                      </a:lnTo>
                      <a:lnTo>
                        <a:pt x="357" y="89"/>
                      </a:lnTo>
                      <a:lnTo>
                        <a:pt x="357" y="90"/>
                      </a:lnTo>
                      <a:lnTo>
                        <a:pt x="358" y="92"/>
                      </a:lnTo>
                      <a:lnTo>
                        <a:pt x="359" y="93"/>
                      </a:lnTo>
                      <a:lnTo>
                        <a:pt x="359" y="94"/>
                      </a:lnTo>
                      <a:lnTo>
                        <a:pt x="358" y="95"/>
                      </a:lnTo>
                      <a:lnTo>
                        <a:pt x="356" y="99"/>
                      </a:lnTo>
                      <a:lnTo>
                        <a:pt x="356" y="100"/>
                      </a:lnTo>
                      <a:lnTo>
                        <a:pt x="356" y="101"/>
                      </a:lnTo>
                      <a:lnTo>
                        <a:pt x="355" y="101"/>
                      </a:lnTo>
                      <a:lnTo>
                        <a:pt x="355" y="104"/>
                      </a:lnTo>
                      <a:lnTo>
                        <a:pt x="354" y="104"/>
                      </a:lnTo>
                      <a:lnTo>
                        <a:pt x="354" y="106"/>
                      </a:lnTo>
                      <a:lnTo>
                        <a:pt x="354" y="107"/>
                      </a:lnTo>
                      <a:lnTo>
                        <a:pt x="355" y="107"/>
                      </a:lnTo>
                      <a:lnTo>
                        <a:pt x="356" y="107"/>
                      </a:lnTo>
                      <a:lnTo>
                        <a:pt x="356" y="108"/>
                      </a:lnTo>
                      <a:lnTo>
                        <a:pt x="357" y="113"/>
                      </a:lnTo>
                      <a:lnTo>
                        <a:pt x="357" y="114"/>
                      </a:lnTo>
                      <a:lnTo>
                        <a:pt x="356" y="115"/>
                      </a:lnTo>
                      <a:lnTo>
                        <a:pt x="356" y="116"/>
                      </a:lnTo>
                      <a:lnTo>
                        <a:pt x="357" y="116"/>
                      </a:lnTo>
                      <a:lnTo>
                        <a:pt x="357" y="117"/>
                      </a:lnTo>
                      <a:lnTo>
                        <a:pt x="356" y="117"/>
                      </a:lnTo>
                      <a:lnTo>
                        <a:pt x="356" y="120"/>
                      </a:lnTo>
                      <a:lnTo>
                        <a:pt x="355" y="122"/>
                      </a:lnTo>
                      <a:lnTo>
                        <a:pt x="355" y="123"/>
                      </a:lnTo>
                      <a:lnTo>
                        <a:pt x="355" y="124"/>
                      </a:lnTo>
                      <a:lnTo>
                        <a:pt x="355" y="125"/>
                      </a:lnTo>
                      <a:lnTo>
                        <a:pt x="356" y="125"/>
                      </a:lnTo>
                      <a:lnTo>
                        <a:pt x="356" y="127"/>
                      </a:lnTo>
                      <a:lnTo>
                        <a:pt x="357" y="128"/>
                      </a:lnTo>
                      <a:lnTo>
                        <a:pt x="357" y="130"/>
                      </a:lnTo>
                      <a:lnTo>
                        <a:pt x="358" y="130"/>
                      </a:lnTo>
                      <a:lnTo>
                        <a:pt x="359" y="131"/>
                      </a:lnTo>
                      <a:lnTo>
                        <a:pt x="362" y="130"/>
                      </a:lnTo>
                      <a:lnTo>
                        <a:pt x="363" y="130"/>
                      </a:lnTo>
                      <a:lnTo>
                        <a:pt x="363" y="131"/>
                      </a:lnTo>
                      <a:lnTo>
                        <a:pt x="363" y="132"/>
                      </a:lnTo>
                      <a:lnTo>
                        <a:pt x="362" y="132"/>
                      </a:lnTo>
                      <a:lnTo>
                        <a:pt x="362" y="134"/>
                      </a:lnTo>
                      <a:lnTo>
                        <a:pt x="361" y="135"/>
                      </a:lnTo>
                      <a:lnTo>
                        <a:pt x="359" y="135"/>
                      </a:lnTo>
                      <a:lnTo>
                        <a:pt x="359" y="136"/>
                      </a:lnTo>
                      <a:lnTo>
                        <a:pt x="358" y="137"/>
                      </a:lnTo>
                      <a:lnTo>
                        <a:pt x="357" y="137"/>
                      </a:lnTo>
                      <a:lnTo>
                        <a:pt x="356" y="137"/>
                      </a:lnTo>
                      <a:lnTo>
                        <a:pt x="355" y="137"/>
                      </a:lnTo>
                      <a:lnTo>
                        <a:pt x="354" y="138"/>
                      </a:lnTo>
                      <a:lnTo>
                        <a:pt x="354" y="139"/>
                      </a:lnTo>
                      <a:lnTo>
                        <a:pt x="352" y="139"/>
                      </a:lnTo>
                      <a:lnTo>
                        <a:pt x="351" y="139"/>
                      </a:lnTo>
                      <a:lnTo>
                        <a:pt x="351" y="138"/>
                      </a:lnTo>
                      <a:lnTo>
                        <a:pt x="350" y="138"/>
                      </a:lnTo>
                      <a:lnTo>
                        <a:pt x="350" y="139"/>
                      </a:lnTo>
                      <a:lnTo>
                        <a:pt x="349" y="139"/>
                      </a:lnTo>
                      <a:lnTo>
                        <a:pt x="349" y="138"/>
                      </a:lnTo>
                      <a:lnTo>
                        <a:pt x="348" y="139"/>
                      </a:lnTo>
                      <a:lnTo>
                        <a:pt x="347" y="142"/>
                      </a:lnTo>
                      <a:lnTo>
                        <a:pt x="345" y="143"/>
                      </a:lnTo>
                      <a:lnTo>
                        <a:pt x="345" y="144"/>
                      </a:lnTo>
                      <a:lnTo>
                        <a:pt x="345" y="146"/>
                      </a:lnTo>
                      <a:lnTo>
                        <a:pt x="345" y="148"/>
                      </a:lnTo>
                      <a:lnTo>
                        <a:pt x="347" y="148"/>
                      </a:lnTo>
                      <a:lnTo>
                        <a:pt x="347" y="149"/>
                      </a:lnTo>
                      <a:lnTo>
                        <a:pt x="348" y="150"/>
                      </a:lnTo>
                      <a:lnTo>
                        <a:pt x="347" y="150"/>
                      </a:lnTo>
                      <a:lnTo>
                        <a:pt x="347" y="152"/>
                      </a:lnTo>
                      <a:lnTo>
                        <a:pt x="345" y="156"/>
                      </a:lnTo>
                      <a:lnTo>
                        <a:pt x="345" y="157"/>
                      </a:lnTo>
                      <a:lnTo>
                        <a:pt x="347" y="157"/>
                      </a:lnTo>
                      <a:lnTo>
                        <a:pt x="347" y="158"/>
                      </a:lnTo>
                      <a:lnTo>
                        <a:pt x="347" y="159"/>
                      </a:lnTo>
                      <a:lnTo>
                        <a:pt x="345" y="159"/>
                      </a:lnTo>
                      <a:lnTo>
                        <a:pt x="344" y="160"/>
                      </a:lnTo>
                      <a:lnTo>
                        <a:pt x="344" y="162"/>
                      </a:lnTo>
                      <a:lnTo>
                        <a:pt x="344" y="163"/>
                      </a:lnTo>
                      <a:lnTo>
                        <a:pt x="343" y="165"/>
                      </a:lnTo>
                      <a:lnTo>
                        <a:pt x="343" y="166"/>
                      </a:lnTo>
                      <a:lnTo>
                        <a:pt x="342" y="166"/>
                      </a:lnTo>
                      <a:lnTo>
                        <a:pt x="341" y="167"/>
                      </a:lnTo>
                      <a:lnTo>
                        <a:pt x="341" y="169"/>
                      </a:lnTo>
                      <a:lnTo>
                        <a:pt x="341" y="170"/>
                      </a:lnTo>
                      <a:lnTo>
                        <a:pt x="340" y="170"/>
                      </a:lnTo>
                      <a:lnTo>
                        <a:pt x="338" y="170"/>
                      </a:lnTo>
                      <a:lnTo>
                        <a:pt x="338" y="171"/>
                      </a:lnTo>
                      <a:lnTo>
                        <a:pt x="337" y="171"/>
                      </a:lnTo>
                      <a:lnTo>
                        <a:pt x="337" y="170"/>
                      </a:lnTo>
                      <a:lnTo>
                        <a:pt x="336" y="170"/>
                      </a:lnTo>
                      <a:lnTo>
                        <a:pt x="336" y="171"/>
                      </a:lnTo>
                      <a:lnTo>
                        <a:pt x="336" y="172"/>
                      </a:lnTo>
                      <a:lnTo>
                        <a:pt x="337" y="172"/>
                      </a:lnTo>
                      <a:lnTo>
                        <a:pt x="338" y="172"/>
                      </a:lnTo>
                      <a:lnTo>
                        <a:pt x="340" y="173"/>
                      </a:lnTo>
                      <a:lnTo>
                        <a:pt x="341" y="174"/>
                      </a:lnTo>
                      <a:lnTo>
                        <a:pt x="341" y="176"/>
                      </a:lnTo>
                      <a:lnTo>
                        <a:pt x="340" y="176"/>
                      </a:lnTo>
                      <a:lnTo>
                        <a:pt x="340" y="177"/>
                      </a:lnTo>
                      <a:lnTo>
                        <a:pt x="340" y="178"/>
                      </a:lnTo>
                      <a:lnTo>
                        <a:pt x="341" y="178"/>
                      </a:lnTo>
                      <a:lnTo>
                        <a:pt x="342" y="178"/>
                      </a:lnTo>
                      <a:lnTo>
                        <a:pt x="343" y="178"/>
                      </a:lnTo>
                      <a:lnTo>
                        <a:pt x="344" y="180"/>
                      </a:lnTo>
                      <a:lnTo>
                        <a:pt x="344" y="181"/>
                      </a:lnTo>
                      <a:lnTo>
                        <a:pt x="345" y="183"/>
                      </a:lnTo>
                      <a:lnTo>
                        <a:pt x="345" y="185"/>
                      </a:lnTo>
                      <a:lnTo>
                        <a:pt x="347" y="186"/>
                      </a:lnTo>
                      <a:lnTo>
                        <a:pt x="348" y="186"/>
                      </a:lnTo>
                      <a:lnTo>
                        <a:pt x="348" y="184"/>
                      </a:lnTo>
                      <a:lnTo>
                        <a:pt x="349" y="184"/>
                      </a:lnTo>
                      <a:lnTo>
                        <a:pt x="350" y="183"/>
                      </a:lnTo>
                      <a:lnTo>
                        <a:pt x="351" y="183"/>
                      </a:lnTo>
                      <a:lnTo>
                        <a:pt x="351" y="181"/>
                      </a:lnTo>
                      <a:lnTo>
                        <a:pt x="351" y="183"/>
                      </a:lnTo>
                      <a:lnTo>
                        <a:pt x="352" y="184"/>
                      </a:lnTo>
                      <a:lnTo>
                        <a:pt x="354" y="185"/>
                      </a:lnTo>
                      <a:lnTo>
                        <a:pt x="351" y="186"/>
                      </a:lnTo>
                      <a:lnTo>
                        <a:pt x="348" y="186"/>
                      </a:lnTo>
                      <a:lnTo>
                        <a:pt x="344" y="187"/>
                      </a:lnTo>
                      <a:lnTo>
                        <a:pt x="338" y="190"/>
                      </a:lnTo>
                      <a:lnTo>
                        <a:pt x="334" y="192"/>
                      </a:lnTo>
                      <a:lnTo>
                        <a:pt x="328" y="193"/>
                      </a:lnTo>
                      <a:lnTo>
                        <a:pt x="326" y="194"/>
                      </a:lnTo>
                      <a:lnTo>
                        <a:pt x="322" y="195"/>
                      </a:lnTo>
                      <a:lnTo>
                        <a:pt x="320" y="195"/>
                      </a:lnTo>
                      <a:lnTo>
                        <a:pt x="319" y="195"/>
                      </a:lnTo>
                      <a:lnTo>
                        <a:pt x="316" y="197"/>
                      </a:lnTo>
                      <a:lnTo>
                        <a:pt x="313" y="198"/>
                      </a:lnTo>
                      <a:lnTo>
                        <a:pt x="309" y="199"/>
                      </a:lnTo>
                      <a:lnTo>
                        <a:pt x="305" y="201"/>
                      </a:lnTo>
                      <a:lnTo>
                        <a:pt x="302" y="202"/>
                      </a:lnTo>
                      <a:lnTo>
                        <a:pt x="299" y="204"/>
                      </a:lnTo>
                      <a:lnTo>
                        <a:pt x="297" y="205"/>
                      </a:lnTo>
                      <a:lnTo>
                        <a:pt x="293" y="206"/>
                      </a:lnTo>
                      <a:lnTo>
                        <a:pt x="290" y="206"/>
                      </a:lnTo>
                      <a:lnTo>
                        <a:pt x="286" y="207"/>
                      </a:lnTo>
                      <a:lnTo>
                        <a:pt x="285" y="207"/>
                      </a:lnTo>
                      <a:lnTo>
                        <a:pt x="281" y="208"/>
                      </a:lnTo>
                      <a:lnTo>
                        <a:pt x="278" y="209"/>
                      </a:lnTo>
                      <a:lnTo>
                        <a:pt x="273" y="211"/>
                      </a:lnTo>
                      <a:lnTo>
                        <a:pt x="271" y="212"/>
                      </a:lnTo>
                      <a:lnTo>
                        <a:pt x="268" y="213"/>
                      </a:lnTo>
                      <a:lnTo>
                        <a:pt x="264" y="214"/>
                      </a:lnTo>
                      <a:lnTo>
                        <a:pt x="262" y="215"/>
                      </a:lnTo>
                      <a:lnTo>
                        <a:pt x="259" y="215"/>
                      </a:lnTo>
                      <a:lnTo>
                        <a:pt x="259" y="216"/>
                      </a:lnTo>
                      <a:lnTo>
                        <a:pt x="259" y="219"/>
                      </a:lnTo>
                      <a:lnTo>
                        <a:pt x="259" y="220"/>
                      </a:lnTo>
                      <a:lnTo>
                        <a:pt x="261" y="223"/>
                      </a:lnTo>
                      <a:lnTo>
                        <a:pt x="262" y="226"/>
                      </a:lnTo>
                      <a:lnTo>
                        <a:pt x="263" y="226"/>
                      </a:lnTo>
                      <a:lnTo>
                        <a:pt x="263" y="227"/>
                      </a:lnTo>
                      <a:lnTo>
                        <a:pt x="264" y="227"/>
                      </a:lnTo>
                      <a:lnTo>
                        <a:pt x="264" y="228"/>
                      </a:lnTo>
                      <a:lnTo>
                        <a:pt x="264" y="230"/>
                      </a:lnTo>
                      <a:lnTo>
                        <a:pt x="264" y="232"/>
                      </a:lnTo>
                      <a:lnTo>
                        <a:pt x="264" y="233"/>
                      </a:lnTo>
                      <a:lnTo>
                        <a:pt x="264" y="234"/>
                      </a:lnTo>
                      <a:lnTo>
                        <a:pt x="264" y="235"/>
                      </a:lnTo>
                      <a:lnTo>
                        <a:pt x="265" y="235"/>
                      </a:lnTo>
                      <a:lnTo>
                        <a:pt x="265" y="236"/>
                      </a:lnTo>
                      <a:lnTo>
                        <a:pt x="265" y="237"/>
                      </a:lnTo>
                      <a:lnTo>
                        <a:pt x="263" y="237"/>
                      </a:lnTo>
                      <a:lnTo>
                        <a:pt x="262" y="237"/>
                      </a:lnTo>
                      <a:lnTo>
                        <a:pt x="261" y="237"/>
                      </a:lnTo>
                      <a:lnTo>
                        <a:pt x="261" y="236"/>
                      </a:lnTo>
                      <a:lnTo>
                        <a:pt x="259" y="237"/>
                      </a:lnTo>
                      <a:lnTo>
                        <a:pt x="258" y="237"/>
                      </a:lnTo>
                      <a:lnTo>
                        <a:pt x="257" y="237"/>
                      </a:lnTo>
                      <a:lnTo>
                        <a:pt x="256" y="236"/>
                      </a:lnTo>
                      <a:lnTo>
                        <a:pt x="255" y="236"/>
                      </a:lnTo>
                      <a:lnTo>
                        <a:pt x="254" y="237"/>
                      </a:lnTo>
                      <a:lnTo>
                        <a:pt x="252" y="237"/>
                      </a:lnTo>
                      <a:lnTo>
                        <a:pt x="251" y="237"/>
                      </a:lnTo>
                      <a:lnTo>
                        <a:pt x="249" y="236"/>
                      </a:lnTo>
                      <a:lnTo>
                        <a:pt x="247" y="236"/>
                      </a:lnTo>
                      <a:lnTo>
                        <a:pt x="245" y="237"/>
                      </a:lnTo>
                      <a:lnTo>
                        <a:pt x="244" y="237"/>
                      </a:lnTo>
                      <a:lnTo>
                        <a:pt x="242" y="237"/>
                      </a:lnTo>
                      <a:lnTo>
                        <a:pt x="241" y="237"/>
                      </a:lnTo>
                      <a:lnTo>
                        <a:pt x="240" y="237"/>
                      </a:lnTo>
                      <a:lnTo>
                        <a:pt x="238" y="237"/>
                      </a:lnTo>
                      <a:lnTo>
                        <a:pt x="237" y="239"/>
                      </a:lnTo>
                      <a:lnTo>
                        <a:pt x="234" y="240"/>
                      </a:lnTo>
                      <a:lnTo>
                        <a:pt x="227" y="243"/>
                      </a:lnTo>
                      <a:lnTo>
                        <a:pt x="226" y="244"/>
                      </a:lnTo>
                      <a:lnTo>
                        <a:pt x="224" y="244"/>
                      </a:lnTo>
                      <a:lnTo>
                        <a:pt x="223" y="246"/>
                      </a:lnTo>
                      <a:lnTo>
                        <a:pt x="222" y="247"/>
                      </a:lnTo>
                      <a:lnTo>
                        <a:pt x="221" y="247"/>
                      </a:lnTo>
                      <a:lnTo>
                        <a:pt x="220" y="247"/>
                      </a:lnTo>
                      <a:lnTo>
                        <a:pt x="219" y="248"/>
                      </a:lnTo>
                      <a:lnTo>
                        <a:pt x="217" y="249"/>
                      </a:lnTo>
                      <a:lnTo>
                        <a:pt x="216" y="250"/>
                      </a:lnTo>
                      <a:lnTo>
                        <a:pt x="216" y="251"/>
                      </a:lnTo>
                      <a:lnTo>
                        <a:pt x="216" y="253"/>
                      </a:lnTo>
                      <a:lnTo>
                        <a:pt x="216" y="254"/>
                      </a:lnTo>
                      <a:lnTo>
                        <a:pt x="216" y="255"/>
                      </a:lnTo>
                      <a:lnTo>
                        <a:pt x="216" y="256"/>
                      </a:lnTo>
                      <a:lnTo>
                        <a:pt x="215" y="258"/>
                      </a:lnTo>
                      <a:lnTo>
                        <a:pt x="215" y="260"/>
                      </a:lnTo>
                      <a:lnTo>
                        <a:pt x="216" y="261"/>
                      </a:lnTo>
                      <a:lnTo>
                        <a:pt x="216" y="262"/>
                      </a:lnTo>
                      <a:lnTo>
                        <a:pt x="215" y="263"/>
                      </a:lnTo>
                      <a:lnTo>
                        <a:pt x="215" y="264"/>
                      </a:lnTo>
                      <a:lnTo>
                        <a:pt x="214" y="265"/>
                      </a:lnTo>
                      <a:lnTo>
                        <a:pt x="213" y="267"/>
                      </a:lnTo>
                      <a:lnTo>
                        <a:pt x="212" y="267"/>
                      </a:lnTo>
                      <a:lnTo>
                        <a:pt x="210" y="265"/>
                      </a:lnTo>
                      <a:lnTo>
                        <a:pt x="210" y="264"/>
                      </a:lnTo>
                      <a:lnTo>
                        <a:pt x="209" y="264"/>
                      </a:lnTo>
                      <a:lnTo>
                        <a:pt x="209" y="265"/>
                      </a:lnTo>
                      <a:lnTo>
                        <a:pt x="207" y="265"/>
                      </a:lnTo>
                      <a:lnTo>
                        <a:pt x="206" y="265"/>
                      </a:lnTo>
                      <a:lnTo>
                        <a:pt x="207" y="265"/>
                      </a:lnTo>
                      <a:lnTo>
                        <a:pt x="207" y="267"/>
                      </a:lnTo>
                      <a:lnTo>
                        <a:pt x="206" y="267"/>
                      </a:lnTo>
                      <a:lnTo>
                        <a:pt x="205" y="265"/>
                      </a:lnTo>
                      <a:lnTo>
                        <a:pt x="205" y="267"/>
                      </a:lnTo>
                      <a:lnTo>
                        <a:pt x="204" y="267"/>
                      </a:lnTo>
                      <a:lnTo>
                        <a:pt x="202" y="268"/>
                      </a:lnTo>
                      <a:lnTo>
                        <a:pt x="201" y="268"/>
                      </a:lnTo>
                      <a:lnTo>
                        <a:pt x="201" y="267"/>
                      </a:lnTo>
                      <a:lnTo>
                        <a:pt x="200" y="267"/>
                      </a:lnTo>
                      <a:lnTo>
                        <a:pt x="199" y="267"/>
                      </a:lnTo>
                      <a:lnTo>
                        <a:pt x="198" y="267"/>
                      </a:lnTo>
                      <a:lnTo>
                        <a:pt x="199" y="267"/>
                      </a:lnTo>
                      <a:lnTo>
                        <a:pt x="198" y="267"/>
                      </a:lnTo>
                      <a:lnTo>
                        <a:pt x="199" y="267"/>
                      </a:lnTo>
                      <a:lnTo>
                        <a:pt x="200" y="268"/>
                      </a:lnTo>
                      <a:lnTo>
                        <a:pt x="199" y="268"/>
                      </a:lnTo>
                      <a:lnTo>
                        <a:pt x="199" y="269"/>
                      </a:lnTo>
                      <a:lnTo>
                        <a:pt x="198" y="269"/>
                      </a:lnTo>
                      <a:lnTo>
                        <a:pt x="197" y="269"/>
                      </a:lnTo>
                      <a:lnTo>
                        <a:pt x="197" y="270"/>
                      </a:lnTo>
                      <a:lnTo>
                        <a:pt x="195" y="269"/>
                      </a:lnTo>
                      <a:lnTo>
                        <a:pt x="194" y="269"/>
                      </a:lnTo>
                      <a:lnTo>
                        <a:pt x="194" y="270"/>
                      </a:lnTo>
                      <a:lnTo>
                        <a:pt x="195" y="270"/>
                      </a:lnTo>
                      <a:lnTo>
                        <a:pt x="195" y="271"/>
                      </a:lnTo>
                      <a:lnTo>
                        <a:pt x="194" y="272"/>
                      </a:lnTo>
                      <a:lnTo>
                        <a:pt x="193" y="274"/>
                      </a:lnTo>
                      <a:lnTo>
                        <a:pt x="192" y="272"/>
                      </a:lnTo>
                      <a:lnTo>
                        <a:pt x="192" y="274"/>
                      </a:lnTo>
                      <a:lnTo>
                        <a:pt x="192" y="275"/>
                      </a:lnTo>
                      <a:lnTo>
                        <a:pt x="192" y="276"/>
                      </a:lnTo>
                      <a:lnTo>
                        <a:pt x="191" y="276"/>
                      </a:lnTo>
                      <a:lnTo>
                        <a:pt x="190" y="277"/>
                      </a:lnTo>
                      <a:lnTo>
                        <a:pt x="188" y="276"/>
                      </a:lnTo>
                      <a:lnTo>
                        <a:pt x="188" y="275"/>
                      </a:lnTo>
                      <a:lnTo>
                        <a:pt x="187" y="275"/>
                      </a:lnTo>
                      <a:lnTo>
                        <a:pt x="187" y="274"/>
                      </a:lnTo>
                      <a:lnTo>
                        <a:pt x="186" y="274"/>
                      </a:lnTo>
                      <a:lnTo>
                        <a:pt x="185" y="274"/>
                      </a:lnTo>
                      <a:lnTo>
                        <a:pt x="185" y="275"/>
                      </a:lnTo>
                      <a:lnTo>
                        <a:pt x="185" y="276"/>
                      </a:lnTo>
                      <a:lnTo>
                        <a:pt x="183" y="275"/>
                      </a:lnTo>
                      <a:lnTo>
                        <a:pt x="183" y="276"/>
                      </a:lnTo>
                      <a:lnTo>
                        <a:pt x="184" y="277"/>
                      </a:lnTo>
                      <a:lnTo>
                        <a:pt x="185" y="277"/>
                      </a:lnTo>
                      <a:lnTo>
                        <a:pt x="185" y="278"/>
                      </a:lnTo>
                      <a:lnTo>
                        <a:pt x="184" y="278"/>
                      </a:lnTo>
                      <a:lnTo>
                        <a:pt x="183" y="279"/>
                      </a:lnTo>
                      <a:lnTo>
                        <a:pt x="181" y="279"/>
                      </a:lnTo>
                      <a:lnTo>
                        <a:pt x="181" y="278"/>
                      </a:lnTo>
                      <a:lnTo>
                        <a:pt x="180" y="278"/>
                      </a:lnTo>
                      <a:lnTo>
                        <a:pt x="180" y="279"/>
                      </a:lnTo>
                      <a:lnTo>
                        <a:pt x="179" y="279"/>
                      </a:lnTo>
                      <a:lnTo>
                        <a:pt x="180" y="279"/>
                      </a:lnTo>
                      <a:lnTo>
                        <a:pt x="181" y="281"/>
                      </a:lnTo>
                      <a:lnTo>
                        <a:pt x="180" y="282"/>
                      </a:lnTo>
                      <a:lnTo>
                        <a:pt x="179" y="282"/>
                      </a:lnTo>
                      <a:lnTo>
                        <a:pt x="179" y="283"/>
                      </a:lnTo>
                      <a:lnTo>
                        <a:pt x="180" y="283"/>
                      </a:lnTo>
                      <a:lnTo>
                        <a:pt x="179" y="284"/>
                      </a:lnTo>
                      <a:lnTo>
                        <a:pt x="178" y="284"/>
                      </a:lnTo>
                      <a:lnTo>
                        <a:pt x="179" y="284"/>
                      </a:lnTo>
                      <a:lnTo>
                        <a:pt x="179" y="283"/>
                      </a:lnTo>
                      <a:lnTo>
                        <a:pt x="178" y="283"/>
                      </a:lnTo>
                      <a:lnTo>
                        <a:pt x="177" y="284"/>
                      </a:lnTo>
                      <a:lnTo>
                        <a:pt x="176" y="284"/>
                      </a:lnTo>
                      <a:lnTo>
                        <a:pt x="176" y="285"/>
                      </a:lnTo>
                      <a:lnTo>
                        <a:pt x="176" y="286"/>
                      </a:lnTo>
                      <a:lnTo>
                        <a:pt x="174" y="286"/>
                      </a:lnTo>
                      <a:lnTo>
                        <a:pt x="174" y="288"/>
                      </a:lnTo>
                      <a:lnTo>
                        <a:pt x="174" y="289"/>
                      </a:lnTo>
                      <a:lnTo>
                        <a:pt x="173" y="289"/>
                      </a:lnTo>
                      <a:lnTo>
                        <a:pt x="173" y="290"/>
                      </a:lnTo>
                      <a:lnTo>
                        <a:pt x="172" y="290"/>
                      </a:lnTo>
                      <a:lnTo>
                        <a:pt x="171" y="290"/>
                      </a:lnTo>
                      <a:lnTo>
                        <a:pt x="172" y="291"/>
                      </a:lnTo>
                      <a:lnTo>
                        <a:pt x="171" y="291"/>
                      </a:lnTo>
                      <a:lnTo>
                        <a:pt x="172" y="291"/>
                      </a:lnTo>
                      <a:lnTo>
                        <a:pt x="172" y="292"/>
                      </a:lnTo>
                      <a:lnTo>
                        <a:pt x="170" y="293"/>
                      </a:lnTo>
                      <a:lnTo>
                        <a:pt x="169" y="295"/>
                      </a:lnTo>
                      <a:lnTo>
                        <a:pt x="167" y="296"/>
                      </a:lnTo>
                      <a:lnTo>
                        <a:pt x="167" y="297"/>
                      </a:lnTo>
                      <a:lnTo>
                        <a:pt x="169" y="297"/>
                      </a:lnTo>
                      <a:lnTo>
                        <a:pt x="169" y="296"/>
                      </a:lnTo>
                      <a:lnTo>
                        <a:pt x="170" y="296"/>
                      </a:lnTo>
                      <a:lnTo>
                        <a:pt x="170" y="297"/>
                      </a:lnTo>
                      <a:lnTo>
                        <a:pt x="170" y="298"/>
                      </a:lnTo>
                      <a:lnTo>
                        <a:pt x="170" y="299"/>
                      </a:lnTo>
                      <a:lnTo>
                        <a:pt x="169" y="299"/>
                      </a:lnTo>
                      <a:lnTo>
                        <a:pt x="169" y="300"/>
                      </a:lnTo>
                      <a:lnTo>
                        <a:pt x="167" y="299"/>
                      </a:lnTo>
                      <a:lnTo>
                        <a:pt x="167" y="300"/>
                      </a:lnTo>
                      <a:lnTo>
                        <a:pt x="166" y="302"/>
                      </a:lnTo>
                      <a:lnTo>
                        <a:pt x="165" y="300"/>
                      </a:lnTo>
                      <a:lnTo>
                        <a:pt x="165" y="302"/>
                      </a:lnTo>
                      <a:lnTo>
                        <a:pt x="165" y="303"/>
                      </a:lnTo>
                      <a:lnTo>
                        <a:pt x="164" y="303"/>
                      </a:lnTo>
                      <a:lnTo>
                        <a:pt x="164" y="304"/>
                      </a:lnTo>
                      <a:lnTo>
                        <a:pt x="163" y="304"/>
                      </a:lnTo>
                      <a:lnTo>
                        <a:pt x="163" y="305"/>
                      </a:lnTo>
                      <a:lnTo>
                        <a:pt x="162" y="306"/>
                      </a:lnTo>
                      <a:lnTo>
                        <a:pt x="160" y="307"/>
                      </a:lnTo>
                      <a:lnTo>
                        <a:pt x="162" y="307"/>
                      </a:lnTo>
                      <a:lnTo>
                        <a:pt x="160" y="307"/>
                      </a:lnTo>
                      <a:lnTo>
                        <a:pt x="160" y="309"/>
                      </a:lnTo>
                      <a:lnTo>
                        <a:pt x="162" y="309"/>
                      </a:lnTo>
                      <a:lnTo>
                        <a:pt x="162" y="310"/>
                      </a:lnTo>
                      <a:lnTo>
                        <a:pt x="160" y="310"/>
                      </a:lnTo>
                      <a:lnTo>
                        <a:pt x="160" y="311"/>
                      </a:lnTo>
                      <a:lnTo>
                        <a:pt x="159" y="311"/>
                      </a:lnTo>
                      <a:lnTo>
                        <a:pt x="158" y="312"/>
                      </a:lnTo>
                      <a:lnTo>
                        <a:pt x="158" y="313"/>
                      </a:lnTo>
                      <a:lnTo>
                        <a:pt x="157" y="313"/>
                      </a:lnTo>
                      <a:lnTo>
                        <a:pt x="156" y="313"/>
                      </a:lnTo>
                      <a:lnTo>
                        <a:pt x="155" y="314"/>
                      </a:lnTo>
                      <a:lnTo>
                        <a:pt x="155" y="313"/>
                      </a:lnTo>
                      <a:lnTo>
                        <a:pt x="151" y="314"/>
                      </a:lnTo>
                      <a:lnTo>
                        <a:pt x="151" y="316"/>
                      </a:lnTo>
                      <a:lnTo>
                        <a:pt x="150" y="316"/>
                      </a:lnTo>
                      <a:lnTo>
                        <a:pt x="149" y="317"/>
                      </a:lnTo>
                      <a:lnTo>
                        <a:pt x="148" y="317"/>
                      </a:lnTo>
                      <a:lnTo>
                        <a:pt x="146" y="316"/>
                      </a:lnTo>
                      <a:lnTo>
                        <a:pt x="145" y="316"/>
                      </a:lnTo>
                      <a:lnTo>
                        <a:pt x="145" y="314"/>
                      </a:lnTo>
                      <a:lnTo>
                        <a:pt x="144" y="314"/>
                      </a:lnTo>
                      <a:lnTo>
                        <a:pt x="143" y="314"/>
                      </a:lnTo>
                      <a:lnTo>
                        <a:pt x="142" y="313"/>
                      </a:lnTo>
                      <a:lnTo>
                        <a:pt x="140" y="312"/>
                      </a:lnTo>
                      <a:lnTo>
                        <a:pt x="138" y="312"/>
                      </a:lnTo>
                      <a:lnTo>
                        <a:pt x="137" y="312"/>
                      </a:lnTo>
                      <a:lnTo>
                        <a:pt x="136" y="312"/>
                      </a:lnTo>
                      <a:lnTo>
                        <a:pt x="136" y="311"/>
                      </a:lnTo>
                      <a:lnTo>
                        <a:pt x="134" y="311"/>
                      </a:lnTo>
                      <a:lnTo>
                        <a:pt x="134" y="310"/>
                      </a:lnTo>
                      <a:lnTo>
                        <a:pt x="133" y="311"/>
                      </a:lnTo>
                      <a:lnTo>
                        <a:pt x="131" y="311"/>
                      </a:lnTo>
                      <a:lnTo>
                        <a:pt x="130" y="312"/>
                      </a:lnTo>
                      <a:lnTo>
                        <a:pt x="129" y="312"/>
                      </a:lnTo>
                      <a:lnTo>
                        <a:pt x="129" y="313"/>
                      </a:lnTo>
                      <a:lnTo>
                        <a:pt x="128" y="313"/>
                      </a:lnTo>
                      <a:lnTo>
                        <a:pt x="126" y="314"/>
                      </a:lnTo>
                      <a:lnTo>
                        <a:pt x="124" y="314"/>
                      </a:lnTo>
                      <a:lnTo>
                        <a:pt x="122" y="313"/>
                      </a:lnTo>
                      <a:lnTo>
                        <a:pt x="122" y="312"/>
                      </a:lnTo>
                      <a:lnTo>
                        <a:pt x="122" y="311"/>
                      </a:lnTo>
                      <a:lnTo>
                        <a:pt x="121" y="311"/>
                      </a:lnTo>
                      <a:lnTo>
                        <a:pt x="120" y="310"/>
                      </a:lnTo>
                      <a:lnTo>
                        <a:pt x="119" y="309"/>
                      </a:lnTo>
                      <a:lnTo>
                        <a:pt x="117" y="309"/>
                      </a:lnTo>
                      <a:lnTo>
                        <a:pt x="116" y="307"/>
                      </a:lnTo>
                      <a:lnTo>
                        <a:pt x="114" y="309"/>
                      </a:lnTo>
                      <a:lnTo>
                        <a:pt x="112" y="309"/>
                      </a:lnTo>
                      <a:lnTo>
                        <a:pt x="112" y="310"/>
                      </a:lnTo>
                      <a:lnTo>
                        <a:pt x="110" y="310"/>
                      </a:lnTo>
                      <a:lnTo>
                        <a:pt x="108" y="310"/>
                      </a:lnTo>
                      <a:lnTo>
                        <a:pt x="107" y="309"/>
                      </a:lnTo>
                      <a:lnTo>
                        <a:pt x="106" y="309"/>
                      </a:lnTo>
                      <a:lnTo>
                        <a:pt x="105" y="309"/>
                      </a:lnTo>
                      <a:lnTo>
                        <a:pt x="105" y="307"/>
                      </a:lnTo>
                      <a:lnTo>
                        <a:pt x="103" y="307"/>
                      </a:lnTo>
                      <a:lnTo>
                        <a:pt x="102" y="306"/>
                      </a:lnTo>
                      <a:lnTo>
                        <a:pt x="101" y="306"/>
                      </a:lnTo>
                      <a:lnTo>
                        <a:pt x="101" y="305"/>
                      </a:lnTo>
                      <a:lnTo>
                        <a:pt x="100" y="305"/>
                      </a:lnTo>
                      <a:lnTo>
                        <a:pt x="100" y="304"/>
                      </a:lnTo>
                      <a:lnTo>
                        <a:pt x="99" y="304"/>
                      </a:lnTo>
                      <a:lnTo>
                        <a:pt x="98" y="304"/>
                      </a:lnTo>
                      <a:lnTo>
                        <a:pt x="98" y="303"/>
                      </a:lnTo>
                      <a:lnTo>
                        <a:pt x="98" y="302"/>
                      </a:lnTo>
                      <a:lnTo>
                        <a:pt x="96" y="302"/>
                      </a:lnTo>
                      <a:lnTo>
                        <a:pt x="96" y="300"/>
                      </a:lnTo>
                      <a:lnTo>
                        <a:pt x="95" y="300"/>
                      </a:lnTo>
                      <a:lnTo>
                        <a:pt x="94" y="300"/>
                      </a:lnTo>
                      <a:lnTo>
                        <a:pt x="94" y="299"/>
                      </a:lnTo>
                      <a:lnTo>
                        <a:pt x="93" y="299"/>
                      </a:lnTo>
                      <a:lnTo>
                        <a:pt x="92" y="299"/>
                      </a:lnTo>
                      <a:lnTo>
                        <a:pt x="89" y="298"/>
                      </a:lnTo>
                      <a:lnTo>
                        <a:pt x="88" y="298"/>
                      </a:lnTo>
                      <a:lnTo>
                        <a:pt x="85" y="297"/>
                      </a:lnTo>
                      <a:lnTo>
                        <a:pt x="84" y="297"/>
                      </a:lnTo>
                      <a:lnTo>
                        <a:pt x="84" y="298"/>
                      </a:lnTo>
                      <a:lnTo>
                        <a:pt x="82" y="298"/>
                      </a:lnTo>
                      <a:lnTo>
                        <a:pt x="82" y="299"/>
                      </a:lnTo>
                      <a:lnTo>
                        <a:pt x="81" y="299"/>
                      </a:lnTo>
                      <a:lnTo>
                        <a:pt x="81" y="298"/>
                      </a:lnTo>
                      <a:lnTo>
                        <a:pt x="80" y="298"/>
                      </a:lnTo>
                      <a:lnTo>
                        <a:pt x="79" y="298"/>
                      </a:lnTo>
                      <a:lnTo>
                        <a:pt x="79" y="297"/>
                      </a:lnTo>
                      <a:lnTo>
                        <a:pt x="78" y="297"/>
                      </a:lnTo>
                      <a:lnTo>
                        <a:pt x="77" y="297"/>
                      </a:lnTo>
                      <a:lnTo>
                        <a:pt x="76" y="297"/>
                      </a:lnTo>
                      <a:lnTo>
                        <a:pt x="74" y="297"/>
                      </a:lnTo>
                      <a:lnTo>
                        <a:pt x="73" y="297"/>
                      </a:lnTo>
                      <a:lnTo>
                        <a:pt x="72" y="297"/>
                      </a:lnTo>
                      <a:lnTo>
                        <a:pt x="71" y="297"/>
                      </a:lnTo>
                      <a:lnTo>
                        <a:pt x="70" y="297"/>
                      </a:lnTo>
                      <a:lnTo>
                        <a:pt x="69" y="297"/>
                      </a:lnTo>
                      <a:lnTo>
                        <a:pt x="67" y="298"/>
                      </a:lnTo>
                      <a:lnTo>
                        <a:pt x="66" y="298"/>
                      </a:lnTo>
                      <a:lnTo>
                        <a:pt x="64" y="298"/>
                      </a:lnTo>
                      <a:lnTo>
                        <a:pt x="63" y="298"/>
                      </a:lnTo>
                      <a:lnTo>
                        <a:pt x="62" y="299"/>
                      </a:lnTo>
                      <a:lnTo>
                        <a:pt x="60" y="299"/>
                      </a:lnTo>
                      <a:lnTo>
                        <a:pt x="59" y="299"/>
                      </a:lnTo>
                      <a:lnTo>
                        <a:pt x="58" y="299"/>
                      </a:lnTo>
                      <a:lnTo>
                        <a:pt x="56" y="300"/>
                      </a:lnTo>
                      <a:lnTo>
                        <a:pt x="55" y="300"/>
                      </a:lnTo>
                      <a:lnTo>
                        <a:pt x="53" y="300"/>
                      </a:lnTo>
                      <a:lnTo>
                        <a:pt x="52" y="300"/>
                      </a:lnTo>
                      <a:lnTo>
                        <a:pt x="51" y="302"/>
                      </a:lnTo>
                      <a:lnTo>
                        <a:pt x="50" y="302"/>
                      </a:lnTo>
                      <a:lnTo>
                        <a:pt x="49" y="302"/>
                      </a:lnTo>
                      <a:lnTo>
                        <a:pt x="48" y="302"/>
                      </a:lnTo>
                      <a:lnTo>
                        <a:pt x="46" y="302"/>
                      </a:lnTo>
                      <a:lnTo>
                        <a:pt x="45" y="302"/>
                      </a:lnTo>
                      <a:lnTo>
                        <a:pt x="44" y="303"/>
                      </a:lnTo>
                      <a:lnTo>
                        <a:pt x="44" y="302"/>
                      </a:lnTo>
                      <a:lnTo>
                        <a:pt x="44" y="300"/>
                      </a:lnTo>
                      <a:lnTo>
                        <a:pt x="43" y="299"/>
                      </a:lnTo>
                      <a:lnTo>
                        <a:pt x="42" y="299"/>
                      </a:lnTo>
                      <a:lnTo>
                        <a:pt x="41" y="299"/>
                      </a:lnTo>
                      <a:lnTo>
                        <a:pt x="39" y="299"/>
                      </a:lnTo>
                      <a:lnTo>
                        <a:pt x="38" y="299"/>
                      </a:lnTo>
                      <a:lnTo>
                        <a:pt x="38" y="298"/>
                      </a:lnTo>
                      <a:lnTo>
                        <a:pt x="38" y="297"/>
                      </a:lnTo>
                      <a:lnTo>
                        <a:pt x="37" y="297"/>
                      </a:lnTo>
                      <a:lnTo>
                        <a:pt x="36" y="296"/>
                      </a:lnTo>
                      <a:lnTo>
                        <a:pt x="35" y="296"/>
                      </a:lnTo>
                      <a:lnTo>
                        <a:pt x="35" y="295"/>
                      </a:lnTo>
                      <a:lnTo>
                        <a:pt x="34" y="293"/>
                      </a:lnTo>
                      <a:lnTo>
                        <a:pt x="34" y="292"/>
                      </a:lnTo>
                      <a:lnTo>
                        <a:pt x="32" y="291"/>
                      </a:lnTo>
                      <a:lnTo>
                        <a:pt x="31" y="291"/>
                      </a:lnTo>
                      <a:lnTo>
                        <a:pt x="30" y="290"/>
                      </a:lnTo>
                      <a:lnTo>
                        <a:pt x="29" y="290"/>
                      </a:lnTo>
                      <a:lnTo>
                        <a:pt x="28" y="289"/>
                      </a:lnTo>
                      <a:lnTo>
                        <a:pt x="27" y="288"/>
                      </a:lnTo>
                      <a:lnTo>
                        <a:pt x="25" y="288"/>
                      </a:lnTo>
                      <a:lnTo>
                        <a:pt x="25" y="286"/>
                      </a:lnTo>
                      <a:lnTo>
                        <a:pt x="24" y="286"/>
                      </a:lnTo>
                      <a:lnTo>
                        <a:pt x="24" y="285"/>
                      </a:lnTo>
                      <a:lnTo>
                        <a:pt x="24" y="284"/>
                      </a:lnTo>
                      <a:lnTo>
                        <a:pt x="23" y="283"/>
                      </a:lnTo>
                      <a:lnTo>
                        <a:pt x="22" y="282"/>
                      </a:lnTo>
                      <a:lnTo>
                        <a:pt x="21" y="282"/>
                      </a:lnTo>
                      <a:lnTo>
                        <a:pt x="20" y="281"/>
                      </a:lnTo>
                      <a:lnTo>
                        <a:pt x="18" y="281"/>
                      </a:lnTo>
                      <a:lnTo>
                        <a:pt x="18" y="279"/>
                      </a:lnTo>
                      <a:lnTo>
                        <a:pt x="17" y="278"/>
                      </a:lnTo>
                      <a:lnTo>
                        <a:pt x="16" y="278"/>
                      </a:lnTo>
                      <a:lnTo>
                        <a:pt x="16" y="277"/>
                      </a:lnTo>
                      <a:lnTo>
                        <a:pt x="14" y="274"/>
                      </a:lnTo>
                      <a:lnTo>
                        <a:pt x="14" y="272"/>
                      </a:lnTo>
                      <a:lnTo>
                        <a:pt x="13" y="272"/>
                      </a:lnTo>
                      <a:lnTo>
                        <a:pt x="12" y="271"/>
                      </a:lnTo>
                      <a:lnTo>
                        <a:pt x="10" y="270"/>
                      </a:lnTo>
                      <a:lnTo>
                        <a:pt x="9" y="270"/>
                      </a:lnTo>
                      <a:lnTo>
                        <a:pt x="8" y="270"/>
                      </a:lnTo>
                      <a:lnTo>
                        <a:pt x="6" y="268"/>
                      </a:lnTo>
                      <a:lnTo>
                        <a:pt x="6" y="267"/>
                      </a:lnTo>
                      <a:lnTo>
                        <a:pt x="5" y="267"/>
                      </a:lnTo>
                      <a:lnTo>
                        <a:pt x="5" y="265"/>
                      </a:lnTo>
                      <a:lnTo>
                        <a:pt x="3" y="264"/>
                      </a:lnTo>
                      <a:lnTo>
                        <a:pt x="3" y="263"/>
                      </a:lnTo>
                      <a:lnTo>
                        <a:pt x="3" y="262"/>
                      </a:lnTo>
                      <a:lnTo>
                        <a:pt x="5" y="262"/>
                      </a:lnTo>
                      <a:lnTo>
                        <a:pt x="5" y="261"/>
                      </a:lnTo>
                      <a:lnTo>
                        <a:pt x="3" y="261"/>
                      </a:lnTo>
                      <a:lnTo>
                        <a:pt x="2" y="261"/>
                      </a:lnTo>
                      <a:lnTo>
                        <a:pt x="2" y="260"/>
                      </a:lnTo>
                      <a:lnTo>
                        <a:pt x="2" y="258"/>
                      </a:lnTo>
                      <a:lnTo>
                        <a:pt x="2" y="257"/>
                      </a:lnTo>
                      <a:lnTo>
                        <a:pt x="1" y="257"/>
                      </a:lnTo>
                      <a:lnTo>
                        <a:pt x="2" y="257"/>
                      </a:lnTo>
                      <a:lnTo>
                        <a:pt x="1" y="255"/>
                      </a:lnTo>
                      <a:lnTo>
                        <a:pt x="0" y="254"/>
                      </a:lnTo>
                      <a:lnTo>
                        <a:pt x="0" y="253"/>
                      </a:lnTo>
                      <a:lnTo>
                        <a:pt x="0" y="251"/>
                      </a:lnTo>
                      <a:lnTo>
                        <a:pt x="0" y="249"/>
                      </a:lnTo>
                      <a:lnTo>
                        <a:pt x="0" y="247"/>
                      </a:lnTo>
                      <a:lnTo>
                        <a:pt x="0" y="244"/>
                      </a:lnTo>
                      <a:lnTo>
                        <a:pt x="0" y="241"/>
                      </a:lnTo>
                      <a:lnTo>
                        <a:pt x="0" y="237"/>
                      </a:lnTo>
                      <a:lnTo>
                        <a:pt x="0" y="234"/>
                      </a:lnTo>
                      <a:lnTo>
                        <a:pt x="0" y="233"/>
                      </a:lnTo>
                      <a:lnTo>
                        <a:pt x="0" y="232"/>
                      </a:lnTo>
                      <a:lnTo>
                        <a:pt x="0" y="230"/>
                      </a:lnTo>
                      <a:lnTo>
                        <a:pt x="0" y="229"/>
                      </a:lnTo>
                      <a:lnTo>
                        <a:pt x="0" y="225"/>
                      </a:lnTo>
                      <a:lnTo>
                        <a:pt x="0" y="220"/>
                      </a:lnTo>
                      <a:lnTo>
                        <a:pt x="0" y="215"/>
                      </a:lnTo>
                      <a:lnTo>
                        <a:pt x="0" y="211"/>
                      </a:lnTo>
                      <a:lnTo>
                        <a:pt x="0" y="205"/>
                      </a:lnTo>
                      <a:lnTo>
                        <a:pt x="0" y="200"/>
                      </a:lnTo>
                      <a:lnTo>
                        <a:pt x="0" y="195"/>
                      </a:lnTo>
                      <a:lnTo>
                        <a:pt x="0" y="191"/>
                      </a:lnTo>
                      <a:lnTo>
                        <a:pt x="0" y="186"/>
                      </a:lnTo>
                      <a:lnTo>
                        <a:pt x="0" y="180"/>
                      </a:lnTo>
                      <a:lnTo>
                        <a:pt x="0" y="176"/>
                      </a:lnTo>
                      <a:lnTo>
                        <a:pt x="0" y="174"/>
                      </a:lnTo>
                      <a:lnTo>
                        <a:pt x="0" y="171"/>
                      </a:lnTo>
                      <a:lnTo>
                        <a:pt x="0" y="166"/>
                      </a:lnTo>
                      <a:lnTo>
                        <a:pt x="0" y="162"/>
                      </a:lnTo>
                      <a:lnTo>
                        <a:pt x="0" y="157"/>
                      </a:lnTo>
                      <a:lnTo>
                        <a:pt x="0" y="152"/>
                      </a:lnTo>
                      <a:lnTo>
                        <a:pt x="5" y="151"/>
                      </a:lnTo>
                      <a:lnTo>
                        <a:pt x="8" y="151"/>
                      </a:lnTo>
                      <a:lnTo>
                        <a:pt x="12" y="151"/>
                      </a:lnTo>
                      <a:lnTo>
                        <a:pt x="16" y="151"/>
                      </a:lnTo>
                      <a:lnTo>
                        <a:pt x="20" y="151"/>
                      </a:lnTo>
                      <a:lnTo>
                        <a:pt x="23" y="151"/>
                      </a:lnTo>
                      <a:lnTo>
                        <a:pt x="28" y="151"/>
                      </a:lnTo>
                      <a:lnTo>
                        <a:pt x="31" y="151"/>
                      </a:lnTo>
                      <a:lnTo>
                        <a:pt x="35" y="151"/>
                      </a:lnTo>
                      <a:lnTo>
                        <a:pt x="39" y="151"/>
                      </a:lnTo>
                      <a:lnTo>
                        <a:pt x="43" y="151"/>
                      </a:lnTo>
                      <a:lnTo>
                        <a:pt x="46" y="151"/>
                      </a:lnTo>
                      <a:lnTo>
                        <a:pt x="51" y="151"/>
                      </a:lnTo>
                      <a:lnTo>
                        <a:pt x="55" y="151"/>
                      </a:lnTo>
                      <a:lnTo>
                        <a:pt x="59" y="151"/>
                      </a:lnTo>
                      <a:lnTo>
                        <a:pt x="63" y="151"/>
                      </a:lnTo>
                      <a:lnTo>
                        <a:pt x="64" y="151"/>
                      </a:lnTo>
                      <a:lnTo>
                        <a:pt x="63" y="150"/>
                      </a:lnTo>
                      <a:lnTo>
                        <a:pt x="62" y="149"/>
                      </a:lnTo>
                      <a:lnTo>
                        <a:pt x="60" y="146"/>
                      </a:lnTo>
                      <a:lnTo>
                        <a:pt x="59" y="145"/>
                      </a:lnTo>
                      <a:lnTo>
                        <a:pt x="59" y="144"/>
                      </a:lnTo>
                      <a:lnTo>
                        <a:pt x="60" y="142"/>
                      </a:lnTo>
                      <a:lnTo>
                        <a:pt x="60" y="139"/>
                      </a:lnTo>
                      <a:lnTo>
                        <a:pt x="62" y="137"/>
                      </a:lnTo>
                      <a:lnTo>
                        <a:pt x="63" y="135"/>
                      </a:lnTo>
                      <a:lnTo>
                        <a:pt x="64" y="132"/>
                      </a:lnTo>
                      <a:lnTo>
                        <a:pt x="65" y="132"/>
                      </a:lnTo>
                      <a:lnTo>
                        <a:pt x="65" y="131"/>
                      </a:lnTo>
                      <a:lnTo>
                        <a:pt x="64" y="130"/>
                      </a:lnTo>
                      <a:lnTo>
                        <a:pt x="64" y="129"/>
                      </a:lnTo>
                      <a:lnTo>
                        <a:pt x="64" y="128"/>
                      </a:lnTo>
                      <a:lnTo>
                        <a:pt x="63" y="127"/>
                      </a:lnTo>
                      <a:lnTo>
                        <a:pt x="63" y="125"/>
                      </a:lnTo>
                      <a:lnTo>
                        <a:pt x="63" y="124"/>
                      </a:lnTo>
                      <a:lnTo>
                        <a:pt x="63" y="120"/>
                      </a:lnTo>
                      <a:lnTo>
                        <a:pt x="63" y="116"/>
                      </a:lnTo>
                      <a:lnTo>
                        <a:pt x="63" y="114"/>
                      </a:lnTo>
                      <a:lnTo>
                        <a:pt x="63" y="113"/>
                      </a:lnTo>
                      <a:lnTo>
                        <a:pt x="63" y="110"/>
                      </a:lnTo>
                      <a:lnTo>
                        <a:pt x="63" y="109"/>
                      </a:lnTo>
                      <a:lnTo>
                        <a:pt x="63" y="108"/>
                      </a:lnTo>
                      <a:lnTo>
                        <a:pt x="63" y="107"/>
                      </a:lnTo>
                      <a:lnTo>
                        <a:pt x="63" y="106"/>
                      </a:lnTo>
                      <a:lnTo>
                        <a:pt x="64" y="104"/>
                      </a:lnTo>
                      <a:lnTo>
                        <a:pt x="64" y="103"/>
                      </a:lnTo>
                      <a:lnTo>
                        <a:pt x="64" y="102"/>
                      </a:lnTo>
                      <a:lnTo>
                        <a:pt x="65" y="101"/>
                      </a:lnTo>
                      <a:lnTo>
                        <a:pt x="65" y="100"/>
                      </a:lnTo>
                      <a:lnTo>
                        <a:pt x="64" y="97"/>
                      </a:lnTo>
                      <a:lnTo>
                        <a:pt x="64" y="96"/>
                      </a:lnTo>
                      <a:lnTo>
                        <a:pt x="64" y="92"/>
                      </a:lnTo>
                      <a:lnTo>
                        <a:pt x="63" y="92"/>
                      </a:lnTo>
                      <a:lnTo>
                        <a:pt x="64" y="89"/>
                      </a:lnTo>
                      <a:lnTo>
                        <a:pt x="64" y="88"/>
                      </a:lnTo>
                      <a:lnTo>
                        <a:pt x="64" y="87"/>
                      </a:lnTo>
                      <a:lnTo>
                        <a:pt x="63" y="86"/>
                      </a:lnTo>
                      <a:lnTo>
                        <a:pt x="63" y="85"/>
                      </a:lnTo>
                      <a:lnTo>
                        <a:pt x="63" y="84"/>
                      </a:lnTo>
                      <a:lnTo>
                        <a:pt x="64" y="84"/>
                      </a:lnTo>
                      <a:lnTo>
                        <a:pt x="65" y="84"/>
                      </a:lnTo>
                      <a:lnTo>
                        <a:pt x="66" y="85"/>
                      </a:lnTo>
                      <a:lnTo>
                        <a:pt x="67" y="85"/>
                      </a:lnTo>
                      <a:lnTo>
                        <a:pt x="67" y="86"/>
                      </a:lnTo>
                      <a:lnTo>
                        <a:pt x="67" y="87"/>
                      </a:lnTo>
                      <a:lnTo>
                        <a:pt x="67" y="88"/>
                      </a:lnTo>
                      <a:lnTo>
                        <a:pt x="67" y="89"/>
                      </a:lnTo>
                      <a:lnTo>
                        <a:pt x="69" y="89"/>
                      </a:lnTo>
                      <a:lnTo>
                        <a:pt x="69" y="88"/>
                      </a:lnTo>
                      <a:lnTo>
                        <a:pt x="70" y="88"/>
                      </a:lnTo>
                      <a:lnTo>
                        <a:pt x="71" y="89"/>
                      </a:lnTo>
                      <a:lnTo>
                        <a:pt x="72" y="89"/>
                      </a:lnTo>
                      <a:lnTo>
                        <a:pt x="73" y="89"/>
                      </a:lnTo>
                      <a:lnTo>
                        <a:pt x="74" y="90"/>
                      </a:lnTo>
                      <a:lnTo>
                        <a:pt x="76" y="90"/>
                      </a:lnTo>
                      <a:lnTo>
                        <a:pt x="76" y="92"/>
                      </a:lnTo>
                      <a:lnTo>
                        <a:pt x="76" y="93"/>
                      </a:lnTo>
                      <a:lnTo>
                        <a:pt x="76" y="94"/>
                      </a:lnTo>
                      <a:lnTo>
                        <a:pt x="77" y="95"/>
                      </a:lnTo>
                      <a:lnTo>
                        <a:pt x="76" y="96"/>
                      </a:lnTo>
                      <a:lnTo>
                        <a:pt x="76" y="97"/>
                      </a:lnTo>
                      <a:lnTo>
                        <a:pt x="74" y="99"/>
                      </a:lnTo>
                      <a:lnTo>
                        <a:pt x="73" y="100"/>
                      </a:lnTo>
                      <a:lnTo>
                        <a:pt x="72" y="100"/>
                      </a:lnTo>
                      <a:lnTo>
                        <a:pt x="73" y="100"/>
                      </a:lnTo>
                      <a:lnTo>
                        <a:pt x="73" y="101"/>
                      </a:lnTo>
                      <a:lnTo>
                        <a:pt x="74" y="101"/>
                      </a:lnTo>
                      <a:lnTo>
                        <a:pt x="76" y="101"/>
                      </a:lnTo>
                      <a:lnTo>
                        <a:pt x="77" y="102"/>
                      </a:lnTo>
                      <a:lnTo>
                        <a:pt x="78" y="102"/>
                      </a:lnTo>
                      <a:lnTo>
                        <a:pt x="79" y="102"/>
                      </a:lnTo>
                      <a:lnTo>
                        <a:pt x="80" y="102"/>
                      </a:lnTo>
                      <a:lnTo>
                        <a:pt x="81" y="102"/>
                      </a:lnTo>
                      <a:lnTo>
                        <a:pt x="81" y="101"/>
                      </a:lnTo>
                      <a:lnTo>
                        <a:pt x="82" y="101"/>
                      </a:lnTo>
                      <a:lnTo>
                        <a:pt x="82" y="100"/>
                      </a:lnTo>
                      <a:lnTo>
                        <a:pt x="84" y="100"/>
                      </a:lnTo>
                      <a:lnTo>
                        <a:pt x="85" y="99"/>
                      </a:lnTo>
                      <a:lnTo>
                        <a:pt x="86" y="97"/>
                      </a:lnTo>
                      <a:lnTo>
                        <a:pt x="88" y="97"/>
                      </a:lnTo>
                      <a:lnTo>
                        <a:pt x="89" y="97"/>
                      </a:lnTo>
                      <a:lnTo>
                        <a:pt x="92" y="96"/>
                      </a:lnTo>
                      <a:lnTo>
                        <a:pt x="93" y="96"/>
                      </a:lnTo>
                      <a:lnTo>
                        <a:pt x="94" y="96"/>
                      </a:lnTo>
                      <a:lnTo>
                        <a:pt x="99" y="96"/>
                      </a:lnTo>
                      <a:lnTo>
                        <a:pt x="101" y="95"/>
                      </a:lnTo>
                      <a:lnTo>
                        <a:pt x="103" y="94"/>
                      </a:lnTo>
                      <a:lnTo>
                        <a:pt x="105" y="94"/>
                      </a:lnTo>
                      <a:lnTo>
                        <a:pt x="106" y="94"/>
                      </a:lnTo>
                      <a:lnTo>
                        <a:pt x="106" y="95"/>
                      </a:lnTo>
                      <a:lnTo>
                        <a:pt x="106" y="96"/>
                      </a:lnTo>
                      <a:lnTo>
                        <a:pt x="105" y="96"/>
                      </a:lnTo>
                      <a:lnTo>
                        <a:pt x="105" y="97"/>
                      </a:lnTo>
                      <a:lnTo>
                        <a:pt x="105" y="99"/>
                      </a:lnTo>
                      <a:lnTo>
                        <a:pt x="103" y="100"/>
                      </a:lnTo>
                      <a:lnTo>
                        <a:pt x="105" y="101"/>
                      </a:lnTo>
                      <a:lnTo>
                        <a:pt x="105" y="102"/>
                      </a:lnTo>
                      <a:lnTo>
                        <a:pt x="105" y="103"/>
                      </a:lnTo>
                      <a:lnTo>
                        <a:pt x="105" y="104"/>
                      </a:lnTo>
                      <a:lnTo>
                        <a:pt x="106" y="107"/>
                      </a:lnTo>
                      <a:lnTo>
                        <a:pt x="106" y="108"/>
                      </a:lnTo>
                      <a:lnTo>
                        <a:pt x="107" y="108"/>
                      </a:lnTo>
                      <a:lnTo>
                        <a:pt x="108" y="109"/>
                      </a:lnTo>
                      <a:lnTo>
                        <a:pt x="109" y="110"/>
                      </a:lnTo>
                      <a:lnTo>
                        <a:pt x="110" y="110"/>
                      </a:lnTo>
                      <a:lnTo>
                        <a:pt x="110" y="111"/>
                      </a:lnTo>
                      <a:lnTo>
                        <a:pt x="110" y="113"/>
                      </a:lnTo>
                      <a:lnTo>
                        <a:pt x="112" y="113"/>
                      </a:lnTo>
                      <a:lnTo>
                        <a:pt x="112" y="111"/>
                      </a:lnTo>
                      <a:lnTo>
                        <a:pt x="113" y="111"/>
                      </a:lnTo>
                      <a:lnTo>
                        <a:pt x="113" y="110"/>
                      </a:lnTo>
                      <a:lnTo>
                        <a:pt x="115" y="110"/>
                      </a:lnTo>
                      <a:lnTo>
                        <a:pt x="116" y="111"/>
                      </a:lnTo>
                      <a:lnTo>
                        <a:pt x="116" y="113"/>
                      </a:lnTo>
                      <a:lnTo>
                        <a:pt x="117" y="113"/>
                      </a:lnTo>
                      <a:lnTo>
                        <a:pt x="119" y="113"/>
                      </a:lnTo>
                      <a:lnTo>
                        <a:pt x="121" y="114"/>
                      </a:lnTo>
                      <a:lnTo>
                        <a:pt x="121" y="113"/>
                      </a:lnTo>
                      <a:lnTo>
                        <a:pt x="122" y="113"/>
                      </a:lnTo>
                      <a:lnTo>
                        <a:pt x="124" y="115"/>
                      </a:lnTo>
                      <a:lnTo>
                        <a:pt x="126" y="115"/>
                      </a:lnTo>
                      <a:lnTo>
                        <a:pt x="126" y="116"/>
                      </a:lnTo>
                      <a:lnTo>
                        <a:pt x="127" y="116"/>
                      </a:lnTo>
                      <a:lnTo>
                        <a:pt x="131" y="116"/>
                      </a:lnTo>
                      <a:lnTo>
                        <a:pt x="133" y="116"/>
                      </a:lnTo>
                      <a:lnTo>
                        <a:pt x="134" y="117"/>
                      </a:lnTo>
                      <a:lnTo>
                        <a:pt x="135" y="117"/>
                      </a:lnTo>
                      <a:lnTo>
                        <a:pt x="136" y="117"/>
                      </a:lnTo>
                      <a:lnTo>
                        <a:pt x="137" y="117"/>
                      </a:lnTo>
                      <a:lnTo>
                        <a:pt x="138" y="116"/>
                      </a:lnTo>
                      <a:lnTo>
                        <a:pt x="140" y="116"/>
                      </a:lnTo>
                      <a:lnTo>
                        <a:pt x="141" y="117"/>
                      </a:lnTo>
                      <a:lnTo>
                        <a:pt x="142" y="117"/>
                      </a:lnTo>
                      <a:lnTo>
                        <a:pt x="142" y="118"/>
                      </a:lnTo>
                      <a:lnTo>
                        <a:pt x="143" y="118"/>
                      </a:lnTo>
                      <a:lnTo>
                        <a:pt x="145" y="118"/>
                      </a:lnTo>
                      <a:lnTo>
                        <a:pt x="146" y="118"/>
                      </a:lnTo>
                      <a:lnTo>
                        <a:pt x="148" y="120"/>
                      </a:lnTo>
                      <a:lnTo>
                        <a:pt x="149" y="120"/>
                      </a:lnTo>
                      <a:lnTo>
                        <a:pt x="150" y="120"/>
                      </a:lnTo>
                      <a:lnTo>
                        <a:pt x="150" y="118"/>
                      </a:lnTo>
                      <a:lnTo>
                        <a:pt x="151" y="118"/>
                      </a:lnTo>
                      <a:lnTo>
                        <a:pt x="152" y="118"/>
                      </a:lnTo>
                      <a:lnTo>
                        <a:pt x="155" y="118"/>
                      </a:lnTo>
                      <a:lnTo>
                        <a:pt x="156" y="117"/>
                      </a:lnTo>
                      <a:lnTo>
                        <a:pt x="157" y="116"/>
                      </a:lnTo>
                      <a:lnTo>
                        <a:pt x="157" y="115"/>
                      </a:lnTo>
                      <a:lnTo>
                        <a:pt x="157" y="113"/>
                      </a:lnTo>
                      <a:lnTo>
                        <a:pt x="157" y="111"/>
                      </a:lnTo>
                      <a:lnTo>
                        <a:pt x="158" y="110"/>
                      </a:lnTo>
                      <a:lnTo>
                        <a:pt x="159" y="110"/>
                      </a:lnTo>
                      <a:lnTo>
                        <a:pt x="159" y="109"/>
                      </a:lnTo>
                      <a:lnTo>
                        <a:pt x="158" y="108"/>
                      </a:lnTo>
                      <a:lnTo>
                        <a:pt x="158" y="107"/>
                      </a:lnTo>
                      <a:lnTo>
                        <a:pt x="159" y="107"/>
                      </a:lnTo>
                      <a:lnTo>
                        <a:pt x="160" y="107"/>
                      </a:lnTo>
                      <a:lnTo>
                        <a:pt x="162" y="107"/>
                      </a:lnTo>
                      <a:lnTo>
                        <a:pt x="163" y="106"/>
                      </a:lnTo>
                      <a:lnTo>
                        <a:pt x="164" y="106"/>
                      </a:lnTo>
                      <a:lnTo>
                        <a:pt x="164" y="107"/>
                      </a:lnTo>
                      <a:lnTo>
                        <a:pt x="165" y="108"/>
                      </a:lnTo>
                      <a:lnTo>
                        <a:pt x="165" y="109"/>
                      </a:lnTo>
                      <a:lnTo>
                        <a:pt x="165" y="110"/>
                      </a:lnTo>
                      <a:lnTo>
                        <a:pt x="165" y="114"/>
                      </a:lnTo>
                      <a:lnTo>
                        <a:pt x="171" y="117"/>
                      </a:lnTo>
                      <a:lnTo>
                        <a:pt x="173" y="120"/>
                      </a:lnTo>
                      <a:lnTo>
                        <a:pt x="173" y="121"/>
                      </a:lnTo>
                      <a:lnTo>
                        <a:pt x="174" y="125"/>
                      </a:lnTo>
                      <a:lnTo>
                        <a:pt x="177" y="128"/>
                      </a:lnTo>
                      <a:lnTo>
                        <a:pt x="178" y="129"/>
                      </a:lnTo>
                      <a:lnTo>
                        <a:pt x="179" y="129"/>
                      </a:lnTo>
                      <a:lnTo>
                        <a:pt x="180" y="129"/>
                      </a:lnTo>
                      <a:lnTo>
                        <a:pt x="181" y="129"/>
                      </a:lnTo>
                      <a:lnTo>
                        <a:pt x="183" y="129"/>
                      </a:lnTo>
                      <a:lnTo>
                        <a:pt x="184" y="129"/>
                      </a:lnTo>
                      <a:lnTo>
                        <a:pt x="184" y="128"/>
                      </a:lnTo>
                      <a:lnTo>
                        <a:pt x="185" y="128"/>
                      </a:lnTo>
                      <a:lnTo>
                        <a:pt x="186" y="128"/>
                      </a:lnTo>
                      <a:lnTo>
                        <a:pt x="187" y="129"/>
                      </a:lnTo>
                      <a:lnTo>
                        <a:pt x="188" y="130"/>
                      </a:lnTo>
                      <a:lnTo>
                        <a:pt x="188" y="131"/>
                      </a:lnTo>
                      <a:lnTo>
                        <a:pt x="190" y="131"/>
                      </a:lnTo>
                      <a:lnTo>
                        <a:pt x="192" y="131"/>
                      </a:lnTo>
                      <a:lnTo>
                        <a:pt x="193" y="131"/>
                      </a:lnTo>
                      <a:lnTo>
                        <a:pt x="193" y="132"/>
                      </a:lnTo>
                      <a:lnTo>
                        <a:pt x="194" y="134"/>
                      </a:lnTo>
                      <a:lnTo>
                        <a:pt x="194" y="132"/>
                      </a:lnTo>
                      <a:lnTo>
                        <a:pt x="195" y="132"/>
                      </a:lnTo>
                      <a:lnTo>
                        <a:pt x="197" y="132"/>
                      </a:lnTo>
                      <a:lnTo>
                        <a:pt x="197" y="134"/>
                      </a:lnTo>
                      <a:lnTo>
                        <a:pt x="198" y="134"/>
                      </a:lnTo>
                      <a:lnTo>
                        <a:pt x="199" y="134"/>
                      </a:lnTo>
                      <a:lnTo>
                        <a:pt x="200" y="134"/>
                      </a:lnTo>
                      <a:lnTo>
                        <a:pt x="202" y="136"/>
                      </a:lnTo>
                      <a:lnTo>
                        <a:pt x="204" y="137"/>
                      </a:lnTo>
                      <a:lnTo>
                        <a:pt x="204" y="138"/>
                      </a:lnTo>
                      <a:lnTo>
                        <a:pt x="205" y="139"/>
                      </a:lnTo>
                      <a:lnTo>
                        <a:pt x="206" y="141"/>
                      </a:lnTo>
                      <a:lnTo>
                        <a:pt x="206" y="142"/>
                      </a:lnTo>
                      <a:lnTo>
                        <a:pt x="205" y="143"/>
                      </a:lnTo>
                      <a:lnTo>
                        <a:pt x="205" y="144"/>
                      </a:lnTo>
                      <a:lnTo>
                        <a:pt x="206" y="145"/>
                      </a:lnTo>
                      <a:lnTo>
                        <a:pt x="207" y="146"/>
                      </a:lnTo>
                      <a:lnTo>
                        <a:pt x="207" y="148"/>
                      </a:lnTo>
                      <a:lnTo>
                        <a:pt x="207" y="149"/>
                      </a:lnTo>
                      <a:lnTo>
                        <a:pt x="208" y="148"/>
                      </a:lnTo>
                      <a:lnTo>
                        <a:pt x="208" y="146"/>
                      </a:lnTo>
                      <a:lnTo>
                        <a:pt x="209" y="146"/>
                      </a:lnTo>
                      <a:lnTo>
                        <a:pt x="210" y="146"/>
                      </a:lnTo>
                      <a:lnTo>
                        <a:pt x="212" y="148"/>
                      </a:lnTo>
                      <a:lnTo>
                        <a:pt x="214" y="151"/>
                      </a:lnTo>
                      <a:lnTo>
                        <a:pt x="215" y="152"/>
                      </a:lnTo>
                      <a:lnTo>
                        <a:pt x="215" y="153"/>
                      </a:lnTo>
                      <a:lnTo>
                        <a:pt x="215" y="155"/>
                      </a:lnTo>
                      <a:lnTo>
                        <a:pt x="216" y="155"/>
                      </a:lnTo>
                      <a:lnTo>
                        <a:pt x="216" y="156"/>
                      </a:lnTo>
                      <a:lnTo>
                        <a:pt x="217" y="156"/>
                      </a:lnTo>
                      <a:lnTo>
                        <a:pt x="217" y="157"/>
                      </a:lnTo>
                      <a:lnTo>
                        <a:pt x="219" y="162"/>
                      </a:lnTo>
                      <a:lnTo>
                        <a:pt x="220" y="163"/>
                      </a:lnTo>
                      <a:lnTo>
                        <a:pt x="220" y="164"/>
                      </a:lnTo>
                      <a:lnTo>
                        <a:pt x="221" y="164"/>
                      </a:lnTo>
                      <a:lnTo>
                        <a:pt x="221" y="165"/>
                      </a:lnTo>
                      <a:lnTo>
                        <a:pt x="222" y="164"/>
                      </a:lnTo>
                      <a:lnTo>
                        <a:pt x="223" y="164"/>
                      </a:lnTo>
                      <a:lnTo>
                        <a:pt x="224" y="164"/>
                      </a:lnTo>
                      <a:lnTo>
                        <a:pt x="226" y="164"/>
                      </a:lnTo>
                      <a:lnTo>
                        <a:pt x="226" y="165"/>
                      </a:lnTo>
                      <a:lnTo>
                        <a:pt x="227" y="165"/>
                      </a:lnTo>
                      <a:lnTo>
                        <a:pt x="227" y="166"/>
                      </a:lnTo>
                      <a:lnTo>
                        <a:pt x="227" y="165"/>
                      </a:lnTo>
                      <a:lnTo>
                        <a:pt x="228" y="165"/>
                      </a:lnTo>
                      <a:lnTo>
                        <a:pt x="229" y="164"/>
                      </a:lnTo>
                      <a:lnTo>
                        <a:pt x="230" y="163"/>
                      </a:lnTo>
                      <a:lnTo>
                        <a:pt x="235" y="162"/>
                      </a:lnTo>
                      <a:lnTo>
                        <a:pt x="236" y="160"/>
                      </a:lnTo>
                      <a:lnTo>
                        <a:pt x="237" y="159"/>
                      </a:lnTo>
                      <a:lnTo>
                        <a:pt x="238" y="159"/>
                      </a:lnTo>
                      <a:lnTo>
                        <a:pt x="240" y="159"/>
                      </a:lnTo>
                      <a:lnTo>
                        <a:pt x="241" y="160"/>
                      </a:lnTo>
                      <a:lnTo>
                        <a:pt x="242" y="160"/>
                      </a:lnTo>
                      <a:lnTo>
                        <a:pt x="242" y="162"/>
                      </a:lnTo>
                      <a:lnTo>
                        <a:pt x="241" y="162"/>
                      </a:lnTo>
                      <a:lnTo>
                        <a:pt x="241" y="163"/>
                      </a:lnTo>
                      <a:lnTo>
                        <a:pt x="241" y="164"/>
                      </a:lnTo>
                      <a:lnTo>
                        <a:pt x="240" y="164"/>
                      </a:lnTo>
                      <a:lnTo>
                        <a:pt x="240" y="165"/>
                      </a:lnTo>
                      <a:lnTo>
                        <a:pt x="241" y="165"/>
                      </a:lnTo>
                      <a:lnTo>
                        <a:pt x="241" y="166"/>
                      </a:lnTo>
                      <a:lnTo>
                        <a:pt x="242" y="166"/>
                      </a:lnTo>
                      <a:lnTo>
                        <a:pt x="243" y="166"/>
                      </a:lnTo>
                      <a:lnTo>
                        <a:pt x="245" y="166"/>
                      </a:lnTo>
                      <a:lnTo>
                        <a:pt x="247" y="165"/>
                      </a:lnTo>
                      <a:lnTo>
                        <a:pt x="247" y="162"/>
                      </a:lnTo>
                      <a:lnTo>
                        <a:pt x="247" y="157"/>
                      </a:lnTo>
                      <a:lnTo>
                        <a:pt x="247" y="152"/>
                      </a:lnTo>
                      <a:lnTo>
                        <a:pt x="247" y="148"/>
                      </a:lnTo>
                      <a:lnTo>
                        <a:pt x="247" y="142"/>
                      </a:lnTo>
                      <a:lnTo>
                        <a:pt x="247" y="137"/>
                      </a:lnTo>
                      <a:lnTo>
                        <a:pt x="247" y="132"/>
                      </a:lnTo>
                      <a:lnTo>
                        <a:pt x="247" y="128"/>
                      </a:lnTo>
                      <a:lnTo>
                        <a:pt x="247" y="124"/>
                      </a:lnTo>
                      <a:lnTo>
                        <a:pt x="244" y="124"/>
                      </a:lnTo>
                      <a:lnTo>
                        <a:pt x="244" y="125"/>
                      </a:lnTo>
                      <a:lnTo>
                        <a:pt x="243" y="125"/>
                      </a:lnTo>
                      <a:lnTo>
                        <a:pt x="242" y="127"/>
                      </a:lnTo>
                      <a:lnTo>
                        <a:pt x="241" y="127"/>
                      </a:lnTo>
                      <a:lnTo>
                        <a:pt x="240" y="125"/>
                      </a:lnTo>
                      <a:lnTo>
                        <a:pt x="238" y="125"/>
                      </a:lnTo>
                      <a:lnTo>
                        <a:pt x="238" y="127"/>
                      </a:lnTo>
                      <a:lnTo>
                        <a:pt x="237" y="127"/>
                      </a:lnTo>
                      <a:lnTo>
                        <a:pt x="236" y="127"/>
                      </a:lnTo>
                      <a:lnTo>
                        <a:pt x="236" y="128"/>
                      </a:lnTo>
                      <a:lnTo>
                        <a:pt x="235" y="129"/>
                      </a:lnTo>
                      <a:lnTo>
                        <a:pt x="235" y="130"/>
                      </a:lnTo>
                      <a:lnTo>
                        <a:pt x="236" y="131"/>
                      </a:lnTo>
                      <a:lnTo>
                        <a:pt x="236" y="132"/>
                      </a:lnTo>
                      <a:lnTo>
                        <a:pt x="237" y="132"/>
                      </a:lnTo>
                      <a:lnTo>
                        <a:pt x="237" y="134"/>
                      </a:lnTo>
                      <a:lnTo>
                        <a:pt x="236" y="135"/>
                      </a:lnTo>
                      <a:lnTo>
                        <a:pt x="236" y="134"/>
                      </a:lnTo>
                      <a:lnTo>
                        <a:pt x="235" y="134"/>
                      </a:lnTo>
                      <a:lnTo>
                        <a:pt x="234" y="134"/>
                      </a:lnTo>
                      <a:lnTo>
                        <a:pt x="233" y="132"/>
                      </a:lnTo>
                      <a:lnTo>
                        <a:pt x="231" y="132"/>
                      </a:lnTo>
                      <a:lnTo>
                        <a:pt x="230" y="132"/>
                      </a:lnTo>
                      <a:lnTo>
                        <a:pt x="229" y="131"/>
                      </a:lnTo>
                      <a:lnTo>
                        <a:pt x="227" y="131"/>
                      </a:lnTo>
                      <a:lnTo>
                        <a:pt x="226" y="131"/>
                      </a:lnTo>
                      <a:lnTo>
                        <a:pt x="224" y="132"/>
                      </a:lnTo>
                      <a:lnTo>
                        <a:pt x="224" y="131"/>
                      </a:lnTo>
                      <a:lnTo>
                        <a:pt x="223" y="131"/>
                      </a:lnTo>
                      <a:lnTo>
                        <a:pt x="223" y="132"/>
                      </a:lnTo>
                      <a:lnTo>
                        <a:pt x="222" y="132"/>
                      </a:lnTo>
                      <a:lnTo>
                        <a:pt x="222" y="131"/>
                      </a:lnTo>
                      <a:lnTo>
                        <a:pt x="220" y="127"/>
                      </a:lnTo>
                      <a:lnTo>
                        <a:pt x="219" y="125"/>
                      </a:lnTo>
                      <a:lnTo>
                        <a:pt x="216" y="124"/>
                      </a:lnTo>
                      <a:lnTo>
                        <a:pt x="216" y="123"/>
                      </a:lnTo>
                      <a:lnTo>
                        <a:pt x="215" y="122"/>
                      </a:lnTo>
                      <a:lnTo>
                        <a:pt x="214" y="121"/>
                      </a:lnTo>
                      <a:lnTo>
                        <a:pt x="213" y="121"/>
                      </a:lnTo>
                      <a:lnTo>
                        <a:pt x="213" y="120"/>
                      </a:lnTo>
                      <a:lnTo>
                        <a:pt x="212" y="120"/>
                      </a:lnTo>
                      <a:lnTo>
                        <a:pt x="209" y="118"/>
                      </a:lnTo>
                      <a:lnTo>
                        <a:pt x="208" y="116"/>
                      </a:lnTo>
                      <a:lnTo>
                        <a:pt x="207" y="117"/>
                      </a:lnTo>
                      <a:lnTo>
                        <a:pt x="207" y="116"/>
                      </a:lnTo>
                      <a:lnTo>
                        <a:pt x="207" y="115"/>
                      </a:lnTo>
                      <a:lnTo>
                        <a:pt x="206" y="115"/>
                      </a:lnTo>
                      <a:lnTo>
                        <a:pt x="205" y="115"/>
                      </a:lnTo>
                      <a:lnTo>
                        <a:pt x="205" y="114"/>
                      </a:lnTo>
                      <a:lnTo>
                        <a:pt x="205" y="113"/>
                      </a:lnTo>
                      <a:lnTo>
                        <a:pt x="204" y="113"/>
                      </a:lnTo>
                      <a:lnTo>
                        <a:pt x="204" y="110"/>
                      </a:lnTo>
                      <a:lnTo>
                        <a:pt x="202" y="109"/>
                      </a:lnTo>
                      <a:lnTo>
                        <a:pt x="202" y="107"/>
                      </a:lnTo>
                      <a:lnTo>
                        <a:pt x="201" y="106"/>
                      </a:lnTo>
                      <a:lnTo>
                        <a:pt x="201" y="104"/>
                      </a:lnTo>
                      <a:lnTo>
                        <a:pt x="201" y="102"/>
                      </a:lnTo>
                      <a:lnTo>
                        <a:pt x="202" y="100"/>
                      </a:lnTo>
                      <a:lnTo>
                        <a:pt x="204" y="99"/>
                      </a:lnTo>
                      <a:lnTo>
                        <a:pt x="204" y="97"/>
                      </a:lnTo>
                      <a:lnTo>
                        <a:pt x="204" y="96"/>
                      </a:lnTo>
                      <a:lnTo>
                        <a:pt x="205" y="95"/>
                      </a:lnTo>
                      <a:lnTo>
                        <a:pt x="205" y="94"/>
                      </a:lnTo>
                      <a:lnTo>
                        <a:pt x="205" y="93"/>
                      </a:lnTo>
                      <a:lnTo>
                        <a:pt x="205" y="92"/>
                      </a:lnTo>
                      <a:lnTo>
                        <a:pt x="205" y="90"/>
                      </a:lnTo>
                      <a:lnTo>
                        <a:pt x="205" y="89"/>
                      </a:lnTo>
                      <a:lnTo>
                        <a:pt x="206" y="88"/>
                      </a:lnTo>
                      <a:lnTo>
                        <a:pt x="206" y="87"/>
                      </a:lnTo>
                      <a:lnTo>
                        <a:pt x="206" y="86"/>
                      </a:lnTo>
                      <a:lnTo>
                        <a:pt x="207" y="86"/>
                      </a:lnTo>
                      <a:lnTo>
                        <a:pt x="207" y="85"/>
                      </a:lnTo>
                      <a:lnTo>
                        <a:pt x="207" y="84"/>
                      </a:lnTo>
                      <a:lnTo>
                        <a:pt x="207" y="82"/>
                      </a:lnTo>
                      <a:lnTo>
                        <a:pt x="207" y="81"/>
                      </a:lnTo>
                      <a:lnTo>
                        <a:pt x="208" y="81"/>
                      </a:lnTo>
                      <a:lnTo>
                        <a:pt x="208" y="80"/>
                      </a:lnTo>
                      <a:lnTo>
                        <a:pt x="208" y="79"/>
                      </a:lnTo>
                      <a:lnTo>
                        <a:pt x="209" y="79"/>
                      </a:lnTo>
                      <a:lnTo>
                        <a:pt x="210" y="79"/>
                      </a:lnTo>
                      <a:lnTo>
                        <a:pt x="210" y="78"/>
                      </a:lnTo>
                      <a:lnTo>
                        <a:pt x="212" y="77"/>
                      </a:lnTo>
                      <a:lnTo>
                        <a:pt x="210" y="75"/>
                      </a:lnTo>
                      <a:lnTo>
                        <a:pt x="210" y="74"/>
                      </a:lnTo>
                      <a:lnTo>
                        <a:pt x="210" y="73"/>
                      </a:lnTo>
                      <a:lnTo>
                        <a:pt x="209" y="72"/>
                      </a:lnTo>
                      <a:lnTo>
                        <a:pt x="209" y="71"/>
                      </a:lnTo>
                      <a:lnTo>
                        <a:pt x="209" y="70"/>
                      </a:lnTo>
                      <a:lnTo>
                        <a:pt x="210" y="70"/>
                      </a:lnTo>
                      <a:lnTo>
                        <a:pt x="209" y="70"/>
                      </a:lnTo>
                      <a:lnTo>
                        <a:pt x="209" y="68"/>
                      </a:lnTo>
                      <a:lnTo>
                        <a:pt x="209" y="67"/>
                      </a:lnTo>
                      <a:lnTo>
                        <a:pt x="209" y="66"/>
                      </a:lnTo>
                      <a:lnTo>
                        <a:pt x="209" y="65"/>
                      </a:lnTo>
                      <a:lnTo>
                        <a:pt x="209" y="64"/>
                      </a:lnTo>
                      <a:lnTo>
                        <a:pt x="208" y="64"/>
                      </a:lnTo>
                      <a:lnTo>
                        <a:pt x="207" y="63"/>
                      </a:lnTo>
                      <a:lnTo>
                        <a:pt x="208" y="63"/>
                      </a:lnTo>
                      <a:lnTo>
                        <a:pt x="208" y="61"/>
                      </a:lnTo>
                      <a:lnTo>
                        <a:pt x="209" y="60"/>
                      </a:lnTo>
                      <a:lnTo>
                        <a:pt x="209" y="59"/>
                      </a:lnTo>
                      <a:lnTo>
                        <a:pt x="209" y="57"/>
                      </a:lnTo>
                      <a:lnTo>
                        <a:pt x="209" y="54"/>
                      </a:lnTo>
                      <a:lnTo>
                        <a:pt x="209" y="53"/>
                      </a:lnTo>
                      <a:lnTo>
                        <a:pt x="210" y="51"/>
                      </a:lnTo>
                      <a:lnTo>
                        <a:pt x="210" y="50"/>
                      </a:lnTo>
                      <a:lnTo>
                        <a:pt x="212" y="50"/>
                      </a:lnTo>
                      <a:lnTo>
                        <a:pt x="212" y="49"/>
                      </a:lnTo>
                      <a:lnTo>
                        <a:pt x="210" y="49"/>
                      </a:lnTo>
                      <a:lnTo>
                        <a:pt x="210" y="47"/>
                      </a:lnTo>
                      <a:lnTo>
                        <a:pt x="209" y="46"/>
                      </a:lnTo>
                      <a:lnTo>
                        <a:pt x="209" y="45"/>
                      </a:lnTo>
                      <a:lnTo>
                        <a:pt x="209" y="44"/>
                      </a:lnTo>
                      <a:lnTo>
                        <a:pt x="209" y="43"/>
                      </a:lnTo>
                      <a:lnTo>
                        <a:pt x="208" y="43"/>
                      </a:lnTo>
                      <a:lnTo>
                        <a:pt x="208" y="42"/>
                      </a:lnTo>
                      <a:lnTo>
                        <a:pt x="209" y="42"/>
                      </a:lnTo>
                      <a:lnTo>
                        <a:pt x="208" y="42"/>
                      </a:lnTo>
                      <a:lnTo>
                        <a:pt x="207" y="40"/>
                      </a:lnTo>
                      <a:lnTo>
                        <a:pt x="207" y="39"/>
                      </a:lnTo>
                      <a:lnTo>
                        <a:pt x="206" y="38"/>
                      </a:lnTo>
                      <a:lnTo>
                        <a:pt x="206" y="37"/>
                      </a:lnTo>
                      <a:lnTo>
                        <a:pt x="206" y="36"/>
                      </a:lnTo>
                      <a:lnTo>
                        <a:pt x="206" y="37"/>
                      </a:lnTo>
                      <a:lnTo>
                        <a:pt x="207" y="37"/>
                      </a:lnTo>
                      <a:lnTo>
                        <a:pt x="208" y="37"/>
                      </a:lnTo>
                      <a:lnTo>
                        <a:pt x="209" y="37"/>
                      </a:lnTo>
                      <a:lnTo>
                        <a:pt x="210" y="37"/>
                      </a:lnTo>
                      <a:lnTo>
                        <a:pt x="212" y="38"/>
                      </a:lnTo>
                      <a:lnTo>
                        <a:pt x="213" y="38"/>
                      </a:lnTo>
                      <a:lnTo>
                        <a:pt x="213" y="37"/>
                      </a:lnTo>
                      <a:lnTo>
                        <a:pt x="212" y="37"/>
                      </a:lnTo>
                      <a:lnTo>
                        <a:pt x="213" y="36"/>
                      </a:lnTo>
                      <a:lnTo>
                        <a:pt x="213" y="35"/>
                      </a:lnTo>
                      <a:lnTo>
                        <a:pt x="212" y="35"/>
                      </a:lnTo>
                      <a:lnTo>
                        <a:pt x="213" y="33"/>
                      </a:lnTo>
                      <a:lnTo>
                        <a:pt x="213" y="32"/>
                      </a:lnTo>
                      <a:lnTo>
                        <a:pt x="214" y="32"/>
                      </a:lnTo>
                      <a:lnTo>
                        <a:pt x="214" y="31"/>
                      </a:lnTo>
                      <a:lnTo>
                        <a:pt x="215" y="31"/>
                      </a:lnTo>
                      <a:lnTo>
                        <a:pt x="215" y="30"/>
                      </a:lnTo>
                      <a:lnTo>
                        <a:pt x="216" y="29"/>
                      </a:lnTo>
                      <a:lnTo>
                        <a:pt x="216" y="28"/>
                      </a:lnTo>
                      <a:lnTo>
                        <a:pt x="217" y="28"/>
                      </a:lnTo>
                      <a:lnTo>
                        <a:pt x="219" y="26"/>
                      </a:lnTo>
                      <a:lnTo>
                        <a:pt x="219" y="25"/>
                      </a:lnTo>
                      <a:lnTo>
                        <a:pt x="220" y="25"/>
                      </a:lnTo>
                      <a:lnTo>
                        <a:pt x="221" y="24"/>
                      </a:lnTo>
                      <a:lnTo>
                        <a:pt x="222" y="23"/>
                      </a:lnTo>
                      <a:lnTo>
                        <a:pt x="222" y="21"/>
                      </a:lnTo>
                      <a:lnTo>
                        <a:pt x="224" y="18"/>
                      </a:lnTo>
                      <a:lnTo>
                        <a:pt x="226" y="14"/>
                      </a:lnTo>
                      <a:lnTo>
                        <a:pt x="226" y="12"/>
                      </a:lnTo>
                      <a:lnTo>
                        <a:pt x="224" y="11"/>
                      </a:lnTo>
                      <a:lnTo>
                        <a:pt x="222" y="10"/>
                      </a:lnTo>
                      <a:lnTo>
                        <a:pt x="221" y="9"/>
                      </a:lnTo>
                      <a:lnTo>
                        <a:pt x="220" y="9"/>
                      </a:lnTo>
                      <a:lnTo>
                        <a:pt x="219" y="8"/>
                      </a:lnTo>
                      <a:lnTo>
                        <a:pt x="217" y="8"/>
                      </a:lnTo>
                      <a:lnTo>
                        <a:pt x="219" y="8"/>
                      </a:lnTo>
                      <a:lnTo>
                        <a:pt x="222" y="7"/>
                      </a:lnTo>
                      <a:lnTo>
                        <a:pt x="228" y="5"/>
                      </a:lnTo>
                      <a:lnTo>
                        <a:pt x="233" y="5"/>
                      </a:lnTo>
                      <a:lnTo>
                        <a:pt x="240" y="4"/>
                      </a:lnTo>
                      <a:lnTo>
                        <a:pt x="248" y="3"/>
                      </a:lnTo>
                      <a:lnTo>
                        <a:pt x="257" y="2"/>
                      </a:lnTo>
                      <a:lnTo>
                        <a:pt x="263" y="1"/>
                      </a:lnTo>
                      <a:lnTo>
                        <a:pt x="271" y="0"/>
                      </a:lnTo>
                      <a:lnTo>
                        <a:pt x="271" y="1"/>
                      </a:lnTo>
                      <a:lnTo>
                        <a:pt x="271" y="2"/>
                      </a:lnTo>
                      <a:lnTo>
                        <a:pt x="270" y="2"/>
                      </a:lnTo>
                      <a:lnTo>
                        <a:pt x="269" y="3"/>
                      </a:lnTo>
                      <a:lnTo>
                        <a:pt x="268" y="4"/>
                      </a:lnTo>
                      <a:lnTo>
                        <a:pt x="268" y="5"/>
                      </a:lnTo>
                      <a:lnTo>
                        <a:pt x="266" y="7"/>
                      </a:lnTo>
                      <a:lnTo>
                        <a:pt x="268" y="8"/>
                      </a:lnTo>
                      <a:lnTo>
                        <a:pt x="268" y="9"/>
                      </a:lnTo>
                      <a:lnTo>
                        <a:pt x="269" y="9"/>
                      </a:lnTo>
                      <a:lnTo>
                        <a:pt x="270" y="8"/>
                      </a:lnTo>
                      <a:lnTo>
                        <a:pt x="271" y="8"/>
                      </a:lnTo>
                      <a:lnTo>
                        <a:pt x="271" y="9"/>
                      </a:lnTo>
                      <a:lnTo>
                        <a:pt x="271" y="10"/>
                      </a:lnTo>
                      <a:lnTo>
                        <a:pt x="270" y="10"/>
                      </a:lnTo>
                      <a:lnTo>
                        <a:pt x="270" y="11"/>
                      </a:lnTo>
                      <a:lnTo>
                        <a:pt x="271" y="11"/>
                      </a:lnTo>
                      <a:lnTo>
                        <a:pt x="271" y="10"/>
                      </a:lnTo>
                      <a:lnTo>
                        <a:pt x="272" y="10"/>
                      </a:lnTo>
                      <a:lnTo>
                        <a:pt x="273" y="9"/>
                      </a:lnTo>
                      <a:lnTo>
                        <a:pt x="273" y="8"/>
                      </a:lnTo>
                      <a:lnTo>
                        <a:pt x="273" y="9"/>
                      </a:lnTo>
                      <a:lnTo>
                        <a:pt x="272" y="8"/>
                      </a:lnTo>
                      <a:lnTo>
                        <a:pt x="273" y="8"/>
                      </a:lnTo>
                      <a:lnTo>
                        <a:pt x="274" y="8"/>
                      </a:lnTo>
                      <a:lnTo>
                        <a:pt x="274" y="9"/>
                      </a:lnTo>
                      <a:lnTo>
                        <a:pt x="276" y="9"/>
                      </a:lnTo>
                      <a:lnTo>
                        <a:pt x="276" y="10"/>
                      </a:lnTo>
                      <a:lnTo>
                        <a:pt x="277" y="10"/>
                      </a:lnTo>
                      <a:lnTo>
                        <a:pt x="278" y="10"/>
                      </a:lnTo>
                      <a:lnTo>
                        <a:pt x="278" y="11"/>
                      </a:lnTo>
                      <a:lnTo>
                        <a:pt x="280" y="12"/>
                      </a:lnTo>
                      <a:lnTo>
                        <a:pt x="285" y="18"/>
                      </a:lnTo>
                      <a:lnTo>
                        <a:pt x="286" y="18"/>
                      </a:lnTo>
                      <a:lnTo>
                        <a:pt x="286" y="17"/>
                      </a:lnTo>
                      <a:lnTo>
                        <a:pt x="287" y="17"/>
                      </a:lnTo>
                      <a:lnTo>
                        <a:pt x="287" y="16"/>
                      </a:lnTo>
                      <a:lnTo>
                        <a:pt x="288" y="16"/>
                      </a:lnTo>
                      <a:lnTo>
                        <a:pt x="288" y="15"/>
                      </a:lnTo>
                      <a:lnTo>
                        <a:pt x="290" y="16"/>
                      </a:lnTo>
                      <a:lnTo>
                        <a:pt x="291" y="16"/>
                      </a:lnTo>
                      <a:lnTo>
                        <a:pt x="291" y="15"/>
                      </a:lnTo>
                      <a:lnTo>
                        <a:pt x="291" y="14"/>
                      </a:lnTo>
                      <a:lnTo>
                        <a:pt x="290" y="14"/>
                      </a:lnTo>
                      <a:lnTo>
                        <a:pt x="291" y="14"/>
                      </a:lnTo>
                      <a:lnTo>
                        <a:pt x="291" y="12"/>
                      </a:lnTo>
                      <a:lnTo>
                        <a:pt x="291" y="11"/>
                      </a:lnTo>
                      <a:lnTo>
                        <a:pt x="290" y="1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3" name="Freeform 125">
                  <a:extLst>
                    <a:ext uri="{FF2B5EF4-FFF2-40B4-BE49-F238E27FC236}">
                      <a16:creationId xmlns:a16="http://schemas.microsoft.com/office/drawing/2014/main" id="{6B130C9F-6144-68F0-F8DA-4FC3381E3D11}"/>
                    </a:ext>
                  </a:extLst>
                </p:cNvPr>
                <p:cNvSpPr>
                  <a:spLocks/>
                </p:cNvSpPr>
                <p:nvPr/>
              </p:nvSpPr>
              <p:spPr bwMode="auto">
                <a:xfrm>
                  <a:off x="7093403" y="4335154"/>
                  <a:ext cx="266106" cy="243390"/>
                </a:xfrm>
                <a:custGeom>
                  <a:avLst/>
                  <a:gdLst>
                    <a:gd name="T0" fmla="*/ 178 w 246"/>
                    <a:gd name="T1" fmla="*/ 13 h 225"/>
                    <a:gd name="T2" fmla="*/ 184 w 246"/>
                    <a:gd name="T3" fmla="*/ 13 h 225"/>
                    <a:gd name="T4" fmla="*/ 195 w 246"/>
                    <a:gd name="T5" fmla="*/ 18 h 225"/>
                    <a:gd name="T6" fmla="*/ 209 w 246"/>
                    <a:gd name="T7" fmla="*/ 24 h 225"/>
                    <a:gd name="T8" fmla="*/ 234 w 246"/>
                    <a:gd name="T9" fmla="*/ 33 h 225"/>
                    <a:gd name="T10" fmla="*/ 243 w 246"/>
                    <a:gd name="T11" fmla="*/ 35 h 225"/>
                    <a:gd name="T12" fmla="*/ 243 w 246"/>
                    <a:gd name="T13" fmla="*/ 55 h 225"/>
                    <a:gd name="T14" fmla="*/ 245 w 246"/>
                    <a:gd name="T15" fmla="*/ 66 h 225"/>
                    <a:gd name="T16" fmla="*/ 242 w 246"/>
                    <a:gd name="T17" fmla="*/ 76 h 225"/>
                    <a:gd name="T18" fmla="*/ 245 w 246"/>
                    <a:gd name="T19" fmla="*/ 89 h 225"/>
                    <a:gd name="T20" fmla="*/ 240 w 246"/>
                    <a:gd name="T21" fmla="*/ 96 h 225"/>
                    <a:gd name="T22" fmla="*/ 234 w 246"/>
                    <a:gd name="T23" fmla="*/ 106 h 225"/>
                    <a:gd name="T24" fmla="*/ 240 w 246"/>
                    <a:gd name="T25" fmla="*/ 115 h 225"/>
                    <a:gd name="T26" fmla="*/ 238 w 246"/>
                    <a:gd name="T27" fmla="*/ 127 h 225"/>
                    <a:gd name="T28" fmla="*/ 241 w 246"/>
                    <a:gd name="T29" fmla="*/ 133 h 225"/>
                    <a:gd name="T30" fmla="*/ 243 w 246"/>
                    <a:gd name="T31" fmla="*/ 145 h 225"/>
                    <a:gd name="T32" fmla="*/ 239 w 246"/>
                    <a:gd name="T33" fmla="*/ 154 h 225"/>
                    <a:gd name="T34" fmla="*/ 227 w 246"/>
                    <a:gd name="T35" fmla="*/ 166 h 225"/>
                    <a:gd name="T36" fmla="*/ 224 w 246"/>
                    <a:gd name="T37" fmla="*/ 183 h 225"/>
                    <a:gd name="T38" fmla="*/ 214 w 246"/>
                    <a:gd name="T39" fmla="*/ 200 h 225"/>
                    <a:gd name="T40" fmla="*/ 198 w 246"/>
                    <a:gd name="T41" fmla="*/ 218 h 225"/>
                    <a:gd name="T42" fmla="*/ 186 w 246"/>
                    <a:gd name="T43" fmla="*/ 222 h 225"/>
                    <a:gd name="T44" fmla="*/ 170 w 246"/>
                    <a:gd name="T45" fmla="*/ 222 h 225"/>
                    <a:gd name="T46" fmla="*/ 159 w 246"/>
                    <a:gd name="T47" fmla="*/ 222 h 225"/>
                    <a:gd name="T48" fmla="*/ 148 w 246"/>
                    <a:gd name="T49" fmla="*/ 218 h 225"/>
                    <a:gd name="T50" fmla="*/ 135 w 246"/>
                    <a:gd name="T51" fmla="*/ 217 h 225"/>
                    <a:gd name="T52" fmla="*/ 122 w 246"/>
                    <a:gd name="T53" fmla="*/ 214 h 225"/>
                    <a:gd name="T54" fmla="*/ 120 w 246"/>
                    <a:gd name="T55" fmla="*/ 204 h 225"/>
                    <a:gd name="T56" fmla="*/ 105 w 246"/>
                    <a:gd name="T57" fmla="*/ 200 h 225"/>
                    <a:gd name="T58" fmla="*/ 90 w 246"/>
                    <a:gd name="T59" fmla="*/ 197 h 225"/>
                    <a:gd name="T60" fmla="*/ 84 w 246"/>
                    <a:gd name="T61" fmla="*/ 188 h 225"/>
                    <a:gd name="T62" fmla="*/ 77 w 246"/>
                    <a:gd name="T63" fmla="*/ 174 h 225"/>
                    <a:gd name="T64" fmla="*/ 77 w 246"/>
                    <a:gd name="T65" fmla="*/ 160 h 225"/>
                    <a:gd name="T66" fmla="*/ 63 w 246"/>
                    <a:gd name="T67" fmla="*/ 148 h 225"/>
                    <a:gd name="T68" fmla="*/ 49 w 246"/>
                    <a:gd name="T69" fmla="*/ 143 h 225"/>
                    <a:gd name="T70" fmla="*/ 40 w 246"/>
                    <a:gd name="T71" fmla="*/ 137 h 225"/>
                    <a:gd name="T72" fmla="*/ 34 w 246"/>
                    <a:gd name="T73" fmla="*/ 131 h 225"/>
                    <a:gd name="T74" fmla="*/ 22 w 246"/>
                    <a:gd name="T75" fmla="*/ 115 h 225"/>
                    <a:gd name="T76" fmla="*/ 15 w 246"/>
                    <a:gd name="T77" fmla="*/ 97 h 225"/>
                    <a:gd name="T78" fmla="*/ 6 w 246"/>
                    <a:gd name="T79" fmla="*/ 84 h 225"/>
                    <a:gd name="T80" fmla="*/ 3 w 246"/>
                    <a:gd name="T81" fmla="*/ 71 h 225"/>
                    <a:gd name="T82" fmla="*/ 15 w 246"/>
                    <a:gd name="T83" fmla="*/ 73 h 225"/>
                    <a:gd name="T84" fmla="*/ 27 w 246"/>
                    <a:gd name="T85" fmla="*/ 77 h 225"/>
                    <a:gd name="T86" fmla="*/ 36 w 246"/>
                    <a:gd name="T87" fmla="*/ 76 h 225"/>
                    <a:gd name="T88" fmla="*/ 48 w 246"/>
                    <a:gd name="T89" fmla="*/ 80 h 225"/>
                    <a:gd name="T90" fmla="*/ 58 w 246"/>
                    <a:gd name="T91" fmla="*/ 76 h 225"/>
                    <a:gd name="T92" fmla="*/ 63 w 246"/>
                    <a:gd name="T93" fmla="*/ 70 h 225"/>
                    <a:gd name="T94" fmla="*/ 70 w 246"/>
                    <a:gd name="T95" fmla="*/ 63 h 225"/>
                    <a:gd name="T96" fmla="*/ 75 w 246"/>
                    <a:gd name="T97" fmla="*/ 57 h 225"/>
                    <a:gd name="T98" fmla="*/ 83 w 246"/>
                    <a:gd name="T99" fmla="*/ 50 h 225"/>
                    <a:gd name="T100" fmla="*/ 89 w 246"/>
                    <a:gd name="T101" fmla="*/ 48 h 225"/>
                    <a:gd name="T102" fmla="*/ 89 w 246"/>
                    <a:gd name="T103" fmla="*/ 45 h 225"/>
                    <a:gd name="T104" fmla="*/ 96 w 246"/>
                    <a:gd name="T105" fmla="*/ 39 h 225"/>
                    <a:gd name="T106" fmla="*/ 102 w 246"/>
                    <a:gd name="T107" fmla="*/ 40 h 225"/>
                    <a:gd name="T108" fmla="*/ 105 w 246"/>
                    <a:gd name="T109" fmla="*/ 36 h 225"/>
                    <a:gd name="T110" fmla="*/ 108 w 246"/>
                    <a:gd name="T111" fmla="*/ 38 h 225"/>
                    <a:gd name="T112" fmla="*/ 114 w 246"/>
                    <a:gd name="T113" fmla="*/ 34 h 225"/>
                    <a:gd name="T114" fmla="*/ 118 w 246"/>
                    <a:gd name="T115" fmla="*/ 32 h 225"/>
                    <a:gd name="T116" fmla="*/ 112 w 246"/>
                    <a:gd name="T117" fmla="*/ 31 h 225"/>
                    <a:gd name="T118" fmla="*/ 114 w 246"/>
                    <a:gd name="T119" fmla="*/ 19 h 225"/>
                    <a:gd name="T120" fmla="*/ 121 w 246"/>
                    <a:gd name="T121" fmla="*/ 10 h 225"/>
                    <a:gd name="T122" fmla="*/ 142 w 246"/>
                    <a:gd name="T123" fmla="*/ 1 h 225"/>
                    <a:gd name="T124" fmla="*/ 156 w 246"/>
                    <a:gd name="T125" fmla="*/ 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6" h="225">
                      <a:moveTo>
                        <a:pt x="163" y="1"/>
                      </a:moveTo>
                      <a:lnTo>
                        <a:pt x="163" y="4"/>
                      </a:lnTo>
                      <a:lnTo>
                        <a:pt x="163" y="7"/>
                      </a:lnTo>
                      <a:lnTo>
                        <a:pt x="163" y="11"/>
                      </a:lnTo>
                      <a:lnTo>
                        <a:pt x="163" y="13"/>
                      </a:lnTo>
                      <a:lnTo>
                        <a:pt x="167" y="13"/>
                      </a:lnTo>
                      <a:lnTo>
                        <a:pt x="169" y="13"/>
                      </a:lnTo>
                      <a:lnTo>
                        <a:pt x="174" y="13"/>
                      </a:lnTo>
                      <a:lnTo>
                        <a:pt x="177" y="13"/>
                      </a:lnTo>
                      <a:lnTo>
                        <a:pt x="178" y="13"/>
                      </a:lnTo>
                      <a:lnTo>
                        <a:pt x="179" y="14"/>
                      </a:lnTo>
                      <a:lnTo>
                        <a:pt x="181" y="14"/>
                      </a:lnTo>
                      <a:lnTo>
                        <a:pt x="181" y="15"/>
                      </a:lnTo>
                      <a:lnTo>
                        <a:pt x="182" y="15"/>
                      </a:lnTo>
                      <a:lnTo>
                        <a:pt x="182" y="14"/>
                      </a:lnTo>
                      <a:lnTo>
                        <a:pt x="183" y="14"/>
                      </a:lnTo>
                      <a:lnTo>
                        <a:pt x="183" y="13"/>
                      </a:lnTo>
                      <a:lnTo>
                        <a:pt x="184" y="13"/>
                      </a:lnTo>
                      <a:lnTo>
                        <a:pt x="184" y="14"/>
                      </a:lnTo>
                      <a:lnTo>
                        <a:pt x="184" y="13"/>
                      </a:lnTo>
                      <a:lnTo>
                        <a:pt x="185" y="13"/>
                      </a:lnTo>
                      <a:lnTo>
                        <a:pt x="186" y="13"/>
                      </a:lnTo>
                      <a:lnTo>
                        <a:pt x="190" y="14"/>
                      </a:lnTo>
                      <a:lnTo>
                        <a:pt x="191" y="14"/>
                      </a:lnTo>
                      <a:lnTo>
                        <a:pt x="191" y="15"/>
                      </a:lnTo>
                      <a:lnTo>
                        <a:pt x="192" y="15"/>
                      </a:lnTo>
                      <a:lnTo>
                        <a:pt x="192" y="17"/>
                      </a:lnTo>
                      <a:lnTo>
                        <a:pt x="193" y="17"/>
                      </a:lnTo>
                      <a:lnTo>
                        <a:pt x="193" y="18"/>
                      </a:lnTo>
                      <a:lnTo>
                        <a:pt x="195" y="18"/>
                      </a:lnTo>
                      <a:lnTo>
                        <a:pt x="196" y="18"/>
                      </a:lnTo>
                      <a:lnTo>
                        <a:pt x="196" y="19"/>
                      </a:lnTo>
                      <a:lnTo>
                        <a:pt x="197" y="19"/>
                      </a:lnTo>
                      <a:lnTo>
                        <a:pt x="198" y="19"/>
                      </a:lnTo>
                      <a:lnTo>
                        <a:pt x="203" y="20"/>
                      </a:lnTo>
                      <a:lnTo>
                        <a:pt x="204" y="20"/>
                      </a:lnTo>
                      <a:lnTo>
                        <a:pt x="205" y="21"/>
                      </a:lnTo>
                      <a:lnTo>
                        <a:pt x="206" y="22"/>
                      </a:lnTo>
                      <a:lnTo>
                        <a:pt x="207" y="24"/>
                      </a:lnTo>
                      <a:lnTo>
                        <a:pt x="209" y="24"/>
                      </a:lnTo>
                      <a:lnTo>
                        <a:pt x="209" y="25"/>
                      </a:lnTo>
                      <a:lnTo>
                        <a:pt x="210" y="25"/>
                      </a:lnTo>
                      <a:lnTo>
                        <a:pt x="210" y="26"/>
                      </a:lnTo>
                      <a:lnTo>
                        <a:pt x="210" y="27"/>
                      </a:lnTo>
                      <a:lnTo>
                        <a:pt x="213" y="27"/>
                      </a:lnTo>
                      <a:lnTo>
                        <a:pt x="220" y="27"/>
                      </a:lnTo>
                      <a:lnTo>
                        <a:pt x="223" y="28"/>
                      </a:lnTo>
                      <a:lnTo>
                        <a:pt x="225" y="29"/>
                      </a:lnTo>
                      <a:lnTo>
                        <a:pt x="231" y="31"/>
                      </a:lnTo>
                      <a:lnTo>
                        <a:pt x="234" y="33"/>
                      </a:lnTo>
                      <a:lnTo>
                        <a:pt x="234" y="34"/>
                      </a:lnTo>
                      <a:lnTo>
                        <a:pt x="235" y="35"/>
                      </a:lnTo>
                      <a:lnTo>
                        <a:pt x="235" y="36"/>
                      </a:lnTo>
                      <a:lnTo>
                        <a:pt x="236" y="36"/>
                      </a:lnTo>
                      <a:lnTo>
                        <a:pt x="238" y="35"/>
                      </a:lnTo>
                      <a:lnTo>
                        <a:pt x="238" y="36"/>
                      </a:lnTo>
                      <a:lnTo>
                        <a:pt x="240" y="36"/>
                      </a:lnTo>
                      <a:lnTo>
                        <a:pt x="241" y="36"/>
                      </a:lnTo>
                      <a:lnTo>
                        <a:pt x="242" y="35"/>
                      </a:lnTo>
                      <a:lnTo>
                        <a:pt x="243" y="35"/>
                      </a:lnTo>
                      <a:lnTo>
                        <a:pt x="243" y="36"/>
                      </a:lnTo>
                      <a:lnTo>
                        <a:pt x="242" y="40"/>
                      </a:lnTo>
                      <a:lnTo>
                        <a:pt x="241" y="41"/>
                      </a:lnTo>
                      <a:lnTo>
                        <a:pt x="239" y="43"/>
                      </a:lnTo>
                      <a:lnTo>
                        <a:pt x="241" y="47"/>
                      </a:lnTo>
                      <a:lnTo>
                        <a:pt x="242" y="49"/>
                      </a:lnTo>
                      <a:lnTo>
                        <a:pt x="242" y="52"/>
                      </a:lnTo>
                      <a:lnTo>
                        <a:pt x="243" y="53"/>
                      </a:lnTo>
                      <a:lnTo>
                        <a:pt x="243" y="54"/>
                      </a:lnTo>
                      <a:lnTo>
                        <a:pt x="243" y="55"/>
                      </a:lnTo>
                      <a:lnTo>
                        <a:pt x="243" y="56"/>
                      </a:lnTo>
                      <a:lnTo>
                        <a:pt x="245" y="56"/>
                      </a:lnTo>
                      <a:lnTo>
                        <a:pt x="245" y="57"/>
                      </a:lnTo>
                      <a:lnTo>
                        <a:pt x="245" y="59"/>
                      </a:lnTo>
                      <a:lnTo>
                        <a:pt x="243" y="61"/>
                      </a:lnTo>
                      <a:lnTo>
                        <a:pt x="242" y="62"/>
                      </a:lnTo>
                      <a:lnTo>
                        <a:pt x="242" y="63"/>
                      </a:lnTo>
                      <a:lnTo>
                        <a:pt x="243" y="64"/>
                      </a:lnTo>
                      <a:lnTo>
                        <a:pt x="245" y="64"/>
                      </a:lnTo>
                      <a:lnTo>
                        <a:pt x="245" y="66"/>
                      </a:lnTo>
                      <a:lnTo>
                        <a:pt x="245" y="67"/>
                      </a:lnTo>
                      <a:lnTo>
                        <a:pt x="245" y="68"/>
                      </a:lnTo>
                      <a:lnTo>
                        <a:pt x="245" y="69"/>
                      </a:lnTo>
                      <a:lnTo>
                        <a:pt x="245" y="70"/>
                      </a:lnTo>
                      <a:lnTo>
                        <a:pt x="245" y="71"/>
                      </a:lnTo>
                      <a:lnTo>
                        <a:pt x="243" y="73"/>
                      </a:lnTo>
                      <a:lnTo>
                        <a:pt x="242" y="73"/>
                      </a:lnTo>
                      <a:lnTo>
                        <a:pt x="242" y="74"/>
                      </a:lnTo>
                      <a:lnTo>
                        <a:pt x="242" y="75"/>
                      </a:lnTo>
                      <a:lnTo>
                        <a:pt x="242" y="76"/>
                      </a:lnTo>
                      <a:lnTo>
                        <a:pt x="242" y="77"/>
                      </a:lnTo>
                      <a:lnTo>
                        <a:pt x="242" y="78"/>
                      </a:lnTo>
                      <a:lnTo>
                        <a:pt x="242" y="80"/>
                      </a:lnTo>
                      <a:lnTo>
                        <a:pt x="243" y="83"/>
                      </a:lnTo>
                      <a:lnTo>
                        <a:pt x="243" y="84"/>
                      </a:lnTo>
                      <a:lnTo>
                        <a:pt x="243" y="85"/>
                      </a:lnTo>
                      <a:lnTo>
                        <a:pt x="242" y="85"/>
                      </a:lnTo>
                      <a:lnTo>
                        <a:pt x="242" y="87"/>
                      </a:lnTo>
                      <a:lnTo>
                        <a:pt x="243" y="88"/>
                      </a:lnTo>
                      <a:lnTo>
                        <a:pt x="245" y="89"/>
                      </a:lnTo>
                      <a:lnTo>
                        <a:pt x="246" y="90"/>
                      </a:lnTo>
                      <a:lnTo>
                        <a:pt x="245" y="91"/>
                      </a:lnTo>
                      <a:lnTo>
                        <a:pt x="243" y="92"/>
                      </a:lnTo>
                      <a:lnTo>
                        <a:pt x="245" y="92"/>
                      </a:lnTo>
                      <a:lnTo>
                        <a:pt x="245" y="94"/>
                      </a:lnTo>
                      <a:lnTo>
                        <a:pt x="243" y="94"/>
                      </a:lnTo>
                      <a:lnTo>
                        <a:pt x="243" y="95"/>
                      </a:lnTo>
                      <a:lnTo>
                        <a:pt x="242" y="95"/>
                      </a:lnTo>
                      <a:lnTo>
                        <a:pt x="241" y="96"/>
                      </a:lnTo>
                      <a:lnTo>
                        <a:pt x="240" y="96"/>
                      </a:lnTo>
                      <a:lnTo>
                        <a:pt x="240" y="97"/>
                      </a:lnTo>
                      <a:lnTo>
                        <a:pt x="240" y="98"/>
                      </a:lnTo>
                      <a:lnTo>
                        <a:pt x="241" y="101"/>
                      </a:lnTo>
                      <a:lnTo>
                        <a:pt x="241" y="102"/>
                      </a:lnTo>
                      <a:lnTo>
                        <a:pt x="241" y="103"/>
                      </a:lnTo>
                      <a:lnTo>
                        <a:pt x="241" y="104"/>
                      </a:lnTo>
                      <a:lnTo>
                        <a:pt x="240" y="104"/>
                      </a:lnTo>
                      <a:lnTo>
                        <a:pt x="239" y="104"/>
                      </a:lnTo>
                      <a:lnTo>
                        <a:pt x="238" y="104"/>
                      </a:lnTo>
                      <a:lnTo>
                        <a:pt x="234" y="106"/>
                      </a:lnTo>
                      <a:lnTo>
                        <a:pt x="234" y="108"/>
                      </a:lnTo>
                      <a:lnTo>
                        <a:pt x="235" y="109"/>
                      </a:lnTo>
                      <a:lnTo>
                        <a:pt x="234" y="110"/>
                      </a:lnTo>
                      <a:lnTo>
                        <a:pt x="234" y="111"/>
                      </a:lnTo>
                      <a:lnTo>
                        <a:pt x="234" y="112"/>
                      </a:lnTo>
                      <a:lnTo>
                        <a:pt x="235" y="112"/>
                      </a:lnTo>
                      <a:lnTo>
                        <a:pt x="238" y="112"/>
                      </a:lnTo>
                      <a:lnTo>
                        <a:pt x="239" y="112"/>
                      </a:lnTo>
                      <a:lnTo>
                        <a:pt x="239" y="113"/>
                      </a:lnTo>
                      <a:lnTo>
                        <a:pt x="240" y="115"/>
                      </a:lnTo>
                      <a:lnTo>
                        <a:pt x="240" y="116"/>
                      </a:lnTo>
                      <a:lnTo>
                        <a:pt x="239" y="119"/>
                      </a:lnTo>
                      <a:lnTo>
                        <a:pt x="239" y="120"/>
                      </a:lnTo>
                      <a:lnTo>
                        <a:pt x="239" y="122"/>
                      </a:lnTo>
                      <a:lnTo>
                        <a:pt x="238" y="123"/>
                      </a:lnTo>
                      <a:lnTo>
                        <a:pt x="236" y="124"/>
                      </a:lnTo>
                      <a:lnTo>
                        <a:pt x="236" y="125"/>
                      </a:lnTo>
                      <a:lnTo>
                        <a:pt x="236" y="126"/>
                      </a:lnTo>
                      <a:lnTo>
                        <a:pt x="236" y="127"/>
                      </a:lnTo>
                      <a:lnTo>
                        <a:pt x="238" y="127"/>
                      </a:lnTo>
                      <a:lnTo>
                        <a:pt x="239" y="127"/>
                      </a:lnTo>
                      <a:lnTo>
                        <a:pt x="239" y="129"/>
                      </a:lnTo>
                      <a:lnTo>
                        <a:pt x="239" y="131"/>
                      </a:lnTo>
                      <a:lnTo>
                        <a:pt x="239" y="132"/>
                      </a:lnTo>
                      <a:lnTo>
                        <a:pt x="239" y="133"/>
                      </a:lnTo>
                      <a:lnTo>
                        <a:pt x="238" y="133"/>
                      </a:lnTo>
                      <a:lnTo>
                        <a:pt x="239" y="134"/>
                      </a:lnTo>
                      <a:lnTo>
                        <a:pt x="240" y="134"/>
                      </a:lnTo>
                      <a:lnTo>
                        <a:pt x="241" y="134"/>
                      </a:lnTo>
                      <a:lnTo>
                        <a:pt x="241" y="133"/>
                      </a:lnTo>
                      <a:lnTo>
                        <a:pt x="242" y="133"/>
                      </a:lnTo>
                      <a:lnTo>
                        <a:pt x="242" y="134"/>
                      </a:lnTo>
                      <a:lnTo>
                        <a:pt x="242" y="136"/>
                      </a:lnTo>
                      <a:lnTo>
                        <a:pt x="243" y="137"/>
                      </a:lnTo>
                      <a:lnTo>
                        <a:pt x="245" y="137"/>
                      </a:lnTo>
                      <a:lnTo>
                        <a:pt x="245" y="138"/>
                      </a:lnTo>
                      <a:lnTo>
                        <a:pt x="245" y="139"/>
                      </a:lnTo>
                      <a:lnTo>
                        <a:pt x="245" y="140"/>
                      </a:lnTo>
                      <a:lnTo>
                        <a:pt x="243" y="143"/>
                      </a:lnTo>
                      <a:lnTo>
                        <a:pt x="243" y="145"/>
                      </a:lnTo>
                      <a:lnTo>
                        <a:pt x="245" y="146"/>
                      </a:lnTo>
                      <a:lnTo>
                        <a:pt x="242" y="146"/>
                      </a:lnTo>
                      <a:lnTo>
                        <a:pt x="242" y="147"/>
                      </a:lnTo>
                      <a:lnTo>
                        <a:pt x="241" y="147"/>
                      </a:lnTo>
                      <a:lnTo>
                        <a:pt x="240" y="148"/>
                      </a:lnTo>
                      <a:lnTo>
                        <a:pt x="240" y="150"/>
                      </a:lnTo>
                      <a:lnTo>
                        <a:pt x="240" y="151"/>
                      </a:lnTo>
                      <a:lnTo>
                        <a:pt x="240" y="152"/>
                      </a:lnTo>
                      <a:lnTo>
                        <a:pt x="240" y="153"/>
                      </a:lnTo>
                      <a:lnTo>
                        <a:pt x="239" y="154"/>
                      </a:lnTo>
                      <a:lnTo>
                        <a:pt x="238" y="155"/>
                      </a:lnTo>
                      <a:lnTo>
                        <a:pt x="235" y="159"/>
                      </a:lnTo>
                      <a:lnTo>
                        <a:pt x="234" y="160"/>
                      </a:lnTo>
                      <a:lnTo>
                        <a:pt x="234" y="162"/>
                      </a:lnTo>
                      <a:lnTo>
                        <a:pt x="233" y="164"/>
                      </a:lnTo>
                      <a:lnTo>
                        <a:pt x="232" y="164"/>
                      </a:lnTo>
                      <a:lnTo>
                        <a:pt x="230" y="164"/>
                      </a:lnTo>
                      <a:lnTo>
                        <a:pt x="228" y="164"/>
                      </a:lnTo>
                      <a:lnTo>
                        <a:pt x="227" y="165"/>
                      </a:lnTo>
                      <a:lnTo>
                        <a:pt x="227" y="166"/>
                      </a:lnTo>
                      <a:lnTo>
                        <a:pt x="227" y="167"/>
                      </a:lnTo>
                      <a:lnTo>
                        <a:pt x="227" y="171"/>
                      </a:lnTo>
                      <a:lnTo>
                        <a:pt x="228" y="174"/>
                      </a:lnTo>
                      <a:lnTo>
                        <a:pt x="228" y="176"/>
                      </a:lnTo>
                      <a:lnTo>
                        <a:pt x="227" y="178"/>
                      </a:lnTo>
                      <a:lnTo>
                        <a:pt x="226" y="180"/>
                      </a:lnTo>
                      <a:lnTo>
                        <a:pt x="224" y="182"/>
                      </a:lnTo>
                      <a:lnTo>
                        <a:pt x="224" y="183"/>
                      </a:lnTo>
                      <a:lnTo>
                        <a:pt x="225" y="183"/>
                      </a:lnTo>
                      <a:lnTo>
                        <a:pt x="224" y="183"/>
                      </a:lnTo>
                      <a:lnTo>
                        <a:pt x="224" y="185"/>
                      </a:lnTo>
                      <a:lnTo>
                        <a:pt x="226" y="188"/>
                      </a:lnTo>
                      <a:lnTo>
                        <a:pt x="225" y="188"/>
                      </a:lnTo>
                      <a:lnTo>
                        <a:pt x="224" y="189"/>
                      </a:lnTo>
                      <a:lnTo>
                        <a:pt x="223" y="190"/>
                      </a:lnTo>
                      <a:lnTo>
                        <a:pt x="221" y="193"/>
                      </a:lnTo>
                      <a:lnTo>
                        <a:pt x="219" y="194"/>
                      </a:lnTo>
                      <a:lnTo>
                        <a:pt x="218" y="196"/>
                      </a:lnTo>
                      <a:lnTo>
                        <a:pt x="216" y="197"/>
                      </a:lnTo>
                      <a:lnTo>
                        <a:pt x="214" y="200"/>
                      </a:lnTo>
                      <a:lnTo>
                        <a:pt x="213" y="202"/>
                      </a:lnTo>
                      <a:lnTo>
                        <a:pt x="211" y="203"/>
                      </a:lnTo>
                      <a:lnTo>
                        <a:pt x="210" y="206"/>
                      </a:lnTo>
                      <a:lnTo>
                        <a:pt x="207" y="207"/>
                      </a:lnTo>
                      <a:lnTo>
                        <a:pt x="206" y="209"/>
                      </a:lnTo>
                      <a:lnTo>
                        <a:pt x="204" y="210"/>
                      </a:lnTo>
                      <a:lnTo>
                        <a:pt x="203" y="213"/>
                      </a:lnTo>
                      <a:lnTo>
                        <a:pt x="202" y="215"/>
                      </a:lnTo>
                      <a:lnTo>
                        <a:pt x="199" y="216"/>
                      </a:lnTo>
                      <a:lnTo>
                        <a:pt x="198" y="218"/>
                      </a:lnTo>
                      <a:lnTo>
                        <a:pt x="196" y="220"/>
                      </a:lnTo>
                      <a:lnTo>
                        <a:pt x="195" y="222"/>
                      </a:lnTo>
                      <a:lnTo>
                        <a:pt x="192" y="223"/>
                      </a:lnTo>
                      <a:lnTo>
                        <a:pt x="190" y="225"/>
                      </a:lnTo>
                      <a:lnTo>
                        <a:pt x="189" y="224"/>
                      </a:lnTo>
                      <a:lnTo>
                        <a:pt x="189" y="223"/>
                      </a:lnTo>
                      <a:lnTo>
                        <a:pt x="188" y="224"/>
                      </a:lnTo>
                      <a:lnTo>
                        <a:pt x="188" y="223"/>
                      </a:lnTo>
                      <a:lnTo>
                        <a:pt x="186" y="223"/>
                      </a:lnTo>
                      <a:lnTo>
                        <a:pt x="186" y="222"/>
                      </a:lnTo>
                      <a:lnTo>
                        <a:pt x="185" y="222"/>
                      </a:lnTo>
                      <a:lnTo>
                        <a:pt x="184" y="223"/>
                      </a:lnTo>
                      <a:lnTo>
                        <a:pt x="183" y="223"/>
                      </a:lnTo>
                      <a:lnTo>
                        <a:pt x="182" y="222"/>
                      </a:lnTo>
                      <a:lnTo>
                        <a:pt x="178" y="222"/>
                      </a:lnTo>
                      <a:lnTo>
                        <a:pt x="177" y="221"/>
                      </a:lnTo>
                      <a:lnTo>
                        <a:pt x="176" y="221"/>
                      </a:lnTo>
                      <a:lnTo>
                        <a:pt x="175" y="222"/>
                      </a:lnTo>
                      <a:lnTo>
                        <a:pt x="171" y="222"/>
                      </a:lnTo>
                      <a:lnTo>
                        <a:pt x="170" y="222"/>
                      </a:lnTo>
                      <a:lnTo>
                        <a:pt x="169" y="223"/>
                      </a:lnTo>
                      <a:lnTo>
                        <a:pt x="169" y="222"/>
                      </a:lnTo>
                      <a:lnTo>
                        <a:pt x="168" y="222"/>
                      </a:lnTo>
                      <a:lnTo>
                        <a:pt x="166" y="222"/>
                      </a:lnTo>
                      <a:lnTo>
                        <a:pt x="164" y="222"/>
                      </a:lnTo>
                      <a:lnTo>
                        <a:pt x="163" y="223"/>
                      </a:lnTo>
                      <a:lnTo>
                        <a:pt x="161" y="223"/>
                      </a:lnTo>
                      <a:lnTo>
                        <a:pt x="160" y="223"/>
                      </a:lnTo>
                      <a:lnTo>
                        <a:pt x="159" y="223"/>
                      </a:lnTo>
                      <a:lnTo>
                        <a:pt x="159" y="222"/>
                      </a:lnTo>
                      <a:lnTo>
                        <a:pt x="157" y="222"/>
                      </a:lnTo>
                      <a:lnTo>
                        <a:pt x="156" y="221"/>
                      </a:lnTo>
                      <a:lnTo>
                        <a:pt x="155" y="221"/>
                      </a:lnTo>
                      <a:lnTo>
                        <a:pt x="154" y="221"/>
                      </a:lnTo>
                      <a:lnTo>
                        <a:pt x="153" y="221"/>
                      </a:lnTo>
                      <a:lnTo>
                        <a:pt x="152" y="220"/>
                      </a:lnTo>
                      <a:lnTo>
                        <a:pt x="150" y="220"/>
                      </a:lnTo>
                      <a:lnTo>
                        <a:pt x="150" y="218"/>
                      </a:lnTo>
                      <a:lnTo>
                        <a:pt x="149" y="218"/>
                      </a:lnTo>
                      <a:lnTo>
                        <a:pt x="148" y="218"/>
                      </a:lnTo>
                      <a:lnTo>
                        <a:pt x="147" y="217"/>
                      </a:lnTo>
                      <a:lnTo>
                        <a:pt x="146" y="217"/>
                      </a:lnTo>
                      <a:lnTo>
                        <a:pt x="145" y="217"/>
                      </a:lnTo>
                      <a:lnTo>
                        <a:pt x="142" y="216"/>
                      </a:lnTo>
                      <a:lnTo>
                        <a:pt x="140" y="216"/>
                      </a:lnTo>
                      <a:lnTo>
                        <a:pt x="139" y="216"/>
                      </a:lnTo>
                      <a:lnTo>
                        <a:pt x="138" y="216"/>
                      </a:lnTo>
                      <a:lnTo>
                        <a:pt x="136" y="216"/>
                      </a:lnTo>
                      <a:lnTo>
                        <a:pt x="135" y="216"/>
                      </a:lnTo>
                      <a:lnTo>
                        <a:pt x="135" y="217"/>
                      </a:lnTo>
                      <a:lnTo>
                        <a:pt x="134" y="217"/>
                      </a:lnTo>
                      <a:lnTo>
                        <a:pt x="133" y="216"/>
                      </a:lnTo>
                      <a:lnTo>
                        <a:pt x="132" y="217"/>
                      </a:lnTo>
                      <a:lnTo>
                        <a:pt x="131" y="217"/>
                      </a:lnTo>
                      <a:lnTo>
                        <a:pt x="129" y="217"/>
                      </a:lnTo>
                      <a:lnTo>
                        <a:pt x="127" y="216"/>
                      </a:lnTo>
                      <a:lnTo>
                        <a:pt x="127" y="215"/>
                      </a:lnTo>
                      <a:lnTo>
                        <a:pt x="126" y="215"/>
                      </a:lnTo>
                      <a:lnTo>
                        <a:pt x="126" y="214"/>
                      </a:lnTo>
                      <a:lnTo>
                        <a:pt x="122" y="214"/>
                      </a:lnTo>
                      <a:lnTo>
                        <a:pt x="121" y="214"/>
                      </a:lnTo>
                      <a:lnTo>
                        <a:pt x="120" y="213"/>
                      </a:lnTo>
                      <a:lnTo>
                        <a:pt x="120" y="211"/>
                      </a:lnTo>
                      <a:lnTo>
                        <a:pt x="119" y="210"/>
                      </a:lnTo>
                      <a:lnTo>
                        <a:pt x="119" y="209"/>
                      </a:lnTo>
                      <a:lnTo>
                        <a:pt x="119" y="208"/>
                      </a:lnTo>
                      <a:lnTo>
                        <a:pt x="119" y="207"/>
                      </a:lnTo>
                      <a:lnTo>
                        <a:pt x="120" y="207"/>
                      </a:lnTo>
                      <a:lnTo>
                        <a:pt x="120" y="206"/>
                      </a:lnTo>
                      <a:lnTo>
                        <a:pt x="120" y="204"/>
                      </a:lnTo>
                      <a:lnTo>
                        <a:pt x="118" y="204"/>
                      </a:lnTo>
                      <a:lnTo>
                        <a:pt x="118" y="203"/>
                      </a:lnTo>
                      <a:lnTo>
                        <a:pt x="117" y="203"/>
                      </a:lnTo>
                      <a:lnTo>
                        <a:pt x="115" y="203"/>
                      </a:lnTo>
                      <a:lnTo>
                        <a:pt x="114" y="203"/>
                      </a:lnTo>
                      <a:lnTo>
                        <a:pt x="110" y="201"/>
                      </a:lnTo>
                      <a:lnTo>
                        <a:pt x="108" y="201"/>
                      </a:lnTo>
                      <a:lnTo>
                        <a:pt x="107" y="200"/>
                      </a:lnTo>
                      <a:lnTo>
                        <a:pt x="106" y="200"/>
                      </a:lnTo>
                      <a:lnTo>
                        <a:pt x="105" y="200"/>
                      </a:lnTo>
                      <a:lnTo>
                        <a:pt x="105" y="199"/>
                      </a:lnTo>
                      <a:lnTo>
                        <a:pt x="104" y="199"/>
                      </a:lnTo>
                      <a:lnTo>
                        <a:pt x="104" y="200"/>
                      </a:lnTo>
                      <a:lnTo>
                        <a:pt x="103" y="200"/>
                      </a:lnTo>
                      <a:lnTo>
                        <a:pt x="102" y="200"/>
                      </a:lnTo>
                      <a:lnTo>
                        <a:pt x="98" y="199"/>
                      </a:lnTo>
                      <a:lnTo>
                        <a:pt x="97" y="197"/>
                      </a:lnTo>
                      <a:lnTo>
                        <a:pt x="96" y="197"/>
                      </a:lnTo>
                      <a:lnTo>
                        <a:pt x="92" y="197"/>
                      </a:lnTo>
                      <a:lnTo>
                        <a:pt x="90" y="197"/>
                      </a:lnTo>
                      <a:lnTo>
                        <a:pt x="88" y="197"/>
                      </a:lnTo>
                      <a:lnTo>
                        <a:pt x="88" y="196"/>
                      </a:lnTo>
                      <a:lnTo>
                        <a:pt x="86" y="196"/>
                      </a:lnTo>
                      <a:lnTo>
                        <a:pt x="86" y="195"/>
                      </a:lnTo>
                      <a:lnTo>
                        <a:pt x="85" y="195"/>
                      </a:lnTo>
                      <a:lnTo>
                        <a:pt x="85" y="194"/>
                      </a:lnTo>
                      <a:lnTo>
                        <a:pt x="85" y="193"/>
                      </a:lnTo>
                      <a:lnTo>
                        <a:pt x="84" y="190"/>
                      </a:lnTo>
                      <a:lnTo>
                        <a:pt x="84" y="189"/>
                      </a:lnTo>
                      <a:lnTo>
                        <a:pt x="84" y="188"/>
                      </a:lnTo>
                      <a:lnTo>
                        <a:pt x="83" y="187"/>
                      </a:lnTo>
                      <a:lnTo>
                        <a:pt x="82" y="186"/>
                      </a:lnTo>
                      <a:lnTo>
                        <a:pt x="81" y="185"/>
                      </a:lnTo>
                      <a:lnTo>
                        <a:pt x="78" y="182"/>
                      </a:lnTo>
                      <a:lnTo>
                        <a:pt x="77" y="181"/>
                      </a:lnTo>
                      <a:lnTo>
                        <a:pt x="77" y="180"/>
                      </a:lnTo>
                      <a:lnTo>
                        <a:pt x="77" y="178"/>
                      </a:lnTo>
                      <a:lnTo>
                        <a:pt x="77" y="176"/>
                      </a:lnTo>
                      <a:lnTo>
                        <a:pt x="77" y="175"/>
                      </a:lnTo>
                      <a:lnTo>
                        <a:pt x="77" y="174"/>
                      </a:lnTo>
                      <a:lnTo>
                        <a:pt x="77" y="173"/>
                      </a:lnTo>
                      <a:lnTo>
                        <a:pt x="77" y="172"/>
                      </a:lnTo>
                      <a:lnTo>
                        <a:pt x="78" y="169"/>
                      </a:lnTo>
                      <a:lnTo>
                        <a:pt x="78" y="168"/>
                      </a:lnTo>
                      <a:lnTo>
                        <a:pt x="77" y="166"/>
                      </a:lnTo>
                      <a:lnTo>
                        <a:pt x="77" y="165"/>
                      </a:lnTo>
                      <a:lnTo>
                        <a:pt x="78" y="164"/>
                      </a:lnTo>
                      <a:lnTo>
                        <a:pt x="78" y="161"/>
                      </a:lnTo>
                      <a:lnTo>
                        <a:pt x="77" y="161"/>
                      </a:lnTo>
                      <a:lnTo>
                        <a:pt x="77" y="160"/>
                      </a:lnTo>
                      <a:lnTo>
                        <a:pt x="76" y="160"/>
                      </a:lnTo>
                      <a:lnTo>
                        <a:pt x="75" y="160"/>
                      </a:lnTo>
                      <a:lnTo>
                        <a:pt x="72" y="160"/>
                      </a:lnTo>
                      <a:lnTo>
                        <a:pt x="70" y="160"/>
                      </a:lnTo>
                      <a:lnTo>
                        <a:pt x="67" y="160"/>
                      </a:lnTo>
                      <a:lnTo>
                        <a:pt x="65" y="160"/>
                      </a:lnTo>
                      <a:lnTo>
                        <a:pt x="64" y="161"/>
                      </a:lnTo>
                      <a:lnTo>
                        <a:pt x="64" y="155"/>
                      </a:lnTo>
                      <a:lnTo>
                        <a:pt x="64" y="152"/>
                      </a:lnTo>
                      <a:lnTo>
                        <a:pt x="63" y="148"/>
                      </a:lnTo>
                      <a:lnTo>
                        <a:pt x="62" y="147"/>
                      </a:lnTo>
                      <a:lnTo>
                        <a:pt x="61" y="147"/>
                      </a:lnTo>
                      <a:lnTo>
                        <a:pt x="60" y="147"/>
                      </a:lnTo>
                      <a:lnTo>
                        <a:pt x="58" y="146"/>
                      </a:lnTo>
                      <a:lnTo>
                        <a:pt x="57" y="145"/>
                      </a:lnTo>
                      <a:lnTo>
                        <a:pt x="56" y="145"/>
                      </a:lnTo>
                      <a:lnTo>
                        <a:pt x="55" y="145"/>
                      </a:lnTo>
                      <a:lnTo>
                        <a:pt x="54" y="144"/>
                      </a:lnTo>
                      <a:lnTo>
                        <a:pt x="50" y="143"/>
                      </a:lnTo>
                      <a:lnTo>
                        <a:pt x="49" y="143"/>
                      </a:lnTo>
                      <a:lnTo>
                        <a:pt x="48" y="143"/>
                      </a:lnTo>
                      <a:lnTo>
                        <a:pt x="47" y="143"/>
                      </a:lnTo>
                      <a:lnTo>
                        <a:pt x="47" y="141"/>
                      </a:lnTo>
                      <a:lnTo>
                        <a:pt x="46" y="140"/>
                      </a:lnTo>
                      <a:lnTo>
                        <a:pt x="43" y="140"/>
                      </a:lnTo>
                      <a:lnTo>
                        <a:pt x="43" y="139"/>
                      </a:lnTo>
                      <a:lnTo>
                        <a:pt x="42" y="139"/>
                      </a:lnTo>
                      <a:lnTo>
                        <a:pt x="42" y="138"/>
                      </a:lnTo>
                      <a:lnTo>
                        <a:pt x="42" y="137"/>
                      </a:lnTo>
                      <a:lnTo>
                        <a:pt x="40" y="137"/>
                      </a:lnTo>
                      <a:lnTo>
                        <a:pt x="40" y="136"/>
                      </a:lnTo>
                      <a:lnTo>
                        <a:pt x="39" y="136"/>
                      </a:lnTo>
                      <a:lnTo>
                        <a:pt x="38" y="136"/>
                      </a:lnTo>
                      <a:lnTo>
                        <a:pt x="38" y="134"/>
                      </a:lnTo>
                      <a:lnTo>
                        <a:pt x="36" y="133"/>
                      </a:lnTo>
                      <a:lnTo>
                        <a:pt x="35" y="133"/>
                      </a:lnTo>
                      <a:lnTo>
                        <a:pt x="34" y="132"/>
                      </a:lnTo>
                      <a:lnTo>
                        <a:pt x="35" y="132"/>
                      </a:lnTo>
                      <a:lnTo>
                        <a:pt x="35" y="131"/>
                      </a:lnTo>
                      <a:lnTo>
                        <a:pt x="34" y="131"/>
                      </a:lnTo>
                      <a:lnTo>
                        <a:pt x="34" y="130"/>
                      </a:lnTo>
                      <a:lnTo>
                        <a:pt x="32" y="130"/>
                      </a:lnTo>
                      <a:lnTo>
                        <a:pt x="31" y="130"/>
                      </a:lnTo>
                      <a:lnTo>
                        <a:pt x="29" y="129"/>
                      </a:lnTo>
                      <a:lnTo>
                        <a:pt x="28" y="127"/>
                      </a:lnTo>
                      <a:lnTo>
                        <a:pt x="26" y="119"/>
                      </a:lnTo>
                      <a:lnTo>
                        <a:pt x="25" y="118"/>
                      </a:lnTo>
                      <a:lnTo>
                        <a:pt x="24" y="117"/>
                      </a:lnTo>
                      <a:lnTo>
                        <a:pt x="24" y="115"/>
                      </a:lnTo>
                      <a:lnTo>
                        <a:pt x="22" y="115"/>
                      </a:lnTo>
                      <a:lnTo>
                        <a:pt x="22" y="113"/>
                      </a:lnTo>
                      <a:lnTo>
                        <a:pt x="24" y="112"/>
                      </a:lnTo>
                      <a:lnTo>
                        <a:pt x="24" y="111"/>
                      </a:lnTo>
                      <a:lnTo>
                        <a:pt x="22" y="109"/>
                      </a:lnTo>
                      <a:lnTo>
                        <a:pt x="19" y="105"/>
                      </a:lnTo>
                      <a:lnTo>
                        <a:pt x="18" y="103"/>
                      </a:lnTo>
                      <a:lnTo>
                        <a:pt x="18" y="101"/>
                      </a:lnTo>
                      <a:lnTo>
                        <a:pt x="17" y="99"/>
                      </a:lnTo>
                      <a:lnTo>
                        <a:pt x="17" y="98"/>
                      </a:lnTo>
                      <a:lnTo>
                        <a:pt x="15" y="97"/>
                      </a:lnTo>
                      <a:lnTo>
                        <a:pt x="14" y="97"/>
                      </a:lnTo>
                      <a:lnTo>
                        <a:pt x="13" y="95"/>
                      </a:lnTo>
                      <a:lnTo>
                        <a:pt x="12" y="94"/>
                      </a:lnTo>
                      <a:lnTo>
                        <a:pt x="11" y="94"/>
                      </a:lnTo>
                      <a:lnTo>
                        <a:pt x="10" y="91"/>
                      </a:lnTo>
                      <a:lnTo>
                        <a:pt x="8" y="90"/>
                      </a:lnTo>
                      <a:lnTo>
                        <a:pt x="8" y="89"/>
                      </a:lnTo>
                      <a:lnTo>
                        <a:pt x="8" y="88"/>
                      </a:lnTo>
                      <a:lnTo>
                        <a:pt x="7" y="87"/>
                      </a:lnTo>
                      <a:lnTo>
                        <a:pt x="6" y="84"/>
                      </a:lnTo>
                      <a:lnTo>
                        <a:pt x="5" y="83"/>
                      </a:lnTo>
                      <a:lnTo>
                        <a:pt x="4" y="82"/>
                      </a:lnTo>
                      <a:lnTo>
                        <a:pt x="4" y="81"/>
                      </a:lnTo>
                      <a:lnTo>
                        <a:pt x="3" y="81"/>
                      </a:lnTo>
                      <a:lnTo>
                        <a:pt x="1" y="78"/>
                      </a:lnTo>
                      <a:lnTo>
                        <a:pt x="0" y="76"/>
                      </a:lnTo>
                      <a:lnTo>
                        <a:pt x="0" y="75"/>
                      </a:lnTo>
                      <a:lnTo>
                        <a:pt x="0" y="74"/>
                      </a:lnTo>
                      <a:lnTo>
                        <a:pt x="1" y="71"/>
                      </a:lnTo>
                      <a:lnTo>
                        <a:pt x="3" y="71"/>
                      </a:lnTo>
                      <a:lnTo>
                        <a:pt x="3" y="73"/>
                      </a:lnTo>
                      <a:lnTo>
                        <a:pt x="4" y="73"/>
                      </a:lnTo>
                      <a:lnTo>
                        <a:pt x="5" y="73"/>
                      </a:lnTo>
                      <a:lnTo>
                        <a:pt x="6" y="74"/>
                      </a:lnTo>
                      <a:lnTo>
                        <a:pt x="8" y="74"/>
                      </a:lnTo>
                      <a:lnTo>
                        <a:pt x="10" y="74"/>
                      </a:lnTo>
                      <a:lnTo>
                        <a:pt x="10" y="73"/>
                      </a:lnTo>
                      <a:lnTo>
                        <a:pt x="12" y="73"/>
                      </a:lnTo>
                      <a:lnTo>
                        <a:pt x="14" y="71"/>
                      </a:lnTo>
                      <a:lnTo>
                        <a:pt x="15" y="73"/>
                      </a:lnTo>
                      <a:lnTo>
                        <a:pt x="17" y="73"/>
                      </a:lnTo>
                      <a:lnTo>
                        <a:pt x="18" y="74"/>
                      </a:lnTo>
                      <a:lnTo>
                        <a:pt x="19" y="75"/>
                      </a:lnTo>
                      <a:lnTo>
                        <a:pt x="20" y="75"/>
                      </a:lnTo>
                      <a:lnTo>
                        <a:pt x="20" y="76"/>
                      </a:lnTo>
                      <a:lnTo>
                        <a:pt x="20" y="77"/>
                      </a:lnTo>
                      <a:lnTo>
                        <a:pt x="22" y="78"/>
                      </a:lnTo>
                      <a:lnTo>
                        <a:pt x="24" y="78"/>
                      </a:lnTo>
                      <a:lnTo>
                        <a:pt x="26" y="77"/>
                      </a:lnTo>
                      <a:lnTo>
                        <a:pt x="27" y="77"/>
                      </a:lnTo>
                      <a:lnTo>
                        <a:pt x="27" y="76"/>
                      </a:lnTo>
                      <a:lnTo>
                        <a:pt x="28" y="76"/>
                      </a:lnTo>
                      <a:lnTo>
                        <a:pt x="29" y="75"/>
                      </a:lnTo>
                      <a:lnTo>
                        <a:pt x="31" y="75"/>
                      </a:lnTo>
                      <a:lnTo>
                        <a:pt x="32" y="74"/>
                      </a:lnTo>
                      <a:lnTo>
                        <a:pt x="32" y="75"/>
                      </a:lnTo>
                      <a:lnTo>
                        <a:pt x="34" y="75"/>
                      </a:lnTo>
                      <a:lnTo>
                        <a:pt x="34" y="76"/>
                      </a:lnTo>
                      <a:lnTo>
                        <a:pt x="35" y="76"/>
                      </a:lnTo>
                      <a:lnTo>
                        <a:pt x="36" y="76"/>
                      </a:lnTo>
                      <a:lnTo>
                        <a:pt x="38" y="76"/>
                      </a:lnTo>
                      <a:lnTo>
                        <a:pt x="40" y="77"/>
                      </a:lnTo>
                      <a:lnTo>
                        <a:pt x="41" y="78"/>
                      </a:lnTo>
                      <a:lnTo>
                        <a:pt x="42" y="78"/>
                      </a:lnTo>
                      <a:lnTo>
                        <a:pt x="43" y="78"/>
                      </a:lnTo>
                      <a:lnTo>
                        <a:pt x="43" y="80"/>
                      </a:lnTo>
                      <a:lnTo>
                        <a:pt x="44" y="80"/>
                      </a:lnTo>
                      <a:lnTo>
                        <a:pt x="46" y="81"/>
                      </a:lnTo>
                      <a:lnTo>
                        <a:pt x="47" y="81"/>
                      </a:lnTo>
                      <a:lnTo>
                        <a:pt x="48" y="80"/>
                      </a:lnTo>
                      <a:lnTo>
                        <a:pt x="49" y="80"/>
                      </a:lnTo>
                      <a:lnTo>
                        <a:pt x="49" y="78"/>
                      </a:lnTo>
                      <a:lnTo>
                        <a:pt x="53" y="77"/>
                      </a:lnTo>
                      <a:lnTo>
                        <a:pt x="53" y="78"/>
                      </a:lnTo>
                      <a:lnTo>
                        <a:pt x="54" y="77"/>
                      </a:lnTo>
                      <a:lnTo>
                        <a:pt x="55" y="77"/>
                      </a:lnTo>
                      <a:lnTo>
                        <a:pt x="56" y="77"/>
                      </a:lnTo>
                      <a:lnTo>
                        <a:pt x="57" y="77"/>
                      </a:lnTo>
                      <a:lnTo>
                        <a:pt x="58" y="77"/>
                      </a:lnTo>
                      <a:lnTo>
                        <a:pt x="58" y="76"/>
                      </a:lnTo>
                      <a:lnTo>
                        <a:pt x="57" y="76"/>
                      </a:lnTo>
                      <a:lnTo>
                        <a:pt x="58" y="76"/>
                      </a:lnTo>
                      <a:lnTo>
                        <a:pt x="58" y="75"/>
                      </a:lnTo>
                      <a:lnTo>
                        <a:pt x="61" y="74"/>
                      </a:lnTo>
                      <a:lnTo>
                        <a:pt x="61" y="73"/>
                      </a:lnTo>
                      <a:lnTo>
                        <a:pt x="61" y="71"/>
                      </a:lnTo>
                      <a:lnTo>
                        <a:pt x="62" y="70"/>
                      </a:lnTo>
                      <a:lnTo>
                        <a:pt x="63" y="70"/>
                      </a:lnTo>
                      <a:lnTo>
                        <a:pt x="63" y="71"/>
                      </a:lnTo>
                      <a:lnTo>
                        <a:pt x="63" y="70"/>
                      </a:lnTo>
                      <a:lnTo>
                        <a:pt x="62" y="70"/>
                      </a:lnTo>
                      <a:lnTo>
                        <a:pt x="63" y="70"/>
                      </a:lnTo>
                      <a:lnTo>
                        <a:pt x="63" y="69"/>
                      </a:lnTo>
                      <a:lnTo>
                        <a:pt x="67" y="66"/>
                      </a:lnTo>
                      <a:lnTo>
                        <a:pt x="68" y="64"/>
                      </a:lnTo>
                      <a:lnTo>
                        <a:pt x="69" y="64"/>
                      </a:lnTo>
                      <a:lnTo>
                        <a:pt x="70" y="64"/>
                      </a:lnTo>
                      <a:lnTo>
                        <a:pt x="70" y="63"/>
                      </a:lnTo>
                      <a:lnTo>
                        <a:pt x="71" y="63"/>
                      </a:lnTo>
                      <a:lnTo>
                        <a:pt x="70" y="63"/>
                      </a:lnTo>
                      <a:lnTo>
                        <a:pt x="70" y="64"/>
                      </a:lnTo>
                      <a:lnTo>
                        <a:pt x="69" y="64"/>
                      </a:lnTo>
                      <a:lnTo>
                        <a:pt x="70" y="63"/>
                      </a:lnTo>
                      <a:lnTo>
                        <a:pt x="70" y="62"/>
                      </a:lnTo>
                      <a:lnTo>
                        <a:pt x="71" y="62"/>
                      </a:lnTo>
                      <a:lnTo>
                        <a:pt x="72" y="62"/>
                      </a:lnTo>
                      <a:lnTo>
                        <a:pt x="74" y="62"/>
                      </a:lnTo>
                      <a:lnTo>
                        <a:pt x="74" y="60"/>
                      </a:lnTo>
                      <a:lnTo>
                        <a:pt x="74" y="61"/>
                      </a:lnTo>
                      <a:lnTo>
                        <a:pt x="75" y="57"/>
                      </a:lnTo>
                      <a:lnTo>
                        <a:pt x="76" y="56"/>
                      </a:lnTo>
                      <a:lnTo>
                        <a:pt x="76" y="55"/>
                      </a:lnTo>
                      <a:lnTo>
                        <a:pt x="77" y="54"/>
                      </a:lnTo>
                      <a:lnTo>
                        <a:pt x="77" y="53"/>
                      </a:lnTo>
                      <a:lnTo>
                        <a:pt x="78" y="53"/>
                      </a:lnTo>
                      <a:lnTo>
                        <a:pt x="78" y="52"/>
                      </a:lnTo>
                      <a:lnTo>
                        <a:pt x="79" y="50"/>
                      </a:lnTo>
                      <a:lnTo>
                        <a:pt x="81" y="50"/>
                      </a:lnTo>
                      <a:lnTo>
                        <a:pt x="82" y="50"/>
                      </a:lnTo>
                      <a:lnTo>
                        <a:pt x="83" y="50"/>
                      </a:lnTo>
                      <a:lnTo>
                        <a:pt x="82" y="50"/>
                      </a:lnTo>
                      <a:lnTo>
                        <a:pt x="82" y="49"/>
                      </a:lnTo>
                      <a:lnTo>
                        <a:pt x="83" y="49"/>
                      </a:lnTo>
                      <a:lnTo>
                        <a:pt x="84" y="49"/>
                      </a:lnTo>
                      <a:lnTo>
                        <a:pt x="85" y="48"/>
                      </a:lnTo>
                      <a:lnTo>
                        <a:pt x="85" y="47"/>
                      </a:lnTo>
                      <a:lnTo>
                        <a:pt x="86" y="47"/>
                      </a:lnTo>
                      <a:lnTo>
                        <a:pt x="86" y="46"/>
                      </a:lnTo>
                      <a:lnTo>
                        <a:pt x="88" y="47"/>
                      </a:lnTo>
                      <a:lnTo>
                        <a:pt x="89" y="48"/>
                      </a:lnTo>
                      <a:lnTo>
                        <a:pt x="89" y="47"/>
                      </a:lnTo>
                      <a:lnTo>
                        <a:pt x="90" y="47"/>
                      </a:lnTo>
                      <a:lnTo>
                        <a:pt x="91" y="47"/>
                      </a:lnTo>
                      <a:lnTo>
                        <a:pt x="91" y="46"/>
                      </a:lnTo>
                      <a:lnTo>
                        <a:pt x="90" y="46"/>
                      </a:lnTo>
                      <a:lnTo>
                        <a:pt x="91" y="46"/>
                      </a:lnTo>
                      <a:lnTo>
                        <a:pt x="90" y="46"/>
                      </a:lnTo>
                      <a:lnTo>
                        <a:pt x="91" y="45"/>
                      </a:lnTo>
                      <a:lnTo>
                        <a:pt x="90" y="45"/>
                      </a:lnTo>
                      <a:lnTo>
                        <a:pt x="89" y="45"/>
                      </a:lnTo>
                      <a:lnTo>
                        <a:pt x="90" y="43"/>
                      </a:lnTo>
                      <a:lnTo>
                        <a:pt x="90" y="42"/>
                      </a:lnTo>
                      <a:lnTo>
                        <a:pt x="91" y="42"/>
                      </a:lnTo>
                      <a:lnTo>
                        <a:pt x="90" y="42"/>
                      </a:lnTo>
                      <a:lnTo>
                        <a:pt x="90" y="41"/>
                      </a:lnTo>
                      <a:lnTo>
                        <a:pt x="91" y="41"/>
                      </a:lnTo>
                      <a:lnTo>
                        <a:pt x="91" y="40"/>
                      </a:lnTo>
                      <a:lnTo>
                        <a:pt x="92" y="40"/>
                      </a:lnTo>
                      <a:lnTo>
                        <a:pt x="95" y="39"/>
                      </a:lnTo>
                      <a:lnTo>
                        <a:pt x="96" y="39"/>
                      </a:lnTo>
                      <a:lnTo>
                        <a:pt x="96" y="40"/>
                      </a:lnTo>
                      <a:lnTo>
                        <a:pt x="97" y="40"/>
                      </a:lnTo>
                      <a:lnTo>
                        <a:pt x="97" y="39"/>
                      </a:lnTo>
                      <a:lnTo>
                        <a:pt x="98" y="39"/>
                      </a:lnTo>
                      <a:lnTo>
                        <a:pt x="98" y="38"/>
                      </a:lnTo>
                      <a:lnTo>
                        <a:pt x="99" y="38"/>
                      </a:lnTo>
                      <a:lnTo>
                        <a:pt x="99" y="39"/>
                      </a:lnTo>
                      <a:lnTo>
                        <a:pt x="99" y="40"/>
                      </a:lnTo>
                      <a:lnTo>
                        <a:pt x="100" y="40"/>
                      </a:lnTo>
                      <a:lnTo>
                        <a:pt x="102" y="40"/>
                      </a:lnTo>
                      <a:lnTo>
                        <a:pt x="102" y="41"/>
                      </a:lnTo>
                      <a:lnTo>
                        <a:pt x="103" y="42"/>
                      </a:lnTo>
                      <a:lnTo>
                        <a:pt x="102" y="40"/>
                      </a:lnTo>
                      <a:lnTo>
                        <a:pt x="102" y="39"/>
                      </a:lnTo>
                      <a:lnTo>
                        <a:pt x="102" y="40"/>
                      </a:lnTo>
                      <a:lnTo>
                        <a:pt x="102" y="39"/>
                      </a:lnTo>
                      <a:lnTo>
                        <a:pt x="103" y="38"/>
                      </a:lnTo>
                      <a:lnTo>
                        <a:pt x="104" y="38"/>
                      </a:lnTo>
                      <a:lnTo>
                        <a:pt x="104" y="36"/>
                      </a:lnTo>
                      <a:lnTo>
                        <a:pt x="105" y="36"/>
                      </a:lnTo>
                      <a:lnTo>
                        <a:pt x="106" y="36"/>
                      </a:lnTo>
                      <a:lnTo>
                        <a:pt x="105" y="36"/>
                      </a:lnTo>
                      <a:lnTo>
                        <a:pt x="106" y="36"/>
                      </a:lnTo>
                      <a:lnTo>
                        <a:pt x="107" y="36"/>
                      </a:lnTo>
                      <a:lnTo>
                        <a:pt x="107" y="35"/>
                      </a:lnTo>
                      <a:lnTo>
                        <a:pt x="108" y="35"/>
                      </a:lnTo>
                      <a:lnTo>
                        <a:pt x="110" y="35"/>
                      </a:lnTo>
                      <a:lnTo>
                        <a:pt x="108" y="36"/>
                      </a:lnTo>
                      <a:lnTo>
                        <a:pt x="110" y="36"/>
                      </a:lnTo>
                      <a:lnTo>
                        <a:pt x="108" y="38"/>
                      </a:lnTo>
                      <a:lnTo>
                        <a:pt x="110" y="38"/>
                      </a:lnTo>
                      <a:lnTo>
                        <a:pt x="110" y="39"/>
                      </a:lnTo>
                      <a:lnTo>
                        <a:pt x="111" y="39"/>
                      </a:lnTo>
                      <a:lnTo>
                        <a:pt x="112" y="39"/>
                      </a:lnTo>
                      <a:lnTo>
                        <a:pt x="113" y="39"/>
                      </a:lnTo>
                      <a:lnTo>
                        <a:pt x="112" y="38"/>
                      </a:lnTo>
                      <a:lnTo>
                        <a:pt x="114" y="38"/>
                      </a:lnTo>
                      <a:lnTo>
                        <a:pt x="114" y="36"/>
                      </a:lnTo>
                      <a:lnTo>
                        <a:pt x="114" y="35"/>
                      </a:lnTo>
                      <a:lnTo>
                        <a:pt x="114" y="34"/>
                      </a:lnTo>
                      <a:lnTo>
                        <a:pt x="115" y="34"/>
                      </a:lnTo>
                      <a:lnTo>
                        <a:pt x="117" y="36"/>
                      </a:lnTo>
                      <a:lnTo>
                        <a:pt x="117" y="35"/>
                      </a:lnTo>
                      <a:lnTo>
                        <a:pt x="117" y="34"/>
                      </a:lnTo>
                      <a:lnTo>
                        <a:pt x="118" y="34"/>
                      </a:lnTo>
                      <a:lnTo>
                        <a:pt x="117" y="34"/>
                      </a:lnTo>
                      <a:lnTo>
                        <a:pt x="117" y="33"/>
                      </a:lnTo>
                      <a:lnTo>
                        <a:pt x="118" y="33"/>
                      </a:lnTo>
                      <a:lnTo>
                        <a:pt x="119" y="33"/>
                      </a:lnTo>
                      <a:lnTo>
                        <a:pt x="118" y="32"/>
                      </a:lnTo>
                      <a:lnTo>
                        <a:pt x="117" y="32"/>
                      </a:lnTo>
                      <a:lnTo>
                        <a:pt x="118" y="31"/>
                      </a:lnTo>
                      <a:lnTo>
                        <a:pt x="115" y="32"/>
                      </a:lnTo>
                      <a:lnTo>
                        <a:pt x="114" y="32"/>
                      </a:lnTo>
                      <a:lnTo>
                        <a:pt x="113" y="32"/>
                      </a:lnTo>
                      <a:lnTo>
                        <a:pt x="114" y="31"/>
                      </a:lnTo>
                      <a:lnTo>
                        <a:pt x="115" y="32"/>
                      </a:lnTo>
                      <a:lnTo>
                        <a:pt x="115" y="31"/>
                      </a:lnTo>
                      <a:lnTo>
                        <a:pt x="114" y="31"/>
                      </a:lnTo>
                      <a:lnTo>
                        <a:pt x="112" y="31"/>
                      </a:lnTo>
                      <a:lnTo>
                        <a:pt x="111" y="31"/>
                      </a:lnTo>
                      <a:lnTo>
                        <a:pt x="112" y="29"/>
                      </a:lnTo>
                      <a:lnTo>
                        <a:pt x="113" y="28"/>
                      </a:lnTo>
                      <a:lnTo>
                        <a:pt x="113" y="27"/>
                      </a:lnTo>
                      <a:lnTo>
                        <a:pt x="114" y="26"/>
                      </a:lnTo>
                      <a:lnTo>
                        <a:pt x="114" y="25"/>
                      </a:lnTo>
                      <a:lnTo>
                        <a:pt x="113" y="24"/>
                      </a:lnTo>
                      <a:lnTo>
                        <a:pt x="113" y="22"/>
                      </a:lnTo>
                      <a:lnTo>
                        <a:pt x="114" y="20"/>
                      </a:lnTo>
                      <a:lnTo>
                        <a:pt x="114" y="19"/>
                      </a:lnTo>
                      <a:lnTo>
                        <a:pt x="114" y="18"/>
                      </a:lnTo>
                      <a:lnTo>
                        <a:pt x="114" y="17"/>
                      </a:lnTo>
                      <a:lnTo>
                        <a:pt x="114" y="15"/>
                      </a:lnTo>
                      <a:lnTo>
                        <a:pt x="114" y="14"/>
                      </a:lnTo>
                      <a:lnTo>
                        <a:pt x="115" y="13"/>
                      </a:lnTo>
                      <a:lnTo>
                        <a:pt x="117" y="12"/>
                      </a:lnTo>
                      <a:lnTo>
                        <a:pt x="118" y="11"/>
                      </a:lnTo>
                      <a:lnTo>
                        <a:pt x="119" y="11"/>
                      </a:lnTo>
                      <a:lnTo>
                        <a:pt x="120" y="11"/>
                      </a:lnTo>
                      <a:lnTo>
                        <a:pt x="121" y="10"/>
                      </a:lnTo>
                      <a:lnTo>
                        <a:pt x="122" y="8"/>
                      </a:lnTo>
                      <a:lnTo>
                        <a:pt x="124" y="8"/>
                      </a:lnTo>
                      <a:lnTo>
                        <a:pt x="125" y="7"/>
                      </a:lnTo>
                      <a:lnTo>
                        <a:pt x="132" y="4"/>
                      </a:lnTo>
                      <a:lnTo>
                        <a:pt x="135" y="3"/>
                      </a:lnTo>
                      <a:lnTo>
                        <a:pt x="136" y="1"/>
                      </a:lnTo>
                      <a:lnTo>
                        <a:pt x="138" y="1"/>
                      </a:lnTo>
                      <a:lnTo>
                        <a:pt x="139" y="1"/>
                      </a:lnTo>
                      <a:lnTo>
                        <a:pt x="140" y="1"/>
                      </a:lnTo>
                      <a:lnTo>
                        <a:pt x="142" y="1"/>
                      </a:lnTo>
                      <a:lnTo>
                        <a:pt x="143" y="1"/>
                      </a:lnTo>
                      <a:lnTo>
                        <a:pt x="145" y="0"/>
                      </a:lnTo>
                      <a:lnTo>
                        <a:pt x="147" y="0"/>
                      </a:lnTo>
                      <a:lnTo>
                        <a:pt x="149" y="1"/>
                      </a:lnTo>
                      <a:lnTo>
                        <a:pt x="150" y="1"/>
                      </a:lnTo>
                      <a:lnTo>
                        <a:pt x="152" y="1"/>
                      </a:lnTo>
                      <a:lnTo>
                        <a:pt x="153" y="0"/>
                      </a:lnTo>
                      <a:lnTo>
                        <a:pt x="154" y="0"/>
                      </a:lnTo>
                      <a:lnTo>
                        <a:pt x="155" y="1"/>
                      </a:lnTo>
                      <a:lnTo>
                        <a:pt x="156" y="1"/>
                      </a:lnTo>
                      <a:lnTo>
                        <a:pt x="157" y="1"/>
                      </a:lnTo>
                      <a:lnTo>
                        <a:pt x="159" y="0"/>
                      </a:lnTo>
                      <a:lnTo>
                        <a:pt x="159" y="1"/>
                      </a:lnTo>
                      <a:lnTo>
                        <a:pt x="160" y="1"/>
                      </a:lnTo>
                      <a:lnTo>
                        <a:pt x="161" y="1"/>
                      </a:lnTo>
                      <a:lnTo>
                        <a:pt x="16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4" name="Freeform 125">
                  <a:extLst>
                    <a:ext uri="{FF2B5EF4-FFF2-40B4-BE49-F238E27FC236}">
                      <a16:creationId xmlns:a16="http://schemas.microsoft.com/office/drawing/2014/main" id="{9265478E-5D89-0AB9-5DB2-3A32ECAFE0C1}"/>
                    </a:ext>
                  </a:extLst>
                </p:cNvPr>
                <p:cNvSpPr>
                  <a:spLocks/>
                </p:cNvSpPr>
                <p:nvPr/>
              </p:nvSpPr>
              <p:spPr bwMode="auto">
                <a:xfrm>
                  <a:off x="7263488" y="5063108"/>
                  <a:ext cx="120073" cy="80048"/>
                </a:xfrm>
                <a:custGeom>
                  <a:avLst/>
                  <a:gdLst>
                    <a:gd name="T0" fmla="*/ 101 w 111"/>
                    <a:gd name="T1" fmla="*/ 61 h 74"/>
                    <a:gd name="T2" fmla="*/ 91 w 111"/>
                    <a:gd name="T3" fmla="*/ 70 h 74"/>
                    <a:gd name="T4" fmla="*/ 80 w 111"/>
                    <a:gd name="T5" fmla="*/ 74 h 74"/>
                    <a:gd name="T6" fmla="*/ 78 w 111"/>
                    <a:gd name="T7" fmla="*/ 74 h 74"/>
                    <a:gd name="T8" fmla="*/ 72 w 111"/>
                    <a:gd name="T9" fmla="*/ 70 h 74"/>
                    <a:gd name="T10" fmla="*/ 33 w 111"/>
                    <a:gd name="T11" fmla="*/ 69 h 74"/>
                    <a:gd name="T12" fmla="*/ 28 w 111"/>
                    <a:gd name="T13" fmla="*/ 70 h 74"/>
                    <a:gd name="T14" fmla="*/ 15 w 111"/>
                    <a:gd name="T15" fmla="*/ 68 h 74"/>
                    <a:gd name="T16" fmla="*/ 9 w 111"/>
                    <a:gd name="T17" fmla="*/ 64 h 74"/>
                    <a:gd name="T18" fmla="*/ 4 w 111"/>
                    <a:gd name="T19" fmla="*/ 60 h 74"/>
                    <a:gd name="T20" fmla="*/ 3 w 111"/>
                    <a:gd name="T21" fmla="*/ 55 h 74"/>
                    <a:gd name="T22" fmla="*/ 1 w 111"/>
                    <a:gd name="T23" fmla="*/ 48 h 74"/>
                    <a:gd name="T24" fmla="*/ 0 w 111"/>
                    <a:gd name="T25" fmla="*/ 41 h 74"/>
                    <a:gd name="T26" fmla="*/ 7 w 111"/>
                    <a:gd name="T27" fmla="*/ 36 h 74"/>
                    <a:gd name="T28" fmla="*/ 15 w 111"/>
                    <a:gd name="T29" fmla="*/ 23 h 74"/>
                    <a:gd name="T30" fmla="*/ 17 w 111"/>
                    <a:gd name="T31" fmla="*/ 21 h 74"/>
                    <a:gd name="T32" fmla="*/ 20 w 111"/>
                    <a:gd name="T33" fmla="*/ 19 h 74"/>
                    <a:gd name="T34" fmla="*/ 28 w 111"/>
                    <a:gd name="T35" fmla="*/ 7 h 74"/>
                    <a:gd name="T36" fmla="*/ 31 w 111"/>
                    <a:gd name="T37" fmla="*/ 4 h 74"/>
                    <a:gd name="T38" fmla="*/ 42 w 111"/>
                    <a:gd name="T39" fmla="*/ 0 h 74"/>
                    <a:gd name="T40" fmla="*/ 53 w 111"/>
                    <a:gd name="T41" fmla="*/ 2 h 74"/>
                    <a:gd name="T42" fmla="*/ 86 w 111"/>
                    <a:gd name="T43" fmla="*/ 12 h 74"/>
                    <a:gd name="T44" fmla="*/ 102 w 111"/>
                    <a:gd name="T45" fmla="*/ 32 h 74"/>
                    <a:gd name="T46" fmla="*/ 111 w 111"/>
                    <a:gd name="T47" fmla="*/ 35 h 74"/>
                    <a:gd name="T48" fmla="*/ 108 w 111"/>
                    <a:gd name="T49" fmla="*/ 49 h 74"/>
                    <a:gd name="T50" fmla="*/ 101 w 111"/>
                    <a:gd name="T51"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74">
                      <a:moveTo>
                        <a:pt x="101" y="61"/>
                      </a:moveTo>
                      <a:lnTo>
                        <a:pt x="91" y="70"/>
                      </a:lnTo>
                      <a:lnTo>
                        <a:pt x="80" y="74"/>
                      </a:lnTo>
                      <a:lnTo>
                        <a:pt x="78" y="74"/>
                      </a:lnTo>
                      <a:lnTo>
                        <a:pt x="72" y="70"/>
                      </a:lnTo>
                      <a:lnTo>
                        <a:pt x="33" y="69"/>
                      </a:lnTo>
                      <a:lnTo>
                        <a:pt x="28" y="70"/>
                      </a:lnTo>
                      <a:lnTo>
                        <a:pt x="15" y="68"/>
                      </a:lnTo>
                      <a:lnTo>
                        <a:pt x="9" y="64"/>
                      </a:lnTo>
                      <a:lnTo>
                        <a:pt x="4" y="60"/>
                      </a:lnTo>
                      <a:lnTo>
                        <a:pt x="3" y="55"/>
                      </a:lnTo>
                      <a:lnTo>
                        <a:pt x="1" y="48"/>
                      </a:lnTo>
                      <a:lnTo>
                        <a:pt x="0" y="41"/>
                      </a:lnTo>
                      <a:lnTo>
                        <a:pt x="7" y="36"/>
                      </a:lnTo>
                      <a:lnTo>
                        <a:pt x="15" y="23"/>
                      </a:lnTo>
                      <a:lnTo>
                        <a:pt x="17" y="21"/>
                      </a:lnTo>
                      <a:lnTo>
                        <a:pt x="20" y="19"/>
                      </a:lnTo>
                      <a:lnTo>
                        <a:pt x="28" y="7"/>
                      </a:lnTo>
                      <a:lnTo>
                        <a:pt x="31" y="4"/>
                      </a:lnTo>
                      <a:lnTo>
                        <a:pt x="42" y="0"/>
                      </a:lnTo>
                      <a:lnTo>
                        <a:pt x="53" y="2"/>
                      </a:lnTo>
                      <a:lnTo>
                        <a:pt x="86" y="12"/>
                      </a:lnTo>
                      <a:lnTo>
                        <a:pt x="102" y="32"/>
                      </a:lnTo>
                      <a:lnTo>
                        <a:pt x="111" y="35"/>
                      </a:lnTo>
                      <a:lnTo>
                        <a:pt x="108" y="49"/>
                      </a:lnTo>
                      <a:lnTo>
                        <a:pt x="101" y="61"/>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5" name="Freeform 126">
                  <a:extLst>
                    <a:ext uri="{FF2B5EF4-FFF2-40B4-BE49-F238E27FC236}">
                      <a16:creationId xmlns:a16="http://schemas.microsoft.com/office/drawing/2014/main" id="{3858B195-FA90-3648-6CC1-8F35923AB9A4}"/>
                    </a:ext>
                  </a:extLst>
                </p:cNvPr>
                <p:cNvSpPr>
                  <a:spLocks/>
                </p:cNvSpPr>
                <p:nvPr/>
              </p:nvSpPr>
              <p:spPr bwMode="auto">
                <a:xfrm>
                  <a:off x="7372743" y="4940872"/>
                  <a:ext cx="44352" cy="31371"/>
                </a:xfrm>
                <a:custGeom>
                  <a:avLst/>
                  <a:gdLst>
                    <a:gd name="T0" fmla="*/ 40 w 41"/>
                    <a:gd name="T1" fmla="*/ 23 h 29"/>
                    <a:gd name="T2" fmla="*/ 27 w 41"/>
                    <a:gd name="T3" fmla="*/ 29 h 29"/>
                    <a:gd name="T4" fmla="*/ 10 w 41"/>
                    <a:gd name="T5" fmla="*/ 26 h 29"/>
                    <a:gd name="T6" fmla="*/ 0 w 41"/>
                    <a:gd name="T7" fmla="*/ 20 h 29"/>
                    <a:gd name="T8" fmla="*/ 1 w 41"/>
                    <a:gd name="T9" fmla="*/ 8 h 29"/>
                    <a:gd name="T10" fmla="*/ 14 w 41"/>
                    <a:gd name="T11" fmla="*/ 1 h 29"/>
                    <a:gd name="T12" fmla="*/ 29 w 41"/>
                    <a:gd name="T13" fmla="*/ 0 h 29"/>
                    <a:gd name="T14" fmla="*/ 41 w 41"/>
                    <a:gd name="T15" fmla="*/ 9 h 29"/>
                    <a:gd name="T16" fmla="*/ 40 w 41"/>
                    <a:gd name="T17"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9">
                      <a:moveTo>
                        <a:pt x="40" y="23"/>
                      </a:moveTo>
                      <a:lnTo>
                        <a:pt x="27" y="29"/>
                      </a:lnTo>
                      <a:lnTo>
                        <a:pt x="10" y="26"/>
                      </a:lnTo>
                      <a:lnTo>
                        <a:pt x="0" y="20"/>
                      </a:lnTo>
                      <a:lnTo>
                        <a:pt x="1" y="8"/>
                      </a:lnTo>
                      <a:lnTo>
                        <a:pt x="14" y="1"/>
                      </a:lnTo>
                      <a:lnTo>
                        <a:pt x="29" y="0"/>
                      </a:lnTo>
                      <a:lnTo>
                        <a:pt x="41" y="9"/>
                      </a:lnTo>
                      <a:lnTo>
                        <a:pt x="40" y="2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6" name="Freeform 117">
                  <a:extLst>
                    <a:ext uri="{FF2B5EF4-FFF2-40B4-BE49-F238E27FC236}">
                      <a16:creationId xmlns:a16="http://schemas.microsoft.com/office/drawing/2014/main" id="{53239631-4799-4D7D-B8AD-83D2CE6213BB}"/>
                    </a:ext>
                  </a:extLst>
                </p:cNvPr>
                <p:cNvSpPr>
                  <a:spLocks noEditPoints="1"/>
                </p:cNvSpPr>
                <p:nvPr/>
              </p:nvSpPr>
              <p:spPr bwMode="auto">
                <a:xfrm>
                  <a:off x="7610132" y="3911305"/>
                  <a:ext cx="486119" cy="283443"/>
                </a:xfrm>
                <a:custGeom>
                  <a:avLst/>
                  <a:gdLst>
                    <a:gd name="T0" fmla="*/ 10 w 319"/>
                    <a:gd name="T1" fmla="*/ 185 h 186"/>
                    <a:gd name="T2" fmla="*/ 41 w 319"/>
                    <a:gd name="T3" fmla="*/ 185 h 186"/>
                    <a:gd name="T4" fmla="*/ 8 w 319"/>
                    <a:gd name="T5" fmla="*/ 175 h 186"/>
                    <a:gd name="T6" fmla="*/ 3 w 319"/>
                    <a:gd name="T7" fmla="*/ 175 h 186"/>
                    <a:gd name="T8" fmla="*/ 7 w 319"/>
                    <a:gd name="T9" fmla="*/ 174 h 186"/>
                    <a:gd name="T10" fmla="*/ 8 w 319"/>
                    <a:gd name="T11" fmla="*/ 174 h 186"/>
                    <a:gd name="T12" fmla="*/ 11 w 319"/>
                    <a:gd name="T13" fmla="*/ 174 h 186"/>
                    <a:gd name="T14" fmla="*/ 5 w 319"/>
                    <a:gd name="T15" fmla="*/ 173 h 186"/>
                    <a:gd name="T16" fmla="*/ 3 w 319"/>
                    <a:gd name="T17" fmla="*/ 173 h 186"/>
                    <a:gd name="T18" fmla="*/ 5 w 319"/>
                    <a:gd name="T19" fmla="*/ 173 h 186"/>
                    <a:gd name="T20" fmla="*/ 319 w 319"/>
                    <a:gd name="T21" fmla="*/ 107 h 186"/>
                    <a:gd name="T22" fmla="*/ 207 w 319"/>
                    <a:gd name="T23" fmla="*/ 101 h 186"/>
                    <a:gd name="T24" fmla="*/ 291 w 319"/>
                    <a:gd name="T25" fmla="*/ 66 h 186"/>
                    <a:gd name="T26" fmla="*/ 227 w 319"/>
                    <a:gd name="T27" fmla="*/ 52 h 186"/>
                    <a:gd name="T28" fmla="*/ 292 w 319"/>
                    <a:gd name="T29" fmla="*/ 28 h 186"/>
                    <a:gd name="T30" fmla="*/ 292 w 319"/>
                    <a:gd name="T31" fmla="*/ 28 h 186"/>
                    <a:gd name="T32" fmla="*/ 291 w 319"/>
                    <a:gd name="T33" fmla="*/ 28 h 186"/>
                    <a:gd name="T34" fmla="*/ 291 w 319"/>
                    <a:gd name="T35" fmla="*/ 28 h 186"/>
                    <a:gd name="T36" fmla="*/ 296 w 319"/>
                    <a:gd name="T37" fmla="*/ 27 h 186"/>
                    <a:gd name="T38" fmla="*/ 296 w 319"/>
                    <a:gd name="T39" fmla="*/ 27 h 186"/>
                    <a:gd name="T40" fmla="*/ 296 w 319"/>
                    <a:gd name="T41" fmla="*/ 27 h 186"/>
                    <a:gd name="T42" fmla="*/ 296 w 319"/>
                    <a:gd name="T43" fmla="*/ 27 h 186"/>
                    <a:gd name="T44" fmla="*/ 296 w 319"/>
                    <a:gd name="T45" fmla="*/ 26 h 186"/>
                    <a:gd name="T46" fmla="*/ 296 w 319"/>
                    <a:gd name="T47" fmla="*/ 26 h 186"/>
                    <a:gd name="T48" fmla="*/ 310 w 319"/>
                    <a:gd name="T49" fmla="*/ 26 h 186"/>
                    <a:gd name="T50" fmla="*/ 310 w 319"/>
                    <a:gd name="T51" fmla="*/ 26 h 186"/>
                    <a:gd name="T52" fmla="*/ 295 w 319"/>
                    <a:gd name="T53" fmla="*/ 27 h 186"/>
                    <a:gd name="T54" fmla="*/ 297 w 319"/>
                    <a:gd name="T55" fmla="*/ 31 h 186"/>
                    <a:gd name="T56" fmla="*/ 297 w 319"/>
                    <a:gd name="T57" fmla="*/ 33 h 186"/>
                    <a:gd name="T58" fmla="*/ 295 w 319"/>
                    <a:gd name="T59" fmla="*/ 32 h 186"/>
                    <a:gd name="T60" fmla="*/ 295 w 319"/>
                    <a:gd name="T61" fmla="*/ 31 h 186"/>
                    <a:gd name="T62" fmla="*/ 293 w 319"/>
                    <a:gd name="T63" fmla="*/ 28 h 186"/>
                    <a:gd name="T64" fmla="*/ 292 w 319"/>
                    <a:gd name="T65" fmla="*/ 28 h 186"/>
                    <a:gd name="T66" fmla="*/ 291 w 319"/>
                    <a:gd name="T67" fmla="*/ 27 h 186"/>
                    <a:gd name="T68" fmla="*/ 292 w 319"/>
                    <a:gd name="T69" fmla="*/ 27 h 186"/>
                    <a:gd name="T70" fmla="*/ 293 w 319"/>
                    <a:gd name="T71" fmla="*/ 25 h 186"/>
                    <a:gd name="T72" fmla="*/ 295 w 319"/>
                    <a:gd name="T73" fmla="*/ 26 h 186"/>
                    <a:gd name="T74" fmla="*/ 288 w 319"/>
                    <a:gd name="T75" fmla="*/ 24 h 186"/>
                    <a:gd name="T76" fmla="*/ 288 w 319"/>
                    <a:gd name="T77" fmla="*/ 23 h 186"/>
                    <a:gd name="T78" fmla="*/ 300 w 319"/>
                    <a:gd name="T79" fmla="*/ 19 h 186"/>
                    <a:gd name="T80" fmla="*/ 306 w 319"/>
                    <a:gd name="T81" fmla="*/ 19 h 186"/>
                    <a:gd name="T82" fmla="*/ 307 w 319"/>
                    <a:gd name="T83" fmla="*/ 19 h 186"/>
                    <a:gd name="T84" fmla="*/ 309 w 319"/>
                    <a:gd name="T85" fmla="*/ 18 h 186"/>
                    <a:gd name="T86" fmla="*/ 300 w 319"/>
                    <a:gd name="T87" fmla="*/ 18 h 186"/>
                    <a:gd name="T88" fmla="*/ 307 w 319"/>
                    <a:gd name="T89" fmla="*/ 18 h 186"/>
                    <a:gd name="T90" fmla="*/ 304 w 319"/>
                    <a:gd name="T91" fmla="*/ 18 h 186"/>
                    <a:gd name="T92" fmla="*/ 304 w 319"/>
                    <a:gd name="T93" fmla="*/ 18 h 186"/>
                    <a:gd name="T94" fmla="*/ 303 w 319"/>
                    <a:gd name="T95" fmla="*/ 18 h 186"/>
                    <a:gd name="T96" fmla="*/ 302 w 319"/>
                    <a:gd name="T97" fmla="*/ 17 h 186"/>
                    <a:gd name="T98" fmla="*/ 307 w 319"/>
                    <a:gd name="T99" fmla="*/ 17 h 186"/>
                    <a:gd name="T100" fmla="*/ 307 w 319"/>
                    <a:gd name="T101" fmla="*/ 17 h 186"/>
                    <a:gd name="T102" fmla="*/ 303 w 319"/>
                    <a:gd name="T103" fmla="*/ 17 h 186"/>
                    <a:gd name="T104" fmla="*/ 302 w 319"/>
                    <a:gd name="T105" fmla="*/ 14 h 186"/>
                    <a:gd name="T106" fmla="*/ 302 w 319"/>
                    <a:gd name="T107" fmla="*/ 14 h 186"/>
                    <a:gd name="T108" fmla="*/ 300 w 319"/>
                    <a:gd name="T10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9" h="186">
                      <a:moveTo>
                        <a:pt x="10" y="186"/>
                      </a:moveTo>
                      <a:lnTo>
                        <a:pt x="10" y="186"/>
                      </a:lnTo>
                      <a:lnTo>
                        <a:pt x="10" y="186"/>
                      </a:lnTo>
                      <a:lnTo>
                        <a:pt x="10" y="186"/>
                      </a:lnTo>
                      <a:lnTo>
                        <a:pt x="10" y="186"/>
                      </a:lnTo>
                      <a:lnTo>
                        <a:pt x="10" y="185"/>
                      </a:lnTo>
                      <a:lnTo>
                        <a:pt x="10" y="185"/>
                      </a:lnTo>
                      <a:lnTo>
                        <a:pt x="10" y="186"/>
                      </a:lnTo>
                      <a:lnTo>
                        <a:pt x="10" y="186"/>
                      </a:lnTo>
                      <a:close/>
                      <a:moveTo>
                        <a:pt x="42" y="185"/>
                      </a:moveTo>
                      <a:lnTo>
                        <a:pt x="41" y="185"/>
                      </a:lnTo>
                      <a:lnTo>
                        <a:pt x="41" y="185"/>
                      </a:lnTo>
                      <a:lnTo>
                        <a:pt x="42" y="185"/>
                      </a:lnTo>
                      <a:lnTo>
                        <a:pt x="42" y="185"/>
                      </a:lnTo>
                      <a:close/>
                      <a:moveTo>
                        <a:pt x="11" y="174"/>
                      </a:moveTo>
                      <a:lnTo>
                        <a:pt x="10" y="174"/>
                      </a:lnTo>
                      <a:lnTo>
                        <a:pt x="8" y="175"/>
                      </a:lnTo>
                      <a:lnTo>
                        <a:pt x="8" y="175"/>
                      </a:lnTo>
                      <a:lnTo>
                        <a:pt x="6" y="175"/>
                      </a:lnTo>
                      <a:lnTo>
                        <a:pt x="4" y="177"/>
                      </a:lnTo>
                      <a:lnTo>
                        <a:pt x="1" y="177"/>
                      </a:lnTo>
                      <a:lnTo>
                        <a:pt x="0" y="174"/>
                      </a:lnTo>
                      <a:lnTo>
                        <a:pt x="1" y="175"/>
                      </a:lnTo>
                      <a:lnTo>
                        <a:pt x="3" y="175"/>
                      </a:lnTo>
                      <a:lnTo>
                        <a:pt x="4" y="175"/>
                      </a:lnTo>
                      <a:lnTo>
                        <a:pt x="5" y="175"/>
                      </a:lnTo>
                      <a:lnTo>
                        <a:pt x="6" y="175"/>
                      </a:lnTo>
                      <a:lnTo>
                        <a:pt x="6" y="175"/>
                      </a:lnTo>
                      <a:lnTo>
                        <a:pt x="7" y="174"/>
                      </a:lnTo>
                      <a:lnTo>
                        <a:pt x="7" y="174"/>
                      </a:lnTo>
                      <a:lnTo>
                        <a:pt x="8" y="174"/>
                      </a:lnTo>
                      <a:lnTo>
                        <a:pt x="8" y="174"/>
                      </a:lnTo>
                      <a:lnTo>
                        <a:pt x="8" y="174"/>
                      </a:lnTo>
                      <a:lnTo>
                        <a:pt x="8" y="174"/>
                      </a:lnTo>
                      <a:lnTo>
                        <a:pt x="8" y="174"/>
                      </a:lnTo>
                      <a:lnTo>
                        <a:pt x="8" y="174"/>
                      </a:lnTo>
                      <a:lnTo>
                        <a:pt x="8" y="174"/>
                      </a:lnTo>
                      <a:lnTo>
                        <a:pt x="8" y="173"/>
                      </a:lnTo>
                      <a:lnTo>
                        <a:pt x="8" y="173"/>
                      </a:lnTo>
                      <a:lnTo>
                        <a:pt x="10" y="173"/>
                      </a:lnTo>
                      <a:lnTo>
                        <a:pt x="11" y="174"/>
                      </a:lnTo>
                      <a:lnTo>
                        <a:pt x="11" y="174"/>
                      </a:lnTo>
                      <a:lnTo>
                        <a:pt x="11" y="174"/>
                      </a:lnTo>
                      <a:close/>
                      <a:moveTo>
                        <a:pt x="7" y="173"/>
                      </a:moveTo>
                      <a:lnTo>
                        <a:pt x="7" y="173"/>
                      </a:lnTo>
                      <a:lnTo>
                        <a:pt x="6" y="173"/>
                      </a:lnTo>
                      <a:lnTo>
                        <a:pt x="5" y="173"/>
                      </a:lnTo>
                      <a:lnTo>
                        <a:pt x="5" y="173"/>
                      </a:lnTo>
                      <a:lnTo>
                        <a:pt x="4" y="173"/>
                      </a:lnTo>
                      <a:lnTo>
                        <a:pt x="4" y="173"/>
                      </a:lnTo>
                      <a:lnTo>
                        <a:pt x="3" y="173"/>
                      </a:lnTo>
                      <a:lnTo>
                        <a:pt x="3" y="173"/>
                      </a:lnTo>
                      <a:lnTo>
                        <a:pt x="3" y="173"/>
                      </a:lnTo>
                      <a:lnTo>
                        <a:pt x="3" y="173"/>
                      </a:lnTo>
                      <a:lnTo>
                        <a:pt x="3" y="173"/>
                      </a:lnTo>
                      <a:lnTo>
                        <a:pt x="3" y="173"/>
                      </a:lnTo>
                      <a:lnTo>
                        <a:pt x="3" y="173"/>
                      </a:lnTo>
                      <a:lnTo>
                        <a:pt x="3" y="173"/>
                      </a:lnTo>
                      <a:lnTo>
                        <a:pt x="4" y="173"/>
                      </a:lnTo>
                      <a:lnTo>
                        <a:pt x="5" y="173"/>
                      </a:lnTo>
                      <a:lnTo>
                        <a:pt x="6" y="173"/>
                      </a:lnTo>
                      <a:lnTo>
                        <a:pt x="7" y="173"/>
                      </a:lnTo>
                      <a:close/>
                      <a:moveTo>
                        <a:pt x="319" y="108"/>
                      </a:moveTo>
                      <a:lnTo>
                        <a:pt x="318" y="109"/>
                      </a:lnTo>
                      <a:lnTo>
                        <a:pt x="318" y="107"/>
                      </a:lnTo>
                      <a:lnTo>
                        <a:pt x="319" y="107"/>
                      </a:lnTo>
                      <a:lnTo>
                        <a:pt x="319" y="107"/>
                      </a:lnTo>
                      <a:lnTo>
                        <a:pt x="319" y="107"/>
                      </a:lnTo>
                      <a:lnTo>
                        <a:pt x="319" y="108"/>
                      </a:lnTo>
                      <a:close/>
                      <a:moveTo>
                        <a:pt x="207" y="101"/>
                      </a:moveTo>
                      <a:lnTo>
                        <a:pt x="207" y="101"/>
                      </a:lnTo>
                      <a:lnTo>
                        <a:pt x="207" y="101"/>
                      </a:lnTo>
                      <a:lnTo>
                        <a:pt x="207" y="101"/>
                      </a:lnTo>
                      <a:lnTo>
                        <a:pt x="207" y="101"/>
                      </a:lnTo>
                      <a:lnTo>
                        <a:pt x="207" y="101"/>
                      </a:lnTo>
                      <a:close/>
                      <a:moveTo>
                        <a:pt x="291" y="67"/>
                      </a:moveTo>
                      <a:lnTo>
                        <a:pt x="291" y="67"/>
                      </a:lnTo>
                      <a:lnTo>
                        <a:pt x="291" y="66"/>
                      </a:lnTo>
                      <a:lnTo>
                        <a:pt x="291" y="66"/>
                      </a:lnTo>
                      <a:lnTo>
                        <a:pt x="291" y="67"/>
                      </a:lnTo>
                      <a:close/>
                      <a:moveTo>
                        <a:pt x="227" y="52"/>
                      </a:moveTo>
                      <a:lnTo>
                        <a:pt x="227" y="52"/>
                      </a:lnTo>
                      <a:lnTo>
                        <a:pt x="227" y="52"/>
                      </a:lnTo>
                      <a:lnTo>
                        <a:pt x="227" y="52"/>
                      </a:lnTo>
                      <a:lnTo>
                        <a:pt x="227" y="52"/>
                      </a:lnTo>
                      <a:lnTo>
                        <a:pt x="227" y="52"/>
                      </a:lnTo>
                      <a:lnTo>
                        <a:pt x="227" y="52"/>
                      </a:lnTo>
                      <a:close/>
                      <a:moveTo>
                        <a:pt x="292" y="28"/>
                      </a:moveTo>
                      <a:lnTo>
                        <a:pt x="292" y="28"/>
                      </a:lnTo>
                      <a:lnTo>
                        <a:pt x="292" y="28"/>
                      </a:lnTo>
                      <a:lnTo>
                        <a:pt x="292" y="28"/>
                      </a:lnTo>
                      <a:lnTo>
                        <a:pt x="292" y="28"/>
                      </a:lnTo>
                      <a:lnTo>
                        <a:pt x="292" y="28"/>
                      </a:lnTo>
                      <a:lnTo>
                        <a:pt x="292" y="28"/>
                      </a:lnTo>
                      <a:lnTo>
                        <a:pt x="292" y="28"/>
                      </a:lnTo>
                      <a:lnTo>
                        <a:pt x="292" y="28"/>
                      </a:lnTo>
                      <a:lnTo>
                        <a:pt x="292" y="28"/>
                      </a:lnTo>
                      <a:lnTo>
                        <a:pt x="292" y="28"/>
                      </a:lnTo>
                      <a:lnTo>
                        <a:pt x="292" y="28"/>
                      </a:lnTo>
                      <a:lnTo>
                        <a:pt x="292" y="28"/>
                      </a:lnTo>
                      <a:close/>
                      <a:moveTo>
                        <a:pt x="291" y="28"/>
                      </a:moveTo>
                      <a:lnTo>
                        <a:pt x="291" y="28"/>
                      </a:lnTo>
                      <a:lnTo>
                        <a:pt x="291" y="28"/>
                      </a:lnTo>
                      <a:lnTo>
                        <a:pt x="291" y="28"/>
                      </a:lnTo>
                      <a:lnTo>
                        <a:pt x="291" y="28"/>
                      </a:lnTo>
                      <a:lnTo>
                        <a:pt x="291" y="28"/>
                      </a:lnTo>
                      <a:lnTo>
                        <a:pt x="291" y="28"/>
                      </a:lnTo>
                      <a:lnTo>
                        <a:pt x="291" y="28"/>
                      </a:lnTo>
                      <a:lnTo>
                        <a:pt x="291" y="28"/>
                      </a:lnTo>
                      <a:lnTo>
                        <a:pt x="291" y="28"/>
                      </a:lnTo>
                      <a:close/>
                      <a:moveTo>
                        <a:pt x="296" y="27"/>
                      </a:moveTo>
                      <a:lnTo>
                        <a:pt x="296" y="27"/>
                      </a:lnTo>
                      <a:lnTo>
                        <a:pt x="296" y="27"/>
                      </a:lnTo>
                      <a:lnTo>
                        <a:pt x="296" y="27"/>
                      </a:lnTo>
                      <a:lnTo>
                        <a:pt x="296" y="27"/>
                      </a:lnTo>
                      <a:lnTo>
                        <a:pt x="296" y="27"/>
                      </a:lnTo>
                      <a:lnTo>
                        <a:pt x="296" y="27"/>
                      </a:lnTo>
                      <a:lnTo>
                        <a:pt x="296" y="27"/>
                      </a:lnTo>
                      <a:lnTo>
                        <a:pt x="296" y="27"/>
                      </a:lnTo>
                      <a:lnTo>
                        <a:pt x="296" y="27"/>
                      </a:lnTo>
                      <a:lnTo>
                        <a:pt x="296" y="27"/>
                      </a:lnTo>
                      <a:lnTo>
                        <a:pt x="296" y="27"/>
                      </a:lnTo>
                      <a:lnTo>
                        <a:pt x="296" y="27"/>
                      </a:lnTo>
                      <a:close/>
                      <a:moveTo>
                        <a:pt x="296" y="27"/>
                      </a:moveTo>
                      <a:lnTo>
                        <a:pt x="296" y="27"/>
                      </a:lnTo>
                      <a:lnTo>
                        <a:pt x="296" y="27"/>
                      </a:lnTo>
                      <a:lnTo>
                        <a:pt x="296" y="27"/>
                      </a:lnTo>
                      <a:lnTo>
                        <a:pt x="296" y="27"/>
                      </a:lnTo>
                      <a:lnTo>
                        <a:pt x="296" y="27"/>
                      </a:lnTo>
                      <a:lnTo>
                        <a:pt x="296" y="27"/>
                      </a:lnTo>
                      <a:lnTo>
                        <a:pt x="296" y="27"/>
                      </a:lnTo>
                      <a:lnTo>
                        <a:pt x="296" y="27"/>
                      </a:lnTo>
                      <a:lnTo>
                        <a:pt x="296" y="27"/>
                      </a:lnTo>
                      <a:close/>
                      <a:moveTo>
                        <a:pt x="296" y="26"/>
                      </a:moveTo>
                      <a:lnTo>
                        <a:pt x="296" y="26"/>
                      </a:lnTo>
                      <a:lnTo>
                        <a:pt x="296" y="26"/>
                      </a:lnTo>
                      <a:lnTo>
                        <a:pt x="296" y="26"/>
                      </a:lnTo>
                      <a:lnTo>
                        <a:pt x="296" y="26"/>
                      </a:lnTo>
                      <a:lnTo>
                        <a:pt x="296" y="27"/>
                      </a:lnTo>
                      <a:lnTo>
                        <a:pt x="296" y="27"/>
                      </a:lnTo>
                      <a:lnTo>
                        <a:pt x="296" y="27"/>
                      </a:lnTo>
                      <a:lnTo>
                        <a:pt x="296" y="27"/>
                      </a:lnTo>
                      <a:lnTo>
                        <a:pt x="296" y="27"/>
                      </a:lnTo>
                      <a:lnTo>
                        <a:pt x="296" y="26"/>
                      </a:lnTo>
                      <a:lnTo>
                        <a:pt x="296" y="26"/>
                      </a:lnTo>
                      <a:lnTo>
                        <a:pt x="296" y="26"/>
                      </a:lnTo>
                      <a:lnTo>
                        <a:pt x="296" y="26"/>
                      </a:lnTo>
                      <a:lnTo>
                        <a:pt x="296" y="26"/>
                      </a:lnTo>
                      <a:close/>
                      <a:moveTo>
                        <a:pt x="310" y="26"/>
                      </a:moveTo>
                      <a:lnTo>
                        <a:pt x="310" y="26"/>
                      </a:lnTo>
                      <a:lnTo>
                        <a:pt x="310" y="26"/>
                      </a:lnTo>
                      <a:lnTo>
                        <a:pt x="310" y="26"/>
                      </a:lnTo>
                      <a:lnTo>
                        <a:pt x="310" y="26"/>
                      </a:lnTo>
                      <a:lnTo>
                        <a:pt x="310" y="26"/>
                      </a:lnTo>
                      <a:lnTo>
                        <a:pt x="310" y="26"/>
                      </a:lnTo>
                      <a:lnTo>
                        <a:pt x="310" y="26"/>
                      </a:lnTo>
                      <a:lnTo>
                        <a:pt x="310" y="26"/>
                      </a:lnTo>
                      <a:lnTo>
                        <a:pt x="310" y="26"/>
                      </a:lnTo>
                      <a:close/>
                      <a:moveTo>
                        <a:pt x="295" y="27"/>
                      </a:moveTo>
                      <a:lnTo>
                        <a:pt x="295" y="27"/>
                      </a:lnTo>
                      <a:lnTo>
                        <a:pt x="295" y="27"/>
                      </a:lnTo>
                      <a:lnTo>
                        <a:pt x="295" y="27"/>
                      </a:lnTo>
                      <a:lnTo>
                        <a:pt x="296" y="28"/>
                      </a:lnTo>
                      <a:lnTo>
                        <a:pt x="296" y="28"/>
                      </a:lnTo>
                      <a:lnTo>
                        <a:pt x="297" y="28"/>
                      </a:lnTo>
                      <a:lnTo>
                        <a:pt x="296" y="30"/>
                      </a:lnTo>
                      <a:lnTo>
                        <a:pt x="296" y="30"/>
                      </a:lnTo>
                      <a:lnTo>
                        <a:pt x="297" y="31"/>
                      </a:lnTo>
                      <a:lnTo>
                        <a:pt x="296" y="31"/>
                      </a:lnTo>
                      <a:lnTo>
                        <a:pt x="296" y="31"/>
                      </a:lnTo>
                      <a:lnTo>
                        <a:pt x="296" y="32"/>
                      </a:lnTo>
                      <a:lnTo>
                        <a:pt x="296" y="32"/>
                      </a:lnTo>
                      <a:lnTo>
                        <a:pt x="297" y="32"/>
                      </a:lnTo>
                      <a:lnTo>
                        <a:pt x="297" y="33"/>
                      </a:lnTo>
                      <a:lnTo>
                        <a:pt x="296" y="33"/>
                      </a:lnTo>
                      <a:lnTo>
                        <a:pt x="296" y="33"/>
                      </a:lnTo>
                      <a:lnTo>
                        <a:pt x="296" y="32"/>
                      </a:lnTo>
                      <a:lnTo>
                        <a:pt x="295" y="32"/>
                      </a:lnTo>
                      <a:lnTo>
                        <a:pt x="295" y="32"/>
                      </a:lnTo>
                      <a:lnTo>
                        <a:pt x="295" y="32"/>
                      </a:lnTo>
                      <a:lnTo>
                        <a:pt x="295" y="32"/>
                      </a:lnTo>
                      <a:lnTo>
                        <a:pt x="295" y="31"/>
                      </a:lnTo>
                      <a:lnTo>
                        <a:pt x="295" y="31"/>
                      </a:lnTo>
                      <a:lnTo>
                        <a:pt x="296" y="31"/>
                      </a:lnTo>
                      <a:lnTo>
                        <a:pt x="295" y="31"/>
                      </a:lnTo>
                      <a:lnTo>
                        <a:pt x="295" y="31"/>
                      </a:lnTo>
                      <a:lnTo>
                        <a:pt x="295" y="30"/>
                      </a:lnTo>
                      <a:lnTo>
                        <a:pt x="295" y="30"/>
                      </a:lnTo>
                      <a:lnTo>
                        <a:pt x="295" y="30"/>
                      </a:lnTo>
                      <a:lnTo>
                        <a:pt x="295" y="30"/>
                      </a:lnTo>
                      <a:lnTo>
                        <a:pt x="293" y="28"/>
                      </a:lnTo>
                      <a:lnTo>
                        <a:pt x="293" y="28"/>
                      </a:lnTo>
                      <a:lnTo>
                        <a:pt x="293" y="28"/>
                      </a:lnTo>
                      <a:lnTo>
                        <a:pt x="292" y="28"/>
                      </a:lnTo>
                      <a:lnTo>
                        <a:pt x="292" y="28"/>
                      </a:lnTo>
                      <a:lnTo>
                        <a:pt x="292" y="28"/>
                      </a:lnTo>
                      <a:lnTo>
                        <a:pt x="292" y="28"/>
                      </a:lnTo>
                      <a:lnTo>
                        <a:pt x="292" y="28"/>
                      </a:lnTo>
                      <a:lnTo>
                        <a:pt x="292" y="28"/>
                      </a:lnTo>
                      <a:lnTo>
                        <a:pt x="292" y="28"/>
                      </a:lnTo>
                      <a:lnTo>
                        <a:pt x="292" y="28"/>
                      </a:lnTo>
                      <a:lnTo>
                        <a:pt x="291" y="28"/>
                      </a:lnTo>
                      <a:lnTo>
                        <a:pt x="291" y="27"/>
                      </a:lnTo>
                      <a:lnTo>
                        <a:pt x="291" y="27"/>
                      </a:lnTo>
                      <a:lnTo>
                        <a:pt x="291" y="27"/>
                      </a:lnTo>
                      <a:lnTo>
                        <a:pt x="291" y="27"/>
                      </a:lnTo>
                      <a:lnTo>
                        <a:pt x="291" y="27"/>
                      </a:lnTo>
                      <a:lnTo>
                        <a:pt x="292" y="27"/>
                      </a:lnTo>
                      <a:lnTo>
                        <a:pt x="292" y="27"/>
                      </a:lnTo>
                      <a:lnTo>
                        <a:pt x="292" y="27"/>
                      </a:lnTo>
                      <a:lnTo>
                        <a:pt x="293" y="27"/>
                      </a:lnTo>
                      <a:lnTo>
                        <a:pt x="293" y="26"/>
                      </a:lnTo>
                      <a:lnTo>
                        <a:pt x="293" y="26"/>
                      </a:lnTo>
                      <a:lnTo>
                        <a:pt x="293" y="26"/>
                      </a:lnTo>
                      <a:lnTo>
                        <a:pt x="293" y="26"/>
                      </a:lnTo>
                      <a:lnTo>
                        <a:pt x="293" y="25"/>
                      </a:lnTo>
                      <a:lnTo>
                        <a:pt x="293" y="25"/>
                      </a:lnTo>
                      <a:lnTo>
                        <a:pt x="293" y="25"/>
                      </a:lnTo>
                      <a:lnTo>
                        <a:pt x="295" y="25"/>
                      </a:lnTo>
                      <a:lnTo>
                        <a:pt x="295" y="26"/>
                      </a:lnTo>
                      <a:lnTo>
                        <a:pt x="295" y="26"/>
                      </a:lnTo>
                      <a:lnTo>
                        <a:pt x="295" y="26"/>
                      </a:lnTo>
                      <a:lnTo>
                        <a:pt x="295" y="26"/>
                      </a:lnTo>
                      <a:lnTo>
                        <a:pt x="295" y="26"/>
                      </a:lnTo>
                      <a:lnTo>
                        <a:pt x="295" y="27"/>
                      </a:lnTo>
                      <a:lnTo>
                        <a:pt x="295" y="27"/>
                      </a:lnTo>
                      <a:lnTo>
                        <a:pt x="295" y="27"/>
                      </a:lnTo>
                      <a:close/>
                      <a:moveTo>
                        <a:pt x="288" y="24"/>
                      </a:moveTo>
                      <a:lnTo>
                        <a:pt x="288" y="24"/>
                      </a:lnTo>
                      <a:lnTo>
                        <a:pt x="286" y="23"/>
                      </a:lnTo>
                      <a:lnTo>
                        <a:pt x="286" y="21"/>
                      </a:lnTo>
                      <a:lnTo>
                        <a:pt x="286" y="21"/>
                      </a:lnTo>
                      <a:lnTo>
                        <a:pt x="288" y="21"/>
                      </a:lnTo>
                      <a:lnTo>
                        <a:pt x="288" y="23"/>
                      </a:lnTo>
                      <a:lnTo>
                        <a:pt x="289" y="23"/>
                      </a:lnTo>
                      <a:lnTo>
                        <a:pt x="288" y="24"/>
                      </a:lnTo>
                      <a:close/>
                      <a:moveTo>
                        <a:pt x="300" y="19"/>
                      </a:moveTo>
                      <a:lnTo>
                        <a:pt x="300" y="19"/>
                      </a:lnTo>
                      <a:lnTo>
                        <a:pt x="300" y="19"/>
                      </a:lnTo>
                      <a:lnTo>
                        <a:pt x="300" y="19"/>
                      </a:lnTo>
                      <a:lnTo>
                        <a:pt x="300" y="19"/>
                      </a:lnTo>
                      <a:lnTo>
                        <a:pt x="300" y="19"/>
                      </a:lnTo>
                      <a:close/>
                      <a:moveTo>
                        <a:pt x="306" y="19"/>
                      </a:moveTo>
                      <a:lnTo>
                        <a:pt x="306" y="20"/>
                      </a:lnTo>
                      <a:lnTo>
                        <a:pt x="306" y="20"/>
                      </a:lnTo>
                      <a:lnTo>
                        <a:pt x="306" y="19"/>
                      </a:lnTo>
                      <a:lnTo>
                        <a:pt x="306" y="19"/>
                      </a:lnTo>
                      <a:lnTo>
                        <a:pt x="306" y="19"/>
                      </a:lnTo>
                      <a:lnTo>
                        <a:pt x="306" y="18"/>
                      </a:lnTo>
                      <a:lnTo>
                        <a:pt x="306" y="18"/>
                      </a:lnTo>
                      <a:lnTo>
                        <a:pt x="306" y="19"/>
                      </a:lnTo>
                      <a:lnTo>
                        <a:pt x="307" y="19"/>
                      </a:lnTo>
                      <a:lnTo>
                        <a:pt x="306" y="19"/>
                      </a:lnTo>
                      <a:lnTo>
                        <a:pt x="306" y="19"/>
                      </a:lnTo>
                      <a:close/>
                      <a:moveTo>
                        <a:pt x="309" y="19"/>
                      </a:moveTo>
                      <a:lnTo>
                        <a:pt x="309" y="19"/>
                      </a:lnTo>
                      <a:lnTo>
                        <a:pt x="309" y="19"/>
                      </a:lnTo>
                      <a:lnTo>
                        <a:pt x="309" y="18"/>
                      </a:lnTo>
                      <a:lnTo>
                        <a:pt x="309" y="18"/>
                      </a:lnTo>
                      <a:lnTo>
                        <a:pt x="309" y="18"/>
                      </a:lnTo>
                      <a:lnTo>
                        <a:pt x="309" y="19"/>
                      </a:lnTo>
                      <a:close/>
                      <a:moveTo>
                        <a:pt x="300" y="18"/>
                      </a:moveTo>
                      <a:lnTo>
                        <a:pt x="300" y="18"/>
                      </a:lnTo>
                      <a:lnTo>
                        <a:pt x="300" y="18"/>
                      </a:lnTo>
                      <a:lnTo>
                        <a:pt x="300" y="18"/>
                      </a:lnTo>
                      <a:lnTo>
                        <a:pt x="300" y="18"/>
                      </a:lnTo>
                      <a:lnTo>
                        <a:pt x="300" y="18"/>
                      </a:lnTo>
                      <a:close/>
                      <a:moveTo>
                        <a:pt x="307" y="18"/>
                      </a:moveTo>
                      <a:lnTo>
                        <a:pt x="307" y="18"/>
                      </a:lnTo>
                      <a:lnTo>
                        <a:pt x="307" y="18"/>
                      </a:lnTo>
                      <a:lnTo>
                        <a:pt x="307" y="18"/>
                      </a:lnTo>
                      <a:lnTo>
                        <a:pt x="307" y="18"/>
                      </a:lnTo>
                      <a:lnTo>
                        <a:pt x="307" y="18"/>
                      </a:lnTo>
                      <a:lnTo>
                        <a:pt x="307" y="18"/>
                      </a:lnTo>
                      <a:lnTo>
                        <a:pt x="307" y="18"/>
                      </a:lnTo>
                      <a:close/>
                      <a:moveTo>
                        <a:pt x="304" y="18"/>
                      </a:moveTo>
                      <a:lnTo>
                        <a:pt x="304" y="18"/>
                      </a:lnTo>
                      <a:lnTo>
                        <a:pt x="304" y="18"/>
                      </a:lnTo>
                      <a:lnTo>
                        <a:pt x="304" y="18"/>
                      </a:lnTo>
                      <a:lnTo>
                        <a:pt x="305" y="18"/>
                      </a:lnTo>
                      <a:lnTo>
                        <a:pt x="304" y="18"/>
                      </a:lnTo>
                      <a:lnTo>
                        <a:pt x="304" y="18"/>
                      </a:lnTo>
                      <a:lnTo>
                        <a:pt x="304" y="19"/>
                      </a:lnTo>
                      <a:lnTo>
                        <a:pt x="304" y="19"/>
                      </a:lnTo>
                      <a:lnTo>
                        <a:pt x="304" y="19"/>
                      </a:lnTo>
                      <a:lnTo>
                        <a:pt x="303" y="19"/>
                      </a:lnTo>
                      <a:lnTo>
                        <a:pt x="303" y="18"/>
                      </a:lnTo>
                      <a:lnTo>
                        <a:pt x="303" y="18"/>
                      </a:lnTo>
                      <a:lnTo>
                        <a:pt x="302" y="18"/>
                      </a:lnTo>
                      <a:lnTo>
                        <a:pt x="302" y="18"/>
                      </a:lnTo>
                      <a:lnTo>
                        <a:pt x="302" y="18"/>
                      </a:lnTo>
                      <a:lnTo>
                        <a:pt x="302" y="18"/>
                      </a:lnTo>
                      <a:lnTo>
                        <a:pt x="302" y="17"/>
                      </a:lnTo>
                      <a:lnTo>
                        <a:pt x="302" y="17"/>
                      </a:lnTo>
                      <a:lnTo>
                        <a:pt x="302" y="17"/>
                      </a:lnTo>
                      <a:lnTo>
                        <a:pt x="302" y="17"/>
                      </a:lnTo>
                      <a:lnTo>
                        <a:pt x="303" y="17"/>
                      </a:lnTo>
                      <a:lnTo>
                        <a:pt x="303" y="18"/>
                      </a:lnTo>
                      <a:lnTo>
                        <a:pt x="304" y="18"/>
                      </a:lnTo>
                      <a:close/>
                      <a:moveTo>
                        <a:pt x="307" y="17"/>
                      </a:moveTo>
                      <a:lnTo>
                        <a:pt x="307" y="17"/>
                      </a:lnTo>
                      <a:lnTo>
                        <a:pt x="307" y="17"/>
                      </a:lnTo>
                      <a:lnTo>
                        <a:pt x="307" y="17"/>
                      </a:lnTo>
                      <a:lnTo>
                        <a:pt x="307" y="17"/>
                      </a:lnTo>
                      <a:lnTo>
                        <a:pt x="307" y="17"/>
                      </a:lnTo>
                      <a:lnTo>
                        <a:pt x="307" y="17"/>
                      </a:lnTo>
                      <a:close/>
                      <a:moveTo>
                        <a:pt x="303" y="17"/>
                      </a:moveTo>
                      <a:lnTo>
                        <a:pt x="303" y="17"/>
                      </a:lnTo>
                      <a:lnTo>
                        <a:pt x="303" y="17"/>
                      </a:lnTo>
                      <a:lnTo>
                        <a:pt x="303" y="17"/>
                      </a:lnTo>
                      <a:lnTo>
                        <a:pt x="303" y="17"/>
                      </a:lnTo>
                      <a:lnTo>
                        <a:pt x="303" y="17"/>
                      </a:lnTo>
                      <a:lnTo>
                        <a:pt x="303" y="17"/>
                      </a:lnTo>
                      <a:lnTo>
                        <a:pt x="304" y="17"/>
                      </a:lnTo>
                      <a:lnTo>
                        <a:pt x="303" y="17"/>
                      </a:lnTo>
                      <a:lnTo>
                        <a:pt x="303" y="17"/>
                      </a:lnTo>
                      <a:lnTo>
                        <a:pt x="303" y="17"/>
                      </a:lnTo>
                      <a:close/>
                      <a:moveTo>
                        <a:pt x="302" y="14"/>
                      </a:moveTo>
                      <a:lnTo>
                        <a:pt x="302" y="14"/>
                      </a:lnTo>
                      <a:lnTo>
                        <a:pt x="300" y="14"/>
                      </a:lnTo>
                      <a:lnTo>
                        <a:pt x="300" y="14"/>
                      </a:lnTo>
                      <a:lnTo>
                        <a:pt x="300" y="14"/>
                      </a:lnTo>
                      <a:lnTo>
                        <a:pt x="300" y="14"/>
                      </a:lnTo>
                      <a:lnTo>
                        <a:pt x="302" y="14"/>
                      </a:lnTo>
                      <a:lnTo>
                        <a:pt x="302" y="14"/>
                      </a:lnTo>
                      <a:close/>
                      <a:moveTo>
                        <a:pt x="300" y="0"/>
                      </a:moveTo>
                      <a:lnTo>
                        <a:pt x="302" y="2"/>
                      </a:lnTo>
                      <a:lnTo>
                        <a:pt x="300" y="2"/>
                      </a:lnTo>
                      <a:lnTo>
                        <a:pt x="300" y="2"/>
                      </a:lnTo>
                      <a:lnTo>
                        <a:pt x="30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7" name="Freeform 127">
                  <a:extLst>
                    <a:ext uri="{FF2B5EF4-FFF2-40B4-BE49-F238E27FC236}">
                      <a16:creationId xmlns:a16="http://schemas.microsoft.com/office/drawing/2014/main" id="{C17FD992-74BE-7020-65DC-56478BEB735C}"/>
                    </a:ext>
                  </a:extLst>
                </p:cNvPr>
                <p:cNvSpPr>
                  <a:spLocks/>
                </p:cNvSpPr>
                <p:nvPr/>
              </p:nvSpPr>
              <p:spPr bwMode="auto">
                <a:xfrm>
                  <a:off x="7564416" y="4339516"/>
                  <a:ext cx="1525" cy="4572"/>
                </a:xfrm>
                <a:custGeom>
                  <a:avLst/>
                  <a:gdLst>
                    <a:gd name="T0" fmla="*/ 0 w 1"/>
                    <a:gd name="T1" fmla="*/ 3 h 3"/>
                    <a:gd name="T2" fmla="*/ 0 w 1"/>
                    <a:gd name="T3" fmla="*/ 3 h 3"/>
                    <a:gd name="T4" fmla="*/ 0 w 1"/>
                    <a:gd name="T5" fmla="*/ 0 h 3"/>
                    <a:gd name="T6" fmla="*/ 0 w 1"/>
                    <a:gd name="T7" fmla="*/ 0 h 3"/>
                    <a:gd name="T8" fmla="*/ 0 w 1"/>
                    <a:gd name="T9" fmla="*/ 0 h 3"/>
                    <a:gd name="T10" fmla="*/ 1 w 1"/>
                    <a:gd name="T11" fmla="*/ 0 h 3"/>
                    <a:gd name="T12" fmla="*/ 1 w 1"/>
                    <a:gd name="T13" fmla="*/ 2 h 3"/>
                    <a:gd name="T14" fmla="*/ 0 w 1"/>
                    <a:gd name="T15" fmla="*/ 2 h 3"/>
                    <a:gd name="T16" fmla="*/ 0 w 1"/>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3">
                      <a:moveTo>
                        <a:pt x="0" y="3"/>
                      </a:moveTo>
                      <a:lnTo>
                        <a:pt x="0" y="3"/>
                      </a:lnTo>
                      <a:lnTo>
                        <a:pt x="0" y="0"/>
                      </a:lnTo>
                      <a:lnTo>
                        <a:pt x="0" y="0"/>
                      </a:lnTo>
                      <a:lnTo>
                        <a:pt x="0" y="0"/>
                      </a:lnTo>
                      <a:lnTo>
                        <a:pt x="1" y="0"/>
                      </a:lnTo>
                      <a:lnTo>
                        <a:pt x="1" y="2"/>
                      </a:lnTo>
                      <a:lnTo>
                        <a:pt x="0" y="2"/>
                      </a:lnTo>
                      <a:lnTo>
                        <a:pt x="0"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9" name="Freeform 128">
                  <a:extLst>
                    <a:ext uri="{FF2B5EF4-FFF2-40B4-BE49-F238E27FC236}">
                      <a16:creationId xmlns:a16="http://schemas.microsoft.com/office/drawing/2014/main" id="{8343562B-5B64-F4E7-36C1-96F98B7A01CB}"/>
                    </a:ext>
                  </a:extLst>
                </p:cNvPr>
                <p:cNvSpPr>
                  <a:spLocks/>
                </p:cNvSpPr>
                <p:nvPr/>
              </p:nvSpPr>
              <p:spPr bwMode="auto">
                <a:xfrm>
                  <a:off x="7553749" y="4334945"/>
                  <a:ext cx="9144" cy="18287"/>
                </a:xfrm>
                <a:custGeom>
                  <a:avLst/>
                  <a:gdLst>
                    <a:gd name="T0" fmla="*/ 1 w 6"/>
                    <a:gd name="T1" fmla="*/ 1 h 12"/>
                    <a:gd name="T2" fmla="*/ 1 w 6"/>
                    <a:gd name="T3" fmla="*/ 1 h 12"/>
                    <a:gd name="T4" fmla="*/ 1 w 6"/>
                    <a:gd name="T5" fmla="*/ 1 h 12"/>
                    <a:gd name="T6" fmla="*/ 2 w 6"/>
                    <a:gd name="T7" fmla="*/ 2 h 12"/>
                    <a:gd name="T8" fmla="*/ 3 w 6"/>
                    <a:gd name="T9" fmla="*/ 2 h 12"/>
                    <a:gd name="T10" fmla="*/ 5 w 6"/>
                    <a:gd name="T11" fmla="*/ 2 h 12"/>
                    <a:gd name="T12" fmla="*/ 6 w 6"/>
                    <a:gd name="T13" fmla="*/ 3 h 12"/>
                    <a:gd name="T14" fmla="*/ 6 w 6"/>
                    <a:gd name="T15" fmla="*/ 5 h 12"/>
                    <a:gd name="T16" fmla="*/ 5 w 6"/>
                    <a:gd name="T17" fmla="*/ 6 h 12"/>
                    <a:gd name="T18" fmla="*/ 5 w 6"/>
                    <a:gd name="T19" fmla="*/ 7 h 12"/>
                    <a:gd name="T20" fmla="*/ 5 w 6"/>
                    <a:gd name="T21" fmla="*/ 7 h 12"/>
                    <a:gd name="T22" fmla="*/ 5 w 6"/>
                    <a:gd name="T23" fmla="*/ 8 h 12"/>
                    <a:gd name="T24" fmla="*/ 3 w 6"/>
                    <a:gd name="T25" fmla="*/ 9 h 12"/>
                    <a:gd name="T26" fmla="*/ 5 w 6"/>
                    <a:gd name="T27" fmla="*/ 10 h 12"/>
                    <a:gd name="T28" fmla="*/ 3 w 6"/>
                    <a:gd name="T29" fmla="*/ 10 h 12"/>
                    <a:gd name="T30" fmla="*/ 3 w 6"/>
                    <a:gd name="T31" fmla="*/ 12 h 12"/>
                    <a:gd name="T32" fmla="*/ 3 w 6"/>
                    <a:gd name="T33" fmla="*/ 10 h 12"/>
                    <a:gd name="T34" fmla="*/ 2 w 6"/>
                    <a:gd name="T35" fmla="*/ 12 h 12"/>
                    <a:gd name="T36" fmla="*/ 2 w 6"/>
                    <a:gd name="T37" fmla="*/ 10 h 12"/>
                    <a:gd name="T38" fmla="*/ 1 w 6"/>
                    <a:gd name="T39" fmla="*/ 10 h 12"/>
                    <a:gd name="T40" fmla="*/ 1 w 6"/>
                    <a:gd name="T41" fmla="*/ 10 h 12"/>
                    <a:gd name="T42" fmla="*/ 1 w 6"/>
                    <a:gd name="T43" fmla="*/ 10 h 12"/>
                    <a:gd name="T44" fmla="*/ 1 w 6"/>
                    <a:gd name="T45" fmla="*/ 9 h 12"/>
                    <a:gd name="T46" fmla="*/ 1 w 6"/>
                    <a:gd name="T47" fmla="*/ 8 h 12"/>
                    <a:gd name="T48" fmla="*/ 0 w 6"/>
                    <a:gd name="T49" fmla="*/ 8 h 12"/>
                    <a:gd name="T50" fmla="*/ 1 w 6"/>
                    <a:gd name="T51" fmla="*/ 8 h 12"/>
                    <a:gd name="T52" fmla="*/ 2 w 6"/>
                    <a:gd name="T53" fmla="*/ 9 h 12"/>
                    <a:gd name="T54" fmla="*/ 2 w 6"/>
                    <a:gd name="T55" fmla="*/ 9 h 12"/>
                    <a:gd name="T56" fmla="*/ 2 w 6"/>
                    <a:gd name="T57" fmla="*/ 8 h 12"/>
                    <a:gd name="T58" fmla="*/ 2 w 6"/>
                    <a:gd name="T59" fmla="*/ 7 h 12"/>
                    <a:gd name="T60" fmla="*/ 1 w 6"/>
                    <a:gd name="T61" fmla="*/ 6 h 12"/>
                    <a:gd name="T62" fmla="*/ 1 w 6"/>
                    <a:gd name="T63" fmla="*/ 6 h 12"/>
                    <a:gd name="T64" fmla="*/ 1 w 6"/>
                    <a:gd name="T65" fmla="*/ 6 h 12"/>
                    <a:gd name="T66" fmla="*/ 1 w 6"/>
                    <a:gd name="T67" fmla="*/ 3 h 12"/>
                    <a:gd name="T68" fmla="*/ 1 w 6"/>
                    <a:gd name="T69" fmla="*/ 3 h 12"/>
                    <a:gd name="T70" fmla="*/ 0 w 6"/>
                    <a:gd name="T71" fmla="*/ 3 h 12"/>
                    <a:gd name="T72" fmla="*/ 0 w 6"/>
                    <a:gd name="T73" fmla="*/ 2 h 12"/>
                    <a:gd name="T74" fmla="*/ 1 w 6"/>
                    <a:gd name="T75" fmla="*/ 0 h 12"/>
                    <a:gd name="T76" fmla="*/ 1 w 6"/>
                    <a:gd name="T77" fmla="*/ 0 h 12"/>
                    <a:gd name="T78" fmla="*/ 1 w 6"/>
                    <a:gd name="T79"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 h="12">
                      <a:moveTo>
                        <a:pt x="1" y="1"/>
                      </a:moveTo>
                      <a:lnTo>
                        <a:pt x="1" y="1"/>
                      </a:lnTo>
                      <a:lnTo>
                        <a:pt x="1" y="1"/>
                      </a:lnTo>
                      <a:lnTo>
                        <a:pt x="1" y="1"/>
                      </a:lnTo>
                      <a:lnTo>
                        <a:pt x="1" y="1"/>
                      </a:lnTo>
                      <a:lnTo>
                        <a:pt x="1" y="1"/>
                      </a:lnTo>
                      <a:lnTo>
                        <a:pt x="2" y="1"/>
                      </a:lnTo>
                      <a:lnTo>
                        <a:pt x="2" y="2"/>
                      </a:lnTo>
                      <a:lnTo>
                        <a:pt x="2" y="2"/>
                      </a:lnTo>
                      <a:lnTo>
                        <a:pt x="3" y="2"/>
                      </a:lnTo>
                      <a:lnTo>
                        <a:pt x="5" y="2"/>
                      </a:lnTo>
                      <a:lnTo>
                        <a:pt x="5" y="2"/>
                      </a:lnTo>
                      <a:lnTo>
                        <a:pt x="6" y="3"/>
                      </a:lnTo>
                      <a:lnTo>
                        <a:pt x="6" y="3"/>
                      </a:lnTo>
                      <a:lnTo>
                        <a:pt x="6" y="3"/>
                      </a:lnTo>
                      <a:lnTo>
                        <a:pt x="6" y="5"/>
                      </a:lnTo>
                      <a:lnTo>
                        <a:pt x="5" y="6"/>
                      </a:lnTo>
                      <a:lnTo>
                        <a:pt x="5" y="6"/>
                      </a:lnTo>
                      <a:lnTo>
                        <a:pt x="5" y="6"/>
                      </a:lnTo>
                      <a:lnTo>
                        <a:pt x="5" y="7"/>
                      </a:lnTo>
                      <a:lnTo>
                        <a:pt x="5" y="7"/>
                      </a:lnTo>
                      <a:lnTo>
                        <a:pt x="5" y="7"/>
                      </a:lnTo>
                      <a:lnTo>
                        <a:pt x="5" y="8"/>
                      </a:lnTo>
                      <a:lnTo>
                        <a:pt x="5" y="8"/>
                      </a:lnTo>
                      <a:lnTo>
                        <a:pt x="5" y="8"/>
                      </a:lnTo>
                      <a:lnTo>
                        <a:pt x="3" y="9"/>
                      </a:lnTo>
                      <a:lnTo>
                        <a:pt x="3" y="9"/>
                      </a:lnTo>
                      <a:lnTo>
                        <a:pt x="5" y="10"/>
                      </a:lnTo>
                      <a:lnTo>
                        <a:pt x="5" y="10"/>
                      </a:lnTo>
                      <a:lnTo>
                        <a:pt x="3" y="10"/>
                      </a:lnTo>
                      <a:lnTo>
                        <a:pt x="3" y="12"/>
                      </a:lnTo>
                      <a:lnTo>
                        <a:pt x="3" y="12"/>
                      </a:lnTo>
                      <a:lnTo>
                        <a:pt x="3" y="10"/>
                      </a:lnTo>
                      <a:lnTo>
                        <a:pt x="3" y="10"/>
                      </a:lnTo>
                      <a:lnTo>
                        <a:pt x="3" y="12"/>
                      </a:lnTo>
                      <a:lnTo>
                        <a:pt x="2" y="12"/>
                      </a:lnTo>
                      <a:lnTo>
                        <a:pt x="2" y="12"/>
                      </a:lnTo>
                      <a:lnTo>
                        <a:pt x="2" y="10"/>
                      </a:lnTo>
                      <a:lnTo>
                        <a:pt x="2" y="10"/>
                      </a:lnTo>
                      <a:lnTo>
                        <a:pt x="1" y="10"/>
                      </a:lnTo>
                      <a:lnTo>
                        <a:pt x="1" y="10"/>
                      </a:lnTo>
                      <a:lnTo>
                        <a:pt x="1" y="10"/>
                      </a:lnTo>
                      <a:lnTo>
                        <a:pt x="1" y="10"/>
                      </a:lnTo>
                      <a:lnTo>
                        <a:pt x="1" y="10"/>
                      </a:lnTo>
                      <a:lnTo>
                        <a:pt x="1" y="10"/>
                      </a:lnTo>
                      <a:lnTo>
                        <a:pt x="1" y="9"/>
                      </a:lnTo>
                      <a:lnTo>
                        <a:pt x="1" y="9"/>
                      </a:lnTo>
                      <a:lnTo>
                        <a:pt x="1" y="8"/>
                      </a:lnTo>
                      <a:lnTo>
                        <a:pt x="0" y="8"/>
                      </a:lnTo>
                      <a:lnTo>
                        <a:pt x="0" y="8"/>
                      </a:lnTo>
                      <a:lnTo>
                        <a:pt x="1" y="8"/>
                      </a:lnTo>
                      <a:lnTo>
                        <a:pt x="1" y="8"/>
                      </a:lnTo>
                      <a:lnTo>
                        <a:pt x="1" y="8"/>
                      </a:lnTo>
                      <a:lnTo>
                        <a:pt x="2" y="9"/>
                      </a:lnTo>
                      <a:lnTo>
                        <a:pt x="2" y="9"/>
                      </a:lnTo>
                      <a:lnTo>
                        <a:pt x="2" y="9"/>
                      </a:lnTo>
                      <a:lnTo>
                        <a:pt x="2" y="8"/>
                      </a:lnTo>
                      <a:lnTo>
                        <a:pt x="2" y="8"/>
                      </a:lnTo>
                      <a:lnTo>
                        <a:pt x="2" y="8"/>
                      </a:lnTo>
                      <a:lnTo>
                        <a:pt x="2" y="7"/>
                      </a:lnTo>
                      <a:lnTo>
                        <a:pt x="1" y="7"/>
                      </a:lnTo>
                      <a:lnTo>
                        <a:pt x="1" y="6"/>
                      </a:lnTo>
                      <a:lnTo>
                        <a:pt x="1" y="6"/>
                      </a:lnTo>
                      <a:lnTo>
                        <a:pt x="1" y="6"/>
                      </a:lnTo>
                      <a:lnTo>
                        <a:pt x="1" y="6"/>
                      </a:lnTo>
                      <a:lnTo>
                        <a:pt x="1" y="6"/>
                      </a:lnTo>
                      <a:lnTo>
                        <a:pt x="1" y="5"/>
                      </a:lnTo>
                      <a:lnTo>
                        <a:pt x="1" y="3"/>
                      </a:lnTo>
                      <a:lnTo>
                        <a:pt x="1" y="3"/>
                      </a:lnTo>
                      <a:lnTo>
                        <a:pt x="1" y="3"/>
                      </a:lnTo>
                      <a:lnTo>
                        <a:pt x="0" y="3"/>
                      </a:lnTo>
                      <a:lnTo>
                        <a:pt x="0" y="3"/>
                      </a:lnTo>
                      <a:lnTo>
                        <a:pt x="0" y="2"/>
                      </a:lnTo>
                      <a:lnTo>
                        <a:pt x="0" y="2"/>
                      </a:lnTo>
                      <a:lnTo>
                        <a:pt x="0" y="2"/>
                      </a:lnTo>
                      <a:lnTo>
                        <a:pt x="1" y="0"/>
                      </a:lnTo>
                      <a:lnTo>
                        <a:pt x="1" y="0"/>
                      </a:lnTo>
                      <a:lnTo>
                        <a:pt x="1" y="0"/>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50" name="Rectangle 149">
                  <a:extLst>
                    <a:ext uri="{FF2B5EF4-FFF2-40B4-BE49-F238E27FC236}">
                      <a16:creationId xmlns:a16="http://schemas.microsoft.com/office/drawing/2014/main" id="{55EAD4D8-0C48-5593-3D78-84CA57611A7C}"/>
                    </a:ext>
                  </a:extLst>
                </p:cNvPr>
                <p:cNvSpPr>
                  <a:spLocks noChangeArrowheads="1"/>
                </p:cNvSpPr>
                <p:nvPr/>
              </p:nvSpPr>
              <p:spPr bwMode="auto">
                <a:xfrm>
                  <a:off x="7661944" y="4283132"/>
                  <a:ext cx="1525" cy="1525"/>
                </a:xfrm>
                <a:prstGeom prst="rect">
                  <a:avLst/>
                </a:prstGeom>
                <a:solidFill>
                  <a:srgbClr val="CCCCC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51" name="Freeform 88">
                  <a:extLst>
                    <a:ext uri="{FF2B5EF4-FFF2-40B4-BE49-F238E27FC236}">
                      <a16:creationId xmlns:a16="http://schemas.microsoft.com/office/drawing/2014/main" id="{754B4894-33D1-12D3-0145-42B6C8B2E6F1}"/>
                    </a:ext>
                  </a:extLst>
                </p:cNvPr>
                <p:cNvSpPr>
                  <a:spLocks/>
                </p:cNvSpPr>
                <p:nvPr/>
              </p:nvSpPr>
              <p:spPr bwMode="auto">
                <a:xfrm>
                  <a:off x="7360591" y="3284794"/>
                  <a:ext cx="514905" cy="398076"/>
                </a:xfrm>
                <a:custGeom>
                  <a:avLst/>
                  <a:gdLst>
                    <a:gd name="T0" fmla="*/ 283 w 476"/>
                    <a:gd name="T1" fmla="*/ 101 h 368"/>
                    <a:gd name="T2" fmla="*/ 278 w 476"/>
                    <a:gd name="T3" fmla="*/ 119 h 368"/>
                    <a:gd name="T4" fmla="*/ 285 w 476"/>
                    <a:gd name="T5" fmla="*/ 129 h 368"/>
                    <a:gd name="T6" fmla="*/ 300 w 476"/>
                    <a:gd name="T7" fmla="*/ 127 h 368"/>
                    <a:gd name="T8" fmla="*/ 316 w 476"/>
                    <a:gd name="T9" fmla="*/ 127 h 368"/>
                    <a:gd name="T10" fmla="*/ 308 w 476"/>
                    <a:gd name="T11" fmla="*/ 138 h 368"/>
                    <a:gd name="T12" fmla="*/ 318 w 476"/>
                    <a:gd name="T13" fmla="*/ 156 h 368"/>
                    <a:gd name="T14" fmla="*/ 328 w 476"/>
                    <a:gd name="T15" fmla="*/ 171 h 368"/>
                    <a:gd name="T16" fmla="*/ 337 w 476"/>
                    <a:gd name="T17" fmla="*/ 180 h 368"/>
                    <a:gd name="T18" fmla="*/ 368 w 476"/>
                    <a:gd name="T19" fmla="*/ 198 h 368"/>
                    <a:gd name="T20" fmla="*/ 400 w 476"/>
                    <a:gd name="T21" fmla="*/ 210 h 368"/>
                    <a:gd name="T22" fmla="*/ 433 w 476"/>
                    <a:gd name="T23" fmla="*/ 220 h 368"/>
                    <a:gd name="T24" fmla="*/ 476 w 476"/>
                    <a:gd name="T25" fmla="*/ 225 h 368"/>
                    <a:gd name="T26" fmla="*/ 457 w 476"/>
                    <a:gd name="T27" fmla="*/ 242 h 368"/>
                    <a:gd name="T28" fmla="*/ 439 w 476"/>
                    <a:gd name="T29" fmla="*/ 261 h 368"/>
                    <a:gd name="T30" fmla="*/ 422 w 476"/>
                    <a:gd name="T31" fmla="*/ 276 h 368"/>
                    <a:gd name="T32" fmla="*/ 390 w 476"/>
                    <a:gd name="T33" fmla="*/ 310 h 368"/>
                    <a:gd name="T34" fmla="*/ 367 w 476"/>
                    <a:gd name="T35" fmla="*/ 322 h 368"/>
                    <a:gd name="T36" fmla="*/ 347 w 476"/>
                    <a:gd name="T37" fmla="*/ 320 h 368"/>
                    <a:gd name="T38" fmla="*/ 315 w 476"/>
                    <a:gd name="T39" fmla="*/ 336 h 368"/>
                    <a:gd name="T40" fmla="*/ 289 w 476"/>
                    <a:gd name="T41" fmla="*/ 344 h 368"/>
                    <a:gd name="T42" fmla="*/ 273 w 476"/>
                    <a:gd name="T43" fmla="*/ 351 h 368"/>
                    <a:gd name="T44" fmla="*/ 251 w 476"/>
                    <a:gd name="T45" fmla="*/ 346 h 368"/>
                    <a:gd name="T46" fmla="*/ 227 w 476"/>
                    <a:gd name="T47" fmla="*/ 350 h 368"/>
                    <a:gd name="T48" fmla="*/ 207 w 476"/>
                    <a:gd name="T49" fmla="*/ 368 h 368"/>
                    <a:gd name="T50" fmla="*/ 192 w 476"/>
                    <a:gd name="T51" fmla="*/ 365 h 368"/>
                    <a:gd name="T52" fmla="*/ 177 w 476"/>
                    <a:gd name="T53" fmla="*/ 362 h 368"/>
                    <a:gd name="T54" fmla="*/ 159 w 476"/>
                    <a:gd name="T55" fmla="*/ 361 h 368"/>
                    <a:gd name="T56" fmla="*/ 130 w 476"/>
                    <a:gd name="T57" fmla="*/ 340 h 368"/>
                    <a:gd name="T58" fmla="*/ 102 w 476"/>
                    <a:gd name="T59" fmla="*/ 334 h 368"/>
                    <a:gd name="T60" fmla="*/ 87 w 476"/>
                    <a:gd name="T61" fmla="*/ 316 h 368"/>
                    <a:gd name="T62" fmla="*/ 83 w 476"/>
                    <a:gd name="T63" fmla="*/ 305 h 368"/>
                    <a:gd name="T64" fmla="*/ 72 w 476"/>
                    <a:gd name="T65" fmla="*/ 303 h 368"/>
                    <a:gd name="T66" fmla="*/ 63 w 476"/>
                    <a:gd name="T67" fmla="*/ 287 h 368"/>
                    <a:gd name="T68" fmla="*/ 57 w 476"/>
                    <a:gd name="T69" fmla="*/ 271 h 368"/>
                    <a:gd name="T70" fmla="*/ 49 w 476"/>
                    <a:gd name="T71" fmla="*/ 260 h 368"/>
                    <a:gd name="T72" fmla="*/ 38 w 476"/>
                    <a:gd name="T73" fmla="*/ 250 h 368"/>
                    <a:gd name="T74" fmla="*/ 27 w 476"/>
                    <a:gd name="T75" fmla="*/ 235 h 368"/>
                    <a:gd name="T76" fmla="*/ 15 w 476"/>
                    <a:gd name="T77" fmla="*/ 229 h 368"/>
                    <a:gd name="T78" fmla="*/ 2 w 476"/>
                    <a:gd name="T79" fmla="*/ 228 h 368"/>
                    <a:gd name="T80" fmla="*/ 6 w 476"/>
                    <a:gd name="T81" fmla="*/ 215 h 368"/>
                    <a:gd name="T82" fmla="*/ 12 w 476"/>
                    <a:gd name="T83" fmla="*/ 207 h 368"/>
                    <a:gd name="T84" fmla="*/ 22 w 476"/>
                    <a:gd name="T85" fmla="*/ 210 h 368"/>
                    <a:gd name="T86" fmla="*/ 36 w 476"/>
                    <a:gd name="T87" fmla="*/ 201 h 368"/>
                    <a:gd name="T88" fmla="*/ 43 w 476"/>
                    <a:gd name="T89" fmla="*/ 149 h 368"/>
                    <a:gd name="T90" fmla="*/ 56 w 476"/>
                    <a:gd name="T91" fmla="*/ 135 h 368"/>
                    <a:gd name="T92" fmla="*/ 64 w 476"/>
                    <a:gd name="T93" fmla="*/ 120 h 368"/>
                    <a:gd name="T94" fmla="*/ 66 w 476"/>
                    <a:gd name="T95" fmla="*/ 99 h 368"/>
                    <a:gd name="T96" fmla="*/ 77 w 476"/>
                    <a:gd name="T97" fmla="*/ 87 h 368"/>
                    <a:gd name="T98" fmla="*/ 99 w 476"/>
                    <a:gd name="T99" fmla="*/ 71 h 368"/>
                    <a:gd name="T100" fmla="*/ 109 w 476"/>
                    <a:gd name="T101" fmla="*/ 42 h 368"/>
                    <a:gd name="T102" fmla="*/ 120 w 476"/>
                    <a:gd name="T103" fmla="*/ 18 h 368"/>
                    <a:gd name="T104" fmla="*/ 131 w 476"/>
                    <a:gd name="T105" fmla="*/ 16 h 368"/>
                    <a:gd name="T106" fmla="*/ 143 w 476"/>
                    <a:gd name="T107" fmla="*/ 19 h 368"/>
                    <a:gd name="T108" fmla="*/ 156 w 476"/>
                    <a:gd name="T109" fmla="*/ 3 h 368"/>
                    <a:gd name="T110" fmla="*/ 168 w 476"/>
                    <a:gd name="T111" fmla="*/ 7 h 368"/>
                    <a:gd name="T112" fmla="*/ 176 w 476"/>
                    <a:gd name="T113" fmla="*/ 15 h 368"/>
                    <a:gd name="T114" fmla="*/ 192 w 476"/>
                    <a:gd name="T115" fmla="*/ 9 h 368"/>
                    <a:gd name="T116" fmla="*/ 201 w 476"/>
                    <a:gd name="T117" fmla="*/ 12 h 368"/>
                    <a:gd name="T118" fmla="*/ 218 w 476"/>
                    <a:gd name="T119" fmla="*/ 12 h 368"/>
                    <a:gd name="T120" fmla="*/ 233 w 476"/>
                    <a:gd name="T121" fmla="*/ 16 h 368"/>
                    <a:gd name="T122" fmla="*/ 263 w 476"/>
                    <a:gd name="T123" fmla="*/ 43 h 368"/>
                    <a:gd name="T124" fmla="*/ 292 w 476"/>
                    <a:gd name="T125" fmla="*/ 7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6" h="368">
                      <a:moveTo>
                        <a:pt x="299" y="79"/>
                      </a:moveTo>
                      <a:lnTo>
                        <a:pt x="298" y="82"/>
                      </a:lnTo>
                      <a:lnTo>
                        <a:pt x="297" y="84"/>
                      </a:lnTo>
                      <a:lnTo>
                        <a:pt x="292" y="89"/>
                      </a:lnTo>
                      <a:lnTo>
                        <a:pt x="292" y="91"/>
                      </a:lnTo>
                      <a:lnTo>
                        <a:pt x="292" y="92"/>
                      </a:lnTo>
                      <a:lnTo>
                        <a:pt x="291" y="92"/>
                      </a:lnTo>
                      <a:lnTo>
                        <a:pt x="289" y="94"/>
                      </a:lnTo>
                      <a:lnTo>
                        <a:pt x="286" y="99"/>
                      </a:lnTo>
                      <a:lnTo>
                        <a:pt x="285" y="100"/>
                      </a:lnTo>
                      <a:lnTo>
                        <a:pt x="284" y="101"/>
                      </a:lnTo>
                      <a:lnTo>
                        <a:pt x="283" y="101"/>
                      </a:lnTo>
                      <a:lnTo>
                        <a:pt x="283" y="102"/>
                      </a:lnTo>
                      <a:lnTo>
                        <a:pt x="282" y="102"/>
                      </a:lnTo>
                      <a:lnTo>
                        <a:pt x="282" y="103"/>
                      </a:lnTo>
                      <a:lnTo>
                        <a:pt x="280" y="103"/>
                      </a:lnTo>
                      <a:lnTo>
                        <a:pt x="280" y="107"/>
                      </a:lnTo>
                      <a:lnTo>
                        <a:pt x="279" y="109"/>
                      </a:lnTo>
                      <a:lnTo>
                        <a:pt x="279" y="112"/>
                      </a:lnTo>
                      <a:lnTo>
                        <a:pt x="280" y="115"/>
                      </a:lnTo>
                      <a:lnTo>
                        <a:pt x="280" y="117"/>
                      </a:lnTo>
                      <a:lnTo>
                        <a:pt x="279" y="117"/>
                      </a:lnTo>
                      <a:lnTo>
                        <a:pt x="278" y="117"/>
                      </a:lnTo>
                      <a:lnTo>
                        <a:pt x="278" y="119"/>
                      </a:lnTo>
                      <a:lnTo>
                        <a:pt x="277" y="120"/>
                      </a:lnTo>
                      <a:lnTo>
                        <a:pt x="277" y="121"/>
                      </a:lnTo>
                      <a:lnTo>
                        <a:pt x="277" y="122"/>
                      </a:lnTo>
                      <a:lnTo>
                        <a:pt x="278" y="123"/>
                      </a:lnTo>
                      <a:lnTo>
                        <a:pt x="279" y="124"/>
                      </a:lnTo>
                      <a:lnTo>
                        <a:pt x="280" y="123"/>
                      </a:lnTo>
                      <a:lnTo>
                        <a:pt x="280" y="124"/>
                      </a:lnTo>
                      <a:lnTo>
                        <a:pt x="280" y="126"/>
                      </a:lnTo>
                      <a:lnTo>
                        <a:pt x="279" y="127"/>
                      </a:lnTo>
                      <a:lnTo>
                        <a:pt x="280" y="128"/>
                      </a:lnTo>
                      <a:lnTo>
                        <a:pt x="284" y="128"/>
                      </a:lnTo>
                      <a:lnTo>
                        <a:pt x="285" y="129"/>
                      </a:lnTo>
                      <a:lnTo>
                        <a:pt x="287" y="129"/>
                      </a:lnTo>
                      <a:lnTo>
                        <a:pt x="289" y="128"/>
                      </a:lnTo>
                      <a:lnTo>
                        <a:pt x="290" y="128"/>
                      </a:lnTo>
                      <a:lnTo>
                        <a:pt x="290" y="127"/>
                      </a:lnTo>
                      <a:lnTo>
                        <a:pt x="292" y="127"/>
                      </a:lnTo>
                      <a:lnTo>
                        <a:pt x="293" y="127"/>
                      </a:lnTo>
                      <a:lnTo>
                        <a:pt x="294" y="127"/>
                      </a:lnTo>
                      <a:lnTo>
                        <a:pt x="296" y="127"/>
                      </a:lnTo>
                      <a:lnTo>
                        <a:pt x="297" y="127"/>
                      </a:lnTo>
                      <a:lnTo>
                        <a:pt x="298" y="127"/>
                      </a:lnTo>
                      <a:lnTo>
                        <a:pt x="299" y="127"/>
                      </a:lnTo>
                      <a:lnTo>
                        <a:pt x="300" y="127"/>
                      </a:lnTo>
                      <a:lnTo>
                        <a:pt x="303" y="124"/>
                      </a:lnTo>
                      <a:lnTo>
                        <a:pt x="305" y="124"/>
                      </a:lnTo>
                      <a:lnTo>
                        <a:pt x="306" y="124"/>
                      </a:lnTo>
                      <a:lnTo>
                        <a:pt x="307" y="124"/>
                      </a:lnTo>
                      <a:lnTo>
                        <a:pt x="309" y="124"/>
                      </a:lnTo>
                      <a:lnTo>
                        <a:pt x="311" y="124"/>
                      </a:lnTo>
                      <a:lnTo>
                        <a:pt x="311" y="127"/>
                      </a:lnTo>
                      <a:lnTo>
                        <a:pt x="312" y="127"/>
                      </a:lnTo>
                      <a:lnTo>
                        <a:pt x="314" y="128"/>
                      </a:lnTo>
                      <a:lnTo>
                        <a:pt x="315" y="128"/>
                      </a:lnTo>
                      <a:lnTo>
                        <a:pt x="315" y="127"/>
                      </a:lnTo>
                      <a:lnTo>
                        <a:pt x="316" y="127"/>
                      </a:lnTo>
                      <a:lnTo>
                        <a:pt x="316" y="128"/>
                      </a:lnTo>
                      <a:lnTo>
                        <a:pt x="315" y="129"/>
                      </a:lnTo>
                      <a:lnTo>
                        <a:pt x="315" y="130"/>
                      </a:lnTo>
                      <a:lnTo>
                        <a:pt x="314" y="130"/>
                      </a:lnTo>
                      <a:lnTo>
                        <a:pt x="313" y="131"/>
                      </a:lnTo>
                      <a:lnTo>
                        <a:pt x="313" y="133"/>
                      </a:lnTo>
                      <a:lnTo>
                        <a:pt x="312" y="134"/>
                      </a:lnTo>
                      <a:lnTo>
                        <a:pt x="311" y="134"/>
                      </a:lnTo>
                      <a:lnTo>
                        <a:pt x="311" y="135"/>
                      </a:lnTo>
                      <a:lnTo>
                        <a:pt x="309" y="137"/>
                      </a:lnTo>
                      <a:lnTo>
                        <a:pt x="309" y="138"/>
                      </a:lnTo>
                      <a:lnTo>
                        <a:pt x="308" y="138"/>
                      </a:lnTo>
                      <a:lnTo>
                        <a:pt x="307" y="138"/>
                      </a:lnTo>
                      <a:lnTo>
                        <a:pt x="307" y="140"/>
                      </a:lnTo>
                      <a:lnTo>
                        <a:pt x="308" y="141"/>
                      </a:lnTo>
                      <a:lnTo>
                        <a:pt x="309" y="142"/>
                      </a:lnTo>
                      <a:lnTo>
                        <a:pt x="311" y="144"/>
                      </a:lnTo>
                      <a:lnTo>
                        <a:pt x="312" y="144"/>
                      </a:lnTo>
                      <a:lnTo>
                        <a:pt x="312" y="145"/>
                      </a:lnTo>
                      <a:lnTo>
                        <a:pt x="312" y="149"/>
                      </a:lnTo>
                      <a:lnTo>
                        <a:pt x="313" y="150"/>
                      </a:lnTo>
                      <a:lnTo>
                        <a:pt x="313" y="152"/>
                      </a:lnTo>
                      <a:lnTo>
                        <a:pt x="314" y="154"/>
                      </a:lnTo>
                      <a:lnTo>
                        <a:pt x="318" y="156"/>
                      </a:lnTo>
                      <a:lnTo>
                        <a:pt x="319" y="157"/>
                      </a:lnTo>
                      <a:lnTo>
                        <a:pt x="319" y="158"/>
                      </a:lnTo>
                      <a:lnTo>
                        <a:pt x="319" y="159"/>
                      </a:lnTo>
                      <a:lnTo>
                        <a:pt x="320" y="161"/>
                      </a:lnTo>
                      <a:lnTo>
                        <a:pt x="321" y="162"/>
                      </a:lnTo>
                      <a:lnTo>
                        <a:pt x="322" y="162"/>
                      </a:lnTo>
                      <a:lnTo>
                        <a:pt x="323" y="163"/>
                      </a:lnTo>
                      <a:lnTo>
                        <a:pt x="325" y="163"/>
                      </a:lnTo>
                      <a:lnTo>
                        <a:pt x="325" y="164"/>
                      </a:lnTo>
                      <a:lnTo>
                        <a:pt x="326" y="169"/>
                      </a:lnTo>
                      <a:lnTo>
                        <a:pt x="327" y="171"/>
                      </a:lnTo>
                      <a:lnTo>
                        <a:pt x="328" y="171"/>
                      </a:lnTo>
                      <a:lnTo>
                        <a:pt x="328" y="172"/>
                      </a:lnTo>
                      <a:lnTo>
                        <a:pt x="329" y="172"/>
                      </a:lnTo>
                      <a:lnTo>
                        <a:pt x="329" y="173"/>
                      </a:lnTo>
                      <a:lnTo>
                        <a:pt x="330" y="173"/>
                      </a:lnTo>
                      <a:lnTo>
                        <a:pt x="330" y="175"/>
                      </a:lnTo>
                      <a:lnTo>
                        <a:pt x="330" y="176"/>
                      </a:lnTo>
                      <a:lnTo>
                        <a:pt x="332" y="176"/>
                      </a:lnTo>
                      <a:lnTo>
                        <a:pt x="332" y="177"/>
                      </a:lnTo>
                      <a:lnTo>
                        <a:pt x="332" y="178"/>
                      </a:lnTo>
                      <a:lnTo>
                        <a:pt x="334" y="179"/>
                      </a:lnTo>
                      <a:lnTo>
                        <a:pt x="336" y="180"/>
                      </a:lnTo>
                      <a:lnTo>
                        <a:pt x="337" y="180"/>
                      </a:lnTo>
                      <a:lnTo>
                        <a:pt x="339" y="180"/>
                      </a:lnTo>
                      <a:lnTo>
                        <a:pt x="341" y="183"/>
                      </a:lnTo>
                      <a:lnTo>
                        <a:pt x="343" y="185"/>
                      </a:lnTo>
                      <a:lnTo>
                        <a:pt x="348" y="190"/>
                      </a:lnTo>
                      <a:lnTo>
                        <a:pt x="349" y="191"/>
                      </a:lnTo>
                      <a:lnTo>
                        <a:pt x="351" y="192"/>
                      </a:lnTo>
                      <a:lnTo>
                        <a:pt x="354" y="193"/>
                      </a:lnTo>
                      <a:lnTo>
                        <a:pt x="356" y="194"/>
                      </a:lnTo>
                      <a:lnTo>
                        <a:pt x="360" y="194"/>
                      </a:lnTo>
                      <a:lnTo>
                        <a:pt x="362" y="196"/>
                      </a:lnTo>
                      <a:lnTo>
                        <a:pt x="364" y="197"/>
                      </a:lnTo>
                      <a:lnTo>
                        <a:pt x="368" y="198"/>
                      </a:lnTo>
                      <a:lnTo>
                        <a:pt x="370" y="199"/>
                      </a:lnTo>
                      <a:lnTo>
                        <a:pt x="373" y="199"/>
                      </a:lnTo>
                      <a:lnTo>
                        <a:pt x="376" y="200"/>
                      </a:lnTo>
                      <a:lnTo>
                        <a:pt x="378" y="201"/>
                      </a:lnTo>
                      <a:lnTo>
                        <a:pt x="382" y="203"/>
                      </a:lnTo>
                      <a:lnTo>
                        <a:pt x="384" y="204"/>
                      </a:lnTo>
                      <a:lnTo>
                        <a:pt x="387" y="205"/>
                      </a:lnTo>
                      <a:lnTo>
                        <a:pt x="390" y="205"/>
                      </a:lnTo>
                      <a:lnTo>
                        <a:pt x="392" y="206"/>
                      </a:lnTo>
                      <a:lnTo>
                        <a:pt x="396" y="207"/>
                      </a:lnTo>
                      <a:lnTo>
                        <a:pt x="398" y="208"/>
                      </a:lnTo>
                      <a:lnTo>
                        <a:pt x="400" y="210"/>
                      </a:lnTo>
                      <a:lnTo>
                        <a:pt x="404" y="210"/>
                      </a:lnTo>
                      <a:lnTo>
                        <a:pt x="406" y="211"/>
                      </a:lnTo>
                      <a:lnTo>
                        <a:pt x="408" y="212"/>
                      </a:lnTo>
                      <a:lnTo>
                        <a:pt x="412" y="213"/>
                      </a:lnTo>
                      <a:lnTo>
                        <a:pt x="414" y="214"/>
                      </a:lnTo>
                      <a:lnTo>
                        <a:pt x="417" y="214"/>
                      </a:lnTo>
                      <a:lnTo>
                        <a:pt x="419" y="215"/>
                      </a:lnTo>
                      <a:lnTo>
                        <a:pt x="422" y="217"/>
                      </a:lnTo>
                      <a:lnTo>
                        <a:pt x="425" y="218"/>
                      </a:lnTo>
                      <a:lnTo>
                        <a:pt x="427" y="219"/>
                      </a:lnTo>
                      <a:lnTo>
                        <a:pt x="431" y="219"/>
                      </a:lnTo>
                      <a:lnTo>
                        <a:pt x="433" y="220"/>
                      </a:lnTo>
                      <a:lnTo>
                        <a:pt x="435" y="221"/>
                      </a:lnTo>
                      <a:lnTo>
                        <a:pt x="437" y="222"/>
                      </a:lnTo>
                      <a:lnTo>
                        <a:pt x="441" y="224"/>
                      </a:lnTo>
                      <a:lnTo>
                        <a:pt x="442" y="224"/>
                      </a:lnTo>
                      <a:lnTo>
                        <a:pt x="444" y="225"/>
                      </a:lnTo>
                      <a:lnTo>
                        <a:pt x="447" y="225"/>
                      </a:lnTo>
                      <a:lnTo>
                        <a:pt x="451" y="225"/>
                      </a:lnTo>
                      <a:lnTo>
                        <a:pt x="457" y="225"/>
                      </a:lnTo>
                      <a:lnTo>
                        <a:pt x="462" y="225"/>
                      </a:lnTo>
                      <a:lnTo>
                        <a:pt x="465" y="225"/>
                      </a:lnTo>
                      <a:lnTo>
                        <a:pt x="471" y="225"/>
                      </a:lnTo>
                      <a:lnTo>
                        <a:pt x="476" y="225"/>
                      </a:lnTo>
                      <a:lnTo>
                        <a:pt x="475" y="226"/>
                      </a:lnTo>
                      <a:lnTo>
                        <a:pt x="474" y="228"/>
                      </a:lnTo>
                      <a:lnTo>
                        <a:pt x="471" y="229"/>
                      </a:lnTo>
                      <a:lnTo>
                        <a:pt x="470" y="231"/>
                      </a:lnTo>
                      <a:lnTo>
                        <a:pt x="469" y="233"/>
                      </a:lnTo>
                      <a:lnTo>
                        <a:pt x="467" y="234"/>
                      </a:lnTo>
                      <a:lnTo>
                        <a:pt x="465" y="235"/>
                      </a:lnTo>
                      <a:lnTo>
                        <a:pt x="464" y="236"/>
                      </a:lnTo>
                      <a:lnTo>
                        <a:pt x="462" y="239"/>
                      </a:lnTo>
                      <a:lnTo>
                        <a:pt x="461" y="240"/>
                      </a:lnTo>
                      <a:lnTo>
                        <a:pt x="460" y="241"/>
                      </a:lnTo>
                      <a:lnTo>
                        <a:pt x="457" y="242"/>
                      </a:lnTo>
                      <a:lnTo>
                        <a:pt x="456" y="245"/>
                      </a:lnTo>
                      <a:lnTo>
                        <a:pt x="455" y="246"/>
                      </a:lnTo>
                      <a:lnTo>
                        <a:pt x="453" y="247"/>
                      </a:lnTo>
                      <a:lnTo>
                        <a:pt x="451" y="249"/>
                      </a:lnTo>
                      <a:lnTo>
                        <a:pt x="450" y="250"/>
                      </a:lnTo>
                      <a:lnTo>
                        <a:pt x="448" y="252"/>
                      </a:lnTo>
                      <a:lnTo>
                        <a:pt x="447" y="253"/>
                      </a:lnTo>
                      <a:lnTo>
                        <a:pt x="446" y="255"/>
                      </a:lnTo>
                      <a:lnTo>
                        <a:pt x="443" y="256"/>
                      </a:lnTo>
                      <a:lnTo>
                        <a:pt x="442" y="257"/>
                      </a:lnTo>
                      <a:lnTo>
                        <a:pt x="441" y="259"/>
                      </a:lnTo>
                      <a:lnTo>
                        <a:pt x="439" y="261"/>
                      </a:lnTo>
                      <a:lnTo>
                        <a:pt x="437" y="262"/>
                      </a:lnTo>
                      <a:lnTo>
                        <a:pt x="435" y="263"/>
                      </a:lnTo>
                      <a:lnTo>
                        <a:pt x="434" y="264"/>
                      </a:lnTo>
                      <a:lnTo>
                        <a:pt x="433" y="267"/>
                      </a:lnTo>
                      <a:lnTo>
                        <a:pt x="432" y="267"/>
                      </a:lnTo>
                      <a:lnTo>
                        <a:pt x="431" y="268"/>
                      </a:lnTo>
                      <a:lnTo>
                        <a:pt x="429" y="270"/>
                      </a:lnTo>
                      <a:lnTo>
                        <a:pt x="428" y="270"/>
                      </a:lnTo>
                      <a:lnTo>
                        <a:pt x="428" y="271"/>
                      </a:lnTo>
                      <a:lnTo>
                        <a:pt x="426" y="273"/>
                      </a:lnTo>
                      <a:lnTo>
                        <a:pt x="425" y="274"/>
                      </a:lnTo>
                      <a:lnTo>
                        <a:pt x="422" y="276"/>
                      </a:lnTo>
                      <a:lnTo>
                        <a:pt x="420" y="278"/>
                      </a:lnTo>
                      <a:lnTo>
                        <a:pt x="419" y="281"/>
                      </a:lnTo>
                      <a:lnTo>
                        <a:pt x="417" y="282"/>
                      </a:lnTo>
                      <a:lnTo>
                        <a:pt x="414" y="284"/>
                      </a:lnTo>
                      <a:lnTo>
                        <a:pt x="413" y="287"/>
                      </a:lnTo>
                      <a:lnTo>
                        <a:pt x="411" y="288"/>
                      </a:lnTo>
                      <a:lnTo>
                        <a:pt x="407" y="291"/>
                      </a:lnTo>
                      <a:lnTo>
                        <a:pt x="404" y="296"/>
                      </a:lnTo>
                      <a:lnTo>
                        <a:pt x="400" y="299"/>
                      </a:lnTo>
                      <a:lnTo>
                        <a:pt x="397" y="303"/>
                      </a:lnTo>
                      <a:lnTo>
                        <a:pt x="393" y="306"/>
                      </a:lnTo>
                      <a:lnTo>
                        <a:pt x="390" y="310"/>
                      </a:lnTo>
                      <a:lnTo>
                        <a:pt x="386" y="313"/>
                      </a:lnTo>
                      <a:lnTo>
                        <a:pt x="383" y="318"/>
                      </a:lnTo>
                      <a:lnTo>
                        <a:pt x="382" y="319"/>
                      </a:lnTo>
                      <a:lnTo>
                        <a:pt x="379" y="323"/>
                      </a:lnTo>
                      <a:lnTo>
                        <a:pt x="378" y="323"/>
                      </a:lnTo>
                      <a:lnTo>
                        <a:pt x="376" y="323"/>
                      </a:lnTo>
                      <a:lnTo>
                        <a:pt x="375" y="323"/>
                      </a:lnTo>
                      <a:lnTo>
                        <a:pt x="372" y="323"/>
                      </a:lnTo>
                      <a:lnTo>
                        <a:pt x="371" y="323"/>
                      </a:lnTo>
                      <a:lnTo>
                        <a:pt x="370" y="322"/>
                      </a:lnTo>
                      <a:lnTo>
                        <a:pt x="368" y="322"/>
                      </a:lnTo>
                      <a:lnTo>
                        <a:pt x="367" y="322"/>
                      </a:lnTo>
                      <a:lnTo>
                        <a:pt x="364" y="322"/>
                      </a:lnTo>
                      <a:lnTo>
                        <a:pt x="363" y="322"/>
                      </a:lnTo>
                      <a:lnTo>
                        <a:pt x="362" y="322"/>
                      </a:lnTo>
                      <a:lnTo>
                        <a:pt x="360" y="322"/>
                      </a:lnTo>
                      <a:lnTo>
                        <a:pt x="358" y="322"/>
                      </a:lnTo>
                      <a:lnTo>
                        <a:pt x="356" y="322"/>
                      </a:lnTo>
                      <a:lnTo>
                        <a:pt x="355" y="322"/>
                      </a:lnTo>
                      <a:lnTo>
                        <a:pt x="354" y="320"/>
                      </a:lnTo>
                      <a:lnTo>
                        <a:pt x="351" y="320"/>
                      </a:lnTo>
                      <a:lnTo>
                        <a:pt x="350" y="320"/>
                      </a:lnTo>
                      <a:lnTo>
                        <a:pt x="348" y="320"/>
                      </a:lnTo>
                      <a:lnTo>
                        <a:pt x="347" y="320"/>
                      </a:lnTo>
                      <a:lnTo>
                        <a:pt x="344" y="322"/>
                      </a:lnTo>
                      <a:lnTo>
                        <a:pt x="343" y="322"/>
                      </a:lnTo>
                      <a:lnTo>
                        <a:pt x="340" y="323"/>
                      </a:lnTo>
                      <a:lnTo>
                        <a:pt x="337" y="323"/>
                      </a:lnTo>
                      <a:lnTo>
                        <a:pt x="334" y="324"/>
                      </a:lnTo>
                      <a:lnTo>
                        <a:pt x="332" y="325"/>
                      </a:lnTo>
                      <a:lnTo>
                        <a:pt x="328" y="326"/>
                      </a:lnTo>
                      <a:lnTo>
                        <a:pt x="325" y="329"/>
                      </a:lnTo>
                      <a:lnTo>
                        <a:pt x="321" y="330"/>
                      </a:lnTo>
                      <a:lnTo>
                        <a:pt x="319" y="332"/>
                      </a:lnTo>
                      <a:lnTo>
                        <a:pt x="315" y="334"/>
                      </a:lnTo>
                      <a:lnTo>
                        <a:pt x="315" y="336"/>
                      </a:lnTo>
                      <a:lnTo>
                        <a:pt x="314" y="338"/>
                      </a:lnTo>
                      <a:lnTo>
                        <a:pt x="314" y="339"/>
                      </a:lnTo>
                      <a:lnTo>
                        <a:pt x="313" y="340"/>
                      </a:lnTo>
                      <a:lnTo>
                        <a:pt x="312" y="341"/>
                      </a:lnTo>
                      <a:lnTo>
                        <a:pt x="311" y="341"/>
                      </a:lnTo>
                      <a:lnTo>
                        <a:pt x="308" y="341"/>
                      </a:lnTo>
                      <a:lnTo>
                        <a:pt x="304" y="343"/>
                      </a:lnTo>
                      <a:lnTo>
                        <a:pt x="299" y="344"/>
                      </a:lnTo>
                      <a:lnTo>
                        <a:pt x="294" y="344"/>
                      </a:lnTo>
                      <a:lnTo>
                        <a:pt x="292" y="344"/>
                      </a:lnTo>
                      <a:lnTo>
                        <a:pt x="290" y="344"/>
                      </a:lnTo>
                      <a:lnTo>
                        <a:pt x="289" y="344"/>
                      </a:lnTo>
                      <a:lnTo>
                        <a:pt x="287" y="345"/>
                      </a:lnTo>
                      <a:lnTo>
                        <a:pt x="286" y="346"/>
                      </a:lnTo>
                      <a:lnTo>
                        <a:pt x="284" y="347"/>
                      </a:lnTo>
                      <a:lnTo>
                        <a:pt x="283" y="348"/>
                      </a:lnTo>
                      <a:lnTo>
                        <a:pt x="283" y="350"/>
                      </a:lnTo>
                      <a:lnTo>
                        <a:pt x="282" y="351"/>
                      </a:lnTo>
                      <a:lnTo>
                        <a:pt x="280" y="352"/>
                      </a:lnTo>
                      <a:lnTo>
                        <a:pt x="278" y="352"/>
                      </a:lnTo>
                      <a:lnTo>
                        <a:pt x="277" y="351"/>
                      </a:lnTo>
                      <a:lnTo>
                        <a:pt x="276" y="351"/>
                      </a:lnTo>
                      <a:lnTo>
                        <a:pt x="275" y="351"/>
                      </a:lnTo>
                      <a:lnTo>
                        <a:pt x="273" y="351"/>
                      </a:lnTo>
                      <a:lnTo>
                        <a:pt x="272" y="351"/>
                      </a:lnTo>
                      <a:lnTo>
                        <a:pt x="270" y="351"/>
                      </a:lnTo>
                      <a:lnTo>
                        <a:pt x="269" y="352"/>
                      </a:lnTo>
                      <a:lnTo>
                        <a:pt x="268" y="352"/>
                      </a:lnTo>
                      <a:lnTo>
                        <a:pt x="264" y="352"/>
                      </a:lnTo>
                      <a:lnTo>
                        <a:pt x="261" y="352"/>
                      </a:lnTo>
                      <a:lnTo>
                        <a:pt x="258" y="352"/>
                      </a:lnTo>
                      <a:lnTo>
                        <a:pt x="257" y="351"/>
                      </a:lnTo>
                      <a:lnTo>
                        <a:pt x="256" y="351"/>
                      </a:lnTo>
                      <a:lnTo>
                        <a:pt x="254" y="347"/>
                      </a:lnTo>
                      <a:lnTo>
                        <a:pt x="252" y="346"/>
                      </a:lnTo>
                      <a:lnTo>
                        <a:pt x="251" y="346"/>
                      </a:lnTo>
                      <a:lnTo>
                        <a:pt x="250" y="345"/>
                      </a:lnTo>
                      <a:lnTo>
                        <a:pt x="249" y="344"/>
                      </a:lnTo>
                      <a:lnTo>
                        <a:pt x="247" y="341"/>
                      </a:lnTo>
                      <a:lnTo>
                        <a:pt x="244" y="343"/>
                      </a:lnTo>
                      <a:lnTo>
                        <a:pt x="242" y="344"/>
                      </a:lnTo>
                      <a:lnTo>
                        <a:pt x="239" y="345"/>
                      </a:lnTo>
                      <a:lnTo>
                        <a:pt x="234" y="346"/>
                      </a:lnTo>
                      <a:lnTo>
                        <a:pt x="234" y="347"/>
                      </a:lnTo>
                      <a:lnTo>
                        <a:pt x="232" y="347"/>
                      </a:lnTo>
                      <a:lnTo>
                        <a:pt x="228" y="348"/>
                      </a:lnTo>
                      <a:lnTo>
                        <a:pt x="227" y="348"/>
                      </a:lnTo>
                      <a:lnTo>
                        <a:pt x="227" y="350"/>
                      </a:lnTo>
                      <a:lnTo>
                        <a:pt x="226" y="350"/>
                      </a:lnTo>
                      <a:lnTo>
                        <a:pt x="222" y="352"/>
                      </a:lnTo>
                      <a:lnTo>
                        <a:pt x="220" y="353"/>
                      </a:lnTo>
                      <a:lnTo>
                        <a:pt x="218" y="354"/>
                      </a:lnTo>
                      <a:lnTo>
                        <a:pt x="216" y="354"/>
                      </a:lnTo>
                      <a:lnTo>
                        <a:pt x="215" y="357"/>
                      </a:lnTo>
                      <a:lnTo>
                        <a:pt x="215" y="359"/>
                      </a:lnTo>
                      <a:lnTo>
                        <a:pt x="214" y="360"/>
                      </a:lnTo>
                      <a:lnTo>
                        <a:pt x="212" y="362"/>
                      </a:lnTo>
                      <a:lnTo>
                        <a:pt x="209" y="365"/>
                      </a:lnTo>
                      <a:lnTo>
                        <a:pt x="208" y="366"/>
                      </a:lnTo>
                      <a:lnTo>
                        <a:pt x="207" y="368"/>
                      </a:lnTo>
                      <a:lnTo>
                        <a:pt x="206" y="368"/>
                      </a:lnTo>
                      <a:lnTo>
                        <a:pt x="205" y="368"/>
                      </a:lnTo>
                      <a:lnTo>
                        <a:pt x="205" y="367"/>
                      </a:lnTo>
                      <a:lnTo>
                        <a:pt x="204" y="367"/>
                      </a:lnTo>
                      <a:lnTo>
                        <a:pt x="200" y="367"/>
                      </a:lnTo>
                      <a:lnTo>
                        <a:pt x="200" y="366"/>
                      </a:lnTo>
                      <a:lnTo>
                        <a:pt x="199" y="366"/>
                      </a:lnTo>
                      <a:lnTo>
                        <a:pt x="198" y="366"/>
                      </a:lnTo>
                      <a:lnTo>
                        <a:pt x="197" y="366"/>
                      </a:lnTo>
                      <a:lnTo>
                        <a:pt x="195" y="366"/>
                      </a:lnTo>
                      <a:lnTo>
                        <a:pt x="193" y="365"/>
                      </a:lnTo>
                      <a:lnTo>
                        <a:pt x="192" y="365"/>
                      </a:lnTo>
                      <a:lnTo>
                        <a:pt x="191" y="365"/>
                      </a:lnTo>
                      <a:lnTo>
                        <a:pt x="190" y="365"/>
                      </a:lnTo>
                      <a:lnTo>
                        <a:pt x="188" y="365"/>
                      </a:lnTo>
                      <a:lnTo>
                        <a:pt x="187" y="365"/>
                      </a:lnTo>
                      <a:lnTo>
                        <a:pt x="186" y="365"/>
                      </a:lnTo>
                      <a:lnTo>
                        <a:pt x="184" y="365"/>
                      </a:lnTo>
                      <a:lnTo>
                        <a:pt x="181" y="364"/>
                      </a:lnTo>
                      <a:lnTo>
                        <a:pt x="180" y="364"/>
                      </a:lnTo>
                      <a:lnTo>
                        <a:pt x="180" y="362"/>
                      </a:lnTo>
                      <a:lnTo>
                        <a:pt x="179" y="361"/>
                      </a:lnTo>
                      <a:lnTo>
                        <a:pt x="179" y="362"/>
                      </a:lnTo>
                      <a:lnTo>
                        <a:pt x="177" y="362"/>
                      </a:lnTo>
                      <a:lnTo>
                        <a:pt x="176" y="362"/>
                      </a:lnTo>
                      <a:lnTo>
                        <a:pt x="176" y="361"/>
                      </a:lnTo>
                      <a:lnTo>
                        <a:pt x="175" y="360"/>
                      </a:lnTo>
                      <a:lnTo>
                        <a:pt x="175" y="361"/>
                      </a:lnTo>
                      <a:lnTo>
                        <a:pt x="172" y="362"/>
                      </a:lnTo>
                      <a:lnTo>
                        <a:pt x="171" y="362"/>
                      </a:lnTo>
                      <a:lnTo>
                        <a:pt x="168" y="362"/>
                      </a:lnTo>
                      <a:lnTo>
                        <a:pt x="164" y="361"/>
                      </a:lnTo>
                      <a:lnTo>
                        <a:pt x="163" y="361"/>
                      </a:lnTo>
                      <a:lnTo>
                        <a:pt x="162" y="361"/>
                      </a:lnTo>
                      <a:lnTo>
                        <a:pt x="161" y="361"/>
                      </a:lnTo>
                      <a:lnTo>
                        <a:pt x="159" y="361"/>
                      </a:lnTo>
                      <a:lnTo>
                        <a:pt x="159" y="360"/>
                      </a:lnTo>
                      <a:lnTo>
                        <a:pt x="158" y="359"/>
                      </a:lnTo>
                      <a:lnTo>
                        <a:pt x="157" y="358"/>
                      </a:lnTo>
                      <a:lnTo>
                        <a:pt x="154" y="355"/>
                      </a:lnTo>
                      <a:lnTo>
                        <a:pt x="150" y="353"/>
                      </a:lnTo>
                      <a:lnTo>
                        <a:pt x="148" y="351"/>
                      </a:lnTo>
                      <a:lnTo>
                        <a:pt x="144" y="350"/>
                      </a:lnTo>
                      <a:lnTo>
                        <a:pt x="142" y="347"/>
                      </a:lnTo>
                      <a:lnTo>
                        <a:pt x="138" y="345"/>
                      </a:lnTo>
                      <a:lnTo>
                        <a:pt x="135" y="344"/>
                      </a:lnTo>
                      <a:lnTo>
                        <a:pt x="131" y="341"/>
                      </a:lnTo>
                      <a:lnTo>
                        <a:pt x="130" y="340"/>
                      </a:lnTo>
                      <a:lnTo>
                        <a:pt x="129" y="340"/>
                      </a:lnTo>
                      <a:lnTo>
                        <a:pt x="129" y="339"/>
                      </a:lnTo>
                      <a:lnTo>
                        <a:pt x="128" y="339"/>
                      </a:lnTo>
                      <a:lnTo>
                        <a:pt x="128" y="338"/>
                      </a:lnTo>
                      <a:lnTo>
                        <a:pt x="127" y="338"/>
                      </a:lnTo>
                      <a:lnTo>
                        <a:pt x="126" y="337"/>
                      </a:lnTo>
                      <a:lnTo>
                        <a:pt x="123" y="336"/>
                      </a:lnTo>
                      <a:lnTo>
                        <a:pt x="122" y="336"/>
                      </a:lnTo>
                      <a:lnTo>
                        <a:pt x="115" y="336"/>
                      </a:lnTo>
                      <a:lnTo>
                        <a:pt x="109" y="336"/>
                      </a:lnTo>
                      <a:lnTo>
                        <a:pt x="104" y="336"/>
                      </a:lnTo>
                      <a:lnTo>
                        <a:pt x="102" y="334"/>
                      </a:lnTo>
                      <a:lnTo>
                        <a:pt x="101" y="336"/>
                      </a:lnTo>
                      <a:lnTo>
                        <a:pt x="97" y="336"/>
                      </a:lnTo>
                      <a:lnTo>
                        <a:pt x="95" y="334"/>
                      </a:lnTo>
                      <a:lnTo>
                        <a:pt x="94" y="333"/>
                      </a:lnTo>
                      <a:lnTo>
                        <a:pt x="93" y="333"/>
                      </a:lnTo>
                      <a:lnTo>
                        <a:pt x="93" y="332"/>
                      </a:lnTo>
                      <a:lnTo>
                        <a:pt x="93" y="331"/>
                      </a:lnTo>
                      <a:lnTo>
                        <a:pt x="93" y="330"/>
                      </a:lnTo>
                      <a:lnTo>
                        <a:pt x="88" y="325"/>
                      </a:lnTo>
                      <a:lnTo>
                        <a:pt x="87" y="324"/>
                      </a:lnTo>
                      <a:lnTo>
                        <a:pt x="87" y="322"/>
                      </a:lnTo>
                      <a:lnTo>
                        <a:pt x="87" y="316"/>
                      </a:lnTo>
                      <a:lnTo>
                        <a:pt x="87" y="315"/>
                      </a:lnTo>
                      <a:lnTo>
                        <a:pt x="88" y="313"/>
                      </a:lnTo>
                      <a:lnTo>
                        <a:pt x="90" y="312"/>
                      </a:lnTo>
                      <a:lnTo>
                        <a:pt x="88" y="311"/>
                      </a:lnTo>
                      <a:lnTo>
                        <a:pt x="88" y="310"/>
                      </a:lnTo>
                      <a:lnTo>
                        <a:pt x="88" y="309"/>
                      </a:lnTo>
                      <a:lnTo>
                        <a:pt x="90" y="308"/>
                      </a:lnTo>
                      <a:lnTo>
                        <a:pt x="88" y="308"/>
                      </a:lnTo>
                      <a:lnTo>
                        <a:pt x="87" y="306"/>
                      </a:lnTo>
                      <a:lnTo>
                        <a:pt x="85" y="305"/>
                      </a:lnTo>
                      <a:lnTo>
                        <a:pt x="84" y="305"/>
                      </a:lnTo>
                      <a:lnTo>
                        <a:pt x="83" y="305"/>
                      </a:lnTo>
                      <a:lnTo>
                        <a:pt x="81" y="305"/>
                      </a:lnTo>
                      <a:lnTo>
                        <a:pt x="80" y="304"/>
                      </a:lnTo>
                      <a:lnTo>
                        <a:pt x="79" y="304"/>
                      </a:lnTo>
                      <a:lnTo>
                        <a:pt x="78" y="304"/>
                      </a:lnTo>
                      <a:lnTo>
                        <a:pt x="77" y="304"/>
                      </a:lnTo>
                      <a:lnTo>
                        <a:pt x="76" y="305"/>
                      </a:lnTo>
                      <a:lnTo>
                        <a:pt x="74" y="306"/>
                      </a:lnTo>
                      <a:lnTo>
                        <a:pt x="73" y="306"/>
                      </a:lnTo>
                      <a:lnTo>
                        <a:pt x="72" y="305"/>
                      </a:lnTo>
                      <a:lnTo>
                        <a:pt x="72" y="304"/>
                      </a:lnTo>
                      <a:lnTo>
                        <a:pt x="71" y="303"/>
                      </a:lnTo>
                      <a:lnTo>
                        <a:pt x="72" y="303"/>
                      </a:lnTo>
                      <a:lnTo>
                        <a:pt x="72" y="302"/>
                      </a:lnTo>
                      <a:lnTo>
                        <a:pt x="72" y="301"/>
                      </a:lnTo>
                      <a:lnTo>
                        <a:pt x="71" y="301"/>
                      </a:lnTo>
                      <a:lnTo>
                        <a:pt x="67" y="298"/>
                      </a:lnTo>
                      <a:lnTo>
                        <a:pt x="66" y="297"/>
                      </a:lnTo>
                      <a:lnTo>
                        <a:pt x="66" y="295"/>
                      </a:lnTo>
                      <a:lnTo>
                        <a:pt x="65" y="294"/>
                      </a:lnTo>
                      <a:lnTo>
                        <a:pt x="63" y="290"/>
                      </a:lnTo>
                      <a:lnTo>
                        <a:pt x="63" y="289"/>
                      </a:lnTo>
                      <a:lnTo>
                        <a:pt x="63" y="288"/>
                      </a:lnTo>
                      <a:lnTo>
                        <a:pt x="62" y="287"/>
                      </a:lnTo>
                      <a:lnTo>
                        <a:pt x="63" y="287"/>
                      </a:lnTo>
                      <a:lnTo>
                        <a:pt x="63" y="285"/>
                      </a:lnTo>
                      <a:lnTo>
                        <a:pt x="63" y="283"/>
                      </a:lnTo>
                      <a:lnTo>
                        <a:pt x="62" y="283"/>
                      </a:lnTo>
                      <a:lnTo>
                        <a:pt x="62" y="282"/>
                      </a:lnTo>
                      <a:lnTo>
                        <a:pt x="60" y="282"/>
                      </a:lnTo>
                      <a:lnTo>
                        <a:pt x="60" y="281"/>
                      </a:lnTo>
                      <a:lnTo>
                        <a:pt x="59" y="280"/>
                      </a:lnTo>
                      <a:lnTo>
                        <a:pt x="58" y="277"/>
                      </a:lnTo>
                      <a:lnTo>
                        <a:pt x="58" y="275"/>
                      </a:lnTo>
                      <a:lnTo>
                        <a:pt x="58" y="274"/>
                      </a:lnTo>
                      <a:lnTo>
                        <a:pt x="57" y="273"/>
                      </a:lnTo>
                      <a:lnTo>
                        <a:pt x="57" y="271"/>
                      </a:lnTo>
                      <a:lnTo>
                        <a:pt x="57" y="269"/>
                      </a:lnTo>
                      <a:lnTo>
                        <a:pt x="56" y="268"/>
                      </a:lnTo>
                      <a:lnTo>
                        <a:pt x="56" y="267"/>
                      </a:lnTo>
                      <a:lnTo>
                        <a:pt x="55" y="266"/>
                      </a:lnTo>
                      <a:lnTo>
                        <a:pt x="55" y="264"/>
                      </a:lnTo>
                      <a:lnTo>
                        <a:pt x="55" y="263"/>
                      </a:lnTo>
                      <a:lnTo>
                        <a:pt x="52" y="262"/>
                      </a:lnTo>
                      <a:lnTo>
                        <a:pt x="51" y="262"/>
                      </a:lnTo>
                      <a:lnTo>
                        <a:pt x="50" y="262"/>
                      </a:lnTo>
                      <a:lnTo>
                        <a:pt x="49" y="262"/>
                      </a:lnTo>
                      <a:lnTo>
                        <a:pt x="49" y="261"/>
                      </a:lnTo>
                      <a:lnTo>
                        <a:pt x="49" y="260"/>
                      </a:lnTo>
                      <a:lnTo>
                        <a:pt x="48" y="260"/>
                      </a:lnTo>
                      <a:lnTo>
                        <a:pt x="49" y="260"/>
                      </a:lnTo>
                      <a:lnTo>
                        <a:pt x="49" y="259"/>
                      </a:lnTo>
                      <a:lnTo>
                        <a:pt x="49" y="257"/>
                      </a:lnTo>
                      <a:lnTo>
                        <a:pt x="48" y="257"/>
                      </a:lnTo>
                      <a:lnTo>
                        <a:pt x="45" y="255"/>
                      </a:lnTo>
                      <a:lnTo>
                        <a:pt x="42" y="255"/>
                      </a:lnTo>
                      <a:lnTo>
                        <a:pt x="42" y="254"/>
                      </a:lnTo>
                      <a:lnTo>
                        <a:pt x="41" y="254"/>
                      </a:lnTo>
                      <a:lnTo>
                        <a:pt x="40" y="253"/>
                      </a:lnTo>
                      <a:lnTo>
                        <a:pt x="38" y="252"/>
                      </a:lnTo>
                      <a:lnTo>
                        <a:pt x="38" y="250"/>
                      </a:lnTo>
                      <a:lnTo>
                        <a:pt x="38" y="249"/>
                      </a:lnTo>
                      <a:lnTo>
                        <a:pt x="37" y="248"/>
                      </a:lnTo>
                      <a:lnTo>
                        <a:pt x="36" y="248"/>
                      </a:lnTo>
                      <a:lnTo>
                        <a:pt x="35" y="247"/>
                      </a:lnTo>
                      <a:lnTo>
                        <a:pt x="34" y="246"/>
                      </a:lnTo>
                      <a:lnTo>
                        <a:pt x="33" y="246"/>
                      </a:lnTo>
                      <a:lnTo>
                        <a:pt x="33" y="242"/>
                      </a:lnTo>
                      <a:lnTo>
                        <a:pt x="33" y="241"/>
                      </a:lnTo>
                      <a:lnTo>
                        <a:pt x="33" y="240"/>
                      </a:lnTo>
                      <a:lnTo>
                        <a:pt x="28" y="236"/>
                      </a:lnTo>
                      <a:lnTo>
                        <a:pt x="28" y="235"/>
                      </a:lnTo>
                      <a:lnTo>
                        <a:pt x="27" y="235"/>
                      </a:lnTo>
                      <a:lnTo>
                        <a:pt x="26" y="235"/>
                      </a:lnTo>
                      <a:lnTo>
                        <a:pt x="24" y="234"/>
                      </a:lnTo>
                      <a:lnTo>
                        <a:pt x="23" y="233"/>
                      </a:lnTo>
                      <a:lnTo>
                        <a:pt x="23" y="232"/>
                      </a:lnTo>
                      <a:lnTo>
                        <a:pt x="22" y="232"/>
                      </a:lnTo>
                      <a:lnTo>
                        <a:pt x="21" y="232"/>
                      </a:lnTo>
                      <a:lnTo>
                        <a:pt x="19" y="232"/>
                      </a:lnTo>
                      <a:lnTo>
                        <a:pt x="17" y="232"/>
                      </a:lnTo>
                      <a:lnTo>
                        <a:pt x="17" y="231"/>
                      </a:lnTo>
                      <a:lnTo>
                        <a:pt x="16" y="231"/>
                      </a:lnTo>
                      <a:lnTo>
                        <a:pt x="16" y="229"/>
                      </a:lnTo>
                      <a:lnTo>
                        <a:pt x="15" y="229"/>
                      </a:lnTo>
                      <a:lnTo>
                        <a:pt x="14" y="229"/>
                      </a:lnTo>
                      <a:lnTo>
                        <a:pt x="13" y="229"/>
                      </a:lnTo>
                      <a:lnTo>
                        <a:pt x="12" y="231"/>
                      </a:lnTo>
                      <a:lnTo>
                        <a:pt x="9" y="231"/>
                      </a:lnTo>
                      <a:lnTo>
                        <a:pt x="9" y="229"/>
                      </a:lnTo>
                      <a:lnTo>
                        <a:pt x="8" y="229"/>
                      </a:lnTo>
                      <a:lnTo>
                        <a:pt x="8" y="228"/>
                      </a:lnTo>
                      <a:lnTo>
                        <a:pt x="7" y="228"/>
                      </a:lnTo>
                      <a:lnTo>
                        <a:pt x="6" y="228"/>
                      </a:lnTo>
                      <a:lnTo>
                        <a:pt x="5" y="228"/>
                      </a:lnTo>
                      <a:lnTo>
                        <a:pt x="3" y="228"/>
                      </a:lnTo>
                      <a:lnTo>
                        <a:pt x="2" y="228"/>
                      </a:lnTo>
                      <a:lnTo>
                        <a:pt x="2" y="227"/>
                      </a:lnTo>
                      <a:lnTo>
                        <a:pt x="1" y="227"/>
                      </a:lnTo>
                      <a:lnTo>
                        <a:pt x="1" y="226"/>
                      </a:lnTo>
                      <a:lnTo>
                        <a:pt x="0" y="224"/>
                      </a:lnTo>
                      <a:lnTo>
                        <a:pt x="1" y="222"/>
                      </a:lnTo>
                      <a:lnTo>
                        <a:pt x="1" y="221"/>
                      </a:lnTo>
                      <a:lnTo>
                        <a:pt x="3" y="219"/>
                      </a:lnTo>
                      <a:lnTo>
                        <a:pt x="3" y="218"/>
                      </a:lnTo>
                      <a:lnTo>
                        <a:pt x="5" y="218"/>
                      </a:lnTo>
                      <a:lnTo>
                        <a:pt x="6" y="218"/>
                      </a:lnTo>
                      <a:lnTo>
                        <a:pt x="6" y="217"/>
                      </a:lnTo>
                      <a:lnTo>
                        <a:pt x="6" y="215"/>
                      </a:lnTo>
                      <a:lnTo>
                        <a:pt x="6" y="214"/>
                      </a:lnTo>
                      <a:lnTo>
                        <a:pt x="7" y="214"/>
                      </a:lnTo>
                      <a:lnTo>
                        <a:pt x="7" y="213"/>
                      </a:lnTo>
                      <a:lnTo>
                        <a:pt x="6" y="213"/>
                      </a:lnTo>
                      <a:lnTo>
                        <a:pt x="6" y="212"/>
                      </a:lnTo>
                      <a:lnTo>
                        <a:pt x="6" y="211"/>
                      </a:lnTo>
                      <a:lnTo>
                        <a:pt x="6" y="210"/>
                      </a:lnTo>
                      <a:lnTo>
                        <a:pt x="6" y="208"/>
                      </a:lnTo>
                      <a:lnTo>
                        <a:pt x="7" y="208"/>
                      </a:lnTo>
                      <a:lnTo>
                        <a:pt x="7" y="207"/>
                      </a:lnTo>
                      <a:lnTo>
                        <a:pt x="8" y="207"/>
                      </a:lnTo>
                      <a:lnTo>
                        <a:pt x="12" y="207"/>
                      </a:lnTo>
                      <a:lnTo>
                        <a:pt x="13" y="207"/>
                      </a:lnTo>
                      <a:lnTo>
                        <a:pt x="14" y="207"/>
                      </a:lnTo>
                      <a:lnTo>
                        <a:pt x="15" y="207"/>
                      </a:lnTo>
                      <a:lnTo>
                        <a:pt x="16" y="207"/>
                      </a:lnTo>
                      <a:lnTo>
                        <a:pt x="16" y="206"/>
                      </a:lnTo>
                      <a:lnTo>
                        <a:pt x="17" y="206"/>
                      </a:lnTo>
                      <a:lnTo>
                        <a:pt x="17" y="207"/>
                      </a:lnTo>
                      <a:lnTo>
                        <a:pt x="19" y="207"/>
                      </a:lnTo>
                      <a:lnTo>
                        <a:pt x="20" y="207"/>
                      </a:lnTo>
                      <a:lnTo>
                        <a:pt x="21" y="207"/>
                      </a:lnTo>
                      <a:lnTo>
                        <a:pt x="22" y="208"/>
                      </a:lnTo>
                      <a:lnTo>
                        <a:pt x="22" y="210"/>
                      </a:lnTo>
                      <a:lnTo>
                        <a:pt x="24" y="210"/>
                      </a:lnTo>
                      <a:lnTo>
                        <a:pt x="26" y="208"/>
                      </a:lnTo>
                      <a:lnTo>
                        <a:pt x="27" y="208"/>
                      </a:lnTo>
                      <a:lnTo>
                        <a:pt x="28" y="208"/>
                      </a:lnTo>
                      <a:lnTo>
                        <a:pt x="30" y="208"/>
                      </a:lnTo>
                      <a:lnTo>
                        <a:pt x="30" y="207"/>
                      </a:lnTo>
                      <a:lnTo>
                        <a:pt x="31" y="207"/>
                      </a:lnTo>
                      <a:lnTo>
                        <a:pt x="35" y="205"/>
                      </a:lnTo>
                      <a:lnTo>
                        <a:pt x="35" y="204"/>
                      </a:lnTo>
                      <a:lnTo>
                        <a:pt x="35" y="203"/>
                      </a:lnTo>
                      <a:lnTo>
                        <a:pt x="36" y="203"/>
                      </a:lnTo>
                      <a:lnTo>
                        <a:pt x="36" y="201"/>
                      </a:lnTo>
                      <a:lnTo>
                        <a:pt x="35" y="192"/>
                      </a:lnTo>
                      <a:lnTo>
                        <a:pt x="35" y="183"/>
                      </a:lnTo>
                      <a:lnTo>
                        <a:pt x="35" y="175"/>
                      </a:lnTo>
                      <a:lnTo>
                        <a:pt x="35" y="172"/>
                      </a:lnTo>
                      <a:lnTo>
                        <a:pt x="35" y="168"/>
                      </a:lnTo>
                      <a:lnTo>
                        <a:pt x="40" y="157"/>
                      </a:lnTo>
                      <a:lnTo>
                        <a:pt x="42" y="155"/>
                      </a:lnTo>
                      <a:lnTo>
                        <a:pt x="42" y="154"/>
                      </a:lnTo>
                      <a:lnTo>
                        <a:pt x="42" y="152"/>
                      </a:lnTo>
                      <a:lnTo>
                        <a:pt x="43" y="151"/>
                      </a:lnTo>
                      <a:lnTo>
                        <a:pt x="43" y="150"/>
                      </a:lnTo>
                      <a:lnTo>
                        <a:pt x="43" y="149"/>
                      </a:lnTo>
                      <a:lnTo>
                        <a:pt x="41" y="142"/>
                      </a:lnTo>
                      <a:lnTo>
                        <a:pt x="41" y="141"/>
                      </a:lnTo>
                      <a:lnTo>
                        <a:pt x="42" y="140"/>
                      </a:lnTo>
                      <a:lnTo>
                        <a:pt x="44" y="135"/>
                      </a:lnTo>
                      <a:lnTo>
                        <a:pt x="45" y="133"/>
                      </a:lnTo>
                      <a:lnTo>
                        <a:pt x="47" y="131"/>
                      </a:lnTo>
                      <a:lnTo>
                        <a:pt x="50" y="129"/>
                      </a:lnTo>
                      <a:lnTo>
                        <a:pt x="51" y="129"/>
                      </a:lnTo>
                      <a:lnTo>
                        <a:pt x="55" y="133"/>
                      </a:lnTo>
                      <a:lnTo>
                        <a:pt x="56" y="134"/>
                      </a:lnTo>
                      <a:lnTo>
                        <a:pt x="57" y="134"/>
                      </a:lnTo>
                      <a:lnTo>
                        <a:pt x="56" y="135"/>
                      </a:lnTo>
                      <a:lnTo>
                        <a:pt x="57" y="136"/>
                      </a:lnTo>
                      <a:lnTo>
                        <a:pt x="57" y="135"/>
                      </a:lnTo>
                      <a:lnTo>
                        <a:pt x="58" y="134"/>
                      </a:lnTo>
                      <a:lnTo>
                        <a:pt x="59" y="134"/>
                      </a:lnTo>
                      <a:lnTo>
                        <a:pt x="59" y="133"/>
                      </a:lnTo>
                      <a:lnTo>
                        <a:pt x="60" y="131"/>
                      </a:lnTo>
                      <a:lnTo>
                        <a:pt x="62" y="130"/>
                      </a:lnTo>
                      <a:lnTo>
                        <a:pt x="63" y="129"/>
                      </a:lnTo>
                      <a:lnTo>
                        <a:pt x="63" y="128"/>
                      </a:lnTo>
                      <a:lnTo>
                        <a:pt x="62" y="127"/>
                      </a:lnTo>
                      <a:lnTo>
                        <a:pt x="64" y="121"/>
                      </a:lnTo>
                      <a:lnTo>
                        <a:pt x="64" y="120"/>
                      </a:lnTo>
                      <a:lnTo>
                        <a:pt x="64" y="119"/>
                      </a:lnTo>
                      <a:lnTo>
                        <a:pt x="63" y="119"/>
                      </a:lnTo>
                      <a:lnTo>
                        <a:pt x="63" y="117"/>
                      </a:lnTo>
                      <a:lnTo>
                        <a:pt x="63" y="116"/>
                      </a:lnTo>
                      <a:lnTo>
                        <a:pt x="66" y="108"/>
                      </a:lnTo>
                      <a:lnTo>
                        <a:pt x="66" y="107"/>
                      </a:lnTo>
                      <a:lnTo>
                        <a:pt x="66" y="105"/>
                      </a:lnTo>
                      <a:lnTo>
                        <a:pt x="66" y="103"/>
                      </a:lnTo>
                      <a:lnTo>
                        <a:pt x="65" y="102"/>
                      </a:lnTo>
                      <a:lnTo>
                        <a:pt x="66" y="101"/>
                      </a:lnTo>
                      <a:lnTo>
                        <a:pt x="66" y="100"/>
                      </a:lnTo>
                      <a:lnTo>
                        <a:pt x="66" y="99"/>
                      </a:lnTo>
                      <a:lnTo>
                        <a:pt x="67" y="99"/>
                      </a:lnTo>
                      <a:lnTo>
                        <a:pt x="69" y="98"/>
                      </a:lnTo>
                      <a:lnTo>
                        <a:pt x="71" y="96"/>
                      </a:lnTo>
                      <a:lnTo>
                        <a:pt x="72" y="95"/>
                      </a:lnTo>
                      <a:lnTo>
                        <a:pt x="72" y="94"/>
                      </a:lnTo>
                      <a:lnTo>
                        <a:pt x="73" y="94"/>
                      </a:lnTo>
                      <a:lnTo>
                        <a:pt x="74" y="93"/>
                      </a:lnTo>
                      <a:lnTo>
                        <a:pt x="74" y="92"/>
                      </a:lnTo>
                      <a:lnTo>
                        <a:pt x="76" y="89"/>
                      </a:lnTo>
                      <a:lnTo>
                        <a:pt x="76" y="88"/>
                      </a:lnTo>
                      <a:lnTo>
                        <a:pt x="77" y="88"/>
                      </a:lnTo>
                      <a:lnTo>
                        <a:pt x="77" y="87"/>
                      </a:lnTo>
                      <a:lnTo>
                        <a:pt x="78" y="87"/>
                      </a:lnTo>
                      <a:lnTo>
                        <a:pt x="78" y="86"/>
                      </a:lnTo>
                      <a:lnTo>
                        <a:pt x="78" y="85"/>
                      </a:lnTo>
                      <a:lnTo>
                        <a:pt x="84" y="74"/>
                      </a:lnTo>
                      <a:lnTo>
                        <a:pt x="85" y="74"/>
                      </a:lnTo>
                      <a:lnTo>
                        <a:pt x="86" y="74"/>
                      </a:lnTo>
                      <a:lnTo>
                        <a:pt x="86" y="73"/>
                      </a:lnTo>
                      <a:lnTo>
                        <a:pt x="86" y="72"/>
                      </a:lnTo>
                      <a:lnTo>
                        <a:pt x="87" y="72"/>
                      </a:lnTo>
                      <a:lnTo>
                        <a:pt x="87" y="71"/>
                      </a:lnTo>
                      <a:lnTo>
                        <a:pt x="98" y="70"/>
                      </a:lnTo>
                      <a:lnTo>
                        <a:pt x="99" y="71"/>
                      </a:lnTo>
                      <a:lnTo>
                        <a:pt x="100" y="71"/>
                      </a:lnTo>
                      <a:lnTo>
                        <a:pt x="100" y="70"/>
                      </a:lnTo>
                      <a:lnTo>
                        <a:pt x="101" y="66"/>
                      </a:lnTo>
                      <a:lnTo>
                        <a:pt x="101" y="65"/>
                      </a:lnTo>
                      <a:lnTo>
                        <a:pt x="100" y="64"/>
                      </a:lnTo>
                      <a:lnTo>
                        <a:pt x="100" y="63"/>
                      </a:lnTo>
                      <a:lnTo>
                        <a:pt x="101" y="61"/>
                      </a:lnTo>
                      <a:lnTo>
                        <a:pt x="101" y="60"/>
                      </a:lnTo>
                      <a:lnTo>
                        <a:pt x="101" y="59"/>
                      </a:lnTo>
                      <a:lnTo>
                        <a:pt x="104" y="49"/>
                      </a:lnTo>
                      <a:lnTo>
                        <a:pt x="108" y="42"/>
                      </a:lnTo>
                      <a:lnTo>
                        <a:pt x="109" y="42"/>
                      </a:lnTo>
                      <a:lnTo>
                        <a:pt x="109" y="39"/>
                      </a:lnTo>
                      <a:lnTo>
                        <a:pt x="111" y="36"/>
                      </a:lnTo>
                      <a:lnTo>
                        <a:pt x="112" y="33"/>
                      </a:lnTo>
                      <a:lnTo>
                        <a:pt x="112" y="32"/>
                      </a:lnTo>
                      <a:lnTo>
                        <a:pt x="111" y="31"/>
                      </a:lnTo>
                      <a:lnTo>
                        <a:pt x="111" y="30"/>
                      </a:lnTo>
                      <a:lnTo>
                        <a:pt x="111" y="29"/>
                      </a:lnTo>
                      <a:lnTo>
                        <a:pt x="114" y="19"/>
                      </a:lnTo>
                      <a:lnTo>
                        <a:pt x="115" y="18"/>
                      </a:lnTo>
                      <a:lnTo>
                        <a:pt x="116" y="18"/>
                      </a:lnTo>
                      <a:lnTo>
                        <a:pt x="117" y="18"/>
                      </a:lnTo>
                      <a:lnTo>
                        <a:pt x="120" y="18"/>
                      </a:lnTo>
                      <a:lnTo>
                        <a:pt x="120" y="17"/>
                      </a:lnTo>
                      <a:lnTo>
                        <a:pt x="121" y="17"/>
                      </a:lnTo>
                      <a:lnTo>
                        <a:pt x="122" y="17"/>
                      </a:lnTo>
                      <a:lnTo>
                        <a:pt x="123" y="17"/>
                      </a:lnTo>
                      <a:lnTo>
                        <a:pt x="126" y="18"/>
                      </a:lnTo>
                      <a:lnTo>
                        <a:pt x="127" y="18"/>
                      </a:lnTo>
                      <a:lnTo>
                        <a:pt x="128" y="19"/>
                      </a:lnTo>
                      <a:lnTo>
                        <a:pt x="129" y="19"/>
                      </a:lnTo>
                      <a:lnTo>
                        <a:pt x="130" y="19"/>
                      </a:lnTo>
                      <a:lnTo>
                        <a:pt x="131" y="18"/>
                      </a:lnTo>
                      <a:lnTo>
                        <a:pt x="131" y="17"/>
                      </a:lnTo>
                      <a:lnTo>
                        <a:pt x="131" y="16"/>
                      </a:lnTo>
                      <a:lnTo>
                        <a:pt x="131" y="15"/>
                      </a:lnTo>
                      <a:lnTo>
                        <a:pt x="133" y="15"/>
                      </a:lnTo>
                      <a:lnTo>
                        <a:pt x="134" y="14"/>
                      </a:lnTo>
                      <a:lnTo>
                        <a:pt x="135" y="14"/>
                      </a:lnTo>
                      <a:lnTo>
                        <a:pt x="137" y="14"/>
                      </a:lnTo>
                      <a:lnTo>
                        <a:pt x="138" y="14"/>
                      </a:lnTo>
                      <a:lnTo>
                        <a:pt x="140" y="15"/>
                      </a:lnTo>
                      <a:lnTo>
                        <a:pt x="141" y="16"/>
                      </a:lnTo>
                      <a:lnTo>
                        <a:pt x="141" y="17"/>
                      </a:lnTo>
                      <a:lnTo>
                        <a:pt x="141" y="18"/>
                      </a:lnTo>
                      <a:lnTo>
                        <a:pt x="142" y="18"/>
                      </a:lnTo>
                      <a:lnTo>
                        <a:pt x="143" y="19"/>
                      </a:lnTo>
                      <a:lnTo>
                        <a:pt x="143" y="21"/>
                      </a:lnTo>
                      <a:lnTo>
                        <a:pt x="143" y="22"/>
                      </a:lnTo>
                      <a:lnTo>
                        <a:pt x="144" y="22"/>
                      </a:lnTo>
                      <a:lnTo>
                        <a:pt x="145" y="23"/>
                      </a:lnTo>
                      <a:lnTo>
                        <a:pt x="145" y="24"/>
                      </a:lnTo>
                      <a:lnTo>
                        <a:pt x="147" y="25"/>
                      </a:lnTo>
                      <a:lnTo>
                        <a:pt x="147" y="24"/>
                      </a:lnTo>
                      <a:lnTo>
                        <a:pt x="148" y="22"/>
                      </a:lnTo>
                      <a:lnTo>
                        <a:pt x="150" y="17"/>
                      </a:lnTo>
                      <a:lnTo>
                        <a:pt x="151" y="12"/>
                      </a:lnTo>
                      <a:lnTo>
                        <a:pt x="154" y="8"/>
                      </a:lnTo>
                      <a:lnTo>
                        <a:pt x="156" y="3"/>
                      </a:lnTo>
                      <a:lnTo>
                        <a:pt x="157" y="0"/>
                      </a:lnTo>
                      <a:lnTo>
                        <a:pt x="158" y="1"/>
                      </a:lnTo>
                      <a:lnTo>
                        <a:pt x="158" y="2"/>
                      </a:lnTo>
                      <a:lnTo>
                        <a:pt x="159" y="2"/>
                      </a:lnTo>
                      <a:lnTo>
                        <a:pt x="159" y="3"/>
                      </a:lnTo>
                      <a:lnTo>
                        <a:pt x="161" y="3"/>
                      </a:lnTo>
                      <a:lnTo>
                        <a:pt x="161" y="4"/>
                      </a:lnTo>
                      <a:lnTo>
                        <a:pt x="164" y="7"/>
                      </a:lnTo>
                      <a:lnTo>
                        <a:pt x="165" y="7"/>
                      </a:lnTo>
                      <a:lnTo>
                        <a:pt x="166" y="5"/>
                      </a:lnTo>
                      <a:lnTo>
                        <a:pt x="168" y="5"/>
                      </a:lnTo>
                      <a:lnTo>
                        <a:pt x="168" y="7"/>
                      </a:lnTo>
                      <a:lnTo>
                        <a:pt x="169" y="7"/>
                      </a:lnTo>
                      <a:lnTo>
                        <a:pt x="169" y="8"/>
                      </a:lnTo>
                      <a:lnTo>
                        <a:pt x="169" y="9"/>
                      </a:lnTo>
                      <a:lnTo>
                        <a:pt x="170" y="9"/>
                      </a:lnTo>
                      <a:lnTo>
                        <a:pt x="170" y="10"/>
                      </a:lnTo>
                      <a:lnTo>
                        <a:pt x="170" y="11"/>
                      </a:lnTo>
                      <a:lnTo>
                        <a:pt x="171" y="11"/>
                      </a:lnTo>
                      <a:lnTo>
                        <a:pt x="171" y="12"/>
                      </a:lnTo>
                      <a:lnTo>
                        <a:pt x="173" y="14"/>
                      </a:lnTo>
                      <a:lnTo>
                        <a:pt x="173" y="15"/>
                      </a:lnTo>
                      <a:lnTo>
                        <a:pt x="175" y="15"/>
                      </a:lnTo>
                      <a:lnTo>
                        <a:pt x="176" y="15"/>
                      </a:lnTo>
                      <a:lnTo>
                        <a:pt x="179" y="15"/>
                      </a:lnTo>
                      <a:lnTo>
                        <a:pt x="180" y="15"/>
                      </a:lnTo>
                      <a:lnTo>
                        <a:pt x="181" y="14"/>
                      </a:lnTo>
                      <a:lnTo>
                        <a:pt x="183" y="14"/>
                      </a:lnTo>
                      <a:lnTo>
                        <a:pt x="184" y="14"/>
                      </a:lnTo>
                      <a:lnTo>
                        <a:pt x="185" y="14"/>
                      </a:lnTo>
                      <a:lnTo>
                        <a:pt x="186" y="12"/>
                      </a:lnTo>
                      <a:lnTo>
                        <a:pt x="188" y="12"/>
                      </a:lnTo>
                      <a:lnTo>
                        <a:pt x="190" y="11"/>
                      </a:lnTo>
                      <a:lnTo>
                        <a:pt x="191" y="10"/>
                      </a:lnTo>
                      <a:lnTo>
                        <a:pt x="192" y="10"/>
                      </a:lnTo>
                      <a:lnTo>
                        <a:pt x="192" y="9"/>
                      </a:lnTo>
                      <a:lnTo>
                        <a:pt x="192" y="8"/>
                      </a:lnTo>
                      <a:lnTo>
                        <a:pt x="193" y="8"/>
                      </a:lnTo>
                      <a:lnTo>
                        <a:pt x="194" y="8"/>
                      </a:lnTo>
                      <a:lnTo>
                        <a:pt x="195" y="8"/>
                      </a:lnTo>
                      <a:lnTo>
                        <a:pt x="197" y="9"/>
                      </a:lnTo>
                      <a:lnTo>
                        <a:pt x="197" y="10"/>
                      </a:lnTo>
                      <a:lnTo>
                        <a:pt x="198" y="10"/>
                      </a:lnTo>
                      <a:lnTo>
                        <a:pt x="198" y="12"/>
                      </a:lnTo>
                      <a:lnTo>
                        <a:pt x="199" y="15"/>
                      </a:lnTo>
                      <a:lnTo>
                        <a:pt x="200" y="15"/>
                      </a:lnTo>
                      <a:lnTo>
                        <a:pt x="200" y="14"/>
                      </a:lnTo>
                      <a:lnTo>
                        <a:pt x="201" y="12"/>
                      </a:lnTo>
                      <a:lnTo>
                        <a:pt x="204" y="12"/>
                      </a:lnTo>
                      <a:lnTo>
                        <a:pt x="207" y="12"/>
                      </a:lnTo>
                      <a:lnTo>
                        <a:pt x="208" y="11"/>
                      </a:lnTo>
                      <a:lnTo>
                        <a:pt x="208" y="10"/>
                      </a:lnTo>
                      <a:lnTo>
                        <a:pt x="209" y="10"/>
                      </a:lnTo>
                      <a:lnTo>
                        <a:pt x="211" y="11"/>
                      </a:lnTo>
                      <a:lnTo>
                        <a:pt x="212" y="12"/>
                      </a:lnTo>
                      <a:lnTo>
                        <a:pt x="213" y="12"/>
                      </a:lnTo>
                      <a:lnTo>
                        <a:pt x="214" y="12"/>
                      </a:lnTo>
                      <a:lnTo>
                        <a:pt x="215" y="12"/>
                      </a:lnTo>
                      <a:lnTo>
                        <a:pt x="216" y="12"/>
                      </a:lnTo>
                      <a:lnTo>
                        <a:pt x="218" y="12"/>
                      </a:lnTo>
                      <a:lnTo>
                        <a:pt x="219" y="14"/>
                      </a:lnTo>
                      <a:lnTo>
                        <a:pt x="220" y="15"/>
                      </a:lnTo>
                      <a:lnTo>
                        <a:pt x="221" y="15"/>
                      </a:lnTo>
                      <a:lnTo>
                        <a:pt x="222" y="15"/>
                      </a:lnTo>
                      <a:lnTo>
                        <a:pt x="223" y="14"/>
                      </a:lnTo>
                      <a:lnTo>
                        <a:pt x="225" y="14"/>
                      </a:lnTo>
                      <a:lnTo>
                        <a:pt x="226" y="14"/>
                      </a:lnTo>
                      <a:lnTo>
                        <a:pt x="227" y="14"/>
                      </a:lnTo>
                      <a:lnTo>
                        <a:pt x="228" y="14"/>
                      </a:lnTo>
                      <a:lnTo>
                        <a:pt x="230" y="15"/>
                      </a:lnTo>
                      <a:lnTo>
                        <a:pt x="232" y="15"/>
                      </a:lnTo>
                      <a:lnTo>
                        <a:pt x="233" y="16"/>
                      </a:lnTo>
                      <a:lnTo>
                        <a:pt x="235" y="18"/>
                      </a:lnTo>
                      <a:lnTo>
                        <a:pt x="237" y="19"/>
                      </a:lnTo>
                      <a:lnTo>
                        <a:pt x="240" y="21"/>
                      </a:lnTo>
                      <a:lnTo>
                        <a:pt x="243" y="23"/>
                      </a:lnTo>
                      <a:lnTo>
                        <a:pt x="247" y="23"/>
                      </a:lnTo>
                      <a:lnTo>
                        <a:pt x="249" y="24"/>
                      </a:lnTo>
                      <a:lnTo>
                        <a:pt x="250" y="25"/>
                      </a:lnTo>
                      <a:lnTo>
                        <a:pt x="254" y="30"/>
                      </a:lnTo>
                      <a:lnTo>
                        <a:pt x="257" y="33"/>
                      </a:lnTo>
                      <a:lnTo>
                        <a:pt x="259" y="38"/>
                      </a:lnTo>
                      <a:lnTo>
                        <a:pt x="262" y="42"/>
                      </a:lnTo>
                      <a:lnTo>
                        <a:pt x="263" y="43"/>
                      </a:lnTo>
                      <a:lnTo>
                        <a:pt x="268" y="45"/>
                      </a:lnTo>
                      <a:lnTo>
                        <a:pt x="272" y="49"/>
                      </a:lnTo>
                      <a:lnTo>
                        <a:pt x="276" y="52"/>
                      </a:lnTo>
                      <a:lnTo>
                        <a:pt x="278" y="53"/>
                      </a:lnTo>
                      <a:lnTo>
                        <a:pt x="279" y="56"/>
                      </a:lnTo>
                      <a:lnTo>
                        <a:pt x="280" y="57"/>
                      </a:lnTo>
                      <a:lnTo>
                        <a:pt x="282" y="58"/>
                      </a:lnTo>
                      <a:lnTo>
                        <a:pt x="284" y="64"/>
                      </a:lnTo>
                      <a:lnTo>
                        <a:pt x="286" y="66"/>
                      </a:lnTo>
                      <a:lnTo>
                        <a:pt x="289" y="67"/>
                      </a:lnTo>
                      <a:lnTo>
                        <a:pt x="290" y="68"/>
                      </a:lnTo>
                      <a:lnTo>
                        <a:pt x="292" y="70"/>
                      </a:lnTo>
                      <a:lnTo>
                        <a:pt x="293" y="71"/>
                      </a:lnTo>
                      <a:lnTo>
                        <a:pt x="296" y="74"/>
                      </a:lnTo>
                      <a:lnTo>
                        <a:pt x="298" y="78"/>
                      </a:lnTo>
                      <a:lnTo>
                        <a:pt x="299" y="79"/>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solidFill>
                      <a:srgbClr val="575757"/>
                    </a:solidFill>
                    <a:latin typeface="+mj-lt"/>
                  </a:endParaRPr>
                </a:p>
              </p:txBody>
            </p:sp>
          </p:grpSp>
          <p:grpSp>
            <p:nvGrpSpPr>
              <p:cNvPr id="90" name="Group 527">
                <a:extLst>
                  <a:ext uri="{FF2B5EF4-FFF2-40B4-BE49-F238E27FC236}">
                    <a16:creationId xmlns:a16="http://schemas.microsoft.com/office/drawing/2014/main" id="{0C921D23-A721-1D31-FCFB-E63D801F2238}"/>
                  </a:ext>
                </a:extLst>
              </p:cNvPr>
              <p:cNvGrpSpPr/>
              <p:nvPr/>
            </p:nvGrpSpPr>
            <p:grpSpPr>
              <a:xfrm>
                <a:off x="5620084" y="2410755"/>
                <a:ext cx="2045557" cy="2644832"/>
                <a:chOff x="5620084" y="2410755"/>
                <a:chExt cx="2045557" cy="2644832"/>
              </a:xfrm>
            </p:grpSpPr>
            <p:sp>
              <p:nvSpPr>
                <p:cNvPr id="91" name="Freeform 85">
                  <a:extLst>
                    <a:ext uri="{FF2B5EF4-FFF2-40B4-BE49-F238E27FC236}">
                      <a16:creationId xmlns:a16="http://schemas.microsoft.com/office/drawing/2014/main" id="{C6EDB92C-6B1E-7ED2-E20D-E9108787600A}"/>
                    </a:ext>
                  </a:extLst>
                </p:cNvPr>
                <p:cNvSpPr>
                  <a:spLocks/>
                </p:cNvSpPr>
                <p:nvPr/>
              </p:nvSpPr>
              <p:spPr bwMode="auto">
                <a:xfrm>
                  <a:off x="5909826" y="2422690"/>
                  <a:ext cx="718270" cy="717188"/>
                </a:xfrm>
                <a:custGeom>
                  <a:avLst/>
                  <a:gdLst>
                    <a:gd name="T0" fmla="*/ 546 w 664"/>
                    <a:gd name="T1" fmla="*/ 17 h 663"/>
                    <a:gd name="T2" fmla="*/ 543 w 664"/>
                    <a:gd name="T3" fmla="*/ 40 h 663"/>
                    <a:gd name="T4" fmla="*/ 543 w 664"/>
                    <a:gd name="T5" fmla="*/ 70 h 663"/>
                    <a:gd name="T6" fmla="*/ 540 w 664"/>
                    <a:gd name="T7" fmla="*/ 94 h 663"/>
                    <a:gd name="T8" fmla="*/ 526 w 664"/>
                    <a:gd name="T9" fmla="*/ 113 h 663"/>
                    <a:gd name="T10" fmla="*/ 522 w 664"/>
                    <a:gd name="T11" fmla="*/ 139 h 663"/>
                    <a:gd name="T12" fmla="*/ 544 w 664"/>
                    <a:gd name="T13" fmla="*/ 168 h 663"/>
                    <a:gd name="T14" fmla="*/ 573 w 664"/>
                    <a:gd name="T15" fmla="*/ 216 h 663"/>
                    <a:gd name="T16" fmla="*/ 581 w 664"/>
                    <a:gd name="T17" fmla="*/ 274 h 663"/>
                    <a:gd name="T18" fmla="*/ 594 w 664"/>
                    <a:gd name="T19" fmla="*/ 364 h 663"/>
                    <a:gd name="T20" fmla="*/ 597 w 664"/>
                    <a:gd name="T21" fmla="*/ 395 h 663"/>
                    <a:gd name="T22" fmla="*/ 602 w 664"/>
                    <a:gd name="T23" fmla="*/ 458 h 663"/>
                    <a:gd name="T24" fmla="*/ 648 w 664"/>
                    <a:gd name="T25" fmla="*/ 477 h 663"/>
                    <a:gd name="T26" fmla="*/ 644 w 664"/>
                    <a:gd name="T27" fmla="*/ 518 h 663"/>
                    <a:gd name="T28" fmla="*/ 610 w 664"/>
                    <a:gd name="T29" fmla="*/ 540 h 663"/>
                    <a:gd name="T30" fmla="*/ 575 w 664"/>
                    <a:gd name="T31" fmla="*/ 562 h 663"/>
                    <a:gd name="T32" fmla="*/ 540 w 664"/>
                    <a:gd name="T33" fmla="*/ 584 h 663"/>
                    <a:gd name="T34" fmla="*/ 503 w 664"/>
                    <a:gd name="T35" fmla="*/ 614 h 663"/>
                    <a:gd name="T36" fmla="*/ 472 w 664"/>
                    <a:gd name="T37" fmla="*/ 643 h 663"/>
                    <a:gd name="T38" fmla="*/ 401 w 664"/>
                    <a:gd name="T39" fmla="*/ 660 h 663"/>
                    <a:gd name="T40" fmla="*/ 384 w 664"/>
                    <a:gd name="T41" fmla="*/ 651 h 663"/>
                    <a:gd name="T42" fmla="*/ 376 w 664"/>
                    <a:gd name="T43" fmla="*/ 630 h 663"/>
                    <a:gd name="T44" fmla="*/ 346 w 664"/>
                    <a:gd name="T45" fmla="*/ 621 h 663"/>
                    <a:gd name="T46" fmla="*/ 331 w 664"/>
                    <a:gd name="T47" fmla="*/ 608 h 663"/>
                    <a:gd name="T48" fmla="*/ 319 w 664"/>
                    <a:gd name="T49" fmla="*/ 594 h 663"/>
                    <a:gd name="T50" fmla="*/ 281 w 664"/>
                    <a:gd name="T51" fmla="*/ 566 h 663"/>
                    <a:gd name="T52" fmla="*/ 236 w 664"/>
                    <a:gd name="T53" fmla="*/ 535 h 663"/>
                    <a:gd name="T54" fmla="*/ 191 w 664"/>
                    <a:gd name="T55" fmla="*/ 504 h 663"/>
                    <a:gd name="T56" fmla="*/ 149 w 664"/>
                    <a:gd name="T57" fmla="*/ 475 h 663"/>
                    <a:gd name="T58" fmla="*/ 93 w 664"/>
                    <a:gd name="T59" fmla="*/ 439 h 663"/>
                    <a:gd name="T60" fmla="*/ 0 w 664"/>
                    <a:gd name="T61" fmla="*/ 376 h 663"/>
                    <a:gd name="T62" fmla="*/ 0 w 664"/>
                    <a:gd name="T63" fmla="*/ 337 h 663"/>
                    <a:gd name="T64" fmla="*/ 19 w 664"/>
                    <a:gd name="T65" fmla="*/ 314 h 663"/>
                    <a:gd name="T66" fmla="*/ 55 w 664"/>
                    <a:gd name="T67" fmla="*/ 297 h 663"/>
                    <a:gd name="T68" fmla="*/ 112 w 664"/>
                    <a:gd name="T69" fmla="*/ 279 h 663"/>
                    <a:gd name="T70" fmla="*/ 163 w 664"/>
                    <a:gd name="T71" fmla="*/ 243 h 663"/>
                    <a:gd name="T72" fmla="*/ 155 w 664"/>
                    <a:gd name="T73" fmla="*/ 231 h 663"/>
                    <a:gd name="T74" fmla="*/ 196 w 664"/>
                    <a:gd name="T75" fmla="*/ 197 h 663"/>
                    <a:gd name="T76" fmla="*/ 234 w 664"/>
                    <a:gd name="T77" fmla="*/ 198 h 663"/>
                    <a:gd name="T78" fmla="*/ 240 w 664"/>
                    <a:gd name="T79" fmla="*/ 187 h 663"/>
                    <a:gd name="T80" fmla="*/ 225 w 664"/>
                    <a:gd name="T81" fmla="*/ 159 h 663"/>
                    <a:gd name="T82" fmla="*/ 221 w 664"/>
                    <a:gd name="T83" fmla="*/ 135 h 663"/>
                    <a:gd name="T84" fmla="*/ 218 w 664"/>
                    <a:gd name="T85" fmla="*/ 99 h 663"/>
                    <a:gd name="T86" fmla="*/ 204 w 664"/>
                    <a:gd name="T87" fmla="*/ 85 h 663"/>
                    <a:gd name="T88" fmla="*/ 224 w 664"/>
                    <a:gd name="T89" fmla="*/ 78 h 663"/>
                    <a:gd name="T90" fmla="*/ 241 w 664"/>
                    <a:gd name="T91" fmla="*/ 61 h 663"/>
                    <a:gd name="T92" fmla="*/ 255 w 664"/>
                    <a:gd name="T93" fmla="*/ 57 h 663"/>
                    <a:gd name="T94" fmla="*/ 267 w 664"/>
                    <a:gd name="T95" fmla="*/ 54 h 663"/>
                    <a:gd name="T96" fmla="*/ 285 w 664"/>
                    <a:gd name="T97" fmla="*/ 41 h 663"/>
                    <a:gd name="T98" fmla="*/ 303 w 664"/>
                    <a:gd name="T99" fmla="*/ 31 h 663"/>
                    <a:gd name="T100" fmla="*/ 321 w 664"/>
                    <a:gd name="T101" fmla="*/ 24 h 663"/>
                    <a:gd name="T102" fmla="*/ 353 w 664"/>
                    <a:gd name="T103" fmla="*/ 21 h 663"/>
                    <a:gd name="T104" fmla="*/ 375 w 664"/>
                    <a:gd name="T105" fmla="*/ 15 h 663"/>
                    <a:gd name="T106" fmla="*/ 398 w 664"/>
                    <a:gd name="T107" fmla="*/ 8 h 663"/>
                    <a:gd name="T108" fmla="*/ 415 w 664"/>
                    <a:gd name="T109" fmla="*/ 9 h 663"/>
                    <a:gd name="T110" fmla="*/ 439 w 664"/>
                    <a:gd name="T111" fmla="*/ 13 h 663"/>
                    <a:gd name="T112" fmla="*/ 458 w 664"/>
                    <a:gd name="T113" fmla="*/ 13 h 663"/>
                    <a:gd name="T114" fmla="*/ 483 w 664"/>
                    <a:gd name="T115" fmla="*/ 0 h 663"/>
                    <a:gd name="T116" fmla="*/ 503 w 664"/>
                    <a:gd name="T117" fmla="*/ 7 h 663"/>
                    <a:gd name="T118" fmla="*/ 513 w 664"/>
                    <a:gd name="T119" fmla="*/ 2 h 663"/>
                    <a:gd name="T120" fmla="*/ 525 w 664"/>
                    <a:gd name="T121" fmla="*/ 7 h 663"/>
                    <a:gd name="T122" fmla="*/ 548 w 664"/>
                    <a:gd name="T123" fmla="*/ 7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663">
                      <a:moveTo>
                        <a:pt x="552" y="6"/>
                      </a:moveTo>
                      <a:lnTo>
                        <a:pt x="552" y="7"/>
                      </a:lnTo>
                      <a:lnTo>
                        <a:pt x="552" y="8"/>
                      </a:lnTo>
                      <a:lnTo>
                        <a:pt x="553" y="8"/>
                      </a:lnTo>
                      <a:lnTo>
                        <a:pt x="553" y="9"/>
                      </a:lnTo>
                      <a:lnTo>
                        <a:pt x="553" y="10"/>
                      </a:lnTo>
                      <a:lnTo>
                        <a:pt x="551" y="12"/>
                      </a:lnTo>
                      <a:lnTo>
                        <a:pt x="549" y="12"/>
                      </a:lnTo>
                      <a:lnTo>
                        <a:pt x="548" y="12"/>
                      </a:lnTo>
                      <a:lnTo>
                        <a:pt x="547" y="12"/>
                      </a:lnTo>
                      <a:lnTo>
                        <a:pt x="546" y="13"/>
                      </a:lnTo>
                      <a:lnTo>
                        <a:pt x="547" y="14"/>
                      </a:lnTo>
                      <a:lnTo>
                        <a:pt x="548" y="14"/>
                      </a:lnTo>
                      <a:lnTo>
                        <a:pt x="547" y="16"/>
                      </a:lnTo>
                      <a:lnTo>
                        <a:pt x="547" y="17"/>
                      </a:lnTo>
                      <a:lnTo>
                        <a:pt x="546" y="17"/>
                      </a:lnTo>
                      <a:lnTo>
                        <a:pt x="543" y="21"/>
                      </a:lnTo>
                      <a:lnTo>
                        <a:pt x="540" y="21"/>
                      </a:lnTo>
                      <a:lnTo>
                        <a:pt x="539" y="22"/>
                      </a:lnTo>
                      <a:lnTo>
                        <a:pt x="538" y="23"/>
                      </a:lnTo>
                      <a:lnTo>
                        <a:pt x="538" y="24"/>
                      </a:lnTo>
                      <a:lnTo>
                        <a:pt x="540" y="24"/>
                      </a:lnTo>
                      <a:lnTo>
                        <a:pt x="543" y="24"/>
                      </a:lnTo>
                      <a:lnTo>
                        <a:pt x="544" y="26"/>
                      </a:lnTo>
                      <a:lnTo>
                        <a:pt x="545" y="27"/>
                      </a:lnTo>
                      <a:lnTo>
                        <a:pt x="545" y="29"/>
                      </a:lnTo>
                      <a:lnTo>
                        <a:pt x="543" y="34"/>
                      </a:lnTo>
                      <a:lnTo>
                        <a:pt x="543" y="36"/>
                      </a:lnTo>
                      <a:lnTo>
                        <a:pt x="544" y="37"/>
                      </a:lnTo>
                      <a:lnTo>
                        <a:pt x="544" y="38"/>
                      </a:lnTo>
                      <a:lnTo>
                        <a:pt x="543" y="38"/>
                      </a:lnTo>
                      <a:lnTo>
                        <a:pt x="543" y="40"/>
                      </a:lnTo>
                      <a:lnTo>
                        <a:pt x="543" y="42"/>
                      </a:lnTo>
                      <a:lnTo>
                        <a:pt x="541" y="44"/>
                      </a:lnTo>
                      <a:lnTo>
                        <a:pt x="541" y="45"/>
                      </a:lnTo>
                      <a:lnTo>
                        <a:pt x="541" y="48"/>
                      </a:lnTo>
                      <a:lnTo>
                        <a:pt x="541" y="50"/>
                      </a:lnTo>
                      <a:lnTo>
                        <a:pt x="541" y="52"/>
                      </a:lnTo>
                      <a:lnTo>
                        <a:pt x="541" y="54"/>
                      </a:lnTo>
                      <a:lnTo>
                        <a:pt x="543" y="56"/>
                      </a:lnTo>
                      <a:lnTo>
                        <a:pt x="544" y="57"/>
                      </a:lnTo>
                      <a:lnTo>
                        <a:pt x="544" y="58"/>
                      </a:lnTo>
                      <a:lnTo>
                        <a:pt x="544" y="62"/>
                      </a:lnTo>
                      <a:lnTo>
                        <a:pt x="544" y="63"/>
                      </a:lnTo>
                      <a:lnTo>
                        <a:pt x="543" y="66"/>
                      </a:lnTo>
                      <a:lnTo>
                        <a:pt x="543" y="68"/>
                      </a:lnTo>
                      <a:lnTo>
                        <a:pt x="543" y="69"/>
                      </a:lnTo>
                      <a:lnTo>
                        <a:pt x="543" y="70"/>
                      </a:lnTo>
                      <a:lnTo>
                        <a:pt x="544" y="72"/>
                      </a:lnTo>
                      <a:lnTo>
                        <a:pt x="545" y="72"/>
                      </a:lnTo>
                      <a:lnTo>
                        <a:pt x="546" y="72"/>
                      </a:lnTo>
                      <a:lnTo>
                        <a:pt x="547" y="73"/>
                      </a:lnTo>
                      <a:lnTo>
                        <a:pt x="547" y="75"/>
                      </a:lnTo>
                      <a:lnTo>
                        <a:pt x="545" y="77"/>
                      </a:lnTo>
                      <a:lnTo>
                        <a:pt x="544" y="79"/>
                      </a:lnTo>
                      <a:lnTo>
                        <a:pt x="543" y="80"/>
                      </a:lnTo>
                      <a:lnTo>
                        <a:pt x="543" y="84"/>
                      </a:lnTo>
                      <a:lnTo>
                        <a:pt x="541" y="85"/>
                      </a:lnTo>
                      <a:lnTo>
                        <a:pt x="541" y="87"/>
                      </a:lnTo>
                      <a:lnTo>
                        <a:pt x="541" y="89"/>
                      </a:lnTo>
                      <a:lnTo>
                        <a:pt x="543" y="92"/>
                      </a:lnTo>
                      <a:lnTo>
                        <a:pt x="543" y="93"/>
                      </a:lnTo>
                      <a:lnTo>
                        <a:pt x="541" y="93"/>
                      </a:lnTo>
                      <a:lnTo>
                        <a:pt x="540" y="94"/>
                      </a:lnTo>
                      <a:lnTo>
                        <a:pt x="540" y="96"/>
                      </a:lnTo>
                      <a:lnTo>
                        <a:pt x="541" y="97"/>
                      </a:lnTo>
                      <a:lnTo>
                        <a:pt x="541" y="98"/>
                      </a:lnTo>
                      <a:lnTo>
                        <a:pt x="540" y="98"/>
                      </a:lnTo>
                      <a:lnTo>
                        <a:pt x="539" y="98"/>
                      </a:lnTo>
                      <a:lnTo>
                        <a:pt x="539" y="99"/>
                      </a:lnTo>
                      <a:lnTo>
                        <a:pt x="539" y="100"/>
                      </a:lnTo>
                      <a:lnTo>
                        <a:pt x="538" y="100"/>
                      </a:lnTo>
                      <a:lnTo>
                        <a:pt x="537" y="101"/>
                      </a:lnTo>
                      <a:lnTo>
                        <a:pt x="533" y="103"/>
                      </a:lnTo>
                      <a:lnTo>
                        <a:pt x="532" y="104"/>
                      </a:lnTo>
                      <a:lnTo>
                        <a:pt x="530" y="105"/>
                      </a:lnTo>
                      <a:lnTo>
                        <a:pt x="529" y="106"/>
                      </a:lnTo>
                      <a:lnTo>
                        <a:pt x="527" y="107"/>
                      </a:lnTo>
                      <a:lnTo>
                        <a:pt x="526" y="112"/>
                      </a:lnTo>
                      <a:lnTo>
                        <a:pt x="526" y="113"/>
                      </a:lnTo>
                      <a:lnTo>
                        <a:pt x="525" y="113"/>
                      </a:lnTo>
                      <a:lnTo>
                        <a:pt x="523" y="114"/>
                      </a:lnTo>
                      <a:lnTo>
                        <a:pt x="522" y="114"/>
                      </a:lnTo>
                      <a:lnTo>
                        <a:pt x="520" y="115"/>
                      </a:lnTo>
                      <a:lnTo>
                        <a:pt x="520" y="117"/>
                      </a:lnTo>
                      <a:lnTo>
                        <a:pt x="519" y="118"/>
                      </a:lnTo>
                      <a:lnTo>
                        <a:pt x="518" y="119"/>
                      </a:lnTo>
                      <a:lnTo>
                        <a:pt x="518" y="120"/>
                      </a:lnTo>
                      <a:lnTo>
                        <a:pt x="518" y="122"/>
                      </a:lnTo>
                      <a:lnTo>
                        <a:pt x="517" y="126"/>
                      </a:lnTo>
                      <a:lnTo>
                        <a:pt x="517" y="128"/>
                      </a:lnTo>
                      <a:lnTo>
                        <a:pt x="518" y="131"/>
                      </a:lnTo>
                      <a:lnTo>
                        <a:pt x="519" y="133"/>
                      </a:lnTo>
                      <a:lnTo>
                        <a:pt x="519" y="134"/>
                      </a:lnTo>
                      <a:lnTo>
                        <a:pt x="519" y="135"/>
                      </a:lnTo>
                      <a:lnTo>
                        <a:pt x="522" y="139"/>
                      </a:lnTo>
                      <a:lnTo>
                        <a:pt x="524" y="143"/>
                      </a:lnTo>
                      <a:lnTo>
                        <a:pt x="525" y="145"/>
                      </a:lnTo>
                      <a:lnTo>
                        <a:pt x="525" y="150"/>
                      </a:lnTo>
                      <a:lnTo>
                        <a:pt x="525" y="152"/>
                      </a:lnTo>
                      <a:lnTo>
                        <a:pt x="526" y="153"/>
                      </a:lnTo>
                      <a:lnTo>
                        <a:pt x="527" y="153"/>
                      </a:lnTo>
                      <a:lnTo>
                        <a:pt x="529" y="154"/>
                      </a:lnTo>
                      <a:lnTo>
                        <a:pt x="530" y="154"/>
                      </a:lnTo>
                      <a:lnTo>
                        <a:pt x="533" y="156"/>
                      </a:lnTo>
                      <a:lnTo>
                        <a:pt x="534" y="156"/>
                      </a:lnTo>
                      <a:lnTo>
                        <a:pt x="536" y="157"/>
                      </a:lnTo>
                      <a:lnTo>
                        <a:pt x="536" y="156"/>
                      </a:lnTo>
                      <a:lnTo>
                        <a:pt x="537" y="157"/>
                      </a:lnTo>
                      <a:lnTo>
                        <a:pt x="540" y="162"/>
                      </a:lnTo>
                      <a:lnTo>
                        <a:pt x="544" y="167"/>
                      </a:lnTo>
                      <a:lnTo>
                        <a:pt x="544" y="168"/>
                      </a:lnTo>
                      <a:lnTo>
                        <a:pt x="544" y="174"/>
                      </a:lnTo>
                      <a:lnTo>
                        <a:pt x="545" y="177"/>
                      </a:lnTo>
                      <a:lnTo>
                        <a:pt x="545" y="178"/>
                      </a:lnTo>
                      <a:lnTo>
                        <a:pt x="546" y="180"/>
                      </a:lnTo>
                      <a:lnTo>
                        <a:pt x="549" y="182"/>
                      </a:lnTo>
                      <a:lnTo>
                        <a:pt x="555" y="185"/>
                      </a:lnTo>
                      <a:lnTo>
                        <a:pt x="561" y="191"/>
                      </a:lnTo>
                      <a:lnTo>
                        <a:pt x="567" y="195"/>
                      </a:lnTo>
                      <a:lnTo>
                        <a:pt x="568" y="195"/>
                      </a:lnTo>
                      <a:lnTo>
                        <a:pt x="568" y="196"/>
                      </a:lnTo>
                      <a:lnTo>
                        <a:pt x="568" y="198"/>
                      </a:lnTo>
                      <a:lnTo>
                        <a:pt x="568" y="199"/>
                      </a:lnTo>
                      <a:lnTo>
                        <a:pt x="569" y="203"/>
                      </a:lnTo>
                      <a:lnTo>
                        <a:pt x="570" y="208"/>
                      </a:lnTo>
                      <a:lnTo>
                        <a:pt x="572" y="211"/>
                      </a:lnTo>
                      <a:lnTo>
                        <a:pt x="573" y="216"/>
                      </a:lnTo>
                      <a:lnTo>
                        <a:pt x="573" y="219"/>
                      </a:lnTo>
                      <a:lnTo>
                        <a:pt x="574" y="224"/>
                      </a:lnTo>
                      <a:lnTo>
                        <a:pt x="575" y="227"/>
                      </a:lnTo>
                      <a:lnTo>
                        <a:pt x="576" y="232"/>
                      </a:lnTo>
                      <a:lnTo>
                        <a:pt x="577" y="236"/>
                      </a:lnTo>
                      <a:lnTo>
                        <a:pt x="579" y="240"/>
                      </a:lnTo>
                      <a:lnTo>
                        <a:pt x="579" y="245"/>
                      </a:lnTo>
                      <a:lnTo>
                        <a:pt x="580" y="248"/>
                      </a:lnTo>
                      <a:lnTo>
                        <a:pt x="581" y="253"/>
                      </a:lnTo>
                      <a:lnTo>
                        <a:pt x="582" y="257"/>
                      </a:lnTo>
                      <a:lnTo>
                        <a:pt x="583" y="261"/>
                      </a:lnTo>
                      <a:lnTo>
                        <a:pt x="583" y="265"/>
                      </a:lnTo>
                      <a:lnTo>
                        <a:pt x="576" y="269"/>
                      </a:lnTo>
                      <a:lnTo>
                        <a:pt x="577" y="271"/>
                      </a:lnTo>
                      <a:lnTo>
                        <a:pt x="579" y="273"/>
                      </a:lnTo>
                      <a:lnTo>
                        <a:pt x="581" y="274"/>
                      </a:lnTo>
                      <a:lnTo>
                        <a:pt x="584" y="281"/>
                      </a:lnTo>
                      <a:lnTo>
                        <a:pt x="589" y="288"/>
                      </a:lnTo>
                      <a:lnTo>
                        <a:pt x="591" y="296"/>
                      </a:lnTo>
                      <a:lnTo>
                        <a:pt x="594" y="306"/>
                      </a:lnTo>
                      <a:lnTo>
                        <a:pt x="595" y="311"/>
                      </a:lnTo>
                      <a:lnTo>
                        <a:pt x="595" y="317"/>
                      </a:lnTo>
                      <a:lnTo>
                        <a:pt x="594" y="324"/>
                      </a:lnTo>
                      <a:lnTo>
                        <a:pt x="593" y="337"/>
                      </a:lnTo>
                      <a:lnTo>
                        <a:pt x="593" y="339"/>
                      </a:lnTo>
                      <a:lnTo>
                        <a:pt x="597" y="351"/>
                      </a:lnTo>
                      <a:lnTo>
                        <a:pt x="597" y="352"/>
                      </a:lnTo>
                      <a:lnTo>
                        <a:pt x="597" y="353"/>
                      </a:lnTo>
                      <a:lnTo>
                        <a:pt x="595" y="360"/>
                      </a:lnTo>
                      <a:lnTo>
                        <a:pt x="594" y="362"/>
                      </a:lnTo>
                      <a:lnTo>
                        <a:pt x="594" y="363"/>
                      </a:lnTo>
                      <a:lnTo>
                        <a:pt x="594" y="364"/>
                      </a:lnTo>
                      <a:lnTo>
                        <a:pt x="594" y="365"/>
                      </a:lnTo>
                      <a:lnTo>
                        <a:pt x="593" y="366"/>
                      </a:lnTo>
                      <a:lnTo>
                        <a:pt x="593" y="367"/>
                      </a:lnTo>
                      <a:lnTo>
                        <a:pt x="591" y="370"/>
                      </a:lnTo>
                      <a:lnTo>
                        <a:pt x="591" y="371"/>
                      </a:lnTo>
                      <a:lnTo>
                        <a:pt x="591" y="372"/>
                      </a:lnTo>
                      <a:lnTo>
                        <a:pt x="594" y="381"/>
                      </a:lnTo>
                      <a:lnTo>
                        <a:pt x="595" y="385"/>
                      </a:lnTo>
                      <a:lnTo>
                        <a:pt x="595" y="386"/>
                      </a:lnTo>
                      <a:lnTo>
                        <a:pt x="596" y="387"/>
                      </a:lnTo>
                      <a:lnTo>
                        <a:pt x="597" y="387"/>
                      </a:lnTo>
                      <a:lnTo>
                        <a:pt x="597" y="388"/>
                      </a:lnTo>
                      <a:lnTo>
                        <a:pt x="596" y="392"/>
                      </a:lnTo>
                      <a:lnTo>
                        <a:pt x="596" y="393"/>
                      </a:lnTo>
                      <a:lnTo>
                        <a:pt x="597" y="394"/>
                      </a:lnTo>
                      <a:lnTo>
                        <a:pt x="597" y="395"/>
                      </a:lnTo>
                      <a:lnTo>
                        <a:pt x="595" y="400"/>
                      </a:lnTo>
                      <a:lnTo>
                        <a:pt x="583" y="406"/>
                      </a:lnTo>
                      <a:lnTo>
                        <a:pt x="583" y="407"/>
                      </a:lnTo>
                      <a:lnTo>
                        <a:pt x="582" y="408"/>
                      </a:lnTo>
                      <a:lnTo>
                        <a:pt x="581" y="411"/>
                      </a:lnTo>
                      <a:lnTo>
                        <a:pt x="580" y="413"/>
                      </a:lnTo>
                      <a:lnTo>
                        <a:pt x="581" y="414"/>
                      </a:lnTo>
                      <a:lnTo>
                        <a:pt x="586" y="421"/>
                      </a:lnTo>
                      <a:lnTo>
                        <a:pt x="590" y="427"/>
                      </a:lnTo>
                      <a:lnTo>
                        <a:pt x="595" y="433"/>
                      </a:lnTo>
                      <a:lnTo>
                        <a:pt x="600" y="440"/>
                      </a:lnTo>
                      <a:lnTo>
                        <a:pt x="601" y="442"/>
                      </a:lnTo>
                      <a:lnTo>
                        <a:pt x="601" y="444"/>
                      </a:lnTo>
                      <a:lnTo>
                        <a:pt x="601" y="449"/>
                      </a:lnTo>
                      <a:lnTo>
                        <a:pt x="602" y="454"/>
                      </a:lnTo>
                      <a:lnTo>
                        <a:pt x="602" y="458"/>
                      </a:lnTo>
                      <a:lnTo>
                        <a:pt x="602" y="460"/>
                      </a:lnTo>
                      <a:lnTo>
                        <a:pt x="607" y="462"/>
                      </a:lnTo>
                      <a:lnTo>
                        <a:pt x="608" y="463"/>
                      </a:lnTo>
                      <a:lnTo>
                        <a:pt x="608" y="467"/>
                      </a:lnTo>
                      <a:lnTo>
                        <a:pt x="609" y="468"/>
                      </a:lnTo>
                      <a:lnTo>
                        <a:pt x="609" y="469"/>
                      </a:lnTo>
                      <a:lnTo>
                        <a:pt x="614" y="471"/>
                      </a:lnTo>
                      <a:lnTo>
                        <a:pt x="614" y="472"/>
                      </a:lnTo>
                      <a:lnTo>
                        <a:pt x="615" y="472"/>
                      </a:lnTo>
                      <a:lnTo>
                        <a:pt x="618" y="470"/>
                      </a:lnTo>
                      <a:lnTo>
                        <a:pt x="623" y="469"/>
                      </a:lnTo>
                      <a:lnTo>
                        <a:pt x="624" y="469"/>
                      </a:lnTo>
                      <a:lnTo>
                        <a:pt x="630" y="471"/>
                      </a:lnTo>
                      <a:lnTo>
                        <a:pt x="638" y="474"/>
                      </a:lnTo>
                      <a:lnTo>
                        <a:pt x="647" y="477"/>
                      </a:lnTo>
                      <a:lnTo>
                        <a:pt x="648" y="477"/>
                      </a:lnTo>
                      <a:lnTo>
                        <a:pt x="650" y="478"/>
                      </a:lnTo>
                      <a:lnTo>
                        <a:pt x="651" y="479"/>
                      </a:lnTo>
                      <a:lnTo>
                        <a:pt x="653" y="484"/>
                      </a:lnTo>
                      <a:lnTo>
                        <a:pt x="655" y="489"/>
                      </a:lnTo>
                      <a:lnTo>
                        <a:pt x="659" y="496"/>
                      </a:lnTo>
                      <a:lnTo>
                        <a:pt x="661" y="500"/>
                      </a:lnTo>
                      <a:lnTo>
                        <a:pt x="664" y="505"/>
                      </a:lnTo>
                      <a:lnTo>
                        <a:pt x="661" y="506"/>
                      </a:lnTo>
                      <a:lnTo>
                        <a:pt x="660" y="507"/>
                      </a:lnTo>
                      <a:lnTo>
                        <a:pt x="658" y="510"/>
                      </a:lnTo>
                      <a:lnTo>
                        <a:pt x="655" y="511"/>
                      </a:lnTo>
                      <a:lnTo>
                        <a:pt x="653" y="512"/>
                      </a:lnTo>
                      <a:lnTo>
                        <a:pt x="651" y="513"/>
                      </a:lnTo>
                      <a:lnTo>
                        <a:pt x="648" y="514"/>
                      </a:lnTo>
                      <a:lnTo>
                        <a:pt x="646" y="517"/>
                      </a:lnTo>
                      <a:lnTo>
                        <a:pt x="644" y="518"/>
                      </a:lnTo>
                      <a:lnTo>
                        <a:pt x="643" y="519"/>
                      </a:lnTo>
                      <a:lnTo>
                        <a:pt x="640" y="520"/>
                      </a:lnTo>
                      <a:lnTo>
                        <a:pt x="638" y="523"/>
                      </a:lnTo>
                      <a:lnTo>
                        <a:pt x="636" y="524"/>
                      </a:lnTo>
                      <a:lnTo>
                        <a:pt x="633" y="525"/>
                      </a:lnTo>
                      <a:lnTo>
                        <a:pt x="631" y="526"/>
                      </a:lnTo>
                      <a:lnTo>
                        <a:pt x="629" y="527"/>
                      </a:lnTo>
                      <a:lnTo>
                        <a:pt x="627" y="530"/>
                      </a:lnTo>
                      <a:lnTo>
                        <a:pt x="625" y="531"/>
                      </a:lnTo>
                      <a:lnTo>
                        <a:pt x="623" y="532"/>
                      </a:lnTo>
                      <a:lnTo>
                        <a:pt x="620" y="533"/>
                      </a:lnTo>
                      <a:lnTo>
                        <a:pt x="618" y="534"/>
                      </a:lnTo>
                      <a:lnTo>
                        <a:pt x="616" y="537"/>
                      </a:lnTo>
                      <a:lnTo>
                        <a:pt x="614" y="538"/>
                      </a:lnTo>
                      <a:lnTo>
                        <a:pt x="612" y="539"/>
                      </a:lnTo>
                      <a:lnTo>
                        <a:pt x="610" y="540"/>
                      </a:lnTo>
                      <a:lnTo>
                        <a:pt x="608" y="541"/>
                      </a:lnTo>
                      <a:lnTo>
                        <a:pt x="605" y="544"/>
                      </a:lnTo>
                      <a:lnTo>
                        <a:pt x="603" y="545"/>
                      </a:lnTo>
                      <a:lnTo>
                        <a:pt x="601" y="546"/>
                      </a:lnTo>
                      <a:lnTo>
                        <a:pt x="598" y="547"/>
                      </a:lnTo>
                      <a:lnTo>
                        <a:pt x="596" y="548"/>
                      </a:lnTo>
                      <a:lnTo>
                        <a:pt x="595" y="551"/>
                      </a:lnTo>
                      <a:lnTo>
                        <a:pt x="593" y="552"/>
                      </a:lnTo>
                      <a:lnTo>
                        <a:pt x="590" y="553"/>
                      </a:lnTo>
                      <a:lnTo>
                        <a:pt x="588" y="554"/>
                      </a:lnTo>
                      <a:lnTo>
                        <a:pt x="586" y="555"/>
                      </a:lnTo>
                      <a:lnTo>
                        <a:pt x="583" y="558"/>
                      </a:lnTo>
                      <a:lnTo>
                        <a:pt x="581" y="559"/>
                      </a:lnTo>
                      <a:lnTo>
                        <a:pt x="580" y="560"/>
                      </a:lnTo>
                      <a:lnTo>
                        <a:pt x="577" y="561"/>
                      </a:lnTo>
                      <a:lnTo>
                        <a:pt x="575" y="562"/>
                      </a:lnTo>
                      <a:lnTo>
                        <a:pt x="573" y="565"/>
                      </a:lnTo>
                      <a:lnTo>
                        <a:pt x="570" y="566"/>
                      </a:lnTo>
                      <a:lnTo>
                        <a:pt x="568" y="567"/>
                      </a:lnTo>
                      <a:lnTo>
                        <a:pt x="566" y="568"/>
                      </a:lnTo>
                      <a:lnTo>
                        <a:pt x="565" y="569"/>
                      </a:lnTo>
                      <a:lnTo>
                        <a:pt x="562" y="570"/>
                      </a:lnTo>
                      <a:lnTo>
                        <a:pt x="560" y="573"/>
                      </a:lnTo>
                      <a:lnTo>
                        <a:pt x="558" y="574"/>
                      </a:lnTo>
                      <a:lnTo>
                        <a:pt x="555" y="575"/>
                      </a:lnTo>
                      <a:lnTo>
                        <a:pt x="553" y="576"/>
                      </a:lnTo>
                      <a:lnTo>
                        <a:pt x="551" y="577"/>
                      </a:lnTo>
                      <a:lnTo>
                        <a:pt x="549" y="580"/>
                      </a:lnTo>
                      <a:lnTo>
                        <a:pt x="547" y="581"/>
                      </a:lnTo>
                      <a:lnTo>
                        <a:pt x="545" y="582"/>
                      </a:lnTo>
                      <a:lnTo>
                        <a:pt x="543" y="583"/>
                      </a:lnTo>
                      <a:lnTo>
                        <a:pt x="540" y="584"/>
                      </a:lnTo>
                      <a:lnTo>
                        <a:pt x="538" y="587"/>
                      </a:lnTo>
                      <a:lnTo>
                        <a:pt x="536" y="588"/>
                      </a:lnTo>
                      <a:lnTo>
                        <a:pt x="534" y="589"/>
                      </a:lnTo>
                      <a:lnTo>
                        <a:pt x="532" y="590"/>
                      </a:lnTo>
                      <a:lnTo>
                        <a:pt x="530" y="591"/>
                      </a:lnTo>
                      <a:lnTo>
                        <a:pt x="527" y="594"/>
                      </a:lnTo>
                      <a:lnTo>
                        <a:pt x="525" y="595"/>
                      </a:lnTo>
                      <a:lnTo>
                        <a:pt x="520" y="597"/>
                      </a:lnTo>
                      <a:lnTo>
                        <a:pt x="518" y="600"/>
                      </a:lnTo>
                      <a:lnTo>
                        <a:pt x="516" y="602"/>
                      </a:lnTo>
                      <a:lnTo>
                        <a:pt x="513" y="604"/>
                      </a:lnTo>
                      <a:lnTo>
                        <a:pt x="511" y="607"/>
                      </a:lnTo>
                      <a:lnTo>
                        <a:pt x="509" y="608"/>
                      </a:lnTo>
                      <a:lnTo>
                        <a:pt x="506" y="610"/>
                      </a:lnTo>
                      <a:lnTo>
                        <a:pt x="505" y="611"/>
                      </a:lnTo>
                      <a:lnTo>
                        <a:pt x="503" y="614"/>
                      </a:lnTo>
                      <a:lnTo>
                        <a:pt x="502" y="615"/>
                      </a:lnTo>
                      <a:lnTo>
                        <a:pt x="499" y="617"/>
                      </a:lnTo>
                      <a:lnTo>
                        <a:pt x="497" y="618"/>
                      </a:lnTo>
                      <a:lnTo>
                        <a:pt x="495" y="621"/>
                      </a:lnTo>
                      <a:lnTo>
                        <a:pt x="494" y="623"/>
                      </a:lnTo>
                      <a:lnTo>
                        <a:pt x="491" y="624"/>
                      </a:lnTo>
                      <a:lnTo>
                        <a:pt x="489" y="626"/>
                      </a:lnTo>
                      <a:lnTo>
                        <a:pt x="488" y="628"/>
                      </a:lnTo>
                      <a:lnTo>
                        <a:pt x="485" y="630"/>
                      </a:lnTo>
                      <a:lnTo>
                        <a:pt x="483" y="631"/>
                      </a:lnTo>
                      <a:lnTo>
                        <a:pt x="481" y="633"/>
                      </a:lnTo>
                      <a:lnTo>
                        <a:pt x="480" y="636"/>
                      </a:lnTo>
                      <a:lnTo>
                        <a:pt x="477" y="637"/>
                      </a:lnTo>
                      <a:lnTo>
                        <a:pt x="475" y="639"/>
                      </a:lnTo>
                      <a:lnTo>
                        <a:pt x="473" y="640"/>
                      </a:lnTo>
                      <a:lnTo>
                        <a:pt x="472" y="643"/>
                      </a:lnTo>
                      <a:lnTo>
                        <a:pt x="469" y="645"/>
                      </a:lnTo>
                      <a:lnTo>
                        <a:pt x="467" y="646"/>
                      </a:lnTo>
                      <a:lnTo>
                        <a:pt x="466" y="646"/>
                      </a:lnTo>
                      <a:lnTo>
                        <a:pt x="462" y="647"/>
                      </a:lnTo>
                      <a:lnTo>
                        <a:pt x="459" y="649"/>
                      </a:lnTo>
                      <a:lnTo>
                        <a:pt x="452" y="650"/>
                      </a:lnTo>
                      <a:lnTo>
                        <a:pt x="445" y="651"/>
                      </a:lnTo>
                      <a:lnTo>
                        <a:pt x="441" y="652"/>
                      </a:lnTo>
                      <a:lnTo>
                        <a:pt x="435" y="653"/>
                      </a:lnTo>
                      <a:lnTo>
                        <a:pt x="430" y="654"/>
                      </a:lnTo>
                      <a:lnTo>
                        <a:pt x="424" y="656"/>
                      </a:lnTo>
                      <a:lnTo>
                        <a:pt x="418" y="657"/>
                      </a:lnTo>
                      <a:lnTo>
                        <a:pt x="412" y="658"/>
                      </a:lnTo>
                      <a:lnTo>
                        <a:pt x="406" y="659"/>
                      </a:lnTo>
                      <a:lnTo>
                        <a:pt x="404" y="660"/>
                      </a:lnTo>
                      <a:lnTo>
                        <a:pt x="401" y="660"/>
                      </a:lnTo>
                      <a:lnTo>
                        <a:pt x="396" y="661"/>
                      </a:lnTo>
                      <a:lnTo>
                        <a:pt x="392" y="663"/>
                      </a:lnTo>
                      <a:lnTo>
                        <a:pt x="390" y="663"/>
                      </a:lnTo>
                      <a:lnTo>
                        <a:pt x="389" y="663"/>
                      </a:lnTo>
                      <a:lnTo>
                        <a:pt x="388" y="663"/>
                      </a:lnTo>
                      <a:lnTo>
                        <a:pt x="385" y="660"/>
                      </a:lnTo>
                      <a:lnTo>
                        <a:pt x="384" y="659"/>
                      </a:lnTo>
                      <a:lnTo>
                        <a:pt x="383" y="659"/>
                      </a:lnTo>
                      <a:lnTo>
                        <a:pt x="382" y="658"/>
                      </a:lnTo>
                      <a:lnTo>
                        <a:pt x="382" y="657"/>
                      </a:lnTo>
                      <a:lnTo>
                        <a:pt x="382" y="656"/>
                      </a:lnTo>
                      <a:lnTo>
                        <a:pt x="382" y="654"/>
                      </a:lnTo>
                      <a:lnTo>
                        <a:pt x="383" y="654"/>
                      </a:lnTo>
                      <a:lnTo>
                        <a:pt x="384" y="653"/>
                      </a:lnTo>
                      <a:lnTo>
                        <a:pt x="384" y="652"/>
                      </a:lnTo>
                      <a:lnTo>
                        <a:pt x="384" y="651"/>
                      </a:lnTo>
                      <a:lnTo>
                        <a:pt x="385" y="651"/>
                      </a:lnTo>
                      <a:lnTo>
                        <a:pt x="385" y="650"/>
                      </a:lnTo>
                      <a:lnTo>
                        <a:pt x="387" y="650"/>
                      </a:lnTo>
                      <a:lnTo>
                        <a:pt x="387" y="649"/>
                      </a:lnTo>
                      <a:lnTo>
                        <a:pt x="387" y="647"/>
                      </a:lnTo>
                      <a:lnTo>
                        <a:pt x="385" y="647"/>
                      </a:lnTo>
                      <a:lnTo>
                        <a:pt x="385" y="646"/>
                      </a:lnTo>
                      <a:lnTo>
                        <a:pt x="385" y="645"/>
                      </a:lnTo>
                      <a:lnTo>
                        <a:pt x="384" y="643"/>
                      </a:lnTo>
                      <a:lnTo>
                        <a:pt x="384" y="642"/>
                      </a:lnTo>
                      <a:lnTo>
                        <a:pt x="385" y="636"/>
                      </a:lnTo>
                      <a:lnTo>
                        <a:pt x="384" y="635"/>
                      </a:lnTo>
                      <a:lnTo>
                        <a:pt x="383" y="633"/>
                      </a:lnTo>
                      <a:lnTo>
                        <a:pt x="382" y="633"/>
                      </a:lnTo>
                      <a:lnTo>
                        <a:pt x="381" y="632"/>
                      </a:lnTo>
                      <a:lnTo>
                        <a:pt x="376" y="630"/>
                      </a:lnTo>
                      <a:lnTo>
                        <a:pt x="368" y="629"/>
                      </a:lnTo>
                      <a:lnTo>
                        <a:pt x="366" y="629"/>
                      </a:lnTo>
                      <a:lnTo>
                        <a:pt x="363" y="628"/>
                      </a:lnTo>
                      <a:lnTo>
                        <a:pt x="362" y="628"/>
                      </a:lnTo>
                      <a:lnTo>
                        <a:pt x="361" y="628"/>
                      </a:lnTo>
                      <a:lnTo>
                        <a:pt x="360" y="626"/>
                      </a:lnTo>
                      <a:lnTo>
                        <a:pt x="359" y="626"/>
                      </a:lnTo>
                      <a:lnTo>
                        <a:pt x="357" y="624"/>
                      </a:lnTo>
                      <a:lnTo>
                        <a:pt x="356" y="623"/>
                      </a:lnTo>
                      <a:lnTo>
                        <a:pt x="355" y="621"/>
                      </a:lnTo>
                      <a:lnTo>
                        <a:pt x="353" y="619"/>
                      </a:lnTo>
                      <a:lnTo>
                        <a:pt x="352" y="619"/>
                      </a:lnTo>
                      <a:lnTo>
                        <a:pt x="351" y="619"/>
                      </a:lnTo>
                      <a:lnTo>
                        <a:pt x="349" y="621"/>
                      </a:lnTo>
                      <a:lnTo>
                        <a:pt x="348" y="622"/>
                      </a:lnTo>
                      <a:lnTo>
                        <a:pt x="346" y="621"/>
                      </a:lnTo>
                      <a:lnTo>
                        <a:pt x="345" y="621"/>
                      </a:lnTo>
                      <a:lnTo>
                        <a:pt x="345" y="619"/>
                      </a:lnTo>
                      <a:lnTo>
                        <a:pt x="344" y="621"/>
                      </a:lnTo>
                      <a:lnTo>
                        <a:pt x="342" y="621"/>
                      </a:lnTo>
                      <a:lnTo>
                        <a:pt x="342" y="619"/>
                      </a:lnTo>
                      <a:lnTo>
                        <a:pt x="341" y="619"/>
                      </a:lnTo>
                      <a:lnTo>
                        <a:pt x="341" y="618"/>
                      </a:lnTo>
                      <a:lnTo>
                        <a:pt x="340" y="618"/>
                      </a:lnTo>
                      <a:lnTo>
                        <a:pt x="339" y="618"/>
                      </a:lnTo>
                      <a:lnTo>
                        <a:pt x="335" y="615"/>
                      </a:lnTo>
                      <a:lnTo>
                        <a:pt x="334" y="615"/>
                      </a:lnTo>
                      <a:lnTo>
                        <a:pt x="334" y="612"/>
                      </a:lnTo>
                      <a:lnTo>
                        <a:pt x="334" y="611"/>
                      </a:lnTo>
                      <a:lnTo>
                        <a:pt x="334" y="610"/>
                      </a:lnTo>
                      <a:lnTo>
                        <a:pt x="332" y="609"/>
                      </a:lnTo>
                      <a:lnTo>
                        <a:pt x="331" y="608"/>
                      </a:lnTo>
                      <a:lnTo>
                        <a:pt x="330" y="608"/>
                      </a:lnTo>
                      <a:lnTo>
                        <a:pt x="328" y="608"/>
                      </a:lnTo>
                      <a:lnTo>
                        <a:pt x="328" y="607"/>
                      </a:lnTo>
                      <a:lnTo>
                        <a:pt x="327" y="607"/>
                      </a:lnTo>
                      <a:lnTo>
                        <a:pt x="325" y="607"/>
                      </a:lnTo>
                      <a:lnTo>
                        <a:pt x="325" y="605"/>
                      </a:lnTo>
                      <a:lnTo>
                        <a:pt x="324" y="604"/>
                      </a:lnTo>
                      <a:lnTo>
                        <a:pt x="323" y="604"/>
                      </a:lnTo>
                      <a:lnTo>
                        <a:pt x="321" y="604"/>
                      </a:lnTo>
                      <a:lnTo>
                        <a:pt x="320" y="604"/>
                      </a:lnTo>
                      <a:lnTo>
                        <a:pt x="319" y="604"/>
                      </a:lnTo>
                      <a:lnTo>
                        <a:pt x="318" y="603"/>
                      </a:lnTo>
                      <a:lnTo>
                        <a:pt x="318" y="602"/>
                      </a:lnTo>
                      <a:lnTo>
                        <a:pt x="319" y="598"/>
                      </a:lnTo>
                      <a:lnTo>
                        <a:pt x="319" y="595"/>
                      </a:lnTo>
                      <a:lnTo>
                        <a:pt x="319" y="594"/>
                      </a:lnTo>
                      <a:lnTo>
                        <a:pt x="319" y="593"/>
                      </a:lnTo>
                      <a:lnTo>
                        <a:pt x="318" y="591"/>
                      </a:lnTo>
                      <a:lnTo>
                        <a:pt x="314" y="589"/>
                      </a:lnTo>
                      <a:lnTo>
                        <a:pt x="312" y="587"/>
                      </a:lnTo>
                      <a:lnTo>
                        <a:pt x="309" y="586"/>
                      </a:lnTo>
                      <a:lnTo>
                        <a:pt x="306" y="583"/>
                      </a:lnTo>
                      <a:lnTo>
                        <a:pt x="303" y="581"/>
                      </a:lnTo>
                      <a:lnTo>
                        <a:pt x="300" y="580"/>
                      </a:lnTo>
                      <a:lnTo>
                        <a:pt x="298" y="577"/>
                      </a:lnTo>
                      <a:lnTo>
                        <a:pt x="295" y="575"/>
                      </a:lnTo>
                      <a:lnTo>
                        <a:pt x="292" y="574"/>
                      </a:lnTo>
                      <a:lnTo>
                        <a:pt x="289" y="572"/>
                      </a:lnTo>
                      <a:lnTo>
                        <a:pt x="287" y="569"/>
                      </a:lnTo>
                      <a:lnTo>
                        <a:pt x="284" y="568"/>
                      </a:lnTo>
                      <a:lnTo>
                        <a:pt x="282" y="566"/>
                      </a:lnTo>
                      <a:lnTo>
                        <a:pt x="281" y="566"/>
                      </a:lnTo>
                      <a:lnTo>
                        <a:pt x="278" y="565"/>
                      </a:lnTo>
                      <a:lnTo>
                        <a:pt x="275" y="562"/>
                      </a:lnTo>
                      <a:lnTo>
                        <a:pt x="273" y="560"/>
                      </a:lnTo>
                      <a:lnTo>
                        <a:pt x="270" y="559"/>
                      </a:lnTo>
                      <a:lnTo>
                        <a:pt x="267" y="556"/>
                      </a:lnTo>
                      <a:lnTo>
                        <a:pt x="264" y="554"/>
                      </a:lnTo>
                      <a:lnTo>
                        <a:pt x="261" y="553"/>
                      </a:lnTo>
                      <a:lnTo>
                        <a:pt x="259" y="551"/>
                      </a:lnTo>
                      <a:lnTo>
                        <a:pt x="256" y="548"/>
                      </a:lnTo>
                      <a:lnTo>
                        <a:pt x="253" y="547"/>
                      </a:lnTo>
                      <a:lnTo>
                        <a:pt x="250" y="545"/>
                      </a:lnTo>
                      <a:lnTo>
                        <a:pt x="247" y="542"/>
                      </a:lnTo>
                      <a:lnTo>
                        <a:pt x="245" y="541"/>
                      </a:lnTo>
                      <a:lnTo>
                        <a:pt x="242" y="539"/>
                      </a:lnTo>
                      <a:lnTo>
                        <a:pt x="239" y="537"/>
                      </a:lnTo>
                      <a:lnTo>
                        <a:pt x="236" y="535"/>
                      </a:lnTo>
                      <a:lnTo>
                        <a:pt x="233" y="533"/>
                      </a:lnTo>
                      <a:lnTo>
                        <a:pt x="231" y="532"/>
                      </a:lnTo>
                      <a:lnTo>
                        <a:pt x="228" y="530"/>
                      </a:lnTo>
                      <a:lnTo>
                        <a:pt x="225" y="527"/>
                      </a:lnTo>
                      <a:lnTo>
                        <a:pt x="223" y="526"/>
                      </a:lnTo>
                      <a:lnTo>
                        <a:pt x="219" y="524"/>
                      </a:lnTo>
                      <a:lnTo>
                        <a:pt x="217" y="521"/>
                      </a:lnTo>
                      <a:lnTo>
                        <a:pt x="214" y="520"/>
                      </a:lnTo>
                      <a:lnTo>
                        <a:pt x="211" y="518"/>
                      </a:lnTo>
                      <a:lnTo>
                        <a:pt x="209" y="516"/>
                      </a:lnTo>
                      <a:lnTo>
                        <a:pt x="205" y="514"/>
                      </a:lnTo>
                      <a:lnTo>
                        <a:pt x="203" y="512"/>
                      </a:lnTo>
                      <a:lnTo>
                        <a:pt x="200" y="510"/>
                      </a:lnTo>
                      <a:lnTo>
                        <a:pt x="197" y="509"/>
                      </a:lnTo>
                      <a:lnTo>
                        <a:pt x="195" y="506"/>
                      </a:lnTo>
                      <a:lnTo>
                        <a:pt x="191" y="504"/>
                      </a:lnTo>
                      <a:lnTo>
                        <a:pt x="189" y="503"/>
                      </a:lnTo>
                      <a:lnTo>
                        <a:pt x="186" y="500"/>
                      </a:lnTo>
                      <a:lnTo>
                        <a:pt x="183" y="498"/>
                      </a:lnTo>
                      <a:lnTo>
                        <a:pt x="181" y="497"/>
                      </a:lnTo>
                      <a:lnTo>
                        <a:pt x="177" y="495"/>
                      </a:lnTo>
                      <a:lnTo>
                        <a:pt x="175" y="493"/>
                      </a:lnTo>
                      <a:lnTo>
                        <a:pt x="172" y="491"/>
                      </a:lnTo>
                      <a:lnTo>
                        <a:pt x="170" y="490"/>
                      </a:lnTo>
                      <a:lnTo>
                        <a:pt x="168" y="488"/>
                      </a:lnTo>
                      <a:lnTo>
                        <a:pt x="164" y="485"/>
                      </a:lnTo>
                      <a:lnTo>
                        <a:pt x="162" y="484"/>
                      </a:lnTo>
                      <a:lnTo>
                        <a:pt x="160" y="482"/>
                      </a:lnTo>
                      <a:lnTo>
                        <a:pt x="157" y="481"/>
                      </a:lnTo>
                      <a:lnTo>
                        <a:pt x="155" y="478"/>
                      </a:lnTo>
                      <a:lnTo>
                        <a:pt x="152" y="477"/>
                      </a:lnTo>
                      <a:lnTo>
                        <a:pt x="149" y="475"/>
                      </a:lnTo>
                      <a:lnTo>
                        <a:pt x="147" y="474"/>
                      </a:lnTo>
                      <a:lnTo>
                        <a:pt x="145" y="471"/>
                      </a:lnTo>
                      <a:lnTo>
                        <a:pt x="141" y="470"/>
                      </a:lnTo>
                      <a:lnTo>
                        <a:pt x="139" y="468"/>
                      </a:lnTo>
                      <a:lnTo>
                        <a:pt x="135" y="465"/>
                      </a:lnTo>
                      <a:lnTo>
                        <a:pt x="133" y="464"/>
                      </a:lnTo>
                      <a:lnTo>
                        <a:pt x="131" y="462"/>
                      </a:lnTo>
                      <a:lnTo>
                        <a:pt x="128" y="461"/>
                      </a:lnTo>
                      <a:lnTo>
                        <a:pt x="126" y="458"/>
                      </a:lnTo>
                      <a:lnTo>
                        <a:pt x="120" y="455"/>
                      </a:lnTo>
                      <a:lnTo>
                        <a:pt x="114" y="451"/>
                      </a:lnTo>
                      <a:lnTo>
                        <a:pt x="108" y="448"/>
                      </a:lnTo>
                      <a:lnTo>
                        <a:pt x="103" y="444"/>
                      </a:lnTo>
                      <a:lnTo>
                        <a:pt x="99" y="442"/>
                      </a:lnTo>
                      <a:lnTo>
                        <a:pt x="98" y="441"/>
                      </a:lnTo>
                      <a:lnTo>
                        <a:pt x="93" y="439"/>
                      </a:lnTo>
                      <a:lnTo>
                        <a:pt x="89" y="435"/>
                      </a:lnTo>
                      <a:lnTo>
                        <a:pt x="83" y="432"/>
                      </a:lnTo>
                      <a:lnTo>
                        <a:pt x="77" y="428"/>
                      </a:lnTo>
                      <a:lnTo>
                        <a:pt x="71" y="423"/>
                      </a:lnTo>
                      <a:lnTo>
                        <a:pt x="64" y="420"/>
                      </a:lnTo>
                      <a:lnTo>
                        <a:pt x="58" y="415"/>
                      </a:lnTo>
                      <a:lnTo>
                        <a:pt x="51" y="412"/>
                      </a:lnTo>
                      <a:lnTo>
                        <a:pt x="46" y="407"/>
                      </a:lnTo>
                      <a:lnTo>
                        <a:pt x="39" y="404"/>
                      </a:lnTo>
                      <a:lnTo>
                        <a:pt x="33" y="399"/>
                      </a:lnTo>
                      <a:lnTo>
                        <a:pt x="26" y="395"/>
                      </a:lnTo>
                      <a:lnTo>
                        <a:pt x="20" y="391"/>
                      </a:lnTo>
                      <a:lnTo>
                        <a:pt x="13" y="387"/>
                      </a:lnTo>
                      <a:lnTo>
                        <a:pt x="7" y="383"/>
                      </a:lnTo>
                      <a:lnTo>
                        <a:pt x="0" y="379"/>
                      </a:lnTo>
                      <a:lnTo>
                        <a:pt x="0" y="376"/>
                      </a:lnTo>
                      <a:lnTo>
                        <a:pt x="0" y="372"/>
                      </a:lnTo>
                      <a:lnTo>
                        <a:pt x="0" y="369"/>
                      </a:lnTo>
                      <a:lnTo>
                        <a:pt x="0" y="365"/>
                      </a:lnTo>
                      <a:lnTo>
                        <a:pt x="0" y="364"/>
                      </a:lnTo>
                      <a:lnTo>
                        <a:pt x="0" y="362"/>
                      </a:lnTo>
                      <a:lnTo>
                        <a:pt x="0" y="359"/>
                      </a:lnTo>
                      <a:lnTo>
                        <a:pt x="0" y="357"/>
                      </a:lnTo>
                      <a:lnTo>
                        <a:pt x="0" y="355"/>
                      </a:lnTo>
                      <a:lnTo>
                        <a:pt x="0" y="352"/>
                      </a:lnTo>
                      <a:lnTo>
                        <a:pt x="0" y="350"/>
                      </a:lnTo>
                      <a:lnTo>
                        <a:pt x="0" y="348"/>
                      </a:lnTo>
                      <a:lnTo>
                        <a:pt x="0" y="346"/>
                      </a:lnTo>
                      <a:lnTo>
                        <a:pt x="0" y="344"/>
                      </a:lnTo>
                      <a:lnTo>
                        <a:pt x="0" y="342"/>
                      </a:lnTo>
                      <a:lnTo>
                        <a:pt x="0" y="339"/>
                      </a:lnTo>
                      <a:lnTo>
                        <a:pt x="0" y="337"/>
                      </a:lnTo>
                      <a:lnTo>
                        <a:pt x="0" y="335"/>
                      </a:lnTo>
                      <a:lnTo>
                        <a:pt x="0" y="332"/>
                      </a:lnTo>
                      <a:lnTo>
                        <a:pt x="0" y="331"/>
                      </a:lnTo>
                      <a:lnTo>
                        <a:pt x="0" y="329"/>
                      </a:lnTo>
                      <a:lnTo>
                        <a:pt x="0" y="328"/>
                      </a:lnTo>
                      <a:lnTo>
                        <a:pt x="1" y="327"/>
                      </a:lnTo>
                      <a:lnTo>
                        <a:pt x="5" y="324"/>
                      </a:lnTo>
                      <a:lnTo>
                        <a:pt x="6" y="323"/>
                      </a:lnTo>
                      <a:lnTo>
                        <a:pt x="7" y="323"/>
                      </a:lnTo>
                      <a:lnTo>
                        <a:pt x="8" y="322"/>
                      </a:lnTo>
                      <a:lnTo>
                        <a:pt x="10" y="320"/>
                      </a:lnTo>
                      <a:lnTo>
                        <a:pt x="11" y="320"/>
                      </a:lnTo>
                      <a:lnTo>
                        <a:pt x="12" y="318"/>
                      </a:lnTo>
                      <a:lnTo>
                        <a:pt x="13" y="317"/>
                      </a:lnTo>
                      <a:lnTo>
                        <a:pt x="15" y="315"/>
                      </a:lnTo>
                      <a:lnTo>
                        <a:pt x="19" y="314"/>
                      </a:lnTo>
                      <a:lnTo>
                        <a:pt x="20" y="313"/>
                      </a:lnTo>
                      <a:lnTo>
                        <a:pt x="24" y="310"/>
                      </a:lnTo>
                      <a:lnTo>
                        <a:pt x="27" y="308"/>
                      </a:lnTo>
                      <a:lnTo>
                        <a:pt x="28" y="306"/>
                      </a:lnTo>
                      <a:lnTo>
                        <a:pt x="31" y="304"/>
                      </a:lnTo>
                      <a:lnTo>
                        <a:pt x="33" y="302"/>
                      </a:lnTo>
                      <a:lnTo>
                        <a:pt x="34" y="302"/>
                      </a:lnTo>
                      <a:lnTo>
                        <a:pt x="35" y="302"/>
                      </a:lnTo>
                      <a:lnTo>
                        <a:pt x="36" y="302"/>
                      </a:lnTo>
                      <a:lnTo>
                        <a:pt x="37" y="302"/>
                      </a:lnTo>
                      <a:lnTo>
                        <a:pt x="39" y="302"/>
                      </a:lnTo>
                      <a:lnTo>
                        <a:pt x="42" y="302"/>
                      </a:lnTo>
                      <a:lnTo>
                        <a:pt x="44" y="299"/>
                      </a:lnTo>
                      <a:lnTo>
                        <a:pt x="49" y="297"/>
                      </a:lnTo>
                      <a:lnTo>
                        <a:pt x="51" y="297"/>
                      </a:lnTo>
                      <a:lnTo>
                        <a:pt x="55" y="297"/>
                      </a:lnTo>
                      <a:lnTo>
                        <a:pt x="61" y="300"/>
                      </a:lnTo>
                      <a:lnTo>
                        <a:pt x="63" y="297"/>
                      </a:lnTo>
                      <a:lnTo>
                        <a:pt x="68" y="296"/>
                      </a:lnTo>
                      <a:lnTo>
                        <a:pt x="72" y="295"/>
                      </a:lnTo>
                      <a:lnTo>
                        <a:pt x="77" y="294"/>
                      </a:lnTo>
                      <a:lnTo>
                        <a:pt x="82" y="294"/>
                      </a:lnTo>
                      <a:lnTo>
                        <a:pt x="85" y="294"/>
                      </a:lnTo>
                      <a:lnTo>
                        <a:pt x="89" y="294"/>
                      </a:lnTo>
                      <a:lnTo>
                        <a:pt x="93" y="293"/>
                      </a:lnTo>
                      <a:lnTo>
                        <a:pt x="95" y="296"/>
                      </a:lnTo>
                      <a:lnTo>
                        <a:pt x="97" y="297"/>
                      </a:lnTo>
                      <a:lnTo>
                        <a:pt x="100" y="296"/>
                      </a:lnTo>
                      <a:lnTo>
                        <a:pt x="104" y="292"/>
                      </a:lnTo>
                      <a:lnTo>
                        <a:pt x="106" y="287"/>
                      </a:lnTo>
                      <a:lnTo>
                        <a:pt x="108" y="282"/>
                      </a:lnTo>
                      <a:lnTo>
                        <a:pt x="112" y="279"/>
                      </a:lnTo>
                      <a:lnTo>
                        <a:pt x="115" y="276"/>
                      </a:lnTo>
                      <a:lnTo>
                        <a:pt x="119" y="274"/>
                      </a:lnTo>
                      <a:lnTo>
                        <a:pt x="121" y="272"/>
                      </a:lnTo>
                      <a:lnTo>
                        <a:pt x="125" y="269"/>
                      </a:lnTo>
                      <a:lnTo>
                        <a:pt x="129" y="267"/>
                      </a:lnTo>
                      <a:lnTo>
                        <a:pt x="134" y="264"/>
                      </a:lnTo>
                      <a:lnTo>
                        <a:pt x="138" y="259"/>
                      </a:lnTo>
                      <a:lnTo>
                        <a:pt x="140" y="258"/>
                      </a:lnTo>
                      <a:lnTo>
                        <a:pt x="145" y="257"/>
                      </a:lnTo>
                      <a:lnTo>
                        <a:pt x="149" y="255"/>
                      </a:lnTo>
                      <a:lnTo>
                        <a:pt x="155" y="254"/>
                      </a:lnTo>
                      <a:lnTo>
                        <a:pt x="161" y="251"/>
                      </a:lnTo>
                      <a:lnTo>
                        <a:pt x="160" y="248"/>
                      </a:lnTo>
                      <a:lnTo>
                        <a:pt x="160" y="246"/>
                      </a:lnTo>
                      <a:lnTo>
                        <a:pt x="162" y="245"/>
                      </a:lnTo>
                      <a:lnTo>
                        <a:pt x="163" y="243"/>
                      </a:lnTo>
                      <a:lnTo>
                        <a:pt x="162" y="239"/>
                      </a:lnTo>
                      <a:lnTo>
                        <a:pt x="161" y="238"/>
                      </a:lnTo>
                      <a:lnTo>
                        <a:pt x="161" y="237"/>
                      </a:lnTo>
                      <a:lnTo>
                        <a:pt x="160" y="237"/>
                      </a:lnTo>
                      <a:lnTo>
                        <a:pt x="159" y="236"/>
                      </a:lnTo>
                      <a:lnTo>
                        <a:pt x="159" y="234"/>
                      </a:lnTo>
                      <a:lnTo>
                        <a:pt x="157" y="234"/>
                      </a:lnTo>
                      <a:lnTo>
                        <a:pt x="157" y="233"/>
                      </a:lnTo>
                      <a:lnTo>
                        <a:pt x="156" y="234"/>
                      </a:lnTo>
                      <a:lnTo>
                        <a:pt x="155" y="234"/>
                      </a:lnTo>
                      <a:lnTo>
                        <a:pt x="155" y="236"/>
                      </a:lnTo>
                      <a:lnTo>
                        <a:pt x="154" y="236"/>
                      </a:lnTo>
                      <a:lnTo>
                        <a:pt x="154" y="234"/>
                      </a:lnTo>
                      <a:lnTo>
                        <a:pt x="154" y="233"/>
                      </a:lnTo>
                      <a:lnTo>
                        <a:pt x="155" y="232"/>
                      </a:lnTo>
                      <a:lnTo>
                        <a:pt x="155" y="231"/>
                      </a:lnTo>
                      <a:lnTo>
                        <a:pt x="155" y="229"/>
                      </a:lnTo>
                      <a:lnTo>
                        <a:pt x="155" y="227"/>
                      </a:lnTo>
                      <a:lnTo>
                        <a:pt x="157" y="226"/>
                      </a:lnTo>
                      <a:lnTo>
                        <a:pt x="160" y="226"/>
                      </a:lnTo>
                      <a:lnTo>
                        <a:pt x="160" y="216"/>
                      </a:lnTo>
                      <a:lnTo>
                        <a:pt x="162" y="215"/>
                      </a:lnTo>
                      <a:lnTo>
                        <a:pt x="163" y="216"/>
                      </a:lnTo>
                      <a:lnTo>
                        <a:pt x="164" y="215"/>
                      </a:lnTo>
                      <a:lnTo>
                        <a:pt x="174" y="213"/>
                      </a:lnTo>
                      <a:lnTo>
                        <a:pt x="181" y="211"/>
                      </a:lnTo>
                      <a:lnTo>
                        <a:pt x="186" y="210"/>
                      </a:lnTo>
                      <a:lnTo>
                        <a:pt x="185" y="206"/>
                      </a:lnTo>
                      <a:lnTo>
                        <a:pt x="183" y="201"/>
                      </a:lnTo>
                      <a:lnTo>
                        <a:pt x="184" y="199"/>
                      </a:lnTo>
                      <a:lnTo>
                        <a:pt x="190" y="199"/>
                      </a:lnTo>
                      <a:lnTo>
                        <a:pt x="196" y="197"/>
                      </a:lnTo>
                      <a:lnTo>
                        <a:pt x="200" y="197"/>
                      </a:lnTo>
                      <a:lnTo>
                        <a:pt x="203" y="197"/>
                      </a:lnTo>
                      <a:lnTo>
                        <a:pt x="205" y="197"/>
                      </a:lnTo>
                      <a:lnTo>
                        <a:pt x="207" y="198"/>
                      </a:lnTo>
                      <a:lnTo>
                        <a:pt x="210" y="198"/>
                      </a:lnTo>
                      <a:lnTo>
                        <a:pt x="213" y="198"/>
                      </a:lnTo>
                      <a:lnTo>
                        <a:pt x="216" y="198"/>
                      </a:lnTo>
                      <a:lnTo>
                        <a:pt x="219" y="198"/>
                      </a:lnTo>
                      <a:lnTo>
                        <a:pt x="221" y="198"/>
                      </a:lnTo>
                      <a:lnTo>
                        <a:pt x="224" y="198"/>
                      </a:lnTo>
                      <a:lnTo>
                        <a:pt x="226" y="198"/>
                      </a:lnTo>
                      <a:lnTo>
                        <a:pt x="228" y="198"/>
                      </a:lnTo>
                      <a:lnTo>
                        <a:pt x="231" y="198"/>
                      </a:lnTo>
                      <a:lnTo>
                        <a:pt x="232" y="198"/>
                      </a:lnTo>
                      <a:lnTo>
                        <a:pt x="233" y="198"/>
                      </a:lnTo>
                      <a:lnTo>
                        <a:pt x="234" y="198"/>
                      </a:lnTo>
                      <a:lnTo>
                        <a:pt x="236" y="198"/>
                      </a:lnTo>
                      <a:lnTo>
                        <a:pt x="238" y="198"/>
                      </a:lnTo>
                      <a:lnTo>
                        <a:pt x="239" y="197"/>
                      </a:lnTo>
                      <a:lnTo>
                        <a:pt x="239" y="196"/>
                      </a:lnTo>
                      <a:lnTo>
                        <a:pt x="238" y="196"/>
                      </a:lnTo>
                      <a:lnTo>
                        <a:pt x="236" y="196"/>
                      </a:lnTo>
                      <a:lnTo>
                        <a:pt x="235" y="196"/>
                      </a:lnTo>
                      <a:lnTo>
                        <a:pt x="235" y="195"/>
                      </a:lnTo>
                      <a:lnTo>
                        <a:pt x="236" y="195"/>
                      </a:lnTo>
                      <a:lnTo>
                        <a:pt x="236" y="194"/>
                      </a:lnTo>
                      <a:lnTo>
                        <a:pt x="236" y="190"/>
                      </a:lnTo>
                      <a:lnTo>
                        <a:pt x="236" y="188"/>
                      </a:lnTo>
                      <a:lnTo>
                        <a:pt x="238" y="188"/>
                      </a:lnTo>
                      <a:lnTo>
                        <a:pt x="238" y="187"/>
                      </a:lnTo>
                      <a:lnTo>
                        <a:pt x="239" y="187"/>
                      </a:lnTo>
                      <a:lnTo>
                        <a:pt x="240" y="187"/>
                      </a:lnTo>
                      <a:lnTo>
                        <a:pt x="241" y="185"/>
                      </a:lnTo>
                      <a:lnTo>
                        <a:pt x="242" y="185"/>
                      </a:lnTo>
                      <a:lnTo>
                        <a:pt x="243" y="183"/>
                      </a:lnTo>
                      <a:lnTo>
                        <a:pt x="243" y="182"/>
                      </a:lnTo>
                      <a:lnTo>
                        <a:pt x="234" y="175"/>
                      </a:lnTo>
                      <a:lnTo>
                        <a:pt x="232" y="175"/>
                      </a:lnTo>
                      <a:lnTo>
                        <a:pt x="231" y="174"/>
                      </a:lnTo>
                      <a:lnTo>
                        <a:pt x="226" y="167"/>
                      </a:lnTo>
                      <a:lnTo>
                        <a:pt x="228" y="166"/>
                      </a:lnTo>
                      <a:lnTo>
                        <a:pt x="228" y="164"/>
                      </a:lnTo>
                      <a:lnTo>
                        <a:pt x="228" y="163"/>
                      </a:lnTo>
                      <a:lnTo>
                        <a:pt x="228" y="162"/>
                      </a:lnTo>
                      <a:lnTo>
                        <a:pt x="228" y="161"/>
                      </a:lnTo>
                      <a:lnTo>
                        <a:pt x="227" y="161"/>
                      </a:lnTo>
                      <a:lnTo>
                        <a:pt x="226" y="160"/>
                      </a:lnTo>
                      <a:lnTo>
                        <a:pt x="225" y="159"/>
                      </a:lnTo>
                      <a:lnTo>
                        <a:pt x="225" y="157"/>
                      </a:lnTo>
                      <a:lnTo>
                        <a:pt x="225" y="156"/>
                      </a:lnTo>
                      <a:lnTo>
                        <a:pt x="223" y="155"/>
                      </a:lnTo>
                      <a:lnTo>
                        <a:pt x="223" y="154"/>
                      </a:lnTo>
                      <a:lnTo>
                        <a:pt x="223" y="149"/>
                      </a:lnTo>
                      <a:lnTo>
                        <a:pt x="223" y="148"/>
                      </a:lnTo>
                      <a:lnTo>
                        <a:pt x="224" y="146"/>
                      </a:lnTo>
                      <a:lnTo>
                        <a:pt x="224" y="145"/>
                      </a:lnTo>
                      <a:lnTo>
                        <a:pt x="225" y="143"/>
                      </a:lnTo>
                      <a:lnTo>
                        <a:pt x="225" y="142"/>
                      </a:lnTo>
                      <a:lnTo>
                        <a:pt x="223" y="139"/>
                      </a:lnTo>
                      <a:lnTo>
                        <a:pt x="221" y="139"/>
                      </a:lnTo>
                      <a:lnTo>
                        <a:pt x="221" y="138"/>
                      </a:lnTo>
                      <a:lnTo>
                        <a:pt x="220" y="138"/>
                      </a:lnTo>
                      <a:lnTo>
                        <a:pt x="220" y="136"/>
                      </a:lnTo>
                      <a:lnTo>
                        <a:pt x="221" y="135"/>
                      </a:lnTo>
                      <a:lnTo>
                        <a:pt x="221" y="134"/>
                      </a:lnTo>
                      <a:lnTo>
                        <a:pt x="221" y="133"/>
                      </a:lnTo>
                      <a:lnTo>
                        <a:pt x="221" y="132"/>
                      </a:lnTo>
                      <a:lnTo>
                        <a:pt x="221" y="129"/>
                      </a:lnTo>
                      <a:lnTo>
                        <a:pt x="223" y="124"/>
                      </a:lnTo>
                      <a:lnTo>
                        <a:pt x="223" y="122"/>
                      </a:lnTo>
                      <a:lnTo>
                        <a:pt x="223" y="121"/>
                      </a:lnTo>
                      <a:lnTo>
                        <a:pt x="220" y="114"/>
                      </a:lnTo>
                      <a:lnTo>
                        <a:pt x="219" y="112"/>
                      </a:lnTo>
                      <a:lnTo>
                        <a:pt x="218" y="111"/>
                      </a:lnTo>
                      <a:lnTo>
                        <a:pt x="221" y="107"/>
                      </a:lnTo>
                      <a:lnTo>
                        <a:pt x="220" y="106"/>
                      </a:lnTo>
                      <a:lnTo>
                        <a:pt x="219" y="106"/>
                      </a:lnTo>
                      <a:lnTo>
                        <a:pt x="216" y="103"/>
                      </a:lnTo>
                      <a:lnTo>
                        <a:pt x="216" y="101"/>
                      </a:lnTo>
                      <a:lnTo>
                        <a:pt x="218" y="99"/>
                      </a:lnTo>
                      <a:lnTo>
                        <a:pt x="218" y="97"/>
                      </a:lnTo>
                      <a:lnTo>
                        <a:pt x="219" y="97"/>
                      </a:lnTo>
                      <a:lnTo>
                        <a:pt x="218" y="96"/>
                      </a:lnTo>
                      <a:lnTo>
                        <a:pt x="214" y="94"/>
                      </a:lnTo>
                      <a:lnTo>
                        <a:pt x="213" y="93"/>
                      </a:lnTo>
                      <a:lnTo>
                        <a:pt x="212" y="92"/>
                      </a:lnTo>
                      <a:lnTo>
                        <a:pt x="212" y="91"/>
                      </a:lnTo>
                      <a:lnTo>
                        <a:pt x="211" y="91"/>
                      </a:lnTo>
                      <a:lnTo>
                        <a:pt x="211" y="90"/>
                      </a:lnTo>
                      <a:lnTo>
                        <a:pt x="210" y="90"/>
                      </a:lnTo>
                      <a:lnTo>
                        <a:pt x="209" y="89"/>
                      </a:lnTo>
                      <a:lnTo>
                        <a:pt x="207" y="87"/>
                      </a:lnTo>
                      <a:lnTo>
                        <a:pt x="206" y="87"/>
                      </a:lnTo>
                      <a:lnTo>
                        <a:pt x="205" y="86"/>
                      </a:lnTo>
                      <a:lnTo>
                        <a:pt x="204" y="86"/>
                      </a:lnTo>
                      <a:lnTo>
                        <a:pt x="204" y="85"/>
                      </a:lnTo>
                      <a:lnTo>
                        <a:pt x="204" y="83"/>
                      </a:lnTo>
                      <a:lnTo>
                        <a:pt x="205" y="83"/>
                      </a:lnTo>
                      <a:lnTo>
                        <a:pt x="206" y="83"/>
                      </a:lnTo>
                      <a:lnTo>
                        <a:pt x="207" y="83"/>
                      </a:lnTo>
                      <a:lnTo>
                        <a:pt x="209" y="84"/>
                      </a:lnTo>
                      <a:lnTo>
                        <a:pt x="210" y="84"/>
                      </a:lnTo>
                      <a:lnTo>
                        <a:pt x="212" y="83"/>
                      </a:lnTo>
                      <a:lnTo>
                        <a:pt x="212" y="84"/>
                      </a:lnTo>
                      <a:lnTo>
                        <a:pt x="213" y="84"/>
                      </a:lnTo>
                      <a:lnTo>
                        <a:pt x="213" y="83"/>
                      </a:lnTo>
                      <a:lnTo>
                        <a:pt x="217" y="82"/>
                      </a:lnTo>
                      <a:lnTo>
                        <a:pt x="218" y="82"/>
                      </a:lnTo>
                      <a:lnTo>
                        <a:pt x="219" y="82"/>
                      </a:lnTo>
                      <a:lnTo>
                        <a:pt x="220" y="79"/>
                      </a:lnTo>
                      <a:lnTo>
                        <a:pt x="223" y="79"/>
                      </a:lnTo>
                      <a:lnTo>
                        <a:pt x="224" y="78"/>
                      </a:lnTo>
                      <a:lnTo>
                        <a:pt x="227" y="75"/>
                      </a:lnTo>
                      <a:lnTo>
                        <a:pt x="231" y="75"/>
                      </a:lnTo>
                      <a:lnTo>
                        <a:pt x="232" y="73"/>
                      </a:lnTo>
                      <a:lnTo>
                        <a:pt x="233" y="72"/>
                      </a:lnTo>
                      <a:lnTo>
                        <a:pt x="234" y="72"/>
                      </a:lnTo>
                      <a:lnTo>
                        <a:pt x="234" y="71"/>
                      </a:lnTo>
                      <a:lnTo>
                        <a:pt x="235" y="70"/>
                      </a:lnTo>
                      <a:lnTo>
                        <a:pt x="235" y="69"/>
                      </a:lnTo>
                      <a:lnTo>
                        <a:pt x="235" y="68"/>
                      </a:lnTo>
                      <a:lnTo>
                        <a:pt x="236" y="66"/>
                      </a:lnTo>
                      <a:lnTo>
                        <a:pt x="238" y="64"/>
                      </a:lnTo>
                      <a:lnTo>
                        <a:pt x="238" y="63"/>
                      </a:lnTo>
                      <a:lnTo>
                        <a:pt x="239" y="63"/>
                      </a:lnTo>
                      <a:lnTo>
                        <a:pt x="240" y="62"/>
                      </a:lnTo>
                      <a:lnTo>
                        <a:pt x="240" y="61"/>
                      </a:lnTo>
                      <a:lnTo>
                        <a:pt x="241" y="61"/>
                      </a:lnTo>
                      <a:lnTo>
                        <a:pt x="242" y="59"/>
                      </a:lnTo>
                      <a:lnTo>
                        <a:pt x="243" y="59"/>
                      </a:lnTo>
                      <a:lnTo>
                        <a:pt x="243" y="58"/>
                      </a:lnTo>
                      <a:lnTo>
                        <a:pt x="245" y="58"/>
                      </a:lnTo>
                      <a:lnTo>
                        <a:pt x="246" y="57"/>
                      </a:lnTo>
                      <a:lnTo>
                        <a:pt x="246" y="58"/>
                      </a:lnTo>
                      <a:lnTo>
                        <a:pt x="247" y="58"/>
                      </a:lnTo>
                      <a:lnTo>
                        <a:pt x="248" y="57"/>
                      </a:lnTo>
                      <a:lnTo>
                        <a:pt x="249" y="56"/>
                      </a:lnTo>
                      <a:lnTo>
                        <a:pt x="250" y="56"/>
                      </a:lnTo>
                      <a:lnTo>
                        <a:pt x="252" y="56"/>
                      </a:lnTo>
                      <a:lnTo>
                        <a:pt x="252" y="57"/>
                      </a:lnTo>
                      <a:lnTo>
                        <a:pt x="253" y="57"/>
                      </a:lnTo>
                      <a:lnTo>
                        <a:pt x="253" y="58"/>
                      </a:lnTo>
                      <a:lnTo>
                        <a:pt x="254" y="58"/>
                      </a:lnTo>
                      <a:lnTo>
                        <a:pt x="255" y="57"/>
                      </a:lnTo>
                      <a:lnTo>
                        <a:pt x="256" y="57"/>
                      </a:lnTo>
                      <a:lnTo>
                        <a:pt x="256" y="56"/>
                      </a:lnTo>
                      <a:lnTo>
                        <a:pt x="257" y="56"/>
                      </a:lnTo>
                      <a:lnTo>
                        <a:pt x="259" y="56"/>
                      </a:lnTo>
                      <a:lnTo>
                        <a:pt x="259" y="55"/>
                      </a:lnTo>
                      <a:lnTo>
                        <a:pt x="260" y="52"/>
                      </a:lnTo>
                      <a:lnTo>
                        <a:pt x="260" y="51"/>
                      </a:lnTo>
                      <a:lnTo>
                        <a:pt x="261" y="51"/>
                      </a:lnTo>
                      <a:lnTo>
                        <a:pt x="262" y="51"/>
                      </a:lnTo>
                      <a:lnTo>
                        <a:pt x="263" y="50"/>
                      </a:lnTo>
                      <a:lnTo>
                        <a:pt x="264" y="50"/>
                      </a:lnTo>
                      <a:lnTo>
                        <a:pt x="264" y="51"/>
                      </a:lnTo>
                      <a:lnTo>
                        <a:pt x="266" y="51"/>
                      </a:lnTo>
                      <a:lnTo>
                        <a:pt x="266" y="52"/>
                      </a:lnTo>
                      <a:lnTo>
                        <a:pt x="266" y="54"/>
                      </a:lnTo>
                      <a:lnTo>
                        <a:pt x="267" y="54"/>
                      </a:lnTo>
                      <a:lnTo>
                        <a:pt x="269" y="54"/>
                      </a:lnTo>
                      <a:lnTo>
                        <a:pt x="270" y="55"/>
                      </a:lnTo>
                      <a:lnTo>
                        <a:pt x="271" y="55"/>
                      </a:lnTo>
                      <a:lnTo>
                        <a:pt x="273" y="55"/>
                      </a:lnTo>
                      <a:lnTo>
                        <a:pt x="274" y="54"/>
                      </a:lnTo>
                      <a:lnTo>
                        <a:pt x="275" y="52"/>
                      </a:lnTo>
                      <a:lnTo>
                        <a:pt x="276" y="51"/>
                      </a:lnTo>
                      <a:lnTo>
                        <a:pt x="277" y="49"/>
                      </a:lnTo>
                      <a:lnTo>
                        <a:pt x="278" y="49"/>
                      </a:lnTo>
                      <a:lnTo>
                        <a:pt x="278" y="45"/>
                      </a:lnTo>
                      <a:lnTo>
                        <a:pt x="280" y="45"/>
                      </a:lnTo>
                      <a:lnTo>
                        <a:pt x="280" y="44"/>
                      </a:lnTo>
                      <a:lnTo>
                        <a:pt x="281" y="43"/>
                      </a:lnTo>
                      <a:lnTo>
                        <a:pt x="282" y="42"/>
                      </a:lnTo>
                      <a:lnTo>
                        <a:pt x="284" y="41"/>
                      </a:lnTo>
                      <a:lnTo>
                        <a:pt x="285" y="41"/>
                      </a:lnTo>
                      <a:lnTo>
                        <a:pt x="285" y="40"/>
                      </a:lnTo>
                      <a:lnTo>
                        <a:pt x="287" y="38"/>
                      </a:lnTo>
                      <a:lnTo>
                        <a:pt x="287" y="37"/>
                      </a:lnTo>
                      <a:lnTo>
                        <a:pt x="288" y="37"/>
                      </a:lnTo>
                      <a:lnTo>
                        <a:pt x="289" y="37"/>
                      </a:lnTo>
                      <a:lnTo>
                        <a:pt x="290" y="37"/>
                      </a:lnTo>
                      <a:lnTo>
                        <a:pt x="291" y="36"/>
                      </a:lnTo>
                      <a:lnTo>
                        <a:pt x="293" y="35"/>
                      </a:lnTo>
                      <a:lnTo>
                        <a:pt x="295" y="35"/>
                      </a:lnTo>
                      <a:lnTo>
                        <a:pt x="295" y="34"/>
                      </a:lnTo>
                      <a:lnTo>
                        <a:pt x="296" y="34"/>
                      </a:lnTo>
                      <a:lnTo>
                        <a:pt x="296" y="33"/>
                      </a:lnTo>
                      <a:lnTo>
                        <a:pt x="297" y="33"/>
                      </a:lnTo>
                      <a:lnTo>
                        <a:pt x="299" y="33"/>
                      </a:lnTo>
                      <a:lnTo>
                        <a:pt x="300" y="31"/>
                      </a:lnTo>
                      <a:lnTo>
                        <a:pt x="303" y="31"/>
                      </a:lnTo>
                      <a:lnTo>
                        <a:pt x="304" y="30"/>
                      </a:lnTo>
                      <a:lnTo>
                        <a:pt x="304" y="29"/>
                      </a:lnTo>
                      <a:lnTo>
                        <a:pt x="305" y="29"/>
                      </a:lnTo>
                      <a:lnTo>
                        <a:pt x="305" y="28"/>
                      </a:lnTo>
                      <a:lnTo>
                        <a:pt x="306" y="28"/>
                      </a:lnTo>
                      <a:lnTo>
                        <a:pt x="307" y="27"/>
                      </a:lnTo>
                      <a:lnTo>
                        <a:pt x="309" y="27"/>
                      </a:lnTo>
                      <a:lnTo>
                        <a:pt x="311" y="27"/>
                      </a:lnTo>
                      <a:lnTo>
                        <a:pt x="312" y="26"/>
                      </a:lnTo>
                      <a:lnTo>
                        <a:pt x="313" y="26"/>
                      </a:lnTo>
                      <a:lnTo>
                        <a:pt x="316" y="26"/>
                      </a:lnTo>
                      <a:lnTo>
                        <a:pt x="317" y="24"/>
                      </a:lnTo>
                      <a:lnTo>
                        <a:pt x="318" y="24"/>
                      </a:lnTo>
                      <a:lnTo>
                        <a:pt x="319" y="24"/>
                      </a:lnTo>
                      <a:lnTo>
                        <a:pt x="320" y="24"/>
                      </a:lnTo>
                      <a:lnTo>
                        <a:pt x="321" y="24"/>
                      </a:lnTo>
                      <a:lnTo>
                        <a:pt x="323" y="24"/>
                      </a:lnTo>
                      <a:lnTo>
                        <a:pt x="324" y="24"/>
                      </a:lnTo>
                      <a:lnTo>
                        <a:pt x="330" y="23"/>
                      </a:lnTo>
                      <a:lnTo>
                        <a:pt x="331" y="23"/>
                      </a:lnTo>
                      <a:lnTo>
                        <a:pt x="332" y="23"/>
                      </a:lnTo>
                      <a:lnTo>
                        <a:pt x="333" y="23"/>
                      </a:lnTo>
                      <a:lnTo>
                        <a:pt x="335" y="23"/>
                      </a:lnTo>
                      <a:lnTo>
                        <a:pt x="337" y="23"/>
                      </a:lnTo>
                      <a:lnTo>
                        <a:pt x="338" y="23"/>
                      </a:lnTo>
                      <a:lnTo>
                        <a:pt x="339" y="23"/>
                      </a:lnTo>
                      <a:lnTo>
                        <a:pt x="341" y="23"/>
                      </a:lnTo>
                      <a:lnTo>
                        <a:pt x="349" y="20"/>
                      </a:lnTo>
                      <a:lnTo>
                        <a:pt x="351" y="20"/>
                      </a:lnTo>
                      <a:lnTo>
                        <a:pt x="352" y="20"/>
                      </a:lnTo>
                      <a:lnTo>
                        <a:pt x="352" y="21"/>
                      </a:lnTo>
                      <a:lnTo>
                        <a:pt x="353" y="21"/>
                      </a:lnTo>
                      <a:lnTo>
                        <a:pt x="353" y="22"/>
                      </a:lnTo>
                      <a:lnTo>
                        <a:pt x="354" y="22"/>
                      </a:lnTo>
                      <a:lnTo>
                        <a:pt x="359" y="22"/>
                      </a:lnTo>
                      <a:lnTo>
                        <a:pt x="360" y="21"/>
                      </a:lnTo>
                      <a:lnTo>
                        <a:pt x="363" y="19"/>
                      </a:lnTo>
                      <a:lnTo>
                        <a:pt x="364" y="17"/>
                      </a:lnTo>
                      <a:lnTo>
                        <a:pt x="366" y="17"/>
                      </a:lnTo>
                      <a:lnTo>
                        <a:pt x="367" y="15"/>
                      </a:lnTo>
                      <a:lnTo>
                        <a:pt x="368" y="14"/>
                      </a:lnTo>
                      <a:lnTo>
                        <a:pt x="369" y="13"/>
                      </a:lnTo>
                      <a:lnTo>
                        <a:pt x="370" y="13"/>
                      </a:lnTo>
                      <a:lnTo>
                        <a:pt x="371" y="13"/>
                      </a:lnTo>
                      <a:lnTo>
                        <a:pt x="373" y="13"/>
                      </a:lnTo>
                      <a:lnTo>
                        <a:pt x="373" y="14"/>
                      </a:lnTo>
                      <a:lnTo>
                        <a:pt x="374" y="14"/>
                      </a:lnTo>
                      <a:lnTo>
                        <a:pt x="375" y="15"/>
                      </a:lnTo>
                      <a:lnTo>
                        <a:pt x="376" y="15"/>
                      </a:lnTo>
                      <a:lnTo>
                        <a:pt x="377" y="15"/>
                      </a:lnTo>
                      <a:lnTo>
                        <a:pt x="378" y="15"/>
                      </a:lnTo>
                      <a:lnTo>
                        <a:pt x="378" y="14"/>
                      </a:lnTo>
                      <a:lnTo>
                        <a:pt x="378" y="13"/>
                      </a:lnTo>
                      <a:lnTo>
                        <a:pt x="380" y="13"/>
                      </a:lnTo>
                      <a:lnTo>
                        <a:pt x="382" y="14"/>
                      </a:lnTo>
                      <a:lnTo>
                        <a:pt x="383" y="14"/>
                      </a:lnTo>
                      <a:lnTo>
                        <a:pt x="387" y="14"/>
                      </a:lnTo>
                      <a:lnTo>
                        <a:pt x="389" y="14"/>
                      </a:lnTo>
                      <a:lnTo>
                        <a:pt x="390" y="13"/>
                      </a:lnTo>
                      <a:lnTo>
                        <a:pt x="391" y="13"/>
                      </a:lnTo>
                      <a:lnTo>
                        <a:pt x="392" y="12"/>
                      </a:lnTo>
                      <a:lnTo>
                        <a:pt x="395" y="10"/>
                      </a:lnTo>
                      <a:lnTo>
                        <a:pt x="396" y="9"/>
                      </a:lnTo>
                      <a:lnTo>
                        <a:pt x="398" y="8"/>
                      </a:lnTo>
                      <a:lnTo>
                        <a:pt x="399" y="8"/>
                      </a:lnTo>
                      <a:lnTo>
                        <a:pt x="401" y="8"/>
                      </a:lnTo>
                      <a:lnTo>
                        <a:pt x="402" y="9"/>
                      </a:lnTo>
                      <a:lnTo>
                        <a:pt x="403" y="9"/>
                      </a:lnTo>
                      <a:lnTo>
                        <a:pt x="404" y="9"/>
                      </a:lnTo>
                      <a:lnTo>
                        <a:pt x="405" y="9"/>
                      </a:lnTo>
                      <a:lnTo>
                        <a:pt x="406" y="9"/>
                      </a:lnTo>
                      <a:lnTo>
                        <a:pt x="408" y="9"/>
                      </a:lnTo>
                      <a:lnTo>
                        <a:pt x="409" y="9"/>
                      </a:lnTo>
                      <a:lnTo>
                        <a:pt x="409" y="8"/>
                      </a:lnTo>
                      <a:lnTo>
                        <a:pt x="410" y="9"/>
                      </a:lnTo>
                      <a:lnTo>
                        <a:pt x="411" y="9"/>
                      </a:lnTo>
                      <a:lnTo>
                        <a:pt x="412" y="8"/>
                      </a:lnTo>
                      <a:lnTo>
                        <a:pt x="413" y="8"/>
                      </a:lnTo>
                      <a:lnTo>
                        <a:pt x="413" y="9"/>
                      </a:lnTo>
                      <a:lnTo>
                        <a:pt x="415" y="9"/>
                      </a:lnTo>
                      <a:lnTo>
                        <a:pt x="418" y="8"/>
                      </a:lnTo>
                      <a:lnTo>
                        <a:pt x="419" y="8"/>
                      </a:lnTo>
                      <a:lnTo>
                        <a:pt x="419" y="9"/>
                      </a:lnTo>
                      <a:lnTo>
                        <a:pt x="420" y="9"/>
                      </a:lnTo>
                      <a:lnTo>
                        <a:pt x="421" y="9"/>
                      </a:lnTo>
                      <a:lnTo>
                        <a:pt x="423" y="9"/>
                      </a:lnTo>
                      <a:lnTo>
                        <a:pt x="424" y="9"/>
                      </a:lnTo>
                      <a:lnTo>
                        <a:pt x="426" y="9"/>
                      </a:lnTo>
                      <a:lnTo>
                        <a:pt x="428" y="9"/>
                      </a:lnTo>
                      <a:lnTo>
                        <a:pt x="430" y="9"/>
                      </a:lnTo>
                      <a:lnTo>
                        <a:pt x="434" y="10"/>
                      </a:lnTo>
                      <a:lnTo>
                        <a:pt x="435" y="12"/>
                      </a:lnTo>
                      <a:lnTo>
                        <a:pt x="437" y="12"/>
                      </a:lnTo>
                      <a:lnTo>
                        <a:pt x="437" y="13"/>
                      </a:lnTo>
                      <a:lnTo>
                        <a:pt x="438" y="13"/>
                      </a:lnTo>
                      <a:lnTo>
                        <a:pt x="439" y="13"/>
                      </a:lnTo>
                      <a:lnTo>
                        <a:pt x="439" y="15"/>
                      </a:lnTo>
                      <a:lnTo>
                        <a:pt x="439" y="16"/>
                      </a:lnTo>
                      <a:lnTo>
                        <a:pt x="440" y="16"/>
                      </a:lnTo>
                      <a:lnTo>
                        <a:pt x="444" y="19"/>
                      </a:lnTo>
                      <a:lnTo>
                        <a:pt x="445" y="19"/>
                      </a:lnTo>
                      <a:lnTo>
                        <a:pt x="446" y="19"/>
                      </a:lnTo>
                      <a:lnTo>
                        <a:pt x="448" y="19"/>
                      </a:lnTo>
                      <a:lnTo>
                        <a:pt x="449" y="17"/>
                      </a:lnTo>
                      <a:lnTo>
                        <a:pt x="451" y="17"/>
                      </a:lnTo>
                      <a:lnTo>
                        <a:pt x="452" y="17"/>
                      </a:lnTo>
                      <a:lnTo>
                        <a:pt x="453" y="16"/>
                      </a:lnTo>
                      <a:lnTo>
                        <a:pt x="454" y="16"/>
                      </a:lnTo>
                      <a:lnTo>
                        <a:pt x="454" y="15"/>
                      </a:lnTo>
                      <a:lnTo>
                        <a:pt x="455" y="14"/>
                      </a:lnTo>
                      <a:lnTo>
                        <a:pt x="456" y="13"/>
                      </a:lnTo>
                      <a:lnTo>
                        <a:pt x="458" y="13"/>
                      </a:lnTo>
                      <a:lnTo>
                        <a:pt x="459" y="12"/>
                      </a:lnTo>
                      <a:lnTo>
                        <a:pt x="460" y="12"/>
                      </a:lnTo>
                      <a:lnTo>
                        <a:pt x="461" y="12"/>
                      </a:lnTo>
                      <a:lnTo>
                        <a:pt x="462" y="12"/>
                      </a:lnTo>
                      <a:lnTo>
                        <a:pt x="465" y="12"/>
                      </a:lnTo>
                      <a:lnTo>
                        <a:pt x="469" y="10"/>
                      </a:lnTo>
                      <a:lnTo>
                        <a:pt x="475" y="8"/>
                      </a:lnTo>
                      <a:lnTo>
                        <a:pt x="476" y="7"/>
                      </a:lnTo>
                      <a:lnTo>
                        <a:pt x="476" y="6"/>
                      </a:lnTo>
                      <a:lnTo>
                        <a:pt x="476" y="5"/>
                      </a:lnTo>
                      <a:lnTo>
                        <a:pt x="477" y="3"/>
                      </a:lnTo>
                      <a:lnTo>
                        <a:pt x="479" y="2"/>
                      </a:lnTo>
                      <a:lnTo>
                        <a:pt x="479" y="1"/>
                      </a:lnTo>
                      <a:lnTo>
                        <a:pt x="480" y="1"/>
                      </a:lnTo>
                      <a:lnTo>
                        <a:pt x="482" y="0"/>
                      </a:lnTo>
                      <a:lnTo>
                        <a:pt x="483" y="0"/>
                      </a:lnTo>
                      <a:lnTo>
                        <a:pt x="484" y="1"/>
                      </a:lnTo>
                      <a:lnTo>
                        <a:pt x="485" y="1"/>
                      </a:lnTo>
                      <a:lnTo>
                        <a:pt x="485" y="2"/>
                      </a:lnTo>
                      <a:lnTo>
                        <a:pt x="487" y="2"/>
                      </a:lnTo>
                      <a:lnTo>
                        <a:pt x="487" y="3"/>
                      </a:lnTo>
                      <a:lnTo>
                        <a:pt x="487" y="5"/>
                      </a:lnTo>
                      <a:lnTo>
                        <a:pt x="488" y="5"/>
                      </a:lnTo>
                      <a:lnTo>
                        <a:pt x="489" y="5"/>
                      </a:lnTo>
                      <a:lnTo>
                        <a:pt x="489" y="6"/>
                      </a:lnTo>
                      <a:lnTo>
                        <a:pt x="490" y="6"/>
                      </a:lnTo>
                      <a:lnTo>
                        <a:pt x="495" y="6"/>
                      </a:lnTo>
                      <a:lnTo>
                        <a:pt x="496" y="7"/>
                      </a:lnTo>
                      <a:lnTo>
                        <a:pt x="497" y="7"/>
                      </a:lnTo>
                      <a:lnTo>
                        <a:pt x="497" y="8"/>
                      </a:lnTo>
                      <a:lnTo>
                        <a:pt x="499" y="8"/>
                      </a:lnTo>
                      <a:lnTo>
                        <a:pt x="503" y="7"/>
                      </a:lnTo>
                      <a:lnTo>
                        <a:pt x="504" y="7"/>
                      </a:lnTo>
                      <a:lnTo>
                        <a:pt x="505" y="7"/>
                      </a:lnTo>
                      <a:lnTo>
                        <a:pt x="506" y="7"/>
                      </a:lnTo>
                      <a:lnTo>
                        <a:pt x="508" y="6"/>
                      </a:lnTo>
                      <a:lnTo>
                        <a:pt x="509" y="5"/>
                      </a:lnTo>
                      <a:lnTo>
                        <a:pt x="509" y="3"/>
                      </a:lnTo>
                      <a:lnTo>
                        <a:pt x="508" y="1"/>
                      </a:lnTo>
                      <a:lnTo>
                        <a:pt x="506" y="1"/>
                      </a:lnTo>
                      <a:lnTo>
                        <a:pt x="506" y="0"/>
                      </a:lnTo>
                      <a:lnTo>
                        <a:pt x="508" y="0"/>
                      </a:lnTo>
                      <a:lnTo>
                        <a:pt x="509" y="1"/>
                      </a:lnTo>
                      <a:lnTo>
                        <a:pt x="510" y="1"/>
                      </a:lnTo>
                      <a:lnTo>
                        <a:pt x="511" y="1"/>
                      </a:lnTo>
                      <a:lnTo>
                        <a:pt x="512" y="1"/>
                      </a:lnTo>
                      <a:lnTo>
                        <a:pt x="513" y="1"/>
                      </a:lnTo>
                      <a:lnTo>
                        <a:pt x="513" y="2"/>
                      </a:lnTo>
                      <a:lnTo>
                        <a:pt x="515" y="2"/>
                      </a:lnTo>
                      <a:lnTo>
                        <a:pt x="516" y="2"/>
                      </a:lnTo>
                      <a:lnTo>
                        <a:pt x="516" y="1"/>
                      </a:lnTo>
                      <a:lnTo>
                        <a:pt x="517" y="2"/>
                      </a:lnTo>
                      <a:lnTo>
                        <a:pt x="518" y="3"/>
                      </a:lnTo>
                      <a:lnTo>
                        <a:pt x="519" y="5"/>
                      </a:lnTo>
                      <a:lnTo>
                        <a:pt x="520" y="5"/>
                      </a:lnTo>
                      <a:lnTo>
                        <a:pt x="522" y="5"/>
                      </a:lnTo>
                      <a:lnTo>
                        <a:pt x="523" y="5"/>
                      </a:lnTo>
                      <a:lnTo>
                        <a:pt x="524" y="6"/>
                      </a:lnTo>
                      <a:lnTo>
                        <a:pt x="525" y="5"/>
                      </a:lnTo>
                      <a:lnTo>
                        <a:pt x="526" y="5"/>
                      </a:lnTo>
                      <a:lnTo>
                        <a:pt x="526" y="3"/>
                      </a:lnTo>
                      <a:lnTo>
                        <a:pt x="526" y="5"/>
                      </a:lnTo>
                      <a:lnTo>
                        <a:pt x="526" y="6"/>
                      </a:lnTo>
                      <a:lnTo>
                        <a:pt x="525" y="7"/>
                      </a:lnTo>
                      <a:lnTo>
                        <a:pt x="526" y="7"/>
                      </a:lnTo>
                      <a:lnTo>
                        <a:pt x="525" y="8"/>
                      </a:lnTo>
                      <a:lnTo>
                        <a:pt x="526" y="9"/>
                      </a:lnTo>
                      <a:lnTo>
                        <a:pt x="529" y="9"/>
                      </a:lnTo>
                      <a:lnTo>
                        <a:pt x="530" y="9"/>
                      </a:lnTo>
                      <a:lnTo>
                        <a:pt x="534" y="8"/>
                      </a:lnTo>
                      <a:lnTo>
                        <a:pt x="536" y="8"/>
                      </a:lnTo>
                      <a:lnTo>
                        <a:pt x="540" y="6"/>
                      </a:lnTo>
                      <a:lnTo>
                        <a:pt x="541" y="6"/>
                      </a:lnTo>
                      <a:lnTo>
                        <a:pt x="543" y="7"/>
                      </a:lnTo>
                      <a:lnTo>
                        <a:pt x="544" y="7"/>
                      </a:lnTo>
                      <a:lnTo>
                        <a:pt x="545" y="7"/>
                      </a:lnTo>
                      <a:lnTo>
                        <a:pt x="546" y="7"/>
                      </a:lnTo>
                      <a:lnTo>
                        <a:pt x="547" y="7"/>
                      </a:lnTo>
                      <a:lnTo>
                        <a:pt x="548" y="8"/>
                      </a:lnTo>
                      <a:lnTo>
                        <a:pt x="548" y="7"/>
                      </a:lnTo>
                      <a:lnTo>
                        <a:pt x="552" y="6"/>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2" name="Freeform 86">
                  <a:extLst>
                    <a:ext uri="{FF2B5EF4-FFF2-40B4-BE49-F238E27FC236}">
                      <a16:creationId xmlns:a16="http://schemas.microsoft.com/office/drawing/2014/main" id="{FC1256B3-8A50-85C6-7BF5-FEFE14492A3D}"/>
                    </a:ext>
                  </a:extLst>
                </p:cNvPr>
                <p:cNvSpPr>
                  <a:spLocks noEditPoints="1"/>
                </p:cNvSpPr>
                <p:nvPr/>
              </p:nvSpPr>
              <p:spPr bwMode="auto">
                <a:xfrm>
                  <a:off x="7075014" y="2649817"/>
                  <a:ext cx="422958" cy="376442"/>
                </a:xfrm>
                <a:custGeom>
                  <a:avLst/>
                  <a:gdLst>
                    <a:gd name="T0" fmla="*/ 299 w 391"/>
                    <a:gd name="T1" fmla="*/ 153 h 348"/>
                    <a:gd name="T2" fmla="*/ 315 w 391"/>
                    <a:gd name="T3" fmla="*/ 136 h 348"/>
                    <a:gd name="T4" fmla="*/ 276 w 391"/>
                    <a:gd name="T5" fmla="*/ 16 h 348"/>
                    <a:gd name="T6" fmla="*/ 24 w 391"/>
                    <a:gd name="T7" fmla="*/ 5 h 348"/>
                    <a:gd name="T8" fmla="*/ 77 w 391"/>
                    <a:gd name="T9" fmla="*/ 9 h 348"/>
                    <a:gd name="T10" fmla="*/ 95 w 391"/>
                    <a:gd name="T11" fmla="*/ 17 h 348"/>
                    <a:gd name="T12" fmla="*/ 120 w 391"/>
                    <a:gd name="T13" fmla="*/ 21 h 348"/>
                    <a:gd name="T14" fmla="*/ 158 w 391"/>
                    <a:gd name="T15" fmla="*/ 23 h 348"/>
                    <a:gd name="T16" fmla="*/ 176 w 391"/>
                    <a:gd name="T17" fmla="*/ 15 h 348"/>
                    <a:gd name="T18" fmla="*/ 181 w 391"/>
                    <a:gd name="T19" fmla="*/ 6 h 348"/>
                    <a:gd name="T20" fmla="*/ 193 w 391"/>
                    <a:gd name="T21" fmla="*/ 7 h 348"/>
                    <a:gd name="T22" fmla="*/ 199 w 391"/>
                    <a:gd name="T23" fmla="*/ 8 h 348"/>
                    <a:gd name="T24" fmla="*/ 202 w 391"/>
                    <a:gd name="T25" fmla="*/ 2 h 348"/>
                    <a:gd name="T26" fmla="*/ 235 w 391"/>
                    <a:gd name="T27" fmla="*/ 8 h 348"/>
                    <a:gd name="T28" fmla="*/ 234 w 391"/>
                    <a:gd name="T29" fmla="*/ 8 h 348"/>
                    <a:gd name="T30" fmla="*/ 230 w 391"/>
                    <a:gd name="T31" fmla="*/ 9 h 348"/>
                    <a:gd name="T32" fmla="*/ 231 w 391"/>
                    <a:gd name="T33" fmla="*/ 16 h 348"/>
                    <a:gd name="T34" fmla="*/ 236 w 391"/>
                    <a:gd name="T35" fmla="*/ 16 h 348"/>
                    <a:gd name="T36" fmla="*/ 241 w 391"/>
                    <a:gd name="T37" fmla="*/ 21 h 348"/>
                    <a:gd name="T38" fmla="*/ 245 w 391"/>
                    <a:gd name="T39" fmla="*/ 14 h 348"/>
                    <a:gd name="T40" fmla="*/ 264 w 391"/>
                    <a:gd name="T41" fmla="*/ 20 h 348"/>
                    <a:gd name="T42" fmla="*/ 267 w 391"/>
                    <a:gd name="T43" fmla="*/ 22 h 348"/>
                    <a:gd name="T44" fmla="*/ 272 w 391"/>
                    <a:gd name="T45" fmla="*/ 21 h 348"/>
                    <a:gd name="T46" fmla="*/ 280 w 391"/>
                    <a:gd name="T47" fmla="*/ 20 h 348"/>
                    <a:gd name="T48" fmla="*/ 309 w 391"/>
                    <a:gd name="T49" fmla="*/ 22 h 348"/>
                    <a:gd name="T50" fmla="*/ 323 w 391"/>
                    <a:gd name="T51" fmla="*/ 64 h 348"/>
                    <a:gd name="T52" fmla="*/ 323 w 391"/>
                    <a:gd name="T53" fmla="*/ 87 h 348"/>
                    <a:gd name="T54" fmla="*/ 319 w 391"/>
                    <a:gd name="T55" fmla="*/ 107 h 348"/>
                    <a:gd name="T56" fmla="*/ 313 w 391"/>
                    <a:gd name="T57" fmla="*/ 128 h 348"/>
                    <a:gd name="T58" fmla="*/ 306 w 391"/>
                    <a:gd name="T59" fmla="*/ 143 h 348"/>
                    <a:gd name="T60" fmla="*/ 290 w 391"/>
                    <a:gd name="T61" fmla="*/ 133 h 348"/>
                    <a:gd name="T62" fmla="*/ 276 w 391"/>
                    <a:gd name="T63" fmla="*/ 115 h 348"/>
                    <a:gd name="T64" fmla="*/ 272 w 391"/>
                    <a:gd name="T65" fmla="*/ 100 h 348"/>
                    <a:gd name="T66" fmla="*/ 260 w 391"/>
                    <a:gd name="T67" fmla="*/ 83 h 348"/>
                    <a:gd name="T68" fmla="*/ 255 w 391"/>
                    <a:gd name="T69" fmla="*/ 66 h 348"/>
                    <a:gd name="T70" fmla="*/ 248 w 391"/>
                    <a:gd name="T71" fmla="*/ 72 h 348"/>
                    <a:gd name="T72" fmla="*/ 256 w 391"/>
                    <a:gd name="T73" fmla="*/ 96 h 348"/>
                    <a:gd name="T74" fmla="*/ 266 w 391"/>
                    <a:gd name="T75" fmla="*/ 118 h 348"/>
                    <a:gd name="T76" fmla="*/ 278 w 391"/>
                    <a:gd name="T77" fmla="*/ 133 h 348"/>
                    <a:gd name="T78" fmla="*/ 285 w 391"/>
                    <a:gd name="T79" fmla="*/ 143 h 348"/>
                    <a:gd name="T80" fmla="*/ 287 w 391"/>
                    <a:gd name="T81" fmla="*/ 154 h 348"/>
                    <a:gd name="T82" fmla="*/ 297 w 391"/>
                    <a:gd name="T83" fmla="*/ 173 h 348"/>
                    <a:gd name="T84" fmla="*/ 299 w 391"/>
                    <a:gd name="T85" fmla="*/ 187 h 348"/>
                    <a:gd name="T86" fmla="*/ 321 w 391"/>
                    <a:gd name="T87" fmla="*/ 229 h 348"/>
                    <a:gd name="T88" fmla="*/ 334 w 391"/>
                    <a:gd name="T89" fmla="*/ 255 h 348"/>
                    <a:gd name="T90" fmla="*/ 350 w 391"/>
                    <a:gd name="T91" fmla="*/ 278 h 348"/>
                    <a:gd name="T92" fmla="*/ 347 w 391"/>
                    <a:gd name="T93" fmla="*/ 279 h 348"/>
                    <a:gd name="T94" fmla="*/ 348 w 391"/>
                    <a:gd name="T95" fmla="*/ 301 h 348"/>
                    <a:gd name="T96" fmla="*/ 357 w 391"/>
                    <a:gd name="T97" fmla="*/ 320 h 348"/>
                    <a:gd name="T98" fmla="*/ 376 w 391"/>
                    <a:gd name="T99" fmla="*/ 335 h 348"/>
                    <a:gd name="T100" fmla="*/ 354 w 391"/>
                    <a:gd name="T101" fmla="*/ 348 h 348"/>
                    <a:gd name="T102" fmla="*/ 251 w 391"/>
                    <a:gd name="T103" fmla="*/ 346 h 348"/>
                    <a:gd name="T104" fmla="*/ 215 w 391"/>
                    <a:gd name="T105" fmla="*/ 339 h 348"/>
                    <a:gd name="T106" fmla="*/ 169 w 391"/>
                    <a:gd name="T107" fmla="*/ 346 h 348"/>
                    <a:gd name="T108" fmla="*/ 113 w 391"/>
                    <a:gd name="T109" fmla="*/ 346 h 348"/>
                    <a:gd name="T110" fmla="*/ 56 w 391"/>
                    <a:gd name="T111" fmla="*/ 346 h 348"/>
                    <a:gd name="T112" fmla="*/ 9 w 391"/>
                    <a:gd name="T113" fmla="*/ 316 h 348"/>
                    <a:gd name="T114" fmla="*/ 9 w 391"/>
                    <a:gd name="T115" fmla="*/ 148 h 348"/>
                    <a:gd name="T116" fmla="*/ 4 w 391"/>
                    <a:gd name="T117" fmla="*/ 68 h 348"/>
                    <a:gd name="T118" fmla="*/ 9 w 391"/>
                    <a:gd name="T119" fmla="*/ 36 h 348"/>
                    <a:gd name="T120" fmla="*/ 16 w 391"/>
                    <a:gd name="T121" fmla="*/ 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1" h="348">
                      <a:moveTo>
                        <a:pt x="299" y="181"/>
                      </a:moveTo>
                      <a:lnTo>
                        <a:pt x="299" y="182"/>
                      </a:lnTo>
                      <a:lnTo>
                        <a:pt x="298" y="181"/>
                      </a:lnTo>
                      <a:lnTo>
                        <a:pt x="298" y="178"/>
                      </a:lnTo>
                      <a:lnTo>
                        <a:pt x="299" y="181"/>
                      </a:lnTo>
                      <a:close/>
                      <a:moveTo>
                        <a:pt x="299" y="153"/>
                      </a:moveTo>
                      <a:lnTo>
                        <a:pt x="300" y="153"/>
                      </a:lnTo>
                      <a:lnTo>
                        <a:pt x="300" y="154"/>
                      </a:lnTo>
                      <a:lnTo>
                        <a:pt x="300" y="155"/>
                      </a:lnTo>
                      <a:lnTo>
                        <a:pt x="299" y="154"/>
                      </a:lnTo>
                      <a:lnTo>
                        <a:pt x="298" y="154"/>
                      </a:lnTo>
                      <a:lnTo>
                        <a:pt x="298" y="153"/>
                      </a:lnTo>
                      <a:lnTo>
                        <a:pt x="297" y="154"/>
                      </a:lnTo>
                      <a:lnTo>
                        <a:pt x="297" y="153"/>
                      </a:lnTo>
                      <a:lnTo>
                        <a:pt x="297" y="152"/>
                      </a:lnTo>
                      <a:lnTo>
                        <a:pt x="298" y="152"/>
                      </a:lnTo>
                      <a:lnTo>
                        <a:pt x="298" y="153"/>
                      </a:lnTo>
                      <a:lnTo>
                        <a:pt x="299" y="153"/>
                      </a:lnTo>
                      <a:close/>
                      <a:moveTo>
                        <a:pt x="322" y="139"/>
                      </a:moveTo>
                      <a:lnTo>
                        <a:pt x="321" y="139"/>
                      </a:lnTo>
                      <a:lnTo>
                        <a:pt x="320" y="138"/>
                      </a:lnTo>
                      <a:lnTo>
                        <a:pt x="321" y="136"/>
                      </a:lnTo>
                      <a:lnTo>
                        <a:pt x="322" y="136"/>
                      </a:lnTo>
                      <a:lnTo>
                        <a:pt x="322" y="139"/>
                      </a:lnTo>
                      <a:close/>
                      <a:moveTo>
                        <a:pt x="316" y="135"/>
                      </a:moveTo>
                      <a:lnTo>
                        <a:pt x="315" y="135"/>
                      </a:lnTo>
                      <a:lnTo>
                        <a:pt x="315" y="136"/>
                      </a:lnTo>
                      <a:lnTo>
                        <a:pt x="316" y="136"/>
                      </a:lnTo>
                      <a:lnTo>
                        <a:pt x="317" y="136"/>
                      </a:lnTo>
                      <a:lnTo>
                        <a:pt x="317" y="138"/>
                      </a:lnTo>
                      <a:lnTo>
                        <a:pt x="319" y="138"/>
                      </a:lnTo>
                      <a:lnTo>
                        <a:pt x="319" y="139"/>
                      </a:lnTo>
                      <a:lnTo>
                        <a:pt x="317" y="139"/>
                      </a:lnTo>
                      <a:lnTo>
                        <a:pt x="316" y="139"/>
                      </a:lnTo>
                      <a:lnTo>
                        <a:pt x="315" y="138"/>
                      </a:lnTo>
                      <a:lnTo>
                        <a:pt x="315" y="136"/>
                      </a:lnTo>
                      <a:lnTo>
                        <a:pt x="315" y="135"/>
                      </a:lnTo>
                      <a:lnTo>
                        <a:pt x="316" y="135"/>
                      </a:lnTo>
                      <a:close/>
                      <a:moveTo>
                        <a:pt x="266" y="22"/>
                      </a:moveTo>
                      <a:lnTo>
                        <a:pt x="267" y="22"/>
                      </a:lnTo>
                      <a:lnTo>
                        <a:pt x="266" y="22"/>
                      </a:lnTo>
                      <a:lnTo>
                        <a:pt x="266" y="21"/>
                      </a:lnTo>
                      <a:lnTo>
                        <a:pt x="266" y="22"/>
                      </a:lnTo>
                      <a:close/>
                      <a:moveTo>
                        <a:pt x="281" y="19"/>
                      </a:moveTo>
                      <a:lnTo>
                        <a:pt x="283" y="20"/>
                      </a:lnTo>
                      <a:lnTo>
                        <a:pt x="281" y="19"/>
                      </a:lnTo>
                      <a:lnTo>
                        <a:pt x="277" y="16"/>
                      </a:lnTo>
                      <a:lnTo>
                        <a:pt x="276" y="16"/>
                      </a:lnTo>
                      <a:lnTo>
                        <a:pt x="277" y="16"/>
                      </a:lnTo>
                      <a:lnTo>
                        <a:pt x="279" y="17"/>
                      </a:lnTo>
                      <a:lnTo>
                        <a:pt x="280" y="17"/>
                      </a:lnTo>
                      <a:lnTo>
                        <a:pt x="281" y="19"/>
                      </a:lnTo>
                      <a:close/>
                      <a:moveTo>
                        <a:pt x="271" y="16"/>
                      </a:moveTo>
                      <a:lnTo>
                        <a:pt x="276" y="16"/>
                      </a:lnTo>
                      <a:lnTo>
                        <a:pt x="274" y="16"/>
                      </a:lnTo>
                      <a:lnTo>
                        <a:pt x="273" y="16"/>
                      </a:lnTo>
                      <a:lnTo>
                        <a:pt x="272" y="16"/>
                      </a:lnTo>
                      <a:lnTo>
                        <a:pt x="271" y="16"/>
                      </a:lnTo>
                      <a:lnTo>
                        <a:pt x="270" y="16"/>
                      </a:lnTo>
                      <a:lnTo>
                        <a:pt x="266" y="19"/>
                      </a:lnTo>
                      <a:lnTo>
                        <a:pt x="265" y="20"/>
                      </a:lnTo>
                      <a:lnTo>
                        <a:pt x="265" y="19"/>
                      </a:lnTo>
                      <a:lnTo>
                        <a:pt x="266" y="19"/>
                      </a:lnTo>
                      <a:lnTo>
                        <a:pt x="267" y="17"/>
                      </a:lnTo>
                      <a:lnTo>
                        <a:pt x="270" y="16"/>
                      </a:lnTo>
                      <a:lnTo>
                        <a:pt x="271" y="16"/>
                      </a:lnTo>
                      <a:close/>
                      <a:moveTo>
                        <a:pt x="20" y="6"/>
                      </a:moveTo>
                      <a:lnTo>
                        <a:pt x="21" y="6"/>
                      </a:lnTo>
                      <a:lnTo>
                        <a:pt x="22" y="5"/>
                      </a:lnTo>
                      <a:lnTo>
                        <a:pt x="23" y="6"/>
                      </a:lnTo>
                      <a:lnTo>
                        <a:pt x="23" y="5"/>
                      </a:lnTo>
                      <a:lnTo>
                        <a:pt x="24" y="5"/>
                      </a:lnTo>
                      <a:lnTo>
                        <a:pt x="25" y="5"/>
                      </a:lnTo>
                      <a:lnTo>
                        <a:pt x="30" y="3"/>
                      </a:lnTo>
                      <a:lnTo>
                        <a:pt x="37" y="1"/>
                      </a:lnTo>
                      <a:lnTo>
                        <a:pt x="38" y="1"/>
                      </a:lnTo>
                      <a:lnTo>
                        <a:pt x="42" y="1"/>
                      </a:lnTo>
                      <a:lnTo>
                        <a:pt x="53" y="5"/>
                      </a:lnTo>
                      <a:lnTo>
                        <a:pt x="63" y="6"/>
                      </a:lnTo>
                      <a:lnTo>
                        <a:pt x="64" y="6"/>
                      </a:lnTo>
                      <a:lnTo>
                        <a:pt x="64" y="7"/>
                      </a:lnTo>
                      <a:lnTo>
                        <a:pt x="66" y="6"/>
                      </a:lnTo>
                      <a:lnTo>
                        <a:pt x="66" y="7"/>
                      </a:lnTo>
                      <a:lnTo>
                        <a:pt x="68" y="7"/>
                      </a:lnTo>
                      <a:lnTo>
                        <a:pt x="70" y="8"/>
                      </a:lnTo>
                      <a:lnTo>
                        <a:pt x="72" y="8"/>
                      </a:lnTo>
                      <a:lnTo>
                        <a:pt x="73" y="7"/>
                      </a:lnTo>
                      <a:lnTo>
                        <a:pt x="74" y="8"/>
                      </a:lnTo>
                      <a:lnTo>
                        <a:pt x="75" y="8"/>
                      </a:lnTo>
                      <a:lnTo>
                        <a:pt x="77" y="9"/>
                      </a:lnTo>
                      <a:lnTo>
                        <a:pt x="78" y="9"/>
                      </a:lnTo>
                      <a:lnTo>
                        <a:pt x="80" y="10"/>
                      </a:lnTo>
                      <a:lnTo>
                        <a:pt x="81" y="10"/>
                      </a:lnTo>
                      <a:lnTo>
                        <a:pt x="82" y="10"/>
                      </a:lnTo>
                      <a:lnTo>
                        <a:pt x="85" y="10"/>
                      </a:lnTo>
                      <a:lnTo>
                        <a:pt x="86" y="10"/>
                      </a:lnTo>
                      <a:lnTo>
                        <a:pt x="85" y="10"/>
                      </a:lnTo>
                      <a:lnTo>
                        <a:pt x="86" y="12"/>
                      </a:lnTo>
                      <a:lnTo>
                        <a:pt x="86" y="13"/>
                      </a:lnTo>
                      <a:lnTo>
                        <a:pt x="87" y="14"/>
                      </a:lnTo>
                      <a:lnTo>
                        <a:pt x="87" y="15"/>
                      </a:lnTo>
                      <a:lnTo>
                        <a:pt x="88" y="15"/>
                      </a:lnTo>
                      <a:lnTo>
                        <a:pt x="88" y="16"/>
                      </a:lnTo>
                      <a:lnTo>
                        <a:pt x="89" y="16"/>
                      </a:lnTo>
                      <a:lnTo>
                        <a:pt x="92" y="16"/>
                      </a:lnTo>
                      <a:lnTo>
                        <a:pt x="93" y="17"/>
                      </a:lnTo>
                      <a:lnTo>
                        <a:pt x="94" y="16"/>
                      </a:lnTo>
                      <a:lnTo>
                        <a:pt x="95" y="17"/>
                      </a:lnTo>
                      <a:lnTo>
                        <a:pt x="98" y="17"/>
                      </a:lnTo>
                      <a:lnTo>
                        <a:pt x="101" y="15"/>
                      </a:lnTo>
                      <a:lnTo>
                        <a:pt x="102" y="15"/>
                      </a:lnTo>
                      <a:lnTo>
                        <a:pt x="102" y="16"/>
                      </a:lnTo>
                      <a:lnTo>
                        <a:pt x="102" y="17"/>
                      </a:lnTo>
                      <a:lnTo>
                        <a:pt x="103" y="19"/>
                      </a:lnTo>
                      <a:lnTo>
                        <a:pt x="103" y="20"/>
                      </a:lnTo>
                      <a:lnTo>
                        <a:pt x="105" y="21"/>
                      </a:lnTo>
                      <a:lnTo>
                        <a:pt x="106" y="21"/>
                      </a:lnTo>
                      <a:lnTo>
                        <a:pt x="112" y="21"/>
                      </a:lnTo>
                      <a:lnTo>
                        <a:pt x="113" y="21"/>
                      </a:lnTo>
                      <a:lnTo>
                        <a:pt x="113" y="22"/>
                      </a:lnTo>
                      <a:lnTo>
                        <a:pt x="114" y="22"/>
                      </a:lnTo>
                      <a:lnTo>
                        <a:pt x="115" y="22"/>
                      </a:lnTo>
                      <a:lnTo>
                        <a:pt x="116" y="22"/>
                      </a:lnTo>
                      <a:lnTo>
                        <a:pt x="117" y="22"/>
                      </a:lnTo>
                      <a:lnTo>
                        <a:pt x="119" y="21"/>
                      </a:lnTo>
                      <a:lnTo>
                        <a:pt x="120" y="21"/>
                      </a:lnTo>
                      <a:lnTo>
                        <a:pt x="121" y="21"/>
                      </a:lnTo>
                      <a:lnTo>
                        <a:pt x="121" y="22"/>
                      </a:lnTo>
                      <a:lnTo>
                        <a:pt x="122" y="22"/>
                      </a:lnTo>
                      <a:lnTo>
                        <a:pt x="123" y="22"/>
                      </a:lnTo>
                      <a:lnTo>
                        <a:pt x="124" y="22"/>
                      </a:lnTo>
                      <a:lnTo>
                        <a:pt x="124" y="23"/>
                      </a:lnTo>
                      <a:lnTo>
                        <a:pt x="130" y="24"/>
                      </a:lnTo>
                      <a:lnTo>
                        <a:pt x="131" y="26"/>
                      </a:lnTo>
                      <a:lnTo>
                        <a:pt x="132" y="26"/>
                      </a:lnTo>
                      <a:lnTo>
                        <a:pt x="132" y="27"/>
                      </a:lnTo>
                      <a:lnTo>
                        <a:pt x="134" y="28"/>
                      </a:lnTo>
                      <a:lnTo>
                        <a:pt x="139" y="31"/>
                      </a:lnTo>
                      <a:lnTo>
                        <a:pt x="145" y="30"/>
                      </a:lnTo>
                      <a:lnTo>
                        <a:pt x="150" y="28"/>
                      </a:lnTo>
                      <a:lnTo>
                        <a:pt x="155" y="26"/>
                      </a:lnTo>
                      <a:lnTo>
                        <a:pt x="157" y="24"/>
                      </a:lnTo>
                      <a:lnTo>
                        <a:pt x="158" y="24"/>
                      </a:lnTo>
                      <a:lnTo>
                        <a:pt x="158" y="23"/>
                      </a:lnTo>
                      <a:lnTo>
                        <a:pt x="163" y="20"/>
                      </a:lnTo>
                      <a:lnTo>
                        <a:pt x="164" y="19"/>
                      </a:lnTo>
                      <a:lnTo>
                        <a:pt x="165" y="19"/>
                      </a:lnTo>
                      <a:lnTo>
                        <a:pt x="167" y="17"/>
                      </a:lnTo>
                      <a:lnTo>
                        <a:pt x="166" y="17"/>
                      </a:lnTo>
                      <a:lnTo>
                        <a:pt x="166" y="16"/>
                      </a:lnTo>
                      <a:lnTo>
                        <a:pt x="167" y="16"/>
                      </a:lnTo>
                      <a:lnTo>
                        <a:pt x="170" y="15"/>
                      </a:lnTo>
                      <a:lnTo>
                        <a:pt x="171" y="14"/>
                      </a:lnTo>
                      <a:lnTo>
                        <a:pt x="172" y="14"/>
                      </a:lnTo>
                      <a:lnTo>
                        <a:pt x="172" y="13"/>
                      </a:lnTo>
                      <a:lnTo>
                        <a:pt x="173" y="12"/>
                      </a:lnTo>
                      <a:lnTo>
                        <a:pt x="173" y="13"/>
                      </a:lnTo>
                      <a:lnTo>
                        <a:pt x="174" y="14"/>
                      </a:lnTo>
                      <a:lnTo>
                        <a:pt x="176" y="14"/>
                      </a:lnTo>
                      <a:lnTo>
                        <a:pt x="177" y="14"/>
                      </a:lnTo>
                      <a:lnTo>
                        <a:pt x="176" y="14"/>
                      </a:lnTo>
                      <a:lnTo>
                        <a:pt x="176" y="15"/>
                      </a:lnTo>
                      <a:lnTo>
                        <a:pt x="176" y="16"/>
                      </a:lnTo>
                      <a:lnTo>
                        <a:pt x="177" y="16"/>
                      </a:lnTo>
                      <a:lnTo>
                        <a:pt x="178" y="15"/>
                      </a:lnTo>
                      <a:lnTo>
                        <a:pt x="178" y="16"/>
                      </a:lnTo>
                      <a:lnTo>
                        <a:pt x="179" y="15"/>
                      </a:lnTo>
                      <a:lnTo>
                        <a:pt x="180" y="15"/>
                      </a:lnTo>
                      <a:lnTo>
                        <a:pt x="180" y="14"/>
                      </a:lnTo>
                      <a:lnTo>
                        <a:pt x="179" y="14"/>
                      </a:lnTo>
                      <a:lnTo>
                        <a:pt x="179" y="15"/>
                      </a:lnTo>
                      <a:lnTo>
                        <a:pt x="179" y="14"/>
                      </a:lnTo>
                      <a:lnTo>
                        <a:pt x="177" y="14"/>
                      </a:lnTo>
                      <a:lnTo>
                        <a:pt x="178" y="14"/>
                      </a:lnTo>
                      <a:lnTo>
                        <a:pt x="179" y="13"/>
                      </a:lnTo>
                      <a:lnTo>
                        <a:pt x="181" y="12"/>
                      </a:lnTo>
                      <a:lnTo>
                        <a:pt x="181" y="10"/>
                      </a:lnTo>
                      <a:lnTo>
                        <a:pt x="183" y="9"/>
                      </a:lnTo>
                      <a:lnTo>
                        <a:pt x="183" y="7"/>
                      </a:lnTo>
                      <a:lnTo>
                        <a:pt x="181" y="6"/>
                      </a:lnTo>
                      <a:lnTo>
                        <a:pt x="183" y="6"/>
                      </a:lnTo>
                      <a:lnTo>
                        <a:pt x="183" y="7"/>
                      </a:lnTo>
                      <a:lnTo>
                        <a:pt x="183" y="8"/>
                      </a:lnTo>
                      <a:lnTo>
                        <a:pt x="184" y="8"/>
                      </a:lnTo>
                      <a:lnTo>
                        <a:pt x="183" y="7"/>
                      </a:lnTo>
                      <a:lnTo>
                        <a:pt x="183" y="6"/>
                      </a:lnTo>
                      <a:lnTo>
                        <a:pt x="184" y="6"/>
                      </a:lnTo>
                      <a:lnTo>
                        <a:pt x="185" y="7"/>
                      </a:lnTo>
                      <a:lnTo>
                        <a:pt x="186" y="7"/>
                      </a:lnTo>
                      <a:lnTo>
                        <a:pt x="187" y="7"/>
                      </a:lnTo>
                      <a:lnTo>
                        <a:pt x="188" y="7"/>
                      </a:lnTo>
                      <a:lnTo>
                        <a:pt x="193" y="6"/>
                      </a:lnTo>
                      <a:lnTo>
                        <a:pt x="202" y="2"/>
                      </a:lnTo>
                      <a:lnTo>
                        <a:pt x="201" y="2"/>
                      </a:lnTo>
                      <a:lnTo>
                        <a:pt x="199" y="3"/>
                      </a:lnTo>
                      <a:lnTo>
                        <a:pt x="196" y="6"/>
                      </a:lnTo>
                      <a:lnTo>
                        <a:pt x="194" y="6"/>
                      </a:lnTo>
                      <a:lnTo>
                        <a:pt x="193" y="7"/>
                      </a:lnTo>
                      <a:lnTo>
                        <a:pt x="192" y="7"/>
                      </a:lnTo>
                      <a:lnTo>
                        <a:pt x="191" y="8"/>
                      </a:lnTo>
                      <a:lnTo>
                        <a:pt x="189" y="8"/>
                      </a:lnTo>
                      <a:lnTo>
                        <a:pt x="188" y="8"/>
                      </a:lnTo>
                      <a:lnTo>
                        <a:pt x="188" y="9"/>
                      </a:lnTo>
                      <a:lnTo>
                        <a:pt x="189" y="10"/>
                      </a:lnTo>
                      <a:lnTo>
                        <a:pt x="189" y="9"/>
                      </a:lnTo>
                      <a:lnTo>
                        <a:pt x="189" y="10"/>
                      </a:lnTo>
                      <a:lnTo>
                        <a:pt x="191" y="10"/>
                      </a:lnTo>
                      <a:lnTo>
                        <a:pt x="192" y="9"/>
                      </a:lnTo>
                      <a:lnTo>
                        <a:pt x="193" y="9"/>
                      </a:lnTo>
                      <a:lnTo>
                        <a:pt x="194" y="9"/>
                      </a:lnTo>
                      <a:lnTo>
                        <a:pt x="194" y="10"/>
                      </a:lnTo>
                      <a:lnTo>
                        <a:pt x="194" y="9"/>
                      </a:lnTo>
                      <a:lnTo>
                        <a:pt x="195" y="8"/>
                      </a:lnTo>
                      <a:lnTo>
                        <a:pt x="196" y="8"/>
                      </a:lnTo>
                      <a:lnTo>
                        <a:pt x="198" y="8"/>
                      </a:lnTo>
                      <a:lnTo>
                        <a:pt x="199" y="8"/>
                      </a:lnTo>
                      <a:lnTo>
                        <a:pt x="199" y="9"/>
                      </a:lnTo>
                      <a:lnTo>
                        <a:pt x="200" y="9"/>
                      </a:lnTo>
                      <a:lnTo>
                        <a:pt x="200" y="8"/>
                      </a:lnTo>
                      <a:lnTo>
                        <a:pt x="201" y="8"/>
                      </a:lnTo>
                      <a:lnTo>
                        <a:pt x="201" y="7"/>
                      </a:lnTo>
                      <a:lnTo>
                        <a:pt x="202" y="8"/>
                      </a:lnTo>
                      <a:lnTo>
                        <a:pt x="203" y="8"/>
                      </a:lnTo>
                      <a:lnTo>
                        <a:pt x="203" y="7"/>
                      </a:lnTo>
                      <a:lnTo>
                        <a:pt x="203" y="6"/>
                      </a:lnTo>
                      <a:lnTo>
                        <a:pt x="203" y="5"/>
                      </a:lnTo>
                      <a:lnTo>
                        <a:pt x="205" y="5"/>
                      </a:lnTo>
                      <a:lnTo>
                        <a:pt x="206" y="5"/>
                      </a:lnTo>
                      <a:lnTo>
                        <a:pt x="206" y="6"/>
                      </a:lnTo>
                      <a:lnTo>
                        <a:pt x="207" y="6"/>
                      </a:lnTo>
                      <a:lnTo>
                        <a:pt x="207" y="5"/>
                      </a:lnTo>
                      <a:lnTo>
                        <a:pt x="206" y="3"/>
                      </a:lnTo>
                      <a:lnTo>
                        <a:pt x="203" y="2"/>
                      </a:lnTo>
                      <a:lnTo>
                        <a:pt x="202" y="2"/>
                      </a:lnTo>
                      <a:lnTo>
                        <a:pt x="203" y="2"/>
                      </a:lnTo>
                      <a:lnTo>
                        <a:pt x="206" y="2"/>
                      </a:lnTo>
                      <a:lnTo>
                        <a:pt x="207" y="2"/>
                      </a:lnTo>
                      <a:lnTo>
                        <a:pt x="210" y="2"/>
                      </a:lnTo>
                      <a:lnTo>
                        <a:pt x="214" y="5"/>
                      </a:lnTo>
                      <a:lnTo>
                        <a:pt x="215" y="5"/>
                      </a:lnTo>
                      <a:lnTo>
                        <a:pt x="216" y="6"/>
                      </a:lnTo>
                      <a:lnTo>
                        <a:pt x="220" y="8"/>
                      </a:lnTo>
                      <a:lnTo>
                        <a:pt x="221" y="8"/>
                      </a:lnTo>
                      <a:lnTo>
                        <a:pt x="222" y="8"/>
                      </a:lnTo>
                      <a:lnTo>
                        <a:pt x="227" y="7"/>
                      </a:lnTo>
                      <a:lnTo>
                        <a:pt x="230" y="5"/>
                      </a:lnTo>
                      <a:lnTo>
                        <a:pt x="231" y="5"/>
                      </a:lnTo>
                      <a:lnTo>
                        <a:pt x="233" y="5"/>
                      </a:lnTo>
                      <a:lnTo>
                        <a:pt x="234" y="5"/>
                      </a:lnTo>
                      <a:lnTo>
                        <a:pt x="234" y="6"/>
                      </a:lnTo>
                      <a:lnTo>
                        <a:pt x="234" y="7"/>
                      </a:lnTo>
                      <a:lnTo>
                        <a:pt x="235" y="8"/>
                      </a:lnTo>
                      <a:lnTo>
                        <a:pt x="235" y="9"/>
                      </a:lnTo>
                      <a:lnTo>
                        <a:pt x="236" y="9"/>
                      </a:lnTo>
                      <a:lnTo>
                        <a:pt x="237" y="10"/>
                      </a:lnTo>
                      <a:lnTo>
                        <a:pt x="238" y="10"/>
                      </a:lnTo>
                      <a:lnTo>
                        <a:pt x="238" y="12"/>
                      </a:lnTo>
                      <a:lnTo>
                        <a:pt x="240" y="12"/>
                      </a:lnTo>
                      <a:lnTo>
                        <a:pt x="240" y="13"/>
                      </a:lnTo>
                      <a:lnTo>
                        <a:pt x="241" y="14"/>
                      </a:lnTo>
                      <a:lnTo>
                        <a:pt x="242" y="14"/>
                      </a:lnTo>
                      <a:lnTo>
                        <a:pt x="241" y="14"/>
                      </a:lnTo>
                      <a:lnTo>
                        <a:pt x="237" y="12"/>
                      </a:lnTo>
                      <a:lnTo>
                        <a:pt x="238" y="12"/>
                      </a:lnTo>
                      <a:lnTo>
                        <a:pt x="237" y="12"/>
                      </a:lnTo>
                      <a:lnTo>
                        <a:pt x="237" y="10"/>
                      </a:lnTo>
                      <a:lnTo>
                        <a:pt x="236" y="10"/>
                      </a:lnTo>
                      <a:lnTo>
                        <a:pt x="235" y="9"/>
                      </a:lnTo>
                      <a:lnTo>
                        <a:pt x="235" y="8"/>
                      </a:lnTo>
                      <a:lnTo>
                        <a:pt x="234" y="8"/>
                      </a:lnTo>
                      <a:lnTo>
                        <a:pt x="235" y="8"/>
                      </a:lnTo>
                      <a:lnTo>
                        <a:pt x="234" y="6"/>
                      </a:lnTo>
                      <a:lnTo>
                        <a:pt x="233" y="6"/>
                      </a:lnTo>
                      <a:lnTo>
                        <a:pt x="233" y="5"/>
                      </a:lnTo>
                      <a:lnTo>
                        <a:pt x="231" y="5"/>
                      </a:lnTo>
                      <a:lnTo>
                        <a:pt x="231" y="6"/>
                      </a:lnTo>
                      <a:lnTo>
                        <a:pt x="230" y="6"/>
                      </a:lnTo>
                      <a:lnTo>
                        <a:pt x="230" y="5"/>
                      </a:lnTo>
                      <a:lnTo>
                        <a:pt x="230" y="6"/>
                      </a:lnTo>
                      <a:lnTo>
                        <a:pt x="231" y="6"/>
                      </a:lnTo>
                      <a:lnTo>
                        <a:pt x="230" y="7"/>
                      </a:lnTo>
                      <a:lnTo>
                        <a:pt x="231" y="7"/>
                      </a:lnTo>
                      <a:lnTo>
                        <a:pt x="231" y="8"/>
                      </a:lnTo>
                      <a:lnTo>
                        <a:pt x="230" y="8"/>
                      </a:lnTo>
                      <a:lnTo>
                        <a:pt x="230" y="7"/>
                      </a:lnTo>
                      <a:lnTo>
                        <a:pt x="229" y="8"/>
                      </a:lnTo>
                      <a:lnTo>
                        <a:pt x="230" y="8"/>
                      </a:lnTo>
                      <a:lnTo>
                        <a:pt x="230" y="9"/>
                      </a:lnTo>
                      <a:lnTo>
                        <a:pt x="231" y="9"/>
                      </a:lnTo>
                      <a:lnTo>
                        <a:pt x="230" y="9"/>
                      </a:lnTo>
                      <a:lnTo>
                        <a:pt x="230" y="10"/>
                      </a:lnTo>
                      <a:lnTo>
                        <a:pt x="229" y="10"/>
                      </a:lnTo>
                      <a:lnTo>
                        <a:pt x="230" y="12"/>
                      </a:lnTo>
                      <a:lnTo>
                        <a:pt x="229" y="12"/>
                      </a:lnTo>
                      <a:lnTo>
                        <a:pt x="228" y="12"/>
                      </a:lnTo>
                      <a:lnTo>
                        <a:pt x="229" y="12"/>
                      </a:lnTo>
                      <a:lnTo>
                        <a:pt x="229" y="13"/>
                      </a:lnTo>
                      <a:lnTo>
                        <a:pt x="228" y="13"/>
                      </a:lnTo>
                      <a:lnTo>
                        <a:pt x="229" y="13"/>
                      </a:lnTo>
                      <a:lnTo>
                        <a:pt x="228" y="13"/>
                      </a:lnTo>
                      <a:lnTo>
                        <a:pt x="228" y="14"/>
                      </a:lnTo>
                      <a:lnTo>
                        <a:pt x="229" y="14"/>
                      </a:lnTo>
                      <a:lnTo>
                        <a:pt x="228" y="14"/>
                      </a:lnTo>
                      <a:lnTo>
                        <a:pt x="229" y="14"/>
                      </a:lnTo>
                      <a:lnTo>
                        <a:pt x="230" y="15"/>
                      </a:lnTo>
                      <a:lnTo>
                        <a:pt x="231" y="16"/>
                      </a:lnTo>
                      <a:lnTo>
                        <a:pt x="231" y="15"/>
                      </a:lnTo>
                      <a:lnTo>
                        <a:pt x="233" y="15"/>
                      </a:lnTo>
                      <a:lnTo>
                        <a:pt x="231" y="15"/>
                      </a:lnTo>
                      <a:lnTo>
                        <a:pt x="231" y="16"/>
                      </a:lnTo>
                      <a:lnTo>
                        <a:pt x="233" y="16"/>
                      </a:lnTo>
                      <a:lnTo>
                        <a:pt x="231" y="16"/>
                      </a:lnTo>
                      <a:lnTo>
                        <a:pt x="233" y="16"/>
                      </a:lnTo>
                      <a:lnTo>
                        <a:pt x="231" y="16"/>
                      </a:lnTo>
                      <a:lnTo>
                        <a:pt x="231" y="17"/>
                      </a:lnTo>
                      <a:lnTo>
                        <a:pt x="233" y="17"/>
                      </a:lnTo>
                      <a:lnTo>
                        <a:pt x="233" y="16"/>
                      </a:lnTo>
                      <a:lnTo>
                        <a:pt x="233" y="17"/>
                      </a:lnTo>
                      <a:lnTo>
                        <a:pt x="233" y="16"/>
                      </a:lnTo>
                      <a:lnTo>
                        <a:pt x="233" y="17"/>
                      </a:lnTo>
                      <a:lnTo>
                        <a:pt x="234" y="17"/>
                      </a:lnTo>
                      <a:lnTo>
                        <a:pt x="234" y="16"/>
                      </a:lnTo>
                      <a:lnTo>
                        <a:pt x="235" y="16"/>
                      </a:lnTo>
                      <a:lnTo>
                        <a:pt x="236" y="16"/>
                      </a:lnTo>
                      <a:lnTo>
                        <a:pt x="236" y="17"/>
                      </a:lnTo>
                      <a:lnTo>
                        <a:pt x="236" y="19"/>
                      </a:lnTo>
                      <a:lnTo>
                        <a:pt x="236" y="20"/>
                      </a:lnTo>
                      <a:lnTo>
                        <a:pt x="237" y="20"/>
                      </a:lnTo>
                      <a:lnTo>
                        <a:pt x="237" y="21"/>
                      </a:lnTo>
                      <a:lnTo>
                        <a:pt x="236" y="21"/>
                      </a:lnTo>
                      <a:lnTo>
                        <a:pt x="237" y="21"/>
                      </a:lnTo>
                      <a:lnTo>
                        <a:pt x="237" y="22"/>
                      </a:lnTo>
                      <a:lnTo>
                        <a:pt x="237" y="21"/>
                      </a:lnTo>
                      <a:lnTo>
                        <a:pt x="238" y="22"/>
                      </a:lnTo>
                      <a:lnTo>
                        <a:pt x="237" y="22"/>
                      </a:lnTo>
                      <a:lnTo>
                        <a:pt x="238" y="22"/>
                      </a:lnTo>
                      <a:lnTo>
                        <a:pt x="240" y="22"/>
                      </a:lnTo>
                      <a:lnTo>
                        <a:pt x="238" y="22"/>
                      </a:lnTo>
                      <a:lnTo>
                        <a:pt x="238" y="21"/>
                      </a:lnTo>
                      <a:lnTo>
                        <a:pt x="240" y="22"/>
                      </a:lnTo>
                      <a:lnTo>
                        <a:pt x="240" y="21"/>
                      </a:lnTo>
                      <a:lnTo>
                        <a:pt x="241" y="21"/>
                      </a:lnTo>
                      <a:lnTo>
                        <a:pt x="240" y="21"/>
                      </a:lnTo>
                      <a:lnTo>
                        <a:pt x="241" y="21"/>
                      </a:lnTo>
                      <a:lnTo>
                        <a:pt x="241" y="20"/>
                      </a:lnTo>
                      <a:lnTo>
                        <a:pt x="242" y="20"/>
                      </a:lnTo>
                      <a:lnTo>
                        <a:pt x="242" y="21"/>
                      </a:lnTo>
                      <a:lnTo>
                        <a:pt x="243" y="21"/>
                      </a:lnTo>
                      <a:lnTo>
                        <a:pt x="244" y="20"/>
                      </a:lnTo>
                      <a:lnTo>
                        <a:pt x="244" y="19"/>
                      </a:lnTo>
                      <a:lnTo>
                        <a:pt x="243" y="19"/>
                      </a:lnTo>
                      <a:lnTo>
                        <a:pt x="244" y="19"/>
                      </a:lnTo>
                      <a:lnTo>
                        <a:pt x="244" y="17"/>
                      </a:lnTo>
                      <a:lnTo>
                        <a:pt x="244" y="16"/>
                      </a:lnTo>
                      <a:lnTo>
                        <a:pt x="244" y="15"/>
                      </a:lnTo>
                      <a:lnTo>
                        <a:pt x="244" y="14"/>
                      </a:lnTo>
                      <a:lnTo>
                        <a:pt x="243" y="14"/>
                      </a:lnTo>
                      <a:lnTo>
                        <a:pt x="242" y="14"/>
                      </a:lnTo>
                      <a:lnTo>
                        <a:pt x="243" y="14"/>
                      </a:lnTo>
                      <a:lnTo>
                        <a:pt x="245" y="14"/>
                      </a:lnTo>
                      <a:lnTo>
                        <a:pt x="245" y="15"/>
                      </a:lnTo>
                      <a:lnTo>
                        <a:pt x="247" y="15"/>
                      </a:lnTo>
                      <a:lnTo>
                        <a:pt x="247" y="16"/>
                      </a:lnTo>
                      <a:lnTo>
                        <a:pt x="248" y="16"/>
                      </a:lnTo>
                      <a:lnTo>
                        <a:pt x="249" y="17"/>
                      </a:lnTo>
                      <a:lnTo>
                        <a:pt x="250" y="19"/>
                      </a:lnTo>
                      <a:lnTo>
                        <a:pt x="251" y="21"/>
                      </a:lnTo>
                      <a:lnTo>
                        <a:pt x="252" y="21"/>
                      </a:lnTo>
                      <a:lnTo>
                        <a:pt x="253" y="22"/>
                      </a:lnTo>
                      <a:lnTo>
                        <a:pt x="255" y="22"/>
                      </a:lnTo>
                      <a:lnTo>
                        <a:pt x="256" y="22"/>
                      </a:lnTo>
                      <a:lnTo>
                        <a:pt x="257" y="22"/>
                      </a:lnTo>
                      <a:lnTo>
                        <a:pt x="259" y="22"/>
                      </a:lnTo>
                      <a:lnTo>
                        <a:pt x="263" y="20"/>
                      </a:lnTo>
                      <a:lnTo>
                        <a:pt x="264" y="20"/>
                      </a:lnTo>
                      <a:lnTo>
                        <a:pt x="265" y="19"/>
                      </a:lnTo>
                      <a:lnTo>
                        <a:pt x="265" y="20"/>
                      </a:lnTo>
                      <a:lnTo>
                        <a:pt x="264" y="20"/>
                      </a:lnTo>
                      <a:lnTo>
                        <a:pt x="262" y="21"/>
                      </a:lnTo>
                      <a:lnTo>
                        <a:pt x="260" y="21"/>
                      </a:lnTo>
                      <a:lnTo>
                        <a:pt x="259" y="22"/>
                      </a:lnTo>
                      <a:lnTo>
                        <a:pt x="257" y="23"/>
                      </a:lnTo>
                      <a:lnTo>
                        <a:pt x="258" y="23"/>
                      </a:lnTo>
                      <a:lnTo>
                        <a:pt x="259" y="23"/>
                      </a:lnTo>
                      <a:lnTo>
                        <a:pt x="262" y="22"/>
                      </a:lnTo>
                      <a:lnTo>
                        <a:pt x="264" y="21"/>
                      </a:lnTo>
                      <a:lnTo>
                        <a:pt x="265" y="21"/>
                      </a:lnTo>
                      <a:lnTo>
                        <a:pt x="264" y="21"/>
                      </a:lnTo>
                      <a:lnTo>
                        <a:pt x="264" y="22"/>
                      </a:lnTo>
                      <a:lnTo>
                        <a:pt x="265" y="22"/>
                      </a:lnTo>
                      <a:lnTo>
                        <a:pt x="265" y="21"/>
                      </a:lnTo>
                      <a:lnTo>
                        <a:pt x="264" y="21"/>
                      </a:lnTo>
                      <a:lnTo>
                        <a:pt x="265" y="21"/>
                      </a:lnTo>
                      <a:lnTo>
                        <a:pt x="266" y="21"/>
                      </a:lnTo>
                      <a:lnTo>
                        <a:pt x="266" y="22"/>
                      </a:lnTo>
                      <a:lnTo>
                        <a:pt x="267" y="22"/>
                      </a:lnTo>
                      <a:lnTo>
                        <a:pt x="269" y="21"/>
                      </a:lnTo>
                      <a:lnTo>
                        <a:pt x="269" y="20"/>
                      </a:lnTo>
                      <a:lnTo>
                        <a:pt x="270" y="20"/>
                      </a:lnTo>
                      <a:lnTo>
                        <a:pt x="269" y="20"/>
                      </a:lnTo>
                      <a:lnTo>
                        <a:pt x="269" y="21"/>
                      </a:lnTo>
                      <a:lnTo>
                        <a:pt x="267" y="21"/>
                      </a:lnTo>
                      <a:lnTo>
                        <a:pt x="269" y="21"/>
                      </a:lnTo>
                      <a:lnTo>
                        <a:pt x="267" y="21"/>
                      </a:lnTo>
                      <a:lnTo>
                        <a:pt x="266" y="21"/>
                      </a:lnTo>
                      <a:lnTo>
                        <a:pt x="267" y="20"/>
                      </a:lnTo>
                      <a:lnTo>
                        <a:pt x="269" y="19"/>
                      </a:lnTo>
                      <a:lnTo>
                        <a:pt x="270" y="19"/>
                      </a:lnTo>
                      <a:lnTo>
                        <a:pt x="271" y="17"/>
                      </a:lnTo>
                      <a:lnTo>
                        <a:pt x="271" y="19"/>
                      </a:lnTo>
                      <a:lnTo>
                        <a:pt x="272" y="20"/>
                      </a:lnTo>
                      <a:lnTo>
                        <a:pt x="272" y="21"/>
                      </a:lnTo>
                      <a:lnTo>
                        <a:pt x="271" y="21"/>
                      </a:lnTo>
                      <a:lnTo>
                        <a:pt x="272" y="21"/>
                      </a:lnTo>
                      <a:lnTo>
                        <a:pt x="272" y="22"/>
                      </a:lnTo>
                      <a:lnTo>
                        <a:pt x="271" y="23"/>
                      </a:lnTo>
                      <a:lnTo>
                        <a:pt x="272" y="22"/>
                      </a:lnTo>
                      <a:lnTo>
                        <a:pt x="273" y="22"/>
                      </a:lnTo>
                      <a:lnTo>
                        <a:pt x="274" y="22"/>
                      </a:lnTo>
                      <a:lnTo>
                        <a:pt x="273" y="22"/>
                      </a:lnTo>
                      <a:lnTo>
                        <a:pt x="276" y="21"/>
                      </a:lnTo>
                      <a:lnTo>
                        <a:pt x="276" y="22"/>
                      </a:lnTo>
                      <a:lnTo>
                        <a:pt x="276" y="21"/>
                      </a:lnTo>
                      <a:lnTo>
                        <a:pt x="277" y="21"/>
                      </a:lnTo>
                      <a:lnTo>
                        <a:pt x="277" y="22"/>
                      </a:lnTo>
                      <a:lnTo>
                        <a:pt x="277" y="21"/>
                      </a:lnTo>
                      <a:lnTo>
                        <a:pt x="278" y="21"/>
                      </a:lnTo>
                      <a:lnTo>
                        <a:pt x="277" y="21"/>
                      </a:lnTo>
                      <a:lnTo>
                        <a:pt x="276" y="21"/>
                      </a:lnTo>
                      <a:lnTo>
                        <a:pt x="279" y="21"/>
                      </a:lnTo>
                      <a:lnTo>
                        <a:pt x="279" y="20"/>
                      </a:lnTo>
                      <a:lnTo>
                        <a:pt x="280" y="20"/>
                      </a:lnTo>
                      <a:lnTo>
                        <a:pt x="280" y="19"/>
                      </a:lnTo>
                      <a:lnTo>
                        <a:pt x="280" y="20"/>
                      </a:lnTo>
                      <a:lnTo>
                        <a:pt x="281" y="20"/>
                      </a:lnTo>
                      <a:lnTo>
                        <a:pt x="281" y="19"/>
                      </a:lnTo>
                      <a:lnTo>
                        <a:pt x="283" y="20"/>
                      </a:lnTo>
                      <a:lnTo>
                        <a:pt x="284" y="20"/>
                      </a:lnTo>
                      <a:lnTo>
                        <a:pt x="286" y="20"/>
                      </a:lnTo>
                      <a:lnTo>
                        <a:pt x="286" y="21"/>
                      </a:lnTo>
                      <a:lnTo>
                        <a:pt x="286" y="20"/>
                      </a:lnTo>
                      <a:lnTo>
                        <a:pt x="287" y="21"/>
                      </a:lnTo>
                      <a:lnTo>
                        <a:pt x="288" y="21"/>
                      </a:lnTo>
                      <a:lnTo>
                        <a:pt x="294" y="19"/>
                      </a:lnTo>
                      <a:lnTo>
                        <a:pt x="301" y="16"/>
                      </a:lnTo>
                      <a:lnTo>
                        <a:pt x="306" y="13"/>
                      </a:lnTo>
                      <a:lnTo>
                        <a:pt x="307" y="15"/>
                      </a:lnTo>
                      <a:lnTo>
                        <a:pt x="307" y="17"/>
                      </a:lnTo>
                      <a:lnTo>
                        <a:pt x="308" y="19"/>
                      </a:lnTo>
                      <a:lnTo>
                        <a:pt x="309" y="22"/>
                      </a:lnTo>
                      <a:lnTo>
                        <a:pt x="311" y="26"/>
                      </a:lnTo>
                      <a:lnTo>
                        <a:pt x="312" y="28"/>
                      </a:lnTo>
                      <a:lnTo>
                        <a:pt x="313" y="33"/>
                      </a:lnTo>
                      <a:lnTo>
                        <a:pt x="315" y="38"/>
                      </a:lnTo>
                      <a:lnTo>
                        <a:pt x="315" y="41"/>
                      </a:lnTo>
                      <a:lnTo>
                        <a:pt x="315" y="42"/>
                      </a:lnTo>
                      <a:lnTo>
                        <a:pt x="315" y="43"/>
                      </a:lnTo>
                      <a:lnTo>
                        <a:pt x="316" y="44"/>
                      </a:lnTo>
                      <a:lnTo>
                        <a:pt x="316" y="45"/>
                      </a:lnTo>
                      <a:lnTo>
                        <a:pt x="316" y="47"/>
                      </a:lnTo>
                      <a:lnTo>
                        <a:pt x="316" y="48"/>
                      </a:lnTo>
                      <a:lnTo>
                        <a:pt x="319" y="49"/>
                      </a:lnTo>
                      <a:lnTo>
                        <a:pt x="320" y="52"/>
                      </a:lnTo>
                      <a:lnTo>
                        <a:pt x="321" y="58"/>
                      </a:lnTo>
                      <a:lnTo>
                        <a:pt x="322" y="62"/>
                      </a:lnTo>
                      <a:lnTo>
                        <a:pt x="323" y="62"/>
                      </a:lnTo>
                      <a:lnTo>
                        <a:pt x="323" y="63"/>
                      </a:lnTo>
                      <a:lnTo>
                        <a:pt x="323" y="64"/>
                      </a:lnTo>
                      <a:lnTo>
                        <a:pt x="324" y="69"/>
                      </a:lnTo>
                      <a:lnTo>
                        <a:pt x="326" y="72"/>
                      </a:lnTo>
                      <a:lnTo>
                        <a:pt x="327" y="76"/>
                      </a:lnTo>
                      <a:lnTo>
                        <a:pt x="327" y="78"/>
                      </a:lnTo>
                      <a:lnTo>
                        <a:pt x="327" y="79"/>
                      </a:lnTo>
                      <a:lnTo>
                        <a:pt x="327" y="80"/>
                      </a:lnTo>
                      <a:lnTo>
                        <a:pt x="328" y="82"/>
                      </a:lnTo>
                      <a:lnTo>
                        <a:pt x="327" y="82"/>
                      </a:lnTo>
                      <a:lnTo>
                        <a:pt x="327" y="83"/>
                      </a:lnTo>
                      <a:lnTo>
                        <a:pt x="326" y="83"/>
                      </a:lnTo>
                      <a:lnTo>
                        <a:pt x="326" y="84"/>
                      </a:lnTo>
                      <a:lnTo>
                        <a:pt x="324" y="84"/>
                      </a:lnTo>
                      <a:lnTo>
                        <a:pt x="324" y="85"/>
                      </a:lnTo>
                      <a:lnTo>
                        <a:pt x="326" y="85"/>
                      </a:lnTo>
                      <a:lnTo>
                        <a:pt x="324" y="85"/>
                      </a:lnTo>
                      <a:lnTo>
                        <a:pt x="324" y="86"/>
                      </a:lnTo>
                      <a:lnTo>
                        <a:pt x="323" y="86"/>
                      </a:lnTo>
                      <a:lnTo>
                        <a:pt x="323" y="87"/>
                      </a:lnTo>
                      <a:lnTo>
                        <a:pt x="323" y="89"/>
                      </a:lnTo>
                      <a:lnTo>
                        <a:pt x="322" y="90"/>
                      </a:lnTo>
                      <a:lnTo>
                        <a:pt x="322" y="92"/>
                      </a:lnTo>
                      <a:lnTo>
                        <a:pt x="322" y="93"/>
                      </a:lnTo>
                      <a:lnTo>
                        <a:pt x="321" y="93"/>
                      </a:lnTo>
                      <a:lnTo>
                        <a:pt x="321" y="94"/>
                      </a:lnTo>
                      <a:lnTo>
                        <a:pt x="321" y="96"/>
                      </a:lnTo>
                      <a:lnTo>
                        <a:pt x="321" y="98"/>
                      </a:lnTo>
                      <a:lnTo>
                        <a:pt x="321" y="99"/>
                      </a:lnTo>
                      <a:lnTo>
                        <a:pt x="321" y="100"/>
                      </a:lnTo>
                      <a:lnTo>
                        <a:pt x="320" y="100"/>
                      </a:lnTo>
                      <a:lnTo>
                        <a:pt x="320" y="101"/>
                      </a:lnTo>
                      <a:lnTo>
                        <a:pt x="320" y="104"/>
                      </a:lnTo>
                      <a:lnTo>
                        <a:pt x="319" y="105"/>
                      </a:lnTo>
                      <a:lnTo>
                        <a:pt x="319" y="106"/>
                      </a:lnTo>
                      <a:lnTo>
                        <a:pt x="319" y="107"/>
                      </a:lnTo>
                      <a:lnTo>
                        <a:pt x="320" y="107"/>
                      </a:lnTo>
                      <a:lnTo>
                        <a:pt x="319" y="107"/>
                      </a:lnTo>
                      <a:lnTo>
                        <a:pt x="319" y="108"/>
                      </a:lnTo>
                      <a:lnTo>
                        <a:pt x="319" y="110"/>
                      </a:lnTo>
                      <a:lnTo>
                        <a:pt x="317" y="111"/>
                      </a:lnTo>
                      <a:lnTo>
                        <a:pt x="317" y="113"/>
                      </a:lnTo>
                      <a:lnTo>
                        <a:pt x="316" y="114"/>
                      </a:lnTo>
                      <a:lnTo>
                        <a:pt x="315" y="115"/>
                      </a:lnTo>
                      <a:lnTo>
                        <a:pt x="316" y="117"/>
                      </a:lnTo>
                      <a:lnTo>
                        <a:pt x="315" y="118"/>
                      </a:lnTo>
                      <a:lnTo>
                        <a:pt x="314" y="119"/>
                      </a:lnTo>
                      <a:lnTo>
                        <a:pt x="314" y="120"/>
                      </a:lnTo>
                      <a:lnTo>
                        <a:pt x="313" y="121"/>
                      </a:lnTo>
                      <a:lnTo>
                        <a:pt x="313" y="122"/>
                      </a:lnTo>
                      <a:lnTo>
                        <a:pt x="312" y="124"/>
                      </a:lnTo>
                      <a:lnTo>
                        <a:pt x="312" y="125"/>
                      </a:lnTo>
                      <a:lnTo>
                        <a:pt x="313" y="126"/>
                      </a:lnTo>
                      <a:lnTo>
                        <a:pt x="312" y="127"/>
                      </a:lnTo>
                      <a:lnTo>
                        <a:pt x="313" y="127"/>
                      </a:lnTo>
                      <a:lnTo>
                        <a:pt x="313" y="128"/>
                      </a:lnTo>
                      <a:lnTo>
                        <a:pt x="314" y="129"/>
                      </a:lnTo>
                      <a:lnTo>
                        <a:pt x="313" y="129"/>
                      </a:lnTo>
                      <a:lnTo>
                        <a:pt x="313" y="131"/>
                      </a:lnTo>
                      <a:lnTo>
                        <a:pt x="313" y="132"/>
                      </a:lnTo>
                      <a:lnTo>
                        <a:pt x="313" y="133"/>
                      </a:lnTo>
                      <a:lnTo>
                        <a:pt x="313" y="136"/>
                      </a:lnTo>
                      <a:lnTo>
                        <a:pt x="312" y="136"/>
                      </a:lnTo>
                      <a:lnTo>
                        <a:pt x="312" y="138"/>
                      </a:lnTo>
                      <a:lnTo>
                        <a:pt x="311" y="138"/>
                      </a:lnTo>
                      <a:lnTo>
                        <a:pt x="311" y="139"/>
                      </a:lnTo>
                      <a:lnTo>
                        <a:pt x="309" y="139"/>
                      </a:lnTo>
                      <a:lnTo>
                        <a:pt x="309" y="140"/>
                      </a:lnTo>
                      <a:lnTo>
                        <a:pt x="309" y="141"/>
                      </a:lnTo>
                      <a:lnTo>
                        <a:pt x="308" y="141"/>
                      </a:lnTo>
                      <a:lnTo>
                        <a:pt x="308" y="140"/>
                      </a:lnTo>
                      <a:lnTo>
                        <a:pt x="308" y="141"/>
                      </a:lnTo>
                      <a:lnTo>
                        <a:pt x="307" y="142"/>
                      </a:lnTo>
                      <a:lnTo>
                        <a:pt x="306" y="143"/>
                      </a:lnTo>
                      <a:lnTo>
                        <a:pt x="307" y="143"/>
                      </a:lnTo>
                      <a:lnTo>
                        <a:pt x="307" y="145"/>
                      </a:lnTo>
                      <a:lnTo>
                        <a:pt x="307" y="146"/>
                      </a:lnTo>
                      <a:lnTo>
                        <a:pt x="307" y="145"/>
                      </a:lnTo>
                      <a:lnTo>
                        <a:pt x="306" y="145"/>
                      </a:lnTo>
                      <a:lnTo>
                        <a:pt x="306" y="143"/>
                      </a:lnTo>
                      <a:lnTo>
                        <a:pt x="305" y="143"/>
                      </a:lnTo>
                      <a:lnTo>
                        <a:pt x="301" y="142"/>
                      </a:lnTo>
                      <a:lnTo>
                        <a:pt x="299" y="140"/>
                      </a:lnTo>
                      <a:lnTo>
                        <a:pt x="299" y="139"/>
                      </a:lnTo>
                      <a:lnTo>
                        <a:pt x="298" y="139"/>
                      </a:lnTo>
                      <a:lnTo>
                        <a:pt x="297" y="138"/>
                      </a:lnTo>
                      <a:lnTo>
                        <a:pt x="295" y="138"/>
                      </a:lnTo>
                      <a:lnTo>
                        <a:pt x="294" y="136"/>
                      </a:lnTo>
                      <a:lnTo>
                        <a:pt x="293" y="135"/>
                      </a:lnTo>
                      <a:lnTo>
                        <a:pt x="292" y="135"/>
                      </a:lnTo>
                      <a:lnTo>
                        <a:pt x="292" y="134"/>
                      </a:lnTo>
                      <a:lnTo>
                        <a:pt x="290" y="133"/>
                      </a:lnTo>
                      <a:lnTo>
                        <a:pt x="290" y="132"/>
                      </a:lnTo>
                      <a:lnTo>
                        <a:pt x="288" y="131"/>
                      </a:lnTo>
                      <a:lnTo>
                        <a:pt x="288" y="129"/>
                      </a:lnTo>
                      <a:lnTo>
                        <a:pt x="287" y="129"/>
                      </a:lnTo>
                      <a:lnTo>
                        <a:pt x="287" y="128"/>
                      </a:lnTo>
                      <a:lnTo>
                        <a:pt x="287" y="127"/>
                      </a:lnTo>
                      <a:lnTo>
                        <a:pt x="286" y="127"/>
                      </a:lnTo>
                      <a:lnTo>
                        <a:pt x="286" y="126"/>
                      </a:lnTo>
                      <a:lnTo>
                        <a:pt x="285" y="125"/>
                      </a:lnTo>
                      <a:lnTo>
                        <a:pt x="280" y="122"/>
                      </a:lnTo>
                      <a:lnTo>
                        <a:pt x="280" y="121"/>
                      </a:lnTo>
                      <a:lnTo>
                        <a:pt x="280" y="120"/>
                      </a:lnTo>
                      <a:lnTo>
                        <a:pt x="279" y="120"/>
                      </a:lnTo>
                      <a:lnTo>
                        <a:pt x="279" y="119"/>
                      </a:lnTo>
                      <a:lnTo>
                        <a:pt x="277" y="118"/>
                      </a:lnTo>
                      <a:lnTo>
                        <a:pt x="277" y="117"/>
                      </a:lnTo>
                      <a:lnTo>
                        <a:pt x="276" y="117"/>
                      </a:lnTo>
                      <a:lnTo>
                        <a:pt x="276" y="115"/>
                      </a:lnTo>
                      <a:lnTo>
                        <a:pt x="276" y="114"/>
                      </a:lnTo>
                      <a:lnTo>
                        <a:pt x="274" y="114"/>
                      </a:lnTo>
                      <a:lnTo>
                        <a:pt x="276" y="115"/>
                      </a:lnTo>
                      <a:lnTo>
                        <a:pt x="274" y="115"/>
                      </a:lnTo>
                      <a:lnTo>
                        <a:pt x="274" y="114"/>
                      </a:lnTo>
                      <a:lnTo>
                        <a:pt x="274" y="112"/>
                      </a:lnTo>
                      <a:lnTo>
                        <a:pt x="273" y="112"/>
                      </a:lnTo>
                      <a:lnTo>
                        <a:pt x="273" y="111"/>
                      </a:lnTo>
                      <a:lnTo>
                        <a:pt x="273" y="110"/>
                      </a:lnTo>
                      <a:lnTo>
                        <a:pt x="274" y="108"/>
                      </a:lnTo>
                      <a:lnTo>
                        <a:pt x="274" y="107"/>
                      </a:lnTo>
                      <a:lnTo>
                        <a:pt x="273" y="107"/>
                      </a:lnTo>
                      <a:lnTo>
                        <a:pt x="273" y="106"/>
                      </a:lnTo>
                      <a:lnTo>
                        <a:pt x="273" y="105"/>
                      </a:lnTo>
                      <a:lnTo>
                        <a:pt x="272" y="105"/>
                      </a:lnTo>
                      <a:lnTo>
                        <a:pt x="272" y="103"/>
                      </a:lnTo>
                      <a:lnTo>
                        <a:pt x="272" y="101"/>
                      </a:lnTo>
                      <a:lnTo>
                        <a:pt x="272" y="100"/>
                      </a:lnTo>
                      <a:lnTo>
                        <a:pt x="272" y="99"/>
                      </a:lnTo>
                      <a:lnTo>
                        <a:pt x="272" y="98"/>
                      </a:lnTo>
                      <a:lnTo>
                        <a:pt x="271" y="98"/>
                      </a:lnTo>
                      <a:lnTo>
                        <a:pt x="271" y="97"/>
                      </a:lnTo>
                      <a:lnTo>
                        <a:pt x="270" y="97"/>
                      </a:lnTo>
                      <a:lnTo>
                        <a:pt x="269" y="96"/>
                      </a:lnTo>
                      <a:lnTo>
                        <a:pt x="269" y="94"/>
                      </a:lnTo>
                      <a:lnTo>
                        <a:pt x="267" y="93"/>
                      </a:lnTo>
                      <a:lnTo>
                        <a:pt x="265" y="91"/>
                      </a:lnTo>
                      <a:lnTo>
                        <a:pt x="264" y="91"/>
                      </a:lnTo>
                      <a:lnTo>
                        <a:pt x="264" y="90"/>
                      </a:lnTo>
                      <a:lnTo>
                        <a:pt x="263" y="90"/>
                      </a:lnTo>
                      <a:lnTo>
                        <a:pt x="263" y="89"/>
                      </a:lnTo>
                      <a:lnTo>
                        <a:pt x="263" y="87"/>
                      </a:lnTo>
                      <a:lnTo>
                        <a:pt x="262" y="87"/>
                      </a:lnTo>
                      <a:lnTo>
                        <a:pt x="262" y="85"/>
                      </a:lnTo>
                      <a:lnTo>
                        <a:pt x="262" y="84"/>
                      </a:lnTo>
                      <a:lnTo>
                        <a:pt x="260" y="83"/>
                      </a:lnTo>
                      <a:lnTo>
                        <a:pt x="258" y="82"/>
                      </a:lnTo>
                      <a:lnTo>
                        <a:pt x="259" y="82"/>
                      </a:lnTo>
                      <a:lnTo>
                        <a:pt x="258" y="82"/>
                      </a:lnTo>
                      <a:lnTo>
                        <a:pt x="258" y="80"/>
                      </a:lnTo>
                      <a:lnTo>
                        <a:pt x="258" y="82"/>
                      </a:lnTo>
                      <a:lnTo>
                        <a:pt x="258" y="80"/>
                      </a:lnTo>
                      <a:lnTo>
                        <a:pt x="258" y="79"/>
                      </a:lnTo>
                      <a:lnTo>
                        <a:pt x="258" y="77"/>
                      </a:lnTo>
                      <a:lnTo>
                        <a:pt x="257" y="77"/>
                      </a:lnTo>
                      <a:lnTo>
                        <a:pt x="257" y="76"/>
                      </a:lnTo>
                      <a:lnTo>
                        <a:pt x="257" y="75"/>
                      </a:lnTo>
                      <a:lnTo>
                        <a:pt x="257" y="73"/>
                      </a:lnTo>
                      <a:lnTo>
                        <a:pt x="257" y="72"/>
                      </a:lnTo>
                      <a:lnTo>
                        <a:pt x="257" y="71"/>
                      </a:lnTo>
                      <a:lnTo>
                        <a:pt x="256" y="70"/>
                      </a:lnTo>
                      <a:lnTo>
                        <a:pt x="255" y="69"/>
                      </a:lnTo>
                      <a:lnTo>
                        <a:pt x="255" y="68"/>
                      </a:lnTo>
                      <a:lnTo>
                        <a:pt x="255" y="66"/>
                      </a:lnTo>
                      <a:lnTo>
                        <a:pt x="255" y="65"/>
                      </a:lnTo>
                      <a:lnTo>
                        <a:pt x="253" y="64"/>
                      </a:lnTo>
                      <a:lnTo>
                        <a:pt x="253" y="63"/>
                      </a:lnTo>
                      <a:lnTo>
                        <a:pt x="253" y="62"/>
                      </a:lnTo>
                      <a:lnTo>
                        <a:pt x="252" y="63"/>
                      </a:lnTo>
                      <a:lnTo>
                        <a:pt x="253" y="63"/>
                      </a:lnTo>
                      <a:lnTo>
                        <a:pt x="253" y="64"/>
                      </a:lnTo>
                      <a:lnTo>
                        <a:pt x="252" y="63"/>
                      </a:lnTo>
                      <a:lnTo>
                        <a:pt x="252" y="64"/>
                      </a:lnTo>
                      <a:lnTo>
                        <a:pt x="251" y="63"/>
                      </a:lnTo>
                      <a:lnTo>
                        <a:pt x="251" y="64"/>
                      </a:lnTo>
                      <a:lnTo>
                        <a:pt x="250" y="64"/>
                      </a:lnTo>
                      <a:lnTo>
                        <a:pt x="250" y="65"/>
                      </a:lnTo>
                      <a:lnTo>
                        <a:pt x="250" y="66"/>
                      </a:lnTo>
                      <a:lnTo>
                        <a:pt x="251" y="66"/>
                      </a:lnTo>
                      <a:lnTo>
                        <a:pt x="251" y="68"/>
                      </a:lnTo>
                      <a:lnTo>
                        <a:pt x="248" y="71"/>
                      </a:lnTo>
                      <a:lnTo>
                        <a:pt x="248" y="72"/>
                      </a:lnTo>
                      <a:lnTo>
                        <a:pt x="247" y="73"/>
                      </a:lnTo>
                      <a:lnTo>
                        <a:pt x="247" y="76"/>
                      </a:lnTo>
                      <a:lnTo>
                        <a:pt x="245" y="77"/>
                      </a:lnTo>
                      <a:lnTo>
                        <a:pt x="247" y="77"/>
                      </a:lnTo>
                      <a:lnTo>
                        <a:pt x="247" y="78"/>
                      </a:lnTo>
                      <a:lnTo>
                        <a:pt x="247" y="79"/>
                      </a:lnTo>
                      <a:lnTo>
                        <a:pt x="248" y="79"/>
                      </a:lnTo>
                      <a:lnTo>
                        <a:pt x="249" y="80"/>
                      </a:lnTo>
                      <a:lnTo>
                        <a:pt x="251" y="83"/>
                      </a:lnTo>
                      <a:lnTo>
                        <a:pt x="252" y="83"/>
                      </a:lnTo>
                      <a:lnTo>
                        <a:pt x="252" y="84"/>
                      </a:lnTo>
                      <a:lnTo>
                        <a:pt x="253" y="85"/>
                      </a:lnTo>
                      <a:lnTo>
                        <a:pt x="253" y="86"/>
                      </a:lnTo>
                      <a:lnTo>
                        <a:pt x="255" y="89"/>
                      </a:lnTo>
                      <a:lnTo>
                        <a:pt x="255" y="90"/>
                      </a:lnTo>
                      <a:lnTo>
                        <a:pt x="255" y="91"/>
                      </a:lnTo>
                      <a:lnTo>
                        <a:pt x="256" y="94"/>
                      </a:lnTo>
                      <a:lnTo>
                        <a:pt x="256" y="96"/>
                      </a:lnTo>
                      <a:lnTo>
                        <a:pt x="256" y="97"/>
                      </a:lnTo>
                      <a:lnTo>
                        <a:pt x="255" y="97"/>
                      </a:lnTo>
                      <a:lnTo>
                        <a:pt x="255" y="98"/>
                      </a:lnTo>
                      <a:lnTo>
                        <a:pt x="255" y="100"/>
                      </a:lnTo>
                      <a:lnTo>
                        <a:pt x="256" y="101"/>
                      </a:lnTo>
                      <a:lnTo>
                        <a:pt x="257" y="101"/>
                      </a:lnTo>
                      <a:lnTo>
                        <a:pt x="257" y="103"/>
                      </a:lnTo>
                      <a:lnTo>
                        <a:pt x="257" y="104"/>
                      </a:lnTo>
                      <a:lnTo>
                        <a:pt x="259" y="106"/>
                      </a:lnTo>
                      <a:lnTo>
                        <a:pt x="260" y="106"/>
                      </a:lnTo>
                      <a:lnTo>
                        <a:pt x="260" y="107"/>
                      </a:lnTo>
                      <a:lnTo>
                        <a:pt x="262" y="108"/>
                      </a:lnTo>
                      <a:lnTo>
                        <a:pt x="263" y="113"/>
                      </a:lnTo>
                      <a:lnTo>
                        <a:pt x="263" y="114"/>
                      </a:lnTo>
                      <a:lnTo>
                        <a:pt x="265" y="115"/>
                      </a:lnTo>
                      <a:lnTo>
                        <a:pt x="265" y="117"/>
                      </a:lnTo>
                      <a:lnTo>
                        <a:pt x="266" y="117"/>
                      </a:lnTo>
                      <a:lnTo>
                        <a:pt x="266" y="118"/>
                      </a:lnTo>
                      <a:lnTo>
                        <a:pt x="267" y="118"/>
                      </a:lnTo>
                      <a:lnTo>
                        <a:pt x="267" y="119"/>
                      </a:lnTo>
                      <a:lnTo>
                        <a:pt x="269" y="120"/>
                      </a:lnTo>
                      <a:lnTo>
                        <a:pt x="270" y="121"/>
                      </a:lnTo>
                      <a:lnTo>
                        <a:pt x="270" y="122"/>
                      </a:lnTo>
                      <a:lnTo>
                        <a:pt x="270" y="124"/>
                      </a:lnTo>
                      <a:lnTo>
                        <a:pt x="271" y="124"/>
                      </a:lnTo>
                      <a:lnTo>
                        <a:pt x="271" y="125"/>
                      </a:lnTo>
                      <a:lnTo>
                        <a:pt x="272" y="126"/>
                      </a:lnTo>
                      <a:lnTo>
                        <a:pt x="273" y="127"/>
                      </a:lnTo>
                      <a:lnTo>
                        <a:pt x="273" y="128"/>
                      </a:lnTo>
                      <a:lnTo>
                        <a:pt x="274" y="128"/>
                      </a:lnTo>
                      <a:lnTo>
                        <a:pt x="274" y="129"/>
                      </a:lnTo>
                      <a:lnTo>
                        <a:pt x="274" y="131"/>
                      </a:lnTo>
                      <a:lnTo>
                        <a:pt x="276" y="131"/>
                      </a:lnTo>
                      <a:lnTo>
                        <a:pt x="277" y="132"/>
                      </a:lnTo>
                      <a:lnTo>
                        <a:pt x="278" y="132"/>
                      </a:lnTo>
                      <a:lnTo>
                        <a:pt x="278" y="133"/>
                      </a:lnTo>
                      <a:lnTo>
                        <a:pt x="279" y="133"/>
                      </a:lnTo>
                      <a:lnTo>
                        <a:pt x="279" y="134"/>
                      </a:lnTo>
                      <a:lnTo>
                        <a:pt x="281" y="134"/>
                      </a:lnTo>
                      <a:lnTo>
                        <a:pt x="284" y="136"/>
                      </a:lnTo>
                      <a:lnTo>
                        <a:pt x="284" y="139"/>
                      </a:lnTo>
                      <a:lnTo>
                        <a:pt x="285" y="139"/>
                      </a:lnTo>
                      <a:lnTo>
                        <a:pt x="285" y="141"/>
                      </a:lnTo>
                      <a:lnTo>
                        <a:pt x="286" y="141"/>
                      </a:lnTo>
                      <a:lnTo>
                        <a:pt x="286" y="142"/>
                      </a:lnTo>
                      <a:lnTo>
                        <a:pt x="285" y="142"/>
                      </a:lnTo>
                      <a:lnTo>
                        <a:pt x="284" y="141"/>
                      </a:lnTo>
                      <a:lnTo>
                        <a:pt x="283" y="141"/>
                      </a:lnTo>
                      <a:lnTo>
                        <a:pt x="281" y="141"/>
                      </a:lnTo>
                      <a:lnTo>
                        <a:pt x="283" y="142"/>
                      </a:lnTo>
                      <a:lnTo>
                        <a:pt x="283" y="143"/>
                      </a:lnTo>
                      <a:lnTo>
                        <a:pt x="284" y="143"/>
                      </a:lnTo>
                      <a:lnTo>
                        <a:pt x="284" y="145"/>
                      </a:lnTo>
                      <a:lnTo>
                        <a:pt x="285" y="143"/>
                      </a:lnTo>
                      <a:lnTo>
                        <a:pt x="285" y="145"/>
                      </a:lnTo>
                      <a:lnTo>
                        <a:pt x="284" y="146"/>
                      </a:lnTo>
                      <a:lnTo>
                        <a:pt x="285" y="146"/>
                      </a:lnTo>
                      <a:lnTo>
                        <a:pt x="285" y="147"/>
                      </a:lnTo>
                      <a:lnTo>
                        <a:pt x="286" y="148"/>
                      </a:lnTo>
                      <a:lnTo>
                        <a:pt x="285" y="148"/>
                      </a:lnTo>
                      <a:lnTo>
                        <a:pt x="285" y="147"/>
                      </a:lnTo>
                      <a:lnTo>
                        <a:pt x="285" y="148"/>
                      </a:lnTo>
                      <a:lnTo>
                        <a:pt x="284" y="147"/>
                      </a:lnTo>
                      <a:lnTo>
                        <a:pt x="283" y="147"/>
                      </a:lnTo>
                      <a:lnTo>
                        <a:pt x="283" y="148"/>
                      </a:lnTo>
                      <a:lnTo>
                        <a:pt x="284" y="148"/>
                      </a:lnTo>
                      <a:lnTo>
                        <a:pt x="284" y="149"/>
                      </a:lnTo>
                      <a:lnTo>
                        <a:pt x="285" y="150"/>
                      </a:lnTo>
                      <a:lnTo>
                        <a:pt x="285" y="152"/>
                      </a:lnTo>
                      <a:lnTo>
                        <a:pt x="285" y="153"/>
                      </a:lnTo>
                      <a:lnTo>
                        <a:pt x="286" y="153"/>
                      </a:lnTo>
                      <a:lnTo>
                        <a:pt x="287" y="154"/>
                      </a:lnTo>
                      <a:lnTo>
                        <a:pt x="287" y="155"/>
                      </a:lnTo>
                      <a:lnTo>
                        <a:pt x="288" y="156"/>
                      </a:lnTo>
                      <a:lnTo>
                        <a:pt x="288" y="157"/>
                      </a:lnTo>
                      <a:lnTo>
                        <a:pt x="288" y="159"/>
                      </a:lnTo>
                      <a:lnTo>
                        <a:pt x="290" y="160"/>
                      </a:lnTo>
                      <a:lnTo>
                        <a:pt x="291" y="161"/>
                      </a:lnTo>
                      <a:lnTo>
                        <a:pt x="293" y="162"/>
                      </a:lnTo>
                      <a:lnTo>
                        <a:pt x="294" y="163"/>
                      </a:lnTo>
                      <a:lnTo>
                        <a:pt x="293" y="164"/>
                      </a:lnTo>
                      <a:lnTo>
                        <a:pt x="293" y="166"/>
                      </a:lnTo>
                      <a:lnTo>
                        <a:pt x="293" y="167"/>
                      </a:lnTo>
                      <a:lnTo>
                        <a:pt x="294" y="168"/>
                      </a:lnTo>
                      <a:lnTo>
                        <a:pt x="295" y="168"/>
                      </a:lnTo>
                      <a:lnTo>
                        <a:pt x="295" y="169"/>
                      </a:lnTo>
                      <a:lnTo>
                        <a:pt x="295" y="170"/>
                      </a:lnTo>
                      <a:lnTo>
                        <a:pt x="295" y="171"/>
                      </a:lnTo>
                      <a:lnTo>
                        <a:pt x="297" y="171"/>
                      </a:lnTo>
                      <a:lnTo>
                        <a:pt x="297" y="173"/>
                      </a:lnTo>
                      <a:lnTo>
                        <a:pt x="297" y="174"/>
                      </a:lnTo>
                      <a:lnTo>
                        <a:pt x="298" y="174"/>
                      </a:lnTo>
                      <a:lnTo>
                        <a:pt x="298" y="175"/>
                      </a:lnTo>
                      <a:lnTo>
                        <a:pt x="299" y="175"/>
                      </a:lnTo>
                      <a:lnTo>
                        <a:pt x="299" y="176"/>
                      </a:lnTo>
                      <a:lnTo>
                        <a:pt x="299" y="177"/>
                      </a:lnTo>
                      <a:lnTo>
                        <a:pt x="298" y="177"/>
                      </a:lnTo>
                      <a:lnTo>
                        <a:pt x="297" y="177"/>
                      </a:lnTo>
                      <a:lnTo>
                        <a:pt x="297" y="178"/>
                      </a:lnTo>
                      <a:lnTo>
                        <a:pt x="297" y="180"/>
                      </a:lnTo>
                      <a:lnTo>
                        <a:pt x="298" y="180"/>
                      </a:lnTo>
                      <a:lnTo>
                        <a:pt x="298" y="181"/>
                      </a:lnTo>
                      <a:lnTo>
                        <a:pt x="297" y="183"/>
                      </a:lnTo>
                      <a:lnTo>
                        <a:pt x="297" y="184"/>
                      </a:lnTo>
                      <a:lnTo>
                        <a:pt x="298" y="184"/>
                      </a:lnTo>
                      <a:lnTo>
                        <a:pt x="299" y="184"/>
                      </a:lnTo>
                      <a:lnTo>
                        <a:pt x="299" y="185"/>
                      </a:lnTo>
                      <a:lnTo>
                        <a:pt x="299" y="187"/>
                      </a:lnTo>
                      <a:lnTo>
                        <a:pt x="300" y="188"/>
                      </a:lnTo>
                      <a:lnTo>
                        <a:pt x="301" y="189"/>
                      </a:lnTo>
                      <a:lnTo>
                        <a:pt x="302" y="192"/>
                      </a:lnTo>
                      <a:lnTo>
                        <a:pt x="304" y="194"/>
                      </a:lnTo>
                      <a:lnTo>
                        <a:pt x="304" y="195"/>
                      </a:lnTo>
                      <a:lnTo>
                        <a:pt x="305" y="196"/>
                      </a:lnTo>
                      <a:lnTo>
                        <a:pt x="307" y="202"/>
                      </a:lnTo>
                      <a:lnTo>
                        <a:pt x="308" y="204"/>
                      </a:lnTo>
                      <a:lnTo>
                        <a:pt x="309" y="208"/>
                      </a:lnTo>
                      <a:lnTo>
                        <a:pt x="312" y="211"/>
                      </a:lnTo>
                      <a:lnTo>
                        <a:pt x="313" y="212"/>
                      </a:lnTo>
                      <a:lnTo>
                        <a:pt x="315" y="216"/>
                      </a:lnTo>
                      <a:lnTo>
                        <a:pt x="316" y="217"/>
                      </a:lnTo>
                      <a:lnTo>
                        <a:pt x="319" y="223"/>
                      </a:lnTo>
                      <a:lnTo>
                        <a:pt x="320" y="224"/>
                      </a:lnTo>
                      <a:lnTo>
                        <a:pt x="320" y="226"/>
                      </a:lnTo>
                      <a:lnTo>
                        <a:pt x="320" y="227"/>
                      </a:lnTo>
                      <a:lnTo>
                        <a:pt x="321" y="229"/>
                      </a:lnTo>
                      <a:lnTo>
                        <a:pt x="322" y="230"/>
                      </a:lnTo>
                      <a:lnTo>
                        <a:pt x="322" y="231"/>
                      </a:lnTo>
                      <a:lnTo>
                        <a:pt x="323" y="232"/>
                      </a:lnTo>
                      <a:lnTo>
                        <a:pt x="324" y="233"/>
                      </a:lnTo>
                      <a:lnTo>
                        <a:pt x="324" y="236"/>
                      </a:lnTo>
                      <a:lnTo>
                        <a:pt x="326" y="238"/>
                      </a:lnTo>
                      <a:lnTo>
                        <a:pt x="328" y="243"/>
                      </a:lnTo>
                      <a:lnTo>
                        <a:pt x="329" y="244"/>
                      </a:lnTo>
                      <a:lnTo>
                        <a:pt x="329" y="245"/>
                      </a:lnTo>
                      <a:lnTo>
                        <a:pt x="330" y="246"/>
                      </a:lnTo>
                      <a:lnTo>
                        <a:pt x="330" y="248"/>
                      </a:lnTo>
                      <a:lnTo>
                        <a:pt x="330" y="250"/>
                      </a:lnTo>
                      <a:lnTo>
                        <a:pt x="331" y="250"/>
                      </a:lnTo>
                      <a:lnTo>
                        <a:pt x="331" y="251"/>
                      </a:lnTo>
                      <a:lnTo>
                        <a:pt x="333" y="251"/>
                      </a:lnTo>
                      <a:lnTo>
                        <a:pt x="333" y="252"/>
                      </a:lnTo>
                      <a:lnTo>
                        <a:pt x="334" y="254"/>
                      </a:lnTo>
                      <a:lnTo>
                        <a:pt x="334" y="255"/>
                      </a:lnTo>
                      <a:lnTo>
                        <a:pt x="335" y="257"/>
                      </a:lnTo>
                      <a:lnTo>
                        <a:pt x="335" y="258"/>
                      </a:lnTo>
                      <a:lnTo>
                        <a:pt x="336" y="258"/>
                      </a:lnTo>
                      <a:lnTo>
                        <a:pt x="335" y="259"/>
                      </a:lnTo>
                      <a:lnTo>
                        <a:pt x="335" y="260"/>
                      </a:lnTo>
                      <a:lnTo>
                        <a:pt x="336" y="261"/>
                      </a:lnTo>
                      <a:lnTo>
                        <a:pt x="338" y="264"/>
                      </a:lnTo>
                      <a:lnTo>
                        <a:pt x="342" y="267"/>
                      </a:lnTo>
                      <a:lnTo>
                        <a:pt x="343" y="268"/>
                      </a:lnTo>
                      <a:lnTo>
                        <a:pt x="344" y="272"/>
                      </a:lnTo>
                      <a:lnTo>
                        <a:pt x="345" y="272"/>
                      </a:lnTo>
                      <a:lnTo>
                        <a:pt x="347" y="274"/>
                      </a:lnTo>
                      <a:lnTo>
                        <a:pt x="347" y="273"/>
                      </a:lnTo>
                      <a:lnTo>
                        <a:pt x="347" y="274"/>
                      </a:lnTo>
                      <a:lnTo>
                        <a:pt x="348" y="274"/>
                      </a:lnTo>
                      <a:lnTo>
                        <a:pt x="349" y="275"/>
                      </a:lnTo>
                      <a:lnTo>
                        <a:pt x="350" y="276"/>
                      </a:lnTo>
                      <a:lnTo>
                        <a:pt x="350" y="278"/>
                      </a:lnTo>
                      <a:lnTo>
                        <a:pt x="351" y="278"/>
                      </a:lnTo>
                      <a:lnTo>
                        <a:pt x="352" y="278"/>
                      </a:lnTo>
                      <a:lnTo>
                        <a:pt x="354" y="278"/>
                      </a:lnTo>
                      <a:lnTo>
                        <a:pt x="354" y="279"/>
                      </a:lnTo>
                      <a:lnTo>
                        <a:pt x="355" y="279"/>
                      </a:lnTo>
                      <a:lnTo>
                        <a:pt x="355" y="281"/>
                      </a:lnTo>
                      <a:lnTo>
                        <a:pt x="356" y="281"/>
                      </a:lnTo>
                      <a:lnTo>
                        <a:pt x="355" y="281"/>
                      </a:lnTo>
                      <a:lnTo>
                        <a:pt x="355" y="280"/>
                      </a:lnTo>
                      <a:lnTo>
                        <a:pt x="354" y="280"/>
                      </a:lnTo>
                      <a:lnTo>
                        <a:pt x="352" y="281"/>
                      </a:lnTo>
                      <a:lnTo>
                        <a:pt x="351" y="281"/>
                      </a:lnTo>
                      <a:lnTo>
                        <a:pt x="351" y="280"/>
                      </a:lnTo>
                      <a:lnTo>
                        <a:pt x="350" y="280"/>
                      </a:lnTo>
                      <a:lnTo>
                        <a:pt x="349" y="280"/>
                      </a:lnTo>
                      <a:lnTo>
                        <a:pt x="348" y="280"/>
                      </a:lnTo>
                      <a:lnTo>
                        <a:pt x="348" y="279"/>
                      </a:lnTo>
                      <a:lnTo>
                        <a:pt x="347" y="279"/>
                      </a:lnTo>
                      <a:lnTo>
                        <a:pt x="347" y="280"/>
                      </a:lnTo>
                      <a:lnTo>
                        <a:pt x="345" y="281"/>
                      </a:lnTo>
                      <a:lnTo>
                        <a:pt x="347" y="282"/>
                      </a:lnTo>
                      <a:lnTo>
                        <a:pt x="345" y="283"/>
                      </a:lnTo>
                      <a:lnTo>
                        <a:pt x="345" y="285"/>
                      </a:lnTo>
                      <a:lnTo>
                        <a:pt x="345" y="286"/>
                      </a:lnTo>
                      <a:lnTo>
                        <a:pt x="347" y="286"/>
                      </a:lnTo>
                      <a:lnTo>
                        <a:pt x="347" y="287"/>
                      </a:lnTo>
                      <a:lnTo>
                        <a:pt x="347" y="288"/>
                      </a:lnTo>
                      <a:lnTo>
                        <a:pt x="347" y="289"/>
                      </a:lnTo>
                      <a:lnTo>
                        <a:pt x="347" y="290"/>
                      </a:lnTo>
                      <a:lnTo>
                        <a:pt x="347" y="294"/>
                      </a:lnTo>
                      <a:lnTo>
                        <a:pt x="345" y="295"/>
                      </a:lnTo>
                      <a:lnTo>
                        <a:pt x="347" y="296"/>
                      </a:lnTo>
                      <a:lnTo>
                        <a:pt x="347" y="297"/>
                      </a:lnTo>
                      <a:lnTo>
                        <a:pt x="348" y="299"/>
                      </a:lnTo>
                      <a:lnTo>
                        <a:pt x="348" y="300"/>
                      </a:lnTo>
                      <a:lnTo>
                        <a:pt x="348" y="301"/>
                      </a:lnTo>
                      <a:lnTo>
                        <a:pt x="348" y="303"/>
                      </a:lnTo>
                      <a:lnTo>
                        <a:pt x="349" y="304"/>
                      </a:lnTo>
                      <a:lnTo>
                        <a:pt x="349" y="306"/>
                      </a:lnTo>
                      <a:lnTo>
                        <a:pt x="350" y="308"/>
                      </a:lnTo>
                      <a:lnTo>
                        <a:pt x="350" y="309"/>
                      </a:lnTo>
                      <a:lnTo>
                        <a:pt x="351" y="310"/>
                      </a:lnTo>
                      <a:lnTo>
                        <a:pt x="351" y="314"/>
                      </a:lnTo>
                      <a:lnTo>
                        <a:pt x="352" y="315"/>
                      </a:lnTo>
                      <a:lnTo>
                        <a:pt x="354" y="317"/>
                      </a:lnTo>
                      <a:lnTo>
                        <a:pt x="355" y="317"/>
                      </a:lnTo>
                      <a:lnTo>
                        <a:pt x="355" y="316"/>
                      </a:lnTo>
                      <a:lnTo>
                        <a:pt x="354" y="315"/>
                      </a:lnTo>
                      <a:lnTo>
                        <a:pt x="355" y="315"/>
                      </a:lnTo>
                      <a:lnTo>
                        <a:pt x="355" y="316"/>
                      </a:lnTo>
                      <a:lnTo>
                        <a:pt x="355" y="318"/>
                      </a:lnTo>
                      <a:lnTo>
                        <a:pt x="356" y="318"/>
                      </a:lnTo>
                      <a:lnTo>
                        <a:pt x="356" y="320"/>
                      </a:lnTo>
                      <a:lnTo>
                        <a:pt x="357" y="320"/>
                      </a:lnTo>
                      <a:lnTo>
                        <a:pt x="357" y="321"/>
                      </a:lnTo>
                      <a:lnTo>
                        <a:pt x="358" y="322"/>
                      </a:lnTo>
                      <a:lnTo>
                        <a:pt x="359" y="322"/>
                      </a:lnTo>
                      <a:lnTo>
                        <a:pt x="361" y="323"/>
                      </a:lnTo>
                      <a:lnTo>
                        <a:pt x="362" y="323"/>
                      </a:lnTo>
                      <a:lnTo>
                        <a:pt x="363" y="323"/>
                      </a:lnTo>
                      <a:lnTo>
                        <a:pt x="366" y="324"/>
                      </a:lnTo>
                      <a:lnTo>
                        <a:pt x="369" y="324"/>
                      </a:lnTo>
                      <a:lnTo>
                        <a:pt x="370" y="325"/>
                      </a:lnTo>
                      <a:lnTo>
                        <a:pt x="371" y="327"/>
                      </a:lnTo>
                      <a:lnTo>
                        <a:pt x="371" y="328"/>
                      </a:lnTo>
                      <a:lnTo>
                        <a:pt x="371" y="329"/>
                      </a:lnTo>
                      <a:lnTo>
                        <a:pt x="372" y="330"/>
                      </a:lnTo>
                      <a:lnTo>
                        <a:pt x="373" y="331"/>
                      </a:lnTo>
                      <a:lnTo>
                        <a:pt x="375" y="332"/>
                      </a:lnTo>
                      <a:lnTo>
                        <a:pt x="376" y="332"/>
                      </a:lnTo>
                      <a:lnTo>
                        <a:pt x="376" y="334"/>
                      </a:lnTo>
                      <a:lnTo>
                        <a:pt x="376" y="335"/>
                      </a:lnTo>
                      <a:lnTo>
                        <a:pt x="378" y="336"/>
                      </a:lnTo>
                      <a:lnTo>
                        <a:pt x="379" y="337"/>
                      </a:lnTo>
                      <a:lnTo>
                        <a:pt x="380" y="337"/>
                      </a:lnTo>
                      <a:lnTo>
                        <a:pt x="381" y="338"/>
                      </a:lnTo>
                      <a:lnTo>
                        <a:pt x="385" y="342"/>
                      </a:lnTo>
                      <a:lnTo>
                        <a:pt x="386" y="342"/>
                      </a:lnTo>
                      <a:lnTo>
                        <a:pt x="387" y="342"/>
                      </a:lnTo>
                      <a:lnTo>
                        <a:pt x="388" y="343"/>
                      </a:lnTo>
                      <a:lnTo>
                        <a:pt x="388" y="344"/>
                      </a:lnTo>
                      <a:lnTo>
                        <a:pt x="390" y="345"/>
                      </a:lnTo>
                      <a:lnTo>
                        <a:pt x="391" y="345"/>
                      </a:lnTo>
                      <a:lnTo>
                        <a:pt x="391" y="346"/>
                      </a:lnTo>
                      <a:lnTo>
                        <a:pt x="391" y="348"/>
                      </a:lnTo>
                      <a:lnTo>
                        <a:pt x="383" y="348"/>
                      </a:lnTo>
                      <a:lnTo>
                        <a:pt x="376" y="348"/>
                      </a:lnTo>
                      <a:lnTo>
                        <a:pt x="368" y="348"/>
                      </a:lnTo>
                      <a:lnTo>
                        <a:pt x="361" y="348"/>
                      </a:lnTo>
                      <a:lnTo>
                        <a:pt x="354" y="348"/>
                      </a:lnTo>
                      <a:lnTo>
                        <a:pt x="345" y="348"/>
                      </a:lnTo>
                      <a:lnTo>
                        <a:pt x="338" y="348"/>
                      </a:lnTo>
                      <a:lnTo>
                        <a:pt x="330" y="348"/>
                      </a:lnTo>
                      <a:lnTo>
                        <a:pt x="323" y="348"/>
                      </a:lnTo>
                      <a:lnTo>
                        <a:pt x="316" y="348"/>
                      </a:lnTo>
                      <a:lnTo>
                        <a:pt x="308" y="348"/>
                      </a:lnTo>
                      <a:lnTo>
                        <a:pt x="301" y="348"/>
                      </a:lnTo>
                      <a:lnTo>
                        <a:pt x="293" y="348"/>
                      </a:lnTo>
                      <a:lnTo>
                        <a:pt x="286" y="348"/>
                      </a:lnTo>
                      <a:lnTo>
                        <a:pt x="279" y="348"/>
                      </a:lnTo>
                      <a:lnTo>
                        <a:pt x="272" y="348"/>
                      </a:lnTo>
                      <a:lnTo>
                        <a:pt x="271" y="348"/>
                      </a:lnTo>
                      <a:lnTo>
                        <a:pt x="267" y="348"/>
                      </a:lnTo>
                      <a:lnTo>
                        <a:pt x="265" y="346"/>
                      </a:lnTo>
                      <a:lnTo>
                        <a:pt x="262" y="346"/>
                      </a:lnTo>
                      <a:lnTo>
                        <a:pt x="258" y="346"/>
                      </a:lnTo>
                      <a:lnTo>
                        <a:pt x="255" y="346"/>
                      </a:lnTo>
                      <a:lnTo>
                        <a:pt x="251" y="346"/>
                      </a:lnTo>
                      <a:lnTo>
                        <a:pt x="248" y="346"/>
                      </a:lnTo>
                      <a:lnTo>
                        <a:pt x="245" y="346"/>
                      </a:lnTo>
                      <a:lnTo>
                        <a:pt x="242" y="346"/>
                      </a:lnTo>
                      <a:lnTo>
                        <a:pt x="238" y="346"/>
                      </a:lnTo>
                      <a:lnTo>
                        <a:pt x="235" y="346"/>
                      </a:lnTo>
                      <a:lnTo>
                        <a:pt x="231" y="346"/>
                      </a:lnTo>
                      <a:lnTo>
                        <a:pt x="229" y="346"/>
                      </a:lnTo>
                      <a:lnTo>
                        <a:pt x="226" y="346"/>
                      </a:lnTo>
                      <a:lnTo>
                        <a:pt x="222" y="346"/>
                      </a:lnTo>
                      <a:lnTo>
                        <a:pt x="219" y="346"/>
                      </a:lnTo>
                      <a:lnTo>
                        <a:pt x="217" y="346"/>
                      </a:lnTo>
                      <a:lnTo>
                        <a:pt x="216" y="346"/>
                      </a:lnTo>
                      <a:lnTo>
                        <a:pt x="217" y="344"/>
                      </a:lnTo>
                      <a:lnTo>
                        <a:pt x="217" y="342"/>
                      </a:lnTo>
                      <a:lnTo>
                        <a:pt x="217" y="341"/>
                      </a:lnTo>
                      <a:lnTo>
                        <a:pt x="217" y="339"/>
                      </a:lnTo>
                      <a:lnTo>
                        <a:pt x="216" y="339"/>
                      </a:lnTo>
                      <a:lnTo>
                        <a:pt x="215" y="339"/>
                      </a:lnTo>
                      <a:lnTo>
                        <a:pt x="214" y="339"/>
                      </a:lnTo>
                      <a:lnTo>
                        <a:pt x="214" y="341"/>
                      </a:lnTo>
                      <a:lnTo>
                        <a:pt x="212" y="343"/>
                      </a:lnTo>
                      <a:lnTo>
                        <a:pt x="210" y="346"/>
                      </a:lnTo>
                      <a:lnTo>
                        <a:pt x="209" y="346"/>
                      </a:lnTo>
                      <a:lnTo>
                        <a:pt x="206" y="346"/>
                      </a:lnTo>
                      <a:lnTo>
                        <a:pt x="202" y="346"/>
                      </a:lnTo>
                      <a:lnTo>
                        <a:pt x="200" y="346"/>
                      </a:lnTo>
                      <a:lnTo>
                        <a:pt x="196" y="346"/>
                      </a:lnTo>
                      <a:lnTo>
                        <a:pt x="193" y="346"/>
                      </a:lnTo>
                      <a:lnTo>
                        <a:pt x="189" y="346"/>
                      </a:lnTo>
                      <a:lnTo>
                        <a:pt x="187" y="346"/>
                      </a:lnTo>
                      <a:lnTo>
                        <a:pt x="184" y="346"/>
                      </a:lnTo>
                      <a:lnTo>
                        <a:pt x="180" y="346"/>
                      </a:lnTo>
                      <a:lnTo>
                        <a:pt x="178" y="346"/>
                      </a:lnTo>
                      <a:lnTo>
                        <a:pt x="174" y="346"/>
                      </a:lnTo>
                      <a:lnTo>
                        <a:pt x="171" y="346"/>
                      </a:lnTo>
                      <a:lnTo>
                        <a:pt x="169" y="346"/>
                      </a:lnTo>
                      <a:lnTo>
                        <a:pt x="165" y="346"/>
                      </a:lnTo>
                      <a:lnTo>
                        <a:pt x="162" y="346"/>
                      </a:lnTo>
                      <a:lnTo>
                        <a:pt x="159" y="346"/>
                      </a:lnTo>
                      <a:lnTo>
                        <a:pt x="156" y="346"/>
                      </a:lnTo>
                      <a:lnTo>
                        <a:pt x="152" y="346"/>
                      </a:lnTo>
                      <a:lnTo>
                        <a:pt x="150" y="346"/>
                      </a:lnTo>
                      <a:lnTo>
                        <a:pt x="146" y="346"/>
                      </a:lnTo>
                      <a:lnTo>
                        <a:pt x="143" y="346"/>
                      </a:lnTo>
                      <a:lnTo>
                        <a:pt x="141" y="346"/>
                      </a:lnTo>
                      <a:lnTo>
                        <a:pt x="137" y="346"/>
                      </a:lnTo>
                      <a:lnTo>
                        <a:pt x="134" y="346"/>
                      </a:lnTo>
                      <a:lnTo>
                        <a:pt x="131" y="346"/>
                      </a:lnTo>
                      <a:lnTo>
                        <a:pt x="128" y="346"/>
                      </a:lnTo>
                      <a:lnTo>
                        <a:pt x="124" y="346"/>
                      </a:lnTo>
                      <a:lnTo>
                        <a:pt x="122" y="346"/>
                      </a:lnTo>
                      <a:lnTo>
                        <a:pt x="119" y="346"/>
                      </a:lnTo>
                      <a:lnTo>
                        <a:pt x="115" y="346"/>
                      </a:lnTo>
                      <a:lnTo>
                        <a:pt x="113" y="346"/>
                      </a:lnTo>
                      <a:lnTo>
                        <a:pt x="109" y="346"/>
                      </a:lnTo>
                      <a:lnTo>
                        <a:pt x="106" y="346"/>
                      </a:lnTo>
                      <a:lnTo>
                        <a:pt x="103" y="346"/>
                      </a:lnTo>
                      <a:lnTo>
                        <a:pt x="100" y="346"/>
                      </a:lnTo>
                      <a:lnTo>
                        <a:pt x="96" y="346"/>
                      </a:lnTo>
                      <a:lnTo>
                        <a:pt x="94" y="346"/>
                      </a:lnTo>
                      <a:lnTo>
                        <a:pt x="91" y="346"/>
                      </a:lnTo>
                      <a:lnTo>
                        <a:pt x="87" y="346"/>
                      </a:lnTo>
                      <a:lnTo>
                        <a:pt x="85" y="346"/>
                      </a:lnTo>
                      <a:lnTo>
                        <a:pt x="81" y="346"/>
                      </a:lnTo>
                      <a:lnTo>
                        <a:pt x="78" y="346"/>
                      </a:lnTo>
                      <a:lnTo>
                        <a:pt x="74" y="346"/>
                      </a:lnTo>
                      <a:lnTo>
                        <a:pt x="72" y="346"/>
                      </a:lnTo>
                      <a:lnTo>
                        <a:pt x="68" y="346"/>
                      </a:lnTo>
                      <a:lnTo>
                        <a:pt x="65" y="346"/>
                      </a:lnTo>
                      <a:lnTo>
                        <a:pt x="63" y="346"/>
                      </a:lnTo>
                      <a:lnTo>
                        <a:pt x="59" y="346"/>
                      </a:lnTo>
                      <a:lnTo>
                        <a:pt x="56" y="346"/>
                      </a:lnTo>
                      <a:lnTo>
                        <a:pt x="53" y="346"/>
                      </a:lnTo>
                      <a:lnTo>
                        <a:pt x="50" y="346"/>
                      </a:lnTo>
                      <a:lnTo>
                        <a:pt x="46" y="346"/>
                      </a:lnTo>
                      <a:lnTo>
                        <a:pt x="44" y="346"/>
                      </a:lnTo>
                      <a:lnTo>
                        <a:pt x="41" y="346"/>
                      </a:lnTo>
                      <a:lnTo>
                        <a:pt x="37" y="346"/>
                      </a:lnTo>
                      <a:lnTo>
                        <a:pt x="35" y="346"/>
                      </a:lnTo>
                      <a:lnTo>
                        <a:pt x="31" y="346"/>
                      </a:lnTo>
                      <a:lnTo>
                        <a:pt x="28" y="346"/>
                      </a:lnTo>
                      <a:lnTo>
                        <a:pt x="25" y="346"/>
                      </a:lnTo>
                      <a:lnTo>
                        <a:pt x="22" y="346"/>
                      </a:lnTo>
                      <a:lnTo>
                        <a:pt x="18" y="346"/>
                      </a:lnTo>
                      <a:lnTo>
                        <a:pt x="16" y="346"/>
                      </a:lnTo>
                      <a:lnTo>
                        <a:pt x="13" y="346"/>
                      </a:lnTo>
                      <a:lnTo>
                        <a:pt x="9" y="346"/>
                      </a:lnTo>
                      <a:lnTo>
                        <a:pt x="9" y="336"/>
                      </a:lnTo>
                      <a:lnTo>
                        <a:pt x="9" y="327"/>
                      </a:lnTo>
                      <a:lnTo>
                        <a:pt x="9" y="316"/>
                      </a:lnTo>
                      <a:lnTo>
                        <a:pt x="9" y="307"/>
                      </a:lnTo>
                      <a:lnTo>
                        <a:pt x="9" y="296"/>
                      </a:lnTo>
                      <a:lnTo>
                        <a:pt x="9" y="286"/>
                      </a:lnTo>
                      <a:lnTo>
                        <a:pt x="9" y="275"/>
                      </a:lnTo>
                      <a:lnTo>
                        <a:pt x="9" y="266"/>
                      </a:lnTo>
                      <a:lnTo>
                        <a:pt x="9" y="255"/>
                      </a:lnTo>
                      <a:lnTo>
                        <a:pt x="9" y="245"/>
                      </a:lnTo>
                      <a:lnTo>
                        <a:pt x="9" y="234"/>
                      </a:lnTo>
                      <a:lnTo>
                        <a:pt x="9" y="224"/>
                      </a:lnTo>
                      <a:lnTo>
                        <a:pt x="9" y="215"/>
                      </a:lnTo>
                      <a:lnTo>
                        <a:pt x="9" y="204"/>
                      </a:lnTo>
                      <a:lnTo>
                        <a:pt x="9" y="194"/>
                      </a:lnTo>
                      <a:lnTo>
                        <a:pt x="9" y="183"/>
                      </a:lnTo>
                      <a:lnTo>
                        <a:pt x="9" y="176"/>
                      </a:lnTo>
                      <a:lnTo>
                        <a:pt x="9" y="169"/>
                      </a:lnTo>
                      <a:lnTo>
                        <a:pt x="9" y="166"/>
                      </a:lnTo>
                      <a:lnTo>
                        <a:pt x="9" y="154"/>
                      </a:lnTo>
                      <a:lnTo>
                        <a:pt x="9" y="148"/>
                      </a:lnTo>
                      <a:lnTo>
                        <a:pt x="9" y="147"/>
                      </a:lnTo>
                      <a:lnTo>
                        <a:pt x="9" y="134"/>
                      </a:lnTo>
                      <a:lnTo>
                        <a:pt x="9" y="132"/>
                      </a:lnTo>
                      <a:lnTo>
                        <a:pt x="9" y="117"/>
                      </a:lnTo>
                      <a:lnTo>
                        <a:pt x="9" y="103"/>
                      </a:lnTo>
                      <a:lnTo>
                        <a:pt x="9" y="96"/>
                      </a:lnTo>
                      <a:lnTo>
                        <a:pt x="9" y="92"/>
                      </a:lnTo>
                      <a:lnTo>
                        <a:pt x="9" y="90"/>
                      </a:lnTo>
                      <a:lnTo>
                        <a:pt x="9" y="87"/>
                      </a:lnTo>
                      <a:lnTo>
                        <a:pt x="6" y="82"/>
                      </a:lnTo>
                      <a:lnTo>
                        <a:pt x="6" y="79"/>
                      </a:lnTo>
                      <a:lnTo>
                        <a:pt x="6" y="78"/>
                      </a:lnTo>
                      <a:lnTo>
                        <a:pt x="6" y="76"/>
                      </a:lnTo>
                      <a:lnTo>
                        <a:pt x="6" y="75"/>
                      </a:lnTo>
                      <a:lnTo>
                        <a:pt x="6" y="73"/>
                      </a:lnTo>
                      <a:lnTo>
                        <a:pt x="3" y="71"/>
                      </a:lnTo>
                      <a:lnTo>
                        <a:pt x="3" y="69"/>
                      </a:lnTo>
                      <a:lnTo>
                        <a:pt x="4" y="68"/>
                      </a:lnTo>
                      <a:lnTo>
                        <a:pt x="4" y="66"/>
                      </a:lnTo>
                      <a:lnTo>
                        <a:pt x="4" y="65"/>
                      </a:lnTo>
                      <a:lnTo>
                        <a:pt x="1" y="58"/>
                      </a:lnTo>
                      <a:lnTo>
                        <a:pt x="0" y="57"/>
                      </a:lnTo>
                      <a:lnTo>
                        <a:pt x="0" y="56"/>
                      </a:lnTo>
                      <a:lnTo>
                        <a:pt x="0" y="55"/>
                      </a:lnTo>
                      <a:lnTo>
                        <a:pt x="1" y="54"/>
                      </a:lnTo>
                      <a:lnTo>
                        <a:pt x="2" y="51"/>
                      </a:lnTo>
                      <a:lnTo>
                        <a:pt x="2" y="50"/>
                      </a:lnTo>
                      <a:lnTo>
                        <a:pt x="3" y="49"/>
                      </a:lnTo>
                      <a:lnTo>
                        <a:pt x="3" y="48"/>
                      </a:lnTo>
                      <a:lnTo>
                        <a:pt x="4" y="47"/>
                      </a:lnTo>
                      <a:lnTo>
                        <a:pt x="7" y="44"/>
                      </a:lnTo>
                      <a:lnTo>
                        <a:pt x="7" y="43"/>
                      </a:lnTo>
                      <a:lnTo>
                        <a:pt x="8" y="42"/>
                      </a:lnTo>
                      <a:lnTo>
                        <a:pt x="8" y="41"/>
                      </a:lnTo>
                      <a:lnTo>
                        <a:pt x="8" y="38"/>
                      </a:lnTo>
                      <a:lnTo>
                        <a:pt x="9" y="36"/>
                      </a:lnTo>
                      <a:lnTo>
                        <a:pt x="9" y="35"/>
                      </a:lnTo>
                      <a:lnTo>
                        <a:pt x="9" y="34"/>
                      </a:lnTo>
                      <a:lnTo>
                        <a:pt x="10" y="33"/>
                      </a:lnTo>
                      <a:lnTo>
                        <a:pt x="9" y="30"/>
                      </a:lnTo>
                      <a:lnTo>
                        <a:pt x="8" y="28"/>
                      </a:lnTo>
                      <a:lnTo>
                        <a:pt x="8" y="26"/>
                      </a:lnTo>
                      <a:lnTo>
                        <a:pt x="7" y="23"/>
                      </a:lnTo>
                      <a:lnTo>
                        <a:pt x="6" y="19"/>
                      </a:lnTo>
                      <a:lnTo>
                        <a:pt x="6" y="16"/>
                      </a:lnTo>
                      <a:lnTo>
                        <a:pt x="6" y="13"/>
                      </a:lnTo>
                      <a:lnTo>
                        <a:pt x="6" y="12"/>
                      </a:lnTo>
                      <a:lnTo>
                        <a:pt x="6" y="10"/>
                      </a:lnTo>
                      <a:lnTo>
                        <a:pt x="10" y="6"/>
                      </a:lnTo>
                      <a:lnTo>
                        <a:pt x="11" y="2"/>
                      </a:lnTo>
                      <a:lnTo>
                        <a:pt x="13" y="1"/>
                      </a:lnTo>
                      <a:lnTo>
                        <a:pt x="15" y="0"/>
                      </a:lnTo>
                      <a:lnTo>
                        <a:pt x="15" y="2"/>
                      </a:lnTo>
                      <a:lnTo>
                        <a:pt x="16" y="3"/>
                      </a:lnTo>
                      <a:lnTo>
                        <a:pt x="16" y="5"/>
                      </a:lnTo>
                      <a:lnTo>
                        <a:pt x="17" y="5"/>
                      </a:lnTo>
                      <a:lnTo>
                        <a:pt x="18" y="5"/>
                      </a:lnTo>
                      <a:lnTo>
                        <a:pt x="20" y="6"/>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4" name="Freeform 90">
                  <a:extLst>
                    <a:ext uri="{FF2B5EF4-FFF2-40B4-BE49-F238E27FC236}">
                      <a16:creationId xmlns:a16="http://schemas.microsoft.com/office/drawing/2014/main" id="{5487143A-C492-9205-8369-DDB9552CF8EA}"/>
                    </a:ext>
                  </a:extLst>
                </p:cNvPr>
                <p:cNvSpPr>
                  <a:spLocks/>
                </p:cNvSpPr>
                <p:nvPr/>
              </p:nvSpPr>
              <p:spPr bwMode="auto">
                <a:xfrm>
                  <a:off x="6115518" y="3418928"/>
                  <a:ext cx="152524" cy="222836"/>
                </a:xfrm>
                <a:custGeom>
                  <a:avLst/>
                  <a:gdLst>
                    <a:gd name="T0" fmla="*/ 103 w 141"/>
                    <a:gd name="T1" fmla="*/ 4 h 206"/>
                    <a:gd name="T2" fmla="*/ 99 w 141"/>
                    <a:gd name="T3" fmla="*/ 13 h 206"/>
                    <a:gd name="T4" fmla="*/ 104 w 141"/>
                    <a:gd name="T5" fmla="*/ 20 h 206"/>
                    <a:gd name="T6" fmla="*/ 111 w 141"/>
                    <a:gd name="T7" fmla="*/ 24 h 206"/>
                    <a:gd name="T8" fmla="*/ 113 w 141"/>
                    <a:gd name="T9" fmla="*/ 30 h 206"/>
                    <a:gd name="T10" fmla="*/ 113 w 141"/>
                    <a:gd name="T11" fmla="*/ 37 h 206"/>
                    <a:gd name="T12" fmla="*/ 112 w 141"/>
                    <a:gd name="T13" fmla="*/ 46 h 206"/>
                    <a:gd name="T14" fmla="*/ 111 w 141"/>
                    <a:gd name="T15" fmla="*/ 51 h 206"/>
                    <a:gd name="T16" fmla="*/ 109 w 141"/>
                    <a:gd name="T17" fmla="*/ 51 h 206"/>
                    <a:gd name="T18" fmla="*/ 109 w 141"/>
                    <a:gd name="T19" fmla="*/ 55 h 206"/>
                    <a:gd name="T20" fmla="*/ 118 w 141"/>
                    <a:gd name="T21" fmla="*/ 54 h 206"/>
                    <a:gd name="T22" fmla="*/ 118 w 141"/>
                    <a:gd name="T23" fmla="*/ 62 h 206"/>
                    <a:gd name="T24" fmla="*/ 118 w 141"/>
                    <a:gd name="T25" fmla="*/ 72 h 206"/>
                    <a:gd name="T26" fmla="*/ 114 w 141"/>
                    <a:gd name="T27" fmla="*/ 76 h 206"/>
                    <a:gd name="T28" fmla="*/ 120 w 141"/>
                    <a:gd name="T29" fmla="*/ 84 h 206"/>
                    <a:gd name="T30" fmla="*/ 123 w 141"/>
                    <a:gd name="T31" fmla="*/ 94 h 206"/>
                    <a:gd name="T32" fmla="*/ 121 w 141"/>
                    <a:gd name="T33" fmla="*/ 102 h 206"/>
                    <a:gd name="T34" fmla="*/ 121 w 141"/>
                    <a:gd name="T35" fmla="*/ 111 h 206"/>
                    <a:gd name="T36" fmla="*/ 119 w 141"/>
                    <a:gd name="T37" fmla="*/ 119 h 206"/>
                    <a:gd name="T38" fmla="*/ 123 w 141"/>
                    <a:gd name="T39" fmla="*/ 124 h 206"/>
                    <a:gd name="T40" fmla="*/ 120 w 141"/>
                    <a:gd name="T41" fmla="*/ 135 h 206"/>
                    <a:gd name="T42" fmla="*/ 122 w 141"/>
                    <a:gd name="T43" fmla="*/ 142 h 206"/>
                    <a:gd name="T44" fmla="*/ 126 w 141"/>
                    <a:gd name="T45" fmla="*/ 150 h 206"/>
                    <a:gd name="T46" fmla="*/ 134 w 141"/>
                    <a:gd name="T47" fmla="*/ 154 h 206"/>
                    <a:gd name="T48" fmla="*/ 139 w 141"/>
                    <a:gd name="T49" fmla="*/ 164 h 206"/>
                    <a:gd name="T50" fmla="*/ 133 w 141"/>
                    <a:gd name="T51" fmla="*/ 172 h 206"/>
                    <a:gd name="T52" fmla="*/ 108 w 141"/>
                    <a:gd name="T53" fmla="*/ 174 h 206"/>
                    <a:gd name="T54" fmla="*/ 100 w 141"/>
                    <a:gd name="T55" fmla="*/ 179 h 206"/>
                    <a:gd name="T56" fmla="*/ 82 w 141"/>
                    <a:gd name="T57" fmla="*/ 188 h 206"/>
                    <a:gd name="T58" fmla="*/ 72 w 141"/>
                    <a:gd name="T59" fmla="*/ 191 h 206"/>
                    <a:gd name="T60" fmla="*/ 62 w 141"/>
                    <a:gd name="T61" fmla="*/ 195 h 206"/>
                    <a:gd name="T62" fmla="*/ 52 w 141"/>
                    <a:gd name="T63" fmla="*/ 196 h 206"/>
                    <a:gd name="T64" fmla="*/ 45 w 141"/>
                    <a:gd name="T65" fmla="*/ 202 h 206"/>
                    <a:gd name="T66" fmla="*/ 37 w 141"/>
                    <a:gd name="T67" fmla="*/ 205 h 206"/>
                    <a:gd name="T68" fmla="*/ 19 w 141"/>
                    <a:gd name="T69" fmla="*/ 198 h 206"/>
                    <a:gd name="T70" fmla="*/ 11 w 141"/>
                    <a:gd name="T71" fmla="*/ 194 h 206"/>
                    <a:gd name="T72" fmla="*/ 15 w 141"/>
                    <a:gd name="T73" fmla="*/ 191 h 206"/>
                    <a:gd name="T74" fmla="*/ 15 w 141"/>
                    <a:gd name="T75" fmla="*/ 180 h 206"/>
                    <a:gd name="T76" fmla="*/ 7 w 141"/>
                    <a:gd name="T77" fmla="*/ 175 h 206"/>
                    <a:gd name="T78" fmla="*/ 2 w 141"/>
                    <a:gd name="T79" fmla="*/ 158 h 206"/>
                    <a:gd name="T80" fmla="*/ 0 w 141"/>
                    <a:gd name="T81" fmla="*/ 139 h 206"/>
                    <a:gd name="T82" fmla="*/ 9 w 141"/>
                    <a:gd name="T83" fmla="*/ 116 h 206"/>
                    <a:gd name="T84" fmla="*/ 14 w 141"/>
                    <a:gd name="T85" fmla="*/ 105 h 206"/>
                    <a:gd name="T86" fmla="*/ 20 w 141"/>
                    <a:gd name="T87" fmla="*/ 98 h 206"/>
                    <a:gd name="T88" fmla="*/ 20 w 141"/>
                    <a:gd name="T89" fmla="*/ 77 h 206"/>
                    <a:gd name="T90" fmla="*/ 15 w 141"/>
                    <a:gd name="T91" fmla="*/ 69 h 206"/>
                    <a:gd name="T92" fmla="*/ 18 w 141"/>
                    <a:gd name="T93" fmla="*/ 63 h 206"/>
                    <a:gd name="T94" fmla="*/ 18 w 141"/>
                    <a:gd name="T95" fmla="*/ 56 h 206"/>
                    <a:gd name="T96" fmla="*/ 14 w 141"/>
                    <a:gd name="T97" fmla="*/ 49 h 206"/>
                    <a:gd name="T98" fmla="*/ 14 w 141"/>
                    <a:gd name="T99" fmla="*/ 40 h 206"/>
                    <a:gd name="T100" fmla="*/ 13 w 141"/>
                    <a:gd name="T101" fmla="*/ 30 h 206"/>
                    <a:gd name="T102" fmla="*/ 12 w 141"/>
                    <a:gd name="T103" fmla="*/ 25 h 206"/>
                    <a:gd name="T104" fmla="*/ 9 w 141"/>
                    <a:gd name="T105" fmla="*/ 17 h 206"/>
                    <a:gd name="T106" fmla="*/ 12 w 141"/>
                    <a:gd name="T107" fmla="*/ 9 h 206"/>
                    <a:gd name="T108" fmla="*/ 39 w 141"/>
                    <a:gd name="T109" fmla="*/ 6 h 206"/>
                    <a:gd name="T110" fmla="*/ 63 w 141"/>
                    <a:gd name="T111" fmla="*/ 6 h 206"/>
                    <a:gd name="T112" fmla="*/ 75 w 141"/>
                    <a:gd name="T113" fmla="*/ 5 h 206"/>
                    <a:gd name="T114" fmla="*/ 83 w 141"/>
                    <a:gd name="T115" fmla="*/ 6 h 206"/>
                    <a:gd name="T116" fmla="*/ 89 w 141"/>
                    <a:gd name="T117" fmla="*/ 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1" h="206">
                      <a:moveTo>
                        <a:pt x="97" y="0"/>
                      </a:moveTo>
                      <a:lnTo>
                        <a:pt x="97" y="2"/>
                      </a:lnTo>
                      <a:lnTo>
                        <a:pt x="98" y="3"/>
                      </a:lnTo>
                      <a:lnTo>
                        <a:pt x="99" y="3"/>
                      </a:lnTo>
                      <a:lnTo>
                        <a:pt x="100" y="2"/>
                      </a:lnTo>
                      <a:lnTo>
                        <a:pt x="101" y="3"/>
                      </a:lnTo>
                      <a:lnTo>
                        <a:pt x="103" y="3"/>
                      </a:lnTo>
                      <a:lnTo>
                        <a:pt x="103" y="4"/>
                      </a:lnTo>
                      <a:lnTo>
                        <a:pt x="103" y="5"/>
                      </a:lnTo>
                      <a:lnTo>
                        <a:pt x="103" y="6"/>
                      </a:lnTo>
                      <a:lnTo>
                        <a:pt x="101" y="6"/>
                      </a:lnTo>
                      <a:lnTo>
                        <a:pt x="100" y="10"/>
                      </a:lnTo>
                      <a:lnTo>
                        <a:pt x="100" y="11"/>
                      </a:lnTo>
                      <a:lnTo>
                        <a:pt x="100" y="12"/>
                      </a:lnTo>
                      <a:lnTo>
                        <a:pt x="99" y="12"/>
                      </a:lnTo>
                      <a:lnTo>
                        <a:pt x="99" y="13"/>
                      </a:lnTo>
                      <a:lnTo>
                        <a:pt x="99" y="14"/>
                      </a:lnTo>
                      <a:lnTo>
                        <a:pt x="99" y="16"/>
                      </a:lnTo>
                      <a:lnTo>
                        <a:pt x="99" y="17"/>
                      </a:lnTo>
                      <a:lnTo>
                        <a:pt x="99" y="18"/>
                      </a:lnTo>
                      <a:lnTo>
                        <a:pt x="100" y="18"/>
                      </a:lnTo>
                      <a:lnTo>
                        <a:pt x="101" y="18"/>
                      </a:lnTo>
                      <a:lnTo>
                        <a:pt x="103" y="19"/>
                      </a:lnTo>
                      <a:lnTo>
                        <a:pt x="104" y="20"/>
                      </a:lnTo>
                      <a:lnTo>
                        <a:pt x="105" y="21"/>
                      </a:lnTo>
                      <a:lnTo>
                        <a:pt x="106" y="21"/>
                      </a:lnTo>
                      <a:lnTo>
                        <a:pt x="107" y="25"/>
                      </a:lnTo>
                      <a:lnTo>
                        <a:pt x="108" y="25"/>
                      </a:lnTo>
                      <a:lnTo>
                        <a:pt x="108" y="24"/>
                      </a:lnTo>
                      <a:lnTo>
                        <a:pt x="108" y="25"/>
                      </a:lnTo>
                      <a:lnTo>
                        <a:pt x="109" y="25"/>
                      </a:lnTo>
                      <a:lnTo>
                        <a:pt x="111" y="24"/>
                      </a:lnTo>
                      <a:lnTo>
                        <a:pt x="111" y="25"/>
                      </a:lnTo>
                      <a:lnTo>
                        <a:pt x="111" y="26"/>
                      </a:lnTo>
                      <a:lnTo>
                        <a:pt x="112" y="26"/>
                      </a:lnTo>
                      <a:lnTo>
                        <a:pt x="112" y="27"/>
                      </a:lnTo>
                      <a:lnTo>
                        <a:pt x="113" y="27"/>
                      </a:lnTo>
                      <a:lnTo>
                        <a:pt x="114" y="27"/>
                      </a:lnTo>
                      <a:lnTo>
                        <a:pt x="114" y="28"/>
                      </a:lnTo>
                      <a:lnTo>
                        <a:pt x="113" y="30"/>
                      </a:lnTo>
                      <a:lnTo>
                        <a:pt x="113" y="31"/>
                      </a:lnTo>
                      <a:lnTo>
                        <a:pt x="113" y="32"/>
                      </a:lnTo>
                      <a:lnTo>
                        <a:pt x="113" y="33"/>
                      </a:lnTo>
                      <a:lnTo>
                        <a:pt x="113" y="34"/>
                      </a:lnTo>
                      <a:lnTo>
                        <a:pt x="114" y="34"/>
                      </a:lnTo>
                      <a:lnTo>
                        <a:pt x="114" y="35"/>
                      </a:lnTo>
                      <a:lnTo>
                        <a:pt x="114" y="37"/>
                      </a:lnTo>
                      <a:lnTo>
                        <a:pt x="113" y="37"/>
                      </a:lnTo>
                      <a:lnTo>
                        <a:pt x="113" y="38"/>
                      </a:lnTo>
                      <a:lnTo>
                        <a:pt x="113" y="39"/>
                      </a:lnTo>
                      <a:lnTo>
                        <a:pt x="114" y="39"/>
                      </a:lnTo>
                      <a:lnTo>
                        <a:pt x="113" y="40"/>
                      </a:lnTo>
                      <a:lnTo>
                        <a:pt x="113" y="41"/>
                      </a:lnTo>
                      <a:lnTo>
                        <a:pt x="113" y="42"/>
                      </a:lnTo>
                      <a:lnTo>
                        <a:pt x="112" y="45"/>
                      </a:lnTo>
                      <a:lnTo>
                        <a:pt x="112" y="46"/>
                      </a:lnTo>
                      <a:lnTo>
                        <a:pt x="113" y="46"/>
                      </a:lnTo>
                      <a:lnTo>
                        <a:pt x="113" y="47"/>
                      </a:lnTo>
                      <a:lnTo>
                        <a:pt x="113" y="48"/>
                      </a:lnTo>
                      <a:lnTo>
                        <a:pt x="112" y="48"/>
                      </a:lnTo>
                      <a:lnTo>
                        <a:pt x="111" y="47"/>
                      </a:lnTo>
                      <a:lnTo>
                        <a:pt x="111" y="48"/>
                      </a:lnTo>
                      <a:lnTo>
                        <a:pt x="111" y="49"/>
                      </a:lnTo>
                      <a:lnTo>
                        <a:pt x="111" y="51"/>
                      </a:lnTo>
                      <a:lnTo>
                        <a:pt x="112" y="51"/>
                      </a:lnTo>
                      <a:lnTo>
                        <a:pt x="113" y="49"/>
                      </a:lnTo>
                      <a:lnTo>
                        <a:pt x="114" y="49"/>
                      </a:lnTo>
                      <a:lnTo>
                        <a:pt x="114" y="51"/>
                      </a:lnTo>
                      <a:lnTo>
                        <a:pt x="113" y="51"/>
                      </a:lnTo>
                      <a:lnTo>
                        <a:pt x="112" y="51"/>
                      </a:lnTo>
                      <a:lnTo>
                        <a:pt x="111" y="52"/>
                      </a:lnTo>
                      <a:lnTo>
                        <a:pt x="109" y="51"/>
                      </a:lnTo>
                      <a:lnTo>
                        <a:pt x="109" y="52"/>
                      </a:lnTo>
                      <a:lnTo>
                        <a:pt x="109" y="53"/>
                      </a:lnTo>
                      <a:lnTo>
                        <a:pt x="111" y="53"/>
                      </a:lnTo>
                      <a:lnTo>
                        <a:pt x="112" y="53"/>
                      </a:lnTo>
                      <a:lnTo>
                        <a:pt x="112" y="54"/>
                      </a:lnTo>
                      <a:lnTo>
                        <a:pt x="111" y="54"/>
                      </a:lnTo>
                      <a:lnTo>
                        <a:pt x="109" y="54"/>
                      </a:lnTo>
                      <a:lnTo>
                        <a:pt x="109" y="55"/>
                      </a:lnTo>
                      <a:lnTo>
                        <a:pt x="109" y="56"/>
                      </a:lnTo>
                      <a:lnTo>
                        <a:pt x="111" y="56"/>
                      </a:lnTo>
                      <a:lnTo>
                        <a:pt x="112" y="55"/>
                      </a:lnTo>
                      <a:lnTo>
                        <a:pt x="113" y="55"/>
                      </a:lnTo>
                      <a:lnTo>
                        <a:pt x="113" y="54"/>
                      </a:lnTo>
                      <a:lnTo>
                        <a:pt x="114" y="54"/>
                      </a:lnTo>
                      <a:lnTo>
                        <a:pt x="115" y="54"/>
                      </a:lnTo>
                      <a:lnTo>
                        <a:pt x="118" y="54"/>
                      </a:lnTo>
                      <a:lnTo>
                        <a:pt x="118" y="55"/>
                      </a:lnTo>
                      <a:lnTo>
                        <a:pt x="119" y="56"/>
                      </a:lnTo>
                      <a:lnTo>
                        <a:pt x="119" y="58"/>
                      </a:lnTo>
                      <a:lnTo>
                        <a:pt x="119" y="59"/>
                      </a:lnTo>
                      <a:lnTo>
                        <a:pt x="119" y="60"/>
                      </a:lnTo>
                      <a:lnTo>
                        <a:pt x="119" y="61"/>
                      </a:lnTo>
                      <a:lnTo>
                        <a:pt x="118" y="61"/>
                      </a:lnTo>
                      <a:lnTo>
                        <a:pt x="118" y="62"/>
                      </a:lnTo>
                      <a:lnTo>
                        <a:pt x="119" y="63"/>
                      </a:lnTo>
                      <a:lnTo>
                        <a:pt x="118" y="65"/>
                      </a:lnTo>
                      <a:lnTo>
                        <a:pt x="116" y="65"/>
                      </a:lnTo>
                      <a:lnTo>
                        <a:pt x="116" y="66"/>
                      </a:lnTo>
                      <a:lnTo>
                        <a:pt x="116" y="67"/>
                      </a:lnTo>
                      <a:lnTo>
                        <a:pt x="116" y="68"/>
                      </a:lnTo>
                      <a:lnTo>
                        <a:pt x="116" y="69"/>
                      </a:lnTo>
                      <a:lnTo>
                        <a:pt x="118" y="72"/>
                      </a:lnTo>
                      <a:lnTo>
                        <a:pt x="119" y="74"/>
                      </a:lnTo>
                      <a:lnTo>
                        <a:pt x="118" y="75"/>
                      </a:lnTo>
                      <a:lnTo>
                        <a:pt x="118" y="76"/>
                      </a:lnTo>
                      <a:lnTo>
                        <a:pt x="116" y="76"/>
                      </a:lnTo>
                      <a:lnTo>
                        <a:pt x="115" y="76"/>
                      </a:lnTo>
                      <a:lnTo>
                        <a:pt x="115" y="77"/>
                      </a:lnTo>
                      <a:lnTo>
                        <a:pt x="115" y="76"/>
                      </a:lnTo>
                      <a:lnTo>
                        <a:pt x="114" y="76"/>
                      </a:lnTo>
                      <a:lnTo>
                        <a:pt x="114" y="77"/>
                      </a:lnTo>
                      <a:lnTo>
                        <a:pt x="114" y="79"/>
                      </a:lnTo>
                      <a:lnTo>
                        <a:pt x="115" y="80"/>
                      </a:lnTo>
                      <a:lnTo>
                        <a:pt x="116" y="82"/>
                      </a:lnTo>
                      <a:lnTo>
                        <a:pt x="118" y="83"/>
                      </a:lnTo>
                      <a:lnTo>
                        <a:pt x="119" y="83"/>
                      </a:lnTo>
                      <a:lnTo>
                        <a:pt x="119" y="84"/>
                      </a:lnTo>
                      <a:lnTo>
                        <a:pt x="120" y="84"/>
                      </a:lnTo>
                      <a:lnTo>
                        <a:pt x="122" y="86"/>
                      </a:lnTo>
                      <a:lnTo>
                        <a:pt x="122" y="87"/>
                      </a:lnTo>
                      <a:lnTo>
                        <a:pt x="123" y="88"/>
                      </a:lnTo>
                      <a:lnTo>
                        <a:pt x="125" y="89"/>
                      </a:lnTo>
                      <a:lnTo>
                        <a:pt x="125" y="90"/>
                      </a:lnTo>
                      <a:lnTo>
                        <a:pt x="125" y="91"/>
                      </a:lnTo>
                      <a:lnTo>
                        <a:pt x="125" y="93"/>
                      </a:lnTo>
                      <a:lnTo>
                        <a:pt x="123" y="94"/>
                      </a:lnTo>
                      <a:lnTo>
                        <a:pt x="122" y="94"/>
                      </a:lnTo>
                      <a:lnTo>
                        <a:pt x="121" y="95"/>
                      </a:lnTo>
                      <a:lnTo>
                        <a:pt x="121" y="96"/>
                      </a:lnTo>
                      <a:lnTo>
                        <a:pt x="121" y="97"/>
                      </a:lnTo>
                      <a:lnTo>
                        <a:pt x="121" y="98"/>
                      </a:lnTo>
                      <a:lnTo>
                        <a:pt x="121" y="100"/>
                      </a:lnTo>
                      <a:lnTo>
                        <a:pt x="121" y="101"/>
                      </a:lnTo>
                      <a:lnTo>
                        <a:pt x="121" y="102"/>
                      </a:lnTo>
                      <a:lnTo>
                        <a:pt x="121" y="103"/>
                      </a:lnTo>
                      <a:lnTo>
                        <a:pt x="122" y="104"/>
                      </a:lnTo>
                      <a:lnTo>
                        <a:pt x="122" y="105"/>
                      </a:lnTo>
                      <a:lnTo>
                        <a:pt x="122" y="107"/>
                      </a:lnTo>
                      <a:lnTo>
                        <a:pt x="122" y="109"/>
                      </a:lnTo>
                      <a:lnTo>
                        <a:pt x="122" y="110"/>
                      </a:lnTo>
                      <a:lnTo>
                        <a:pt x="122" y="111"/>
                      </a:lnTo>
                      <a:lnTo>
                        <a:pt x="121" y="111"/>
                      </a:lnTo>
                      <a:lnTo>
                        <a:pt x="121" y="112"/>
                      </a:lnTo>
                      <a:lnTo>
                        <a:pt x="121" y="114"/>
                      </a:lnTo>
                      <a:lnTo>
                        <a:pt x="120" y="114"/>
                      </a:lnTo>
                      <a:lnTo>
                        <a:pt x="120" y="115"/>
                      </a:lnTo>
                      <a:lnTo>
                        <a:pt x="119" y="115"/>
                      </a:lnTo>
                      <a:lnTo>
                        <a:pt x="119" y="116"/>
                      </a:lnTo>
                      <a:lnTo>
                        <a:pt x="119" y="117"/>
                      </a:lnTo>
                      <a:lnTo>
                        <a:pt x="119" y="119"/>
                      </a:lnTo>
                      <a:lnTo>
                        <a:pt x="119" y="121"/>
                      </a:lnTo>
                      <a:lnTo>
                        <a:pt x="120" y="121"/>
                      </a:lnTo>
                      <a:lnTo>
                        <a:pt x="121" y="122"/>
                      </a:lnTo>
                      <a:lnTo>
                        <a:pt x="121" y="121"/>
                      </a:lnTo>
                      <a:lnTo>
                        <a:pt x="122" y="121"/>
                      </a:lnTo>
                      <a:lnTo>
                        <a:pt x="123" y="121"/>
                      </a:lnTo>
                      <a:lnTo>
                        <a:pt x="123" y="123"/>
                      </a:lnTo>
                      <a:lnTo>
                        <a:pt x="123" y="124"/>
                      </a:lnTo>
                      <a:lnTo>
                        <a:pt x="123" y="125"/>
                      </a:lnTo>
                      <a:lnTo>
                        <a:pt x="122" y="126"/>
                      </a:lnTo>
                      <a:lnTo>
                        <a:pt x="122" y="129"/>
                      </a:lnTo>
                      <a:lnTo>
                        <a:pt x="122" y="130"/>
                      </a:lnTo>
                      <a:lnTo>
                        <a:pt x="122" y="131"/>
                      </a:lnTo>
                      <a:lnTo>
                        <a:pt x="122" y="132"/>
                      </a:lnTo>
                      <a:lnTo>
                        <a:pt x="121" y="133"/>
                      </a:lnTo>
                      <a:lnTo>
                        <a:pt x="120" y="135"/>
                      </a:lnTo>
                      <a:lnTo>
                        <a:pt x="119" y="135"/>
                      </a:lnTo>
                      <a:lnTo>
                        <a:pt x="120" y="136"/>
                      </a:lnTo>
                      <a:lnTo>
                        <a:pt x="120" y="137"/>
                      </a:lnTo>
                      <a:lnTo>
                        <a:pt x="120" y="138"/>
                      </a:lnTo>
                      <a:lnTo>
                        <a:pt x="120" y="139"/>
                      </a:lnTo>
                      <a:lnTo>
                        <a:pt x="121" y="140"/>
                      </a:lnTo>
                      <a:lnTo>
                        <a:pt x="121" y="142"/>
                      </a:lnTo>
                      <a:lnTo>
                        <a:pt x="122" y="142"/>
                      </a:lnTo>
                      <a:lnTo>
                        <a:pt x="123" y="142"/>
                      </a:lnTo>
                      <a:lnTo>
                        <a:pt x="123" y="143"/>
                      </a:lnTo>
                      <a:lnTo>
                        <a:pt x="123" y="145"/>
                      </a:lnTo>
                      <a:lnTo>
                        <a:pt x="125" y="146"/>
                      </a:lnTo>
                      <a:lnTo>
                        <a:pt x="126" y="146"/>
                      </a:lnTo>
                      <a:lnTo>
                        <a:pt x="126" y="147"/>
                      </a:lnTo>
                      <a:lnTo>
                        <a:pt x="126" y="149"/>
                      </a:lnTo>
                      <a:lnTo>
                        <a:pt x="126" y="150"/>
                      </a:lnTo>
                      <a:lnTo>
                        <a:pt x="127" y="150"/>
                      </a:lnTo>
                      <a:lnTo>
                        <a:pt x="127" y="151"/>
                      </a:lnTo>
                      <a:lnTo>
                        <a:pt x="128" y="152"/>
                      </a:lnTo>
                      <a:lnTo>
                        <a:pt x="129" y="152"/>
                      </a:lnTo>
                      <a:lnTo>
                        <a:pt x="130" y="153"/>
                      </a:lnTo>
                      <a:lnTo>
                        <a:pt x="130" y="154"/>
                      </a:lnTo>
                      <a:lnTo>
                        <a:pt x="132" y="154"/>
                      </a:lnTo>
                      <a:lnTo>
                        <a:pt x="134" y="154"/>
                      </a:lnTo>
                      <a:lnTo>
                        <a:pt x="135" y="157"/>
                      </a:lnTo>
                      <a:lnTo>
                        <a:pt x="136" y="158"/>
                      </a:lnTo>
                      <a:lnTo>
                        <a:pt x="137" y="159"/>
                      </a:lnTo>
                      <a:lnTo>
                        <a:pt x="139" y="160"/>
                      </a:lnTo>
                      <a:lnTo>
                        <a:pt x="141" y="160"/>
                      </a:lnTo>
                      <a:lnTo>
                        <a:pt x="141" y="161"/>
                      </a:lnTo>
                      <a:lnTo>
                        <a:pt x="140" y="163"/>
                      </a:lnTo>
                      <a:lnTo>
                        <a:pt x="139" y="164"/>
                      </a:lnTo>
                      <a:lnTo>
                        <a:pt x="136" y="165"/>
                      </a:lnTo>
                      <a:lnTo>
                        <a:pt x="136" y="166"/>
                      </a:lnTo>
                      <a:lnTo>
                        <a:pt x="135" y="167"/>
                      </a:lnTo>
                      <a:lnTo>
                        <a:pt x="135" y="168"/>
                      </a:lnTo>
                      <a:lnTo>
                        <a:pt x="135" y="170"/>
                      </a:lnTo>
                      <a:lnTo>
                        <a:pt x="135" y="171"/>
                      </a:lnTo>
                      <a:lnTo>
                        <a:pt x="134" y="172"/>
                      </a:lnTo>
                      <a:lnTo>
                        <a:pt x="133" y="172"/>
                      </a:lnTo>
                      <a:lnTo>
                        <a:pt x="127" y="173"/>
                      </a:lnTo>
                      <a:lnTo>
                        <a:pt x="115" y="172"/>
                      </a:lnTo>
                      <a:lnTo>
                        <a:pt x="114" y="172"/>
                      </a:lnTo>
                      <a:lnTo>
                        <a:pt x="113" y="172"/>
                      </a:lnTo>
                      <a:lnTo>
                        <a:pt x="113" y="173"/>
                      </a:lnTo>
                      <a:lnTo>
                        <a:pt x="112" y="173"/>
                      </a:lnTo>
                      <a:lnTo>
                        <a:pt x="111" y="173"/>
                      </a:lnTo>
                      <a:lnTo>
                        <a:pt x="108" y="174"/>
                      </a:lnTo>
                      <a:lnTo>
                        <a:pt x="107" y="175"/>
                      </a:lnTo>
                      <a:lnTo>
                        <a:pt x="106" y="175"/>
                      </a:lnTo>
                      <a:lnTo>
                        <a:pt x="106" y="177"/>
                      </a:lnTo>
                      <a:lnTo>
                        <a:pt x="105" y="177"/>
                      </a:lnTo>
                      <a:lnTo>
                        <a:pt x="105" y="178"/>
                      </a:lnTo>
                      <a:lnTo>
                        <a:pt x="103" y="178"/>
                      </a:lnTo>
                      <a:lnTo>
                        <a:pt x="101" y="179"/>
                      </a:lnTo>
                      <a:lnTo>
                        <a:pt x="100" y="179"/>
                      </a:lnTo>
                      <a:lnTo>
                        <a:pt x="94" y="181"/>
                      </a:lnTo>
                      <a:lnTo>
                        <a:pt x="92" y="181"/>
                      </a:lnTo>
                      <a:lnTo>
                        <a:pt x="90" y="184"/>
                      </a:lnTo>
                      <a:lnTo>
                        <a:pt x="89" y="185"/>
                      </a:lnTo>
                      <a:lnTo>
                        <a:pt x="87" y="186"/>
                      </a:lnTo>
                      <a:lnTo>
                        <a:pt x="85" y="186"/>
                      </a:lnTo>
                      <a:lnTo>
                        <a:pt x="84" y="187"/>
                      </a:lnTo>
                      <a:lnTo>
                        <a:pt x="82" y="188"/>
                      </a:lnTo>
                      <a:lnTo>
                        <a:pt x="79" y="189"/>
                      </a:lnTo>
                      <a:lnTo>
                        <a:pt x="79" y="191"/>
                      </a:lnTo>
                      <a:lnTo>
                        <a:pt x="78" y="191"/>
                      </a:lnTo>
                      <a:lnTo>
                        <a:pt x="76" y="191"/>
                      </a:lnTo>
                      <a:lnTo>
                        <a:pt x="75" y="191"/>
                      </a:lnTo>
                      <a:lnTo>
                        <a:pt x="73" y="191"/>
                      </a:lnTo>
                      <a:lnTo>
                        <a:pt x="72" y="192"/>
                      </a:lnTo>
                      <a:lnTo>
                        <a:pt x="72" y="191"/>
                      </a:lnTo>
                      <a:lnTo>
                        <a:pt x="71" y="191"/>
                      </a:lnTo>
                      <a:lnTo>
                        <a:pt x="70" y="192"/>
                      </a:lnTo>
                      <a:lnTo>
                        <a:pt x="68" y="193"/>
                      </a:lnTo>
                      <a:lnTo>
                        <a:pt x="66" y="193"/>
                      </a:lnTo>
                      <a:lnTo>
                        <a:pt x="65" y="194"/>
                      </a:lnTo>
                      <a:lnTo>
                        <a:pt x="64" y="194"/>
                      </a:lnTo>
                      <a:lnTo>
                        <a:pt x="62" y="194"/>
                      </a:lnTo>
                      <a:lnTo>
                        <a:pt x="62" y="195"/>
                      </a:lnTo>
                      <a:lnTo>
                        <a:pt x="61" y="195"/>
                      </a:lnTo>
                      <a:lnTo>
                        <a:pt x="59" y="195"/>
                      </a:lnTo>
                      <a:lnTo>
                        <a:pt x="58" y="195"/>
                      </a:lnTo>
                      <a:lnTo>
                        <a:pt x="57" y="196"/>
                      </a:lnTo>
                      <a:lnTo>
                        <a:pt x="55" y="196"/>
                      </a:lnTo>
                      <a:lnTo>
                        <a:pt x="54" y="198"/>
                      </a:lnTo>
                      <a:lnTo>
                        <a:pt x="54" y="196"/>
                      </a:lnTo>
                      <a:lnTo>
                        <a:pt x="52" y="196"/>
                      </a:lnTo>
                      <a:lnTo>
                        <a:pt x="52" y="198"/>
                      </a:lnTo>
                      <a:lnTo>
                        <a:pt x="52" y="199"/>
                      </a:lnTo>
                      <a:lnTo>
                        <a:pt x="51" y="199"/>
                      </a:lnTo>
                      <a:lnTo>
                        <a:pt x="50" y="200"/>
                      </a:lnTo>
                      <a:lnTo>
                        <a:pt x="49" y="200"/>
                      </a:lnTo>
                      <a:lnTo>
                        <a:pt x="48" y="201"/>
                      </a:lnTo>
                      <a:lnTo>
                        <a:pt x="48" y="202"/>
                      </a:lnTo>
                      <a:lnTo>
                        <a:pt x="45" y="202"/>
                      </a:lnTo>
                      <a:lnTo>
                        <a:pt x="43" y="203"/>
                      </a:lnTo>
                      <a:lnTo>
                        <a:pt x="43" y="205"/>
                      </a:lnTo>
                      <a:lnTo>
                        <a:pt x="42" y="205"/>
                      </a:lnTo>
                      <a:lnTo>
                        <a:pt x="42" y="206"/>
                      </a:lnTo>
                      <a:lnTo>
                        <a:pt x="41" y="206"/>
                      </a:lnTo>
                      <a:lnTo>
                        <a:pt x="39" y="206"/>
                      </a:lnTo>
                      <a:lnTo>
                        <a:pt x="37" y="206"/>
                      </a:lnTo>
                      <a:lnTo>
                        <a:pt x="37" y="205"/>
                      </a:lnTo>
                      <a:lnTo>
                        <a:pt x="36" y="205"/>
                      </a:lnTo>
                      <a:lnTo>
                        <a:pt x="35" y="205"/>
                      </a:lnTo>
                      <a:lnTo>
                        <a:pt x="34" y="203"/>
                      </a:lnTo>
                      <a:lnTo>
                        <a:pt x="33" y="203"/>
                      </a:lnTo>
                      <a:lnTo>
                        <a:pt x="33" y="202"/>
                      </a:lnTo>
                      <a:lnTo>
                        <a:pt x="29" y="201"/>
                      </a:lnTo>
                      <a:lnTo>
                        <a:pt x="23" y="200"/>
                      </a:lnTo>
                      <a:lnTo>
                        <a:pt x="19" y="198"/>
                      </a:lnTo>
                      <a:lnTo>
                        <a:pt x="14" y="198"/>
                      </a:lnTo>
                      <a:lnTo>
                        <a:pt x="9" y="196"/>
                      </a:lnTo>
                      <a:lnTo>
                        <a:pt x="5" y="195"/>
                      </a:lnTo>
                      <a:lnTo>
                        <a:pt x="6" y="195"/>
                      </a:lnTo>
                      <a:lnTo>
                        <a:pt x="8" y="195"/>
                      </a:lnTo>
                      <a:lnTo>
                        <a:pt x="9" y="195"/>
                      </a:lnTo>
                      <a:lnTo>
                        <a:pt x="11" y="195"/>
                      </a:lnTo>
                      <a:lnTo>
                        <a:pt x="11" y="194"/>
                      </a:lnTo>
                      <a:lnTo>
                        <a:pt x="12" y="194"/>
                      </a:lnTo>
                      <a:lnTo>
                        <a:pt x="13" y="194"/>
                      </a:lnTo>
                      <a:lnTo>
                        <a:pt x="15" y="194"/>
                      </a:lnTo>
                      <a:lnTo>
                        <a:pt x="15" y="193"/>
                      </a:lnTo>
                      <a:lnTo>
                        <a:pt x="16" y="193"/>
                      </a:lnTo>
                      <a:lnTo>
                        <a:pt x="16" y="192"/>
                      </a:lnTo>
                      <a:lnTo>
                        <a:pt x="15" y="192"/>
                      </a:lnTo>
                      <a:lnTo>
                        <a:pt x="15" y="191"/>
                      </a:lnTo>
                      <a:lnTo>
                        <a:pt x="15" y="189"/>
                      </a:lnTo>
                      <a:lnTo>
                        <a:pt x="15" y="187"/>
                      </a:lnTo>
                      <a:lnTo>
                        <a:pt x="16" y="187"/>
                      </a:lnTo>
                      <a:lnTo>
                        <a:pt x="18" y="186"/>
                      </a:lnTo>
                      <a:lnTo>
                        <a:pt x="16" y="186"/>
                      </a:lnTo>
                      <a:lnTo>
                        <a:pt x="16" y="184"/>
                      </a:lnTo>
                      <a:lnTo>
                        <a:pt x="15" y="181"/>
                      </a:lnTo>
                      <a:lnTo>
                        <a:pt x="15" y="180"/>
                      </a:lnTo>
                      <a:lnTo>
                        <a:pt x="15" y="179"/>
                      </a:lnTo>
                      <a:lnTo>
                        <a:pt x="14" y="179"/>
                      </a:lnTo>
                      <a:lnTo>
                        <a:pt x="12" y="178"/>
                      </a:lnTo>
                      <a:lnTo>
                        <a:pt x="11" y="179"/>
                      </a:lnTo>
                      <a:lnTo>
                        <a:pt x="9" y="179"/>
                      </a:lnTo>
                      <a:lnTo>
                        <a:pt x="9" y="178"/>
                      </a:lnTo>
                      <a:lnTo>
                        <a:pt x="9" y="175"/>
                      </a:lnTo>
                      <a:lnTo>
                        <a:pt x="7" y="175"/>
                      </a:lnTo>
                      <a:lnTo>
                        <a:pt x="7" y="172"/>
                      </a:lnTo>
                      <a:lnTo>
                        <a:pt x="7" y="171"/>
                      </a:lnTo>
                      <a:lnTo>
                        <a:pt x="7" y="170"/>
                      </a:lnTo>
                      <a:lnTo>
                        <a:pt x="6" y="167"/>
                      </a:lnTo>
                      <a:lnTo>
                        <a:pt x="5" y="161"/>
                      </a:lnTo>
                      <a:lnTo>
                        <a:pt x="4" y="159"/>
                      </a:lnTo>
                      <a:lnTo>
                        <a:pt x="2" y="159"/>
                      </a:lnTo>
                      <a:lnTo>
                        <a:pt x="2" y="158"/>
                      </a:lnTo>
                      <a:lnTo>
                        <a:pt x="0" y="147"/>
                      </a:lnTo>
                      <a:lnTo>
                        <a:pt x="0" y="146"/>
                      </a:lnTo>
                      <a:lnTo>
                        <a:pt x="0" y="145"/>
                      </a:lnTo>
                      <a:lnTo>
                        <a:pt x="1" y="144"/>
                      </a:lnTo>
                      <a:lnTo>
                        <a:pt x="0" y="143"/>
                      </a:lnTo>
                      <a:lnTo>
                        <a:pt x="0" y="142"/>
                      </a:lnTo>
                      <a:lnTo>
                        <a:pt x="0" y="140"/>
                      </a:lnTo>
                      <a:lnTo>
                        <a:pt x="0" y="139"/>
                      </a:lnTo>
                      <a:lnTo>
                        <a:pt x="5" y="133"/>
                      </a:lnTo>
                      <a:lnTo>
                        <a:pt x="6" y="132"/>
                      </a:lnTo>
                      <a:lnTo>
                        <a:pt x="7" y="131"/>
                      </a:lnTo>
                      <a:lnTo>
                        <a:pt x="7" y="130"/>
                      </a:lnTo>
                      <a:lnTo>
                        <a:pt x="8" y="129"/>
                      </a:lnTo>
                      <a:lnTo>
                        <a:pt x="8" y="128"/>
                      </a:lnTo>
                      <a:lnTo>
                        <a:pt x="8" y="126"/>
                      </a:lnTo>
                      <a:lnTo>
                        <a:pt x="9" y="116"/>
                      </a:lnTo>
                      <a:lnTo>
                        <a:pt x="9" y="115"/>
                      </a:lnTo>
                      <a:lnTo>
                        <a:pt x="12" y="110"/>
                      </a:lnTo>
                      <a:lnTo>
                        <a:pt x="13" y="109"/>
                      </a:lnTo>
                      <a:lnTo>
                        <a:pt x="13" y="108"/>
                      </a:lnTo>
                      <a:lnTo>
                        <a:pt x="14" y="108"/>
                      </a:lnTo>
                      <a:lnTo>
                        <a:pt x="14" y="107"/>
                      </a:lnTo>
                      <a:lnTo>
                        <a:pt x="14" y="104"/>
                      </a:lnTo>
                      <a:lnTo>
                        <a:pt x="14" y="105"/>
                      </a:lnTo>
                      <a:lnTo>
                        <a:pt x="15" y="104"/>
                      </a:lnTo>
                      <a:lnTo>
                        <a:pt x="16" y="103"/>
                      </a:lnTo>
                      <a:lnTo>
                        <a:pt x="18" y="102"/>
                      </a:lnTo>
                      <a:lnTo>
                        <a:pt x="19" y="102"/>
                      </a:lnTo>
                      <a:lnTo>
                        <a:pt x="20" y="102"/>
                      </a:lnTo>
                      <a:lnTo>
                        <a:pt x="20" y="101"/>
                      </a:lnTo>
                      <a:lnTo>
                        <a:pt x="20" y="100"/>
                      </a:lnTo>
                      <a:lnTo>
                        <a:pt x="20" y="98"/>
                      </a:lnTo>
                      <a:lnTo>
                        <a:pt x="19" y="98"/>
                      </a:lnTo>
                      <a:lnTo>
                        <a:pt x="20" y="97"/>
                      </a:lnTo>
                      <a:lnTo>
                        <a:pt x="21" y="97"/>
                      </a:lnTo>
                      <a:lnTo>
                        <a:pt x="22" y="96"/>
                      </a:lnTo>
                      <a:lnTo>
                        <a:pt x="23" y="96"/>
                      </a:lnTo>
                      <a:lnTo>
                        <a:pt x="21" y="87"/>
                      </a:lnTo>
                      <a:lnTo>
                        <a:pt x="20" y="79"/>
                      </a:lnTo>
                      <a:lnTo>
                        <a:pt x="20" y="77"/>
                      </a:lnTo>
                      <a:lnTo>
                        <a:pt x="19" y="77"/>
                      </a:lnTo>
                      <a:lnTo>
                        <a:pt x="20" y="76"/>
                      </a:lnTo>
                      <a:lnTo>
                        <a:pt x="19" y="74"/>
                      </a:lnTo>
                      <a:lnTo>
                        <a:pt x="19" y="73"/>
                      </a:lnTo>
                      <a:lnTo>
                        <a:pt x="18" y="72"/>
                      </a:lnTo>
                      <a:lnTo>
                        <a:pt x="18" y="70"/>
                      </a:lnTo>
                      <a:lnTo>
                        <a:pt x="16" y="69"/>
                      </a:lnTo>
                      <a:lnTo>
                        <a:pt x="15" y="69"/>
                      </a:lnTo>
                      <a:lnTo>
                        <a:pt x="14" y="69"/>
                      </a:lnTo>
                      <a:lnTo>
                        <a:pt x="14" y="68"/>
                      </a:lnTo>
                      <a:lnTo>
                        <a:pt x="14" y="67"/>
                      </a:lnTo>
                      <a:lnTo>
                        <a:pt x="14" y="66"/>
                      </a:lnTo>
                      <a:lnTo>
                        <a:pt x="15" y="66"/>
                      </a:lnTo>
                      <a:lnTo>
                        <a:pt x="16" y="65"/>
                      </a:lnTo>
                      <a:lnTo>
                        <a:pt x="16" y="63"/>
                      </a:lnTo>
                      <a:lnTo>
                        <a:pt x="18" y="63"/>
                      </a:lnTo>
                      <a:lnTo>
                        <a:pt x="18" y="62"/>
                      </a:lnTo>
                      <a:lnTo>
                        <a:pt x="18" y="61"/>
                      </a:lnTo>
                      <a:lnTo>
                        <a:pt x="16" y="61"/>
                      </a:lnTo>
                      <a:lnTo>
                        <a:pt x="16" y="60"/>
                      </a:lnTo>
                      <a:lnTo>
                        <a:pt x="18" y="59"/>
                      </a:lnTo>
                      <a:lnTo>
                        <a:pt x="18" y="58"/>
                      </a:lnTo>
                      <a:lnTo>
                        <a:pt x="16" y="58"/>
                      </a:lnTo>
                      <a:lnTo>
                        <a:pt x="18" y="56"/>
                      </a:lnTo>
                      <a:lnTo>
                        <a:pt x="18" y="55"/>
                      </a:lnTo>
                      <a:lnTo>
                        <a:pt x="16" y="55"/>
                      </a:lnTo>
                      <a:lnTo>
                        <a:pt x="15" y="54"/>
                      </a:lnTo>
                      <a:lnTo>
                        <a:pt x="14" y="53"/>
                      </a:lnTo>
                      <a:lnTo>
                        <a:pt x="14" y="52"/>
                      </a:lnTo>
                      <a:lnTo>
                        <a:pt x="14" y="51"/>
                      </a:lnTo>
                      <a:lnTo>
                        <a:pt x="15" y="49"/>
                      </a:lnTo>
                      <a:lnTo>
                        <a:pt x="14" y="49"/>
                      </a:lnTo>
                      <a:lnTo>
                        <a:pt x="14" y="48"/>
                      </a:lnTo>
                      <a:lnTo>
                        <a:pt x="13" y="48"/>
                      </a:lnTo>
                      <a:lnTo>
                        <a:pt x="13" y="47"/>
                      </a:lnTo>
                      <a:lnTo>
                        <a:pt x="14" y="46"/>
                      </a:lnTo>
                      <a:lnTo>
                        <a:pt x="15" y="45"/>
                      </a:lnTo>
                      <a:lnTo>
                        <a:pt x="15" y="44"/>
                      </a:lnTo>
                      <a:lnTo>
                        <a:pt x="14" y="42"/>
                      </a:lnTo>
                      <a:lnTo>
                        <a:pt x="14" y="40"/>
                      </a:lnTo>
                      <a:lnTo>
                        <a:pt x="14" y="39"/>
                      </a:lnTo>
                      <a:lnTo>
                        <a:pt x="13" y="38"/>
                      </a:lnTo>
                      <a:lnTo>
                        <a:pt x="13" y="34"/>
                      </a:lnTo>
                      <a:lnTo>
                        <a:pt x="13" y="33"/>
                      </a:lnTo>
                      <a:lnTo>
                        <a:pt x="13" y="32"/>
                      </a:lnTo>
                      <a:lnTo>
                        <a:pt x="14" y="31"/>
                      </a:lnTo>
                      <a:lnTo>
                        <a:pt x="14" y="30"/>
                      </a:lnTo>
                      <a:lnTo>
                        <a:pt x="13" y="30"/>
                      </a:lnTo>
                      <a:lnTo>
                        <a:pt x="13" y="28"/>
                      </a:lnTo>
                      <a:lnTo>
                        <a:pt x="12" y="28"/>
                      </a:lnTo>
                      <a:lnTo>
                        <a:pt x="12" y="27"/>
                      </a:lnTo>
                      <a:lnTo>
                        <a:pt x="12" y="26"/>
                      </a:lnTo>
                      <a:lnTo>
                        <a:pt x="13" y="26"/>
                      </a:lnTo>
                      <a:lnTo>
                        <a:pt x="14" y="25"/>
                      </a:lnTo>
                      <a:lnTo>
                        <a:pt x="13" y="25"/>
                      </a:lnTo>
                      <a:lnTo>
                        <a:pt x="12" y="25"/>
                      </a:lnTo>
                      <a:lnTo>
                        <a:pt x="11" y="24"/>
                      </a:lnTo>
                      <a:lnTo>
                        <a:pt x="11" y="23"/>
                      </a:lnTo>
                      <a:lnTo>
                        <a:pt x="9" y="23"/>
                      </a:lnTo>
                      <a:lnTo>
                        <a:pt x="9" y="21"/>
                      </a:lnTo>
                      <a:lnTo>
                        <a:pt x="9" y="20"/>
                      </a:lnTo>
                      <a:lnTo>
                        <a:pt x="8" y="19"/>
                      </a:lnTo>
                      <a:lnTo>
                        <a:pt x="8" y="18"/>
                      </a:lnTo>
                      <a:lnTo>
                        <a:pt x="9" y="17"/>
                      </a:lnTo>
                      <a:lnTo>
                        <a:pt x="9" y="16"/>
                      </a:lnTo>
                      <a:lnTo>
                        <a:pt x="8" y="16"/>
                      </a:lnTo>
                      <a:lnTo>
                        <a:pt x="9" y="14"/>
                      </a:lnTo>
                      <a:lnTo>
                        <a:pt x="9" y="13"/>
                      </a:lnTo>
                      <a:lnTo>
                        <a:pt x="11" y="11"/>
                      </a:lnTo>
                      <a:lnTo>
                        <a:pt x="11" y="10"/>
                      </a:lnTo>
                      <a:lnTo>
                        <a:pt x="12" y="10"/>
                      </a:lnTo>
                      <a:lnTo>
                        <a:pt x="12" y="9"/>
                      </a:lnTo>
                      <a:lnTo>
                        <a:pt x="12" y="7"/>
                      </a:lnTo>
                      <a:lnTo>
                        <a:pt x="12" y="6"/>
                      </a:lnTo>
                      <a:lnTo>
                        <a:pt x="14" y="6"/>
                      </a:lnTo>
                      <a:lnTo>
                        <a:pt x="15" y="6"/>
                      </a:lnTo>
                      <a:lnTo>
                        <a:pt x="18" y="6"/>
                      </a:lnTo>
                      <a:lnTo>
                        <a:pt x="23" y="6"/>
                      </a:lnTo>
                      <a:lnTo>
                        <a:pt x="32" y="6"/>
                      </a:lnTo>
                      <a:lnTo>
                        <a:pt x="39" y="6"/>
                      </a:lnTo>
                      <a:lnTo>
                        <a:pt x="45" y="6"/>
                      </a:lnTo>
                      <a:lnTo>
                        <a:pt x="50" y="6"/>
                      </a:lnTo>
                      <a:lnTo>
                        <a:pt x="51" y="6"/>
                      </a:lnTo>
                      <a:lnTo>
                        <a:pt x="51" y="5"/>
                      </a:lnTo>
                      <a:lnTo>
                        <a:pt x="56" y="5"/>
                      </a:lnTo>
                      <a:lnTo>
                        <a:pt x="57" y="6"/>
                      </a:lnTo>
                      <a:lnTo>
                        <a:pt x="58" y="6"/>
                      </a:lnTo>
                      <a:lnTo>
                        <a:pt x="63" y="6"/>
                      </a:lnTo>
                      <a:lnTo>
                        <a:pt x="66" y="6"/>
                      </a:lnTo>
                      <a:lnTo>
                        <a:pt x="66" y="5"/>
                      </a:lnTo>
                      <a:lnTo>
                        <a:pt x="68" y="5"/>
                      </a:lnTo>
                      <a:lnTo>
                        <a:pt x="72" y="5"/>
                      </a:lnTo>
                      <a:lnTo>
                        <a:pt x="72" y="6"/>
                      </a:lnTo>
                      <a:lnTo>
                        <a:pt x="73" y="6"/>
                      </a:lnTo>
                      <a:lnTo>
                        <a:pt x="75" y="6"/>
                      </a:lnTo>
                      <a:lnTo>
                        <a:pt x="75" y="5"/>
                      </a:lnTo>
                      <a:lnTo>
                        <a:pt x="76" y="5"/>
                      </a:lnTo>
                      <a:lnTo>
                        <a:pt x="76" y="6"/>
                      </a:lnTo>
                      <a:lnTo>
                        <a:pt x="79" y="6"/>
                      </a:lnTo>
                      <a:lnTo>
                        <a:pt x="80" y="6"/>
                      </a:lnTo>
                      <a:lnTo>
                        <a:pt x="79" y="7"/>
                      </a:lnTo>
                      <a:lnTo>
                        <a:pt x="82" y="9"/>
                      </a:lnTo>
                      <a:lnTo>
                        <a:pt x="83" y="7"/>
                      </a:lnTo>
                      <a:lnTo>
                        <a:pt x="83" y="6"/>
                      </a:lnTo>
                      <a:lnTo>
                        <a:pt x="84" y="6"/>
                      </a:lnTo>
                      <a:lnTo>
                        <a:pt x="85" y="6"/>
                      </a:lnTo>
                      <a:lnTo>
                        <a:pt x="85" y="5"/>
                      </a:lnTo>
                      <a:lnTo>
                        <a:pt x="86" y="5"/>
                      </a:lnTo>
                      <a:lnTo>
                        <a:pt x="87" y="4"/>
                      </a:lnTo>
                      <a:lnTo>
                        <a:pt x="87" y="3"/>
                      </a:lnTo>
                      <a:lnTo>
                        <a:pt x="87" y="2"/>
                      </a:lnTo>
                      <a:lnTo>
                        <a:pt x="89" y="2"/>
                      </a:lnTo>
                      <a:lnTo>
                        <a:pt x="90" y="3"/>
                      </a:lnTo>
                      <a:lnTo>
                        <a:pt x="91" y="2"/>
                      </a:lnTo>
                      <a:lnTo>
                        <a:pt x="92" y="2"/>
                      </a:lnTo>
                      <a:lnTo>
                        <a:pt x="92" y="0"/>
                      </a:lnTo>
                      <a:lnTo>
                        <a:pt x="97" y="0"/>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5" name="Freeform 95">
                  <a:extLst>
                    <a:ext uri="{FF2B5EF4-FFF2-40B4-BE49-F238E27FC236}">
                      <a16:creationId xmlns:a16="http://schemas.microsoft.com/office/drawing/2014/main" id="{495C7E91-1D77-FB62-2CFC-B90800937CDF}"/>
                    </a:ext>
                  </a:extLst>
                </p:cNvPr>
                <p:cNvSpPr>
                  <a:spLocks noEditPoints="1"/>
                </p:cNvSpPr>
                <p:nvPr/>
              </p:nvSpPr>
              <p:spPr bwMode="auto">
                <a:xfrm>
                  <a:off x="7391962" y="3626620"/>
                  <a:ext cx="273679" cy="333173"/>
                </a:xfrm>
                <a:custGeom>
                  <a:avLst/>
                  <a:gdLst>
                    <a:gd name="T0" fmla="*/ 222 w 253"/>
                    <a:gd name="T1" fmla="*/ 228 h 308"/>
                    <a:gd name="T2" fmla="*/ 0 w 253"/>
                    <a:gd name="T3" fmla="*/ 174 h 308"/>
                    <a:gd name="T4" fmla="*/ 7 w 253"/>
                    <a:gd name="T5" fmla="*/ 172 h 308"/>
                    <a:gd name="T6" fmla="*/ 57 w 253"/>
                    <a:gd name="T7" fmla="*/ 15 h 308"/>
                    <a:gd name="T8" fmla="*/ 66 w 253"/>
                    <a:gd name="T9" fmla="*/ 18 h 308"/>
                    <a:gd name="T10" fmla="*/ 99 w 253"/>
                    <a:gd name="T11" fmla="*/ 23 h 308"/>
                    <a:gd name="T12" fmla="*/ 128 w 253"/>
                    <a:gd name="T13" fmla="*/ 42 h 308"/>
                    <a:gd name="T14" fmla="*/ 146 w 253"/>
                    <a:gd name="T15" fmla="*/ 44 h 308"/>
                    <a:gd name="T16" fmla="*/ 159 w 253"/>
                    <a:gd name="T17" fmla="*/ 49 h 308"/>
                    <a:gd name="T18" fmla="*/ 176 w 253"/>
                    <a:gd name="T19" fmla="*/ 51 h 308"/>
                    <a:gd name="T20" fmla="*/ 191 w 253"/>
                    <a:gd name="T21" fmla="*/ 37 h 308"/>
                    <a:gd name="T22" fmla="*/ 218 w 253"/>
                    <a:gd name="T23" fmla="*/ 25 h 308"/>
                    <a:gd name="T24" fmla="*/ 240 w 253"/>
                    <a:gd name="T25" fmla="*/ 36 h 308"/>
                    <a:gd name="T26" fmla="*/ 244 w 253"/>
                    <a:gd name="T27" fmla="*/ 46 h 308"/>
                    <a:gd name="T28" fmla="*/ 223 w 253"/>
                    <a:gd name="T29" fmla="*/ 73 h 308"/>
                    <a:gd name="T30" fmla="*/ 223 w 253"/>
                    <a:gd name="T31" fmla="*/ 118 h 308"/>
                    <a:gd name="T32" fmla="*/ 222 w 253"/>
                    <a:gd name="T33" fmla="*/ 163 h 308"/>
                    <a:gd name="T34" fmla="*/ 225 w 253"/>
                    <a:gd name="T35" fmla="*/ 191 h 308"/>
                    <a:gd name="T36" fmla="*/ 240 w 253"/>
                    <a:gd name="T37" fmla="*/ 213 h 308"/>
                    <a:gd name="T38" fmla="*/ 229 w 253"/>
                    <a:gd name="T39" fmla="*/ 223 h 308"/>
                    <a:gd name="T40" fmla="*/ 222 w 253"/>
                    <a:gd name="T41" fmla="*/ 221 h 308"/>
                    <a:gd name="T42" fmla="*/ 220 w 253"/>
                    <a:gd name="T43" fmla="*/ 226 h 308"/>
                    <a:gd name="T44" fmla="*/ 219 w 253"/>
                    <a:gd name="T45" fmla="*/ 231 h 308"/>
                    <a:gd name="T46" fmla="*/ 212 w 253"/>
                    <a:gd name="T47" fmla="*/ 240 h 308"/>
                    <a:gd name="T48" fmla="*/ 198 w 253"/>
                    <a:gd name="T49" fmla="*/ 246 h 308"/>
                    <a:gd name="T50" fmla="*/ 197 w 253"/>
                    <a:gd name="T51" fmla="*/ 256 h 308"/>
                    <a:gd name="T52" fmla="*/ 190 w 253"/>
                    <a:gd name="T53" fmla="*/ 267 h 308"/>
                    <a:gd name="T54" fmla="*/ 185 w 253"/>
                    <a:gd name="T55" fmla="*/ 273 h 308"/>
                    <a:gd name="T56" fmla="*/ 184 w 253"/>
                    <a:gd name="T57" fmla="*/ 284 h 308"/>
                    <a:gd name="T58" fmla="*/ 180 w 253"/>
                    <a:gd name="T59" fmla="*/ 286 h 308"/>
                    <a:gd name="T60" fmla="*/ 180 w 253"/>
                    <a:gd name="T61" fmla="*/ 289 h 308"/>
                    <a:gd name="T62" fmla="*/ 172 w 253"/>
                    <a:gd name="T63" fmla="*/ 304 h 308"/>
                    <a:gd name="T64" fmla="*/ 159 w 253"/>
                    <a:gd name="T65" fmla="*/ 303 h 308"/>
                    <a:gd name="T66" fmla="*/ 128 w 253"/>
                    <a:gd name="T67" fmla="*/ 280 h 308"/>
                    <a:gd name="T68" fmla="*/ 115 w 253"/>
                    <a:gd name="T69" fmla="*/ 268 h 308"/>
                    <a:gd name="T70" fmla="*/ 109 w 253"/>
                    <a:gd name="T71" fmla="*/ 252 h 308"/>
                    <a:gd name="T72" fmla="*/ 40 w 253"/>
                    <a:gd name="T73" fmla="*/ 212 h 308"/>
                    <a:gd name="T74" fmla="*/ 6 w 253"/>
                    <a:gd name="T75" fmla="*/ 191 h 308"/>
                    <a:gd name="T76" fmla="*/ 4 w 253"/>
                    <a:gd name="T77" fmla="*/ 178 h 308"/>
                    <a:gd name="T78" fmla="*/ 9 w 253"/>
                    <a:gd name="T79" fmla="*/ 172 h 308"/>
                    <a:gd name="T80" fmla="*/ 15 w 253"/>
                    <a:gd name="T81" fmla="*/ 176 h 308"/>
                    <a:gd name="T82" fmla="*/ 23 w 253"/>
                    <a:gd name="T83" fmla="*/ 170 h 308"/>
                    <a:gd name="T84" fmla="*/ 26 w 253"/>
                    <a:gd name="T85" fmla="*/ 163 h 308"/>
                    <a:gd name="T86" fmla="*/ 14 w 253"/>
                    <a:gd name="T87" fmla="*/ 164 h 308"/>
                    <a:gd name="T88" fmla="*/ 11 w 253"/>
                    <a:gd name="T89" fmla="*/ 169 h 308"/>
                    <a:gd name="T90" fmla="*/ 6 w 253"/>
                    <a:gd name="T91" fmla="*/ 161 h 308"/>
                    <a:gd name="T92" fmla="*/ 1 w 253"/>
                    <a:gd name="T93" fmla="*/ 156 h 308"/>
                    <a:gd name="T94" fmla="*/ 6 w 253"/>
                    <a:gd name="T95" fmla="*/ 141 h 308"/>
                    <a:gd name="T96" fmla="*/ 16 w 253"/>
                    <a:gd name="T97" fmla="*/ 128 h 308"/>
                    <a:gd name="T98" fmla="*/ 28 w 253"/>
                    <a:gd name="T99" fmla="*/ 119 h 308"/>
                    <a:gd name="T100" fmla="*/ 34 w 253"/>
                    <a:gd name="T101" fmla="*/ 98 h 308"/>
                    <a:gd name="T102" fmla="*/ 31 w 253"/>
                    <a:gd name="T103" fmla="*/ 80 h 308"/>
                    <a:gd name="T104" fmla="*/ 23 w 253"/>
                    <a:gd name="T105" fmla="*/ 69 h 308"/>
                    <a:gd name="T106" fmla="*/ 15 w 253"/>
                    <a:gd name="T107" fmla="*/ 51 h 308"/>
                    <a:gd name="T108" fmla="*/ 11 w 253"/>
                    <a:gd name="T109" fmla="*/ 41 h 308"/>
                    <a:gd name="T110" fmla="*/ 6 w 253"/>
                    <a:gd name="T111" fmla="*/ 37 h 308"/>
                    <a:gd name="T112" fmla="*/ 4 w 253"/>
                    <a:gd name="T113" fmla="*/ 27 h 308"/>
                    <a:gd name="T114" fmla="*/ 29 w 253"/>
                    <a:gd name="T115" fmla="*/ 7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3" h="308">
                      <a:moveTo>
                        <a:pt x="228" y="226"/>
                      </a:moveTo>
                      <a:lnTo>
                        <a:pt x="228" y="227"/>
                      </a:lnTo>
                      <a:lnTo>
                        <a:pt x="227" y="227"/>
                      </a:lnTo>
                      <a:lnTo>
                        <a:pt x="227" y="226"/>
                      </a:lnTo>
                      <a:lnTo>
                        <a:pt x="227" y="227"/>
                      </a:lnTo>
                      <a:lnTo>
                        <a:pt x="226" y="227"/>
                      </a:lnTo>
                      <a:lnTo>
                        <a:pt x="225" y="227"/>
                      </a:lnTo>
                      <a:lnTo>
                        <a:pt x="223" y="228"/>
                      </a:lnTo>
                      <a:lnTo>
                        <a:pt x="222" y="228"/>
                      </a:lnTo>
                      <a:lnTo>
                        <a:pt x="223" y="230"/>
                      </a:lnTo>
                      <a:lnTo>
                        <a:pt x="222" y="230"/>
                      </a:lnTo>
                      <a:lnTo>
                        <a:pt x="222" y="228"/>
                      </a:lnTo>
                      <a:lnTo>
                        <a:pt x="222" y="227"/>
                      </a:lnTo>
                      <a:lnTo>
                        <a:pt x="222" y="226"/>
                      </a:lnTo>
                      <a:lnTo>
                        <a:pt x="223" y="226"/>
                      </a:lnTo>
                      <a:lnTo>
                        <a:pt x="225" y="226"/>
                      </a:lnTo>
                      <a:lnTo>
                        <a:pt x="225" y="225"/>
                      </a:lnTo>
                      <a:lnTo>
                        <a:pt x="226" y="225"/>
                      </a:lnTo>
                      <a:lnTo>
                        <a:pt x="227" y="225"/>
                      </a:lnTo>
                      <a:lnTo>
                        <a:pt x="228" y="225"/>
                      </a:lnTo>
                      <a:lnTo>
                        <a:pt x="228" y="226"/>
                      </a:lnTo>
                      <a:close/>
                      <a:moveTo>
                        <a:pt x="2" y="175"/>
                      </a:moveTo>
                      <a:lnTo>
                        <a:pt x="1" y="175"/>
                      </a:lnTo>
                      <a:lnTo>
                        <a:pt x="0" y="174"/>
                      </a:lnTo>
                      <a:lnTo>
                        <a:pt x="1" y="174"/>
                      </a:lnTo>
                      <a:lnTo>
                        <a:pt x="2" y="174"/>
                      </a:lnTo>
                      <a:lnTo>
                        <a:pt x="2" y="172"/>
                      </a:lnTo>
                      <a:lnTo>
                        <a:pt x="4" y="172"/>
                      </a:lnTo>
                      <a:lnTo>
                        <a:pt x="4" y="174"/>
                      </a:lnTo>
                      <a:lnTo>
                        <a:pt x="4" y="175"/>
                      </a:lnTo>
                      <a:lnTo>
                        <a:pt x="2" y="175"/>
                      </a:lnTo>
                      <a:close/>
                      <a:moveTo>
                        <a:pt x="9" y="171"/>
                      </a:moveTo>
                      <a:lnTo>
                        <a:pt x="8" y="172"/>
                      </a:lnTo>
                      <a:lnTo>
                        <a:pt x="7" y="172"/>
                      </a:lnTo>
                      <a:lnTo>
                        <a:pt x="6" y="172"/>
                      </a:lnTo>
                      <a:lnTo>
                        <a:pt x="7" y="172"/>
                      </a:lnTo>
                      <a:lnTo>
                        <a:pt x="7" y="171"/>
                      </a:lnTo>
                      <a:lnTo>
                        <a:pt x="8" y="171"/>
                      </a:lnTo>
                      <a:lnTo>
                        <a:pt x="9" y="170"/>
                      </a:lnTo>
                      <a:lnTo>
                        <a:pt x="9" y="171"/>
                      </a:lnTo>
                      <a:close/>
                      <a:moveTo>
                        <a:pt x="48" y="1"/>
                      </a:moveTo>
                      <a:lnTo>
                        <a:pt x="47" y="3"/>
                      </a:lnTo>
                      <a:lnTo>
                        <a:pt x="50" y="3"/>
                      </a:lnTo>
                      <a:lnTo>
                        <a:pt x="52" y="4"/>
                      </a:lnTo>
                      <a:lnTo>
                        <a:pt x="51" y="8"/>
                      </a:lnTo>
                      <a:lnTo>
                        <a:pt x="52" y="10"/>
                      </a:lnTo>
                      <a:lnTo>
                        <a:pt x="54" y="14"/>
                      </a:lnTo>
                      <a:lnTo>
                        <a:pt x="57" y="15"/>
                      </a:lnTo>
                      <a:lnTo>
                        <a:pt x="57" y="14"/>
                      </a:lnTo>
                      <a:lnTo>
                        <a:pt x="57" y="13"/>
                      </a:lnTo>
                      <a:lnTo>
                        <a:pt x="58" y="11"/>
                      </a:lnTo>
                      <a:lnTo>
                        <a:pt x="59" y="11"/>
                      </a:lnTo>
                      <a:lnTo>
                        <a:pt x="59" y="14"/>
                      </a:lnTo>
                      <a:lnTo>
                        <a:pt x="62" y="14"/>
                      </a:lnTo>
                      <a:lnTo>
                        <a:pt x="64" y="14"/>
                      </a:lnTo>
                      <a:lnTo>
                        <a:pt x="64" y="15"/>
                      </a:lnTo>
                      <a:lnTo>
                        <a:pt x="64" y="16"/>
                      </a:lnTo>
                      <a:lnTo>
                        <a:pt x="64" y="17"/>
                      </a:lnTo>
                      <a:lnTo>
                        <a:pt x="65" y="17"/>
                      </a:lnTo>
                      <a:lnTo>
                        <a:pt x="66" y="18"/>
                      </a:lnTo>
                      <a:lnTo>
                        <a:pt x="68" y="20"/>
                      </a:lnTo>
                      <a:lnTo>
                        <a:pt x="72" y="20"/>
                      </a:lnTo>
                      <a:lnTo>
                        <a:pt x="73" y="18"/>
                      </a:lnTo>
                      <a:lnTo>
                        <a:pt x="75" y="20"/>
                      </a:lnTo>
                      <a:lnTo>
                        <a:pt x="80" y="20"/>
                      </a:lnTo>
                      <a:lnTo>
                        <a:pt x="86" y="20"/>
                      </a:lnTo>
                      <a:lnTo>
                        <a:pt x="93" y="20"/>
                      </a:lnTo>
                      <a:lnTo>
                        <a:pt x="94" y="20"/>
                      </a:lnTo>
                      <a:lnTo>
                        <a:pt x="97" y="21"/>
                      </a:lnTo>
                      <a:lnTo>
                        <a:pt x="98" y="22"/>
                      </a:lnTo>
                      <a:lnTo>
                        <a:pt x="99" y="22"/>
                      </a:lnTo>
                      <a:lnTo>
                        <a:pt x="99" y="23"/>
                      </a:lnTo>
                      <a:lnTo>
                        <a:pt x="100" y="23"/>
                      </a:lnTo>
                      <a:lnTo>
                        <a:pt x="100" y="24"/>
                      </a:lnTo>
                      <a:lnTo>
                        <a:pt x="101" y="24"/>
                      </a:lnTo>
                      <a:lnTo>
                        <a:pt x="102" y="25"/>
                      </a:lnTo>
                      <a:lnTo>
                        <a:pt x="106" y="28"/>
                      </a:lnTo>
                      <a:lnTo>
                        <a:pt x="109" y="29"/>
                      </a:lnTo>
                      <a:lnTo>
                        <a:pt x="113" y="31"/>
                      </a:lnTo>
                      <a:lnTo>
                        <a:pt x="115" y="34"/>
                      </a:lnTo>
                      <a:lnTo>
                        <a:pt x="119" y="35"/>
                      </a:lnTo>
                      <a:lnTo>
                        <a:pt x="121" y="37"/>
                      </a:lnTo>
                      <a:lnTo>
                        <a:pt x="125" y="39"/>
                      </a:lnTo>
                      <a:lnTo>
                        <a:pt x="128" y="42"/>
                      </a:lnTo>
                      <a:lnTo>
                        <a:pt x="129" y="43"/>
                      </a:lnTo>
                      <a:lnTo>
                        <a:pt x="130" y="44"/>
                      </a:lnTo>
                      <a:lnTo>
                        <a:pt x="130" y="45"/>
                      </a:lnTo>
                      <a:lnTo>
                        <a:pt x="132" y="45"/>
                      </a:lnTo>
                      <a:lnTo>
                        <a:pt x="133" y="45"/>
                      </a:lnTo>
                      <a:lnTo>
                        <a:pt x="134" y="45"/>
                      </a:lnTo>
                      <a:lnTo>
                        <a:pt x="135" y="45"/>
                      </a:lnTo>
                      <a:lnTo>
                        <a:pt x="139" y="46"/>
                      </a:lnTo>
                      <a:lnTo>
                        <a:pt x="142" y="46"/>
                      </a:lnTo>
                      <a:lnTo>
                        <a:pt x="143" y="46"/>
                      </a:lnTo>
                      <a:lnTo>
                        <a:pt x="146" y="45"/>
                      </a:lnTo>
                      <a:lnTo>
                        <a:pt x="146" y="44"/>
                      </a:lnTo>
                      <a:lnTo>
                        <a:pt x="147" y="45"/>
                      </a:lnTo>
                      <a:lnTo>
                        <a:pt x="147" y="46"/>
                      </a:lnTo>
                      <a:lnTo>
                        <a:pt x="148" y="46"/>
                      </a:lnTo>
                      <a:lnTo>
                        <a:pt x="150" y="46"/>
                      </a:lnTo>
                      <a:lnTo>
                        <a:pt x="150" y="45"/>
                      </a:lnTo>
                      <a:lnTo>
                        <a:pt x="151" y="46"/>
                      </a:lnTo>
                      <a:lnTo>
                        <a:pt x="151" y="48"/>
                      </a:lnTo>
                      <a:lnTo>
                        <a:pt x="152" y="48"/>
                      </a:lnTo>
                      <a:lnTo>
                        <a:pt x="155" y="49"/>
                      </a:lnTo>
                      <a:lnTo>
                        <a:pt x="157" y="49"/>
                      </a:lnTo>
                      <a:lnTo>
                        <a:pt x="158" y="49"/>
                      </a:lnTo>
                      <a:lnTo>
                        <a:pt x="159" y="49"/>
                      </a:lnTo>
                      <a:lnTo>
                        <a:pt x="161" y="49"/>
                      </a:lnTo>
                      <a:lnTo>
                        <a:pt x="162" y="49"/>
                      </a:lnTo>
                      <a:lnTo>
                        <a:pt x="163" y="49"/>
                      </a:lnTo>
                      <a:lnTo>
                        <a:pt x="164" y="49"/>
                      </a:lnTo>
                      <a:lnTo>
                        <a:pt x="166" y="50"/>
                      </a:lnTo>
                      <a:lnTo>
                        <a:pt x="168" y="50"/>
                      </a:lnTo>
                      <a:lnTo>
                        <a:pt x="169" y="50"/>
                      </a:lnTo>
                      <a:lnTo>
                        <a:pt x="170" y="50"/>
                      </a:lnTo>
                      <a:lnTo>
                        <a:pt x="171" y="50"/>
                      </a:lnTo>
                      <a:lnTo>
                        <a:pt x="171" y="51"/>
                      </a:lnTo>
                      <a:lnTo>
                        <a:pt x="175" y="51"/>
                      </a:lnTo>
                      <a:lnTo>
                        <a:pt x="176" y="51"/>
                      </a:lnTo>
                      <a:lnTo>
                        <a:pt x="176" y="52"/>
                      </a:lnTo>
                      <a:lnTo>
                        <a:pt x="177" y="52"/>
                      </a:lnTo>
                      <a:lnTo>
                        <a:pt x="178" y="52"/>
                      </a:lnTo>
                      <a:lnTo>
                        <a:pt x="179" y="50"/>
                      </a:lnTo>
                      <a:lnTo>
                        <a:pt x="180" y="49"/>
                      </a:lnTo>
                      <a:lnTo>
                        <a:pt x="183" y="46"/>
                      </a:lnTo>
                      <a:lnTo>
                        <a:pt x="185" y="44"/>
                      </a:lnTo>
                      <a:lnTo>
                        <a:pt x="186" y="43"/>
                      </a:lnTo>
                      <a:lnTo>
                        <a:pt x="186" y="41"/>
                      </a:lnTo>
                      <a:lnTo>
                        <a:pt x="187" y="38"/>
                      </a:lnTo>
                      <a:lnTo>
                        <a:pt x="189" y="38"/>
                      </a:lnTo>
                      <a:lnTo>
                        <a:pt x="191" y="37"/>
                      </a:lnTo>
                      <a:lnTo>
                        <a:pt x="193" y="36"/>
                      </a:lnTo>
                      <a:lnTo>
                        <a:pt x="197" y="34"/>
                      </a:lnTo>
                      <a:lnTo>
                        <a:pt x="198" y="34"/>
                      </a:lnTo>
                      <a:lnTo>
                        <a:pt x="198" y="32"/>
                      </a:lnTo>
                      <a:lnTo>
                        <a:pt x="199" y="32"/>
                      </a:lnTo>
                      <a:lnTo>
                        <a:pt x="203" y="31"/>
                      </a:lnTo>
                      <a:lnTo>
                        <a:pt x="205" y="31"/>
                      </a:lnTo>
                      <a:lnTo>
                        <a:pt x="205" y="30"/>
                      </a:lnTo>
                      <a:lnTo>
                        <a:pt x="210" y="29"/>
                      </a:lnTo>
                      <a:lnTo>
                        <a:pt x="213" y="28"/>
                      </a:lnTo>
                      <a:lnTo>
                        <a:pt x="215" y="27"/>
                      </a:lnTo>
                      <a:lnTo>
                        <a:pt x="218" y="25"/>
                      </a:lnTo>
                      <a:lnTo>
                        <a:pt x="220" y="28"/>
                      </a:lnTo>
                      <a:lnTo>
                        <a:pt x="221" y="29"/>
                      </a:lnTo>
                      <a:lnTo>
                        <a:pt x="222" y="30"/>
                      </a:lnTo>
                      <a:lnTo>
                        <a:pt x="223" y="30"/>
                      </a:lnTo>
                      <a:lnTo>
                        <a:pt x="225" y="31"/>
                      </a:lnTo>
                      <a:lnTo>
                        <a:pt x="227" y="35"/>
                      </a:lnTo>
                      <a:lnTo>
                        <a:pt x="228" y="35"/>
                      </a:lnTo>
                      <a:lnTo>
                        <a:pt x="229" y="36"/>
                      </a:lnTo>
                      <a:lnTo>
                        <a:pt x="232" y="36"/>
                      </a:lnTo>
                      <a:lnTo>
                        <a:pt x="235" y="36"/>
                      </a:lnTo>
                      <a:lnTo>
                        <a:pt x="239" y="36"/>
                      </a:lnTo>
                      <a:lnTo>
                        <a:pt x="240" y="36"/>
                      </a:lnTo>
                      <a:lnTo>
                        <a:pt x="241" y="35"/>
                      </a:lnTo>
                      <a:lnTo>
                        <a:pt x="243" y="35"/>
                      </a:lnTo>
                      <a:lnTo>
                        <a:pt x="244" y="35"/>
                      </a:lnTo>
                      <a:lnTo>
                        <a:pt x="246" y="35"/>
                      </a:lnTo>
                      <a:lnTo>
                        <a:pt x="247" y="35"/>
                      </a:lnTo>
                      <a:lnTo>
                        <a:pt x="248" y="35"/>
                      </a:lnTo>
                      <a:lnTo>
                        <a:pt x="249" y="36"/>
                      </a:lnTo>
                      <a:lnTo>
                        <a:pt x="251" y="36"/>
                      </a:lnTo>
                      <a:lnTo>
                        <a:pt x="253" y="35"/>
                      </a:lnTo>
                      <a:lnTo>
                        <a:pt x="250" y="38"/>
                      </a:lnTo>
                      <a:lnTo>
                        <a:pt x="247" y="43"/>
                      </a:lnTo>
                      <a:lnTo>
                        <a:pt x="244" y="46"/>
                      </a:lnTo>
                      <a:lnTo>
                        <a:pt x="242" y="50"/>
                      </a:lnTo>
                      <a:lnTo>
                        <a:pt x="240" y="52"/>
                      </a:lnTo>
                      <a:lnTo>
                        <a:pt x="239" y="55"/>
                      </a:lnTo>
                      <a:lnTo>
                        <a:pt x="237" y="57"/>
                      </a:lnTo>
                      <a:lnTo>
                        <a:pt x="235" y="59"/>
                      </a:lnTo>
                      <a:lnTo>
                        <a:pt x="233" y="62"/>
                      </a:lnTo>
                      <a:lnTo>
                        <a:pt x="230" y="65"/>
                      </a:lnTo>
                      <a:lnTo>
                        <a:pt x="227" y="67"/>
                      </a:lnTo>
                      <a:lnTo>
                        <a:pt x="225" y="70"/>
                      </a:lnTo>
                      <a:lnTo>
                        <a:pt x="223" y="71"/>
                      </a:lnTo>
                      <a:lnTo>
                        <a:pt x="223" y="72"/>
                      </a:lnTo>
                      <a:lnTo>
                        <a:pt x="223" y="73"/>
                      </a:lnTo>
                      <a:lnTo>
                        <a:pt x="223" y="78"/>
                      </a:lnTo>
                      <a:lnTo>
                        <a:pt x="223" y="81"/>
                      </a:lnTo>
                      <a:lnTo>
                        <a:pt x="223" y="84"/>
                      </a:lnTo>
                      <a:lnTo>
                        <a:pt x="223" y="87"/>
                      </a:lnTo>
                      <a:lnTo>
                        <a:pt x="223" y="91"/>
                      </a:lnTo>
                      <a:lnTo>
                        <a:pt x="223" y="94"/>
                      </a:lnTo>
                      <a:lnTo>
                        <a:pt x="223" y="98"/>
                      </a:lnTo>
                      <a:lnTo>
                        <a:pt x="223" y="101"/>
                      </a:lnTo>
                      <a:lnTo>
                        <a:pt x="223" y="105"/>
                      </a:lnTo>
                      <a:lnTo>
                        <a:pt x="223" y="109"/>
                      </a:lnTo>
                      <a:lnTo>
                        <a:pt x="223" y="113"/>
                      </a:lnTo>
                      <a:lnTo>
                        <a:pt x="223" y="118"/>
                      </a:lnTo>
                      <a:lnTo>
                        <a:pt x="223" y="121"/>
                      </a:lnTo>
                      <a:lnTo>
                        <a:pt x="222" y="125"/>
                      </a:lnTo>
                      <a:lnTo>
                        <a:pt x="222" y="129"/>
                      </a:lnTo>
                      <a:lnTo>
                        <a:pt x="222" y="133"/>
                      </a:lnTo>
                      <a:lnTo>
                        <a:pt x="222" y="136"/>
                      </a:lnTo>
                      <a:lnTo>
                        <a:pt x="222" y="141"/>
                      </a:lnTo>
                      <a:lnTo>
                        <a:pt x="222" y="144"/>
                      </a:lnTo>
                      <a:lnTo>
                        <a:pt x="222" y="149"/>
                      </a:lnTo>
                      <a:lnTo>
                        <a:pt x="222" y="153"/>
                      </a:lnTo>
                      <a:lnTo>
                        <a:pt x="222" y="156"/>
                      </a:lnTo>
                      <a:lnTo>
                        <a:pt x="222" y="161"/>
                      </a:lnTo>
                      <a:lnTo>
                        <a:pt x="222" y="163"/>
                      </a:lnTo>
                      <a:lnTo>
                        <a:pt x="222" y="165"/>
                      </a:lnTo>
                      <a:lnTo>
                        <a:pt x="222" y="168"/>
                      </a:lnTo>
                      <a:lnTo>
                        <a:pt x="222" y="171"/>
                      </a:lnTo>
                      <a:lnTo>
                        <a:pt x="222" y="174"/>
                      </a:lnTo>
                      <a:lnTo>
                        <a:pt x="222" y="177"/>
                      </a:lnTo>
                      <a:lnTo>
                        <a:pt x="222" y="181"/>
                      </a:lnTo>
                      <a:lnTo>
                        <a:pt x="222" y="183"/>
                      </a:lnTo>
                      <a:lnTo>
                        <a:pt x="222" y="185"/>
                      </a:lnTo>
                      <a:lnTo>
                        <a:pt x="222" y="188"/>
                      </a:lnTo>
                      <a:lnTo>
                        <a:pt x="223" y="189"/>
                      </a:lnTo>
                      <a:lnTo>
                        <a:pt x="225" y="190"/>
                      </a:lnTo>
                      <a:lnTo>
                        <a:pt x="225" y="191"/>
                      </a:lnTo>
                      <a:lnTo>
                        <a:pt x="226" y="192"/>
                      </a:lnTo>
                      <a:lnTo>
                        <a:pt x="227" y="195"/>
                      </a:lnTo>
                      <a:lnTo>
                        <a:pt x="229" y="196"/>
                      </a:lnTo>
                      <a:lnTo>
                        <a:pt x="230" y="198"/>
                      </a:lnTo>
                      <a:lnTo>
                        <a:pt x="233" y="200"/>
                      </a:lnTo>
                      <a:lnTo>
                        <a:pt x="234" y="203"/>
                      </a:lnTo>
                      <a:lnTo>
                        <a:pt x="235" y="204"/>
                      </a:lnTo>
                      <a:lnTo>
                        <a:pt x="237" y="206"/>
                      </a:lnTo>
                      <a:lnTo>
                        <a:pt x="239" y="209"/>
                      </a:lnTo>
                      <a:lnTo>
                        <a:pt x="240" y="210"/>
                      </a:lnTo>
                      <a:lnTo>
                        <a:pt x="240" y="211"/>
                      </a:lnTo>
                      <a:lnTo>
                        <a:pt x="240" y="213"/>
                      </a:lnTo>
                      <a:lnTo>
                        <a:pt x="240" y="214"/>
                      </a:lnTo>
                      <a:lnTo>
                        <a:pt x="237" y="217"/>
                      </a:lnTo>
                      <a:lnTo>
                        <a:pt x="236" y="218"/>
                      </a:lnTo>
                      <a:lnTo>
                        <a:pt x="236" y="219"/>
                      </a:lnTo>
                      <a:lnTo>
                        <a:pt x="234" y="220"/>
                      </a:lnTo>
                      <a:lnTo>
                        <a:pt x="233" y="223"/>
                      </a:lnTo>
                      <a:lnTo>
                        <a:pt x="232" y="223"/>
                      </a:lnTo>
                      <a:lnTo>
                        <a:pt x="232" y="221"/>
                      </a:lnTo>
                      <a:lnTo>
                        <a:pt x="230" y="223"/>
                      </a:lnTo>
                      <a:lnTo>
                        <a:pt x="230" y="221"/>
                      </a:lnTo>
                      <a:lnTo>
                        <a:pt x="229" y="221"/>
                      </a:lnTo>
                      <a:lnTo>
                        <a:pt x="229" y="223"/>
                      </a:lnTo>
                      <a:lnTo>
                        <a:pt x="229" y="224"/>
                      </a:lnTo>
                      <a:lnTo>
                        <a:pt x="228" y="223"/>
                      </a:lnTo>
                      <a:lnTo>
                        <a:pt x="227" y="223"/>
                      </a:lnTo>
                      <a:lnTo>
                        <a:pt x="226" y="223"/>
                      </a:lnTo>
                      <a:lnTo>
                        <a:pt x="226" y="224"/>
                      </a:lnTo>
                      <a:lnTo>
                        <a:pt x="225" y="224"/>
                      </a:lnTo>
                      <a:lnTo>
                        <a:pt x="225" y="225"/>
                      </a:lnTo>
                      <a:lnTo>
                        <a:pt x="223" y="225"/>
                      </a:lnTo>
                      <a:lnTo>
                        <a:pt x="222" y="225"/>
                      </a:lnTo>
                      <a:lnTo>
                        <a:pt x="222" y="224"/>
                      </a:lnTo>
                      <a:lnTo>
                        <a:pt x="222" y="223"/>
                      </a:lnTo>
                      <a:lnTo>
                        <a:pt x="222" y="221"/>
                      </a:lnTo>
                      <a:lnTo>
                        <a:pt x="223" y="220"/>
                      </a:lnTo>
                      <a:lnTo>
                        <a:pt x="222" y="221"/>
                      </a:lnTo>
                      <a:lnTo>
                        <a:pt x="222" y="225"/>
                      </a:lnTo>
                      <a:lnTo>
                        <a:pt x="221" y="226"/>
                      </a:lnTo>
                      <a:lnTo>
                        <a:pt x="221" y="225"/>
                      </a:lnTo>
                      <a:lnTo>
                        <a:pt x="220" y="224"/>
                      </a:lnTo>
                      <a:lnTo>
                        <a:pt x="220" y="223"/>
                      </a:lnTo>
                      <a:lnTo>
                        <a:pt x="219" y="223"/>
                      </a:lnTo>
                      <a:lnTo>
                        <a:pt x="219" y="224"/>
                      </a:lnTo>
                      <a:lnTo>
                        <a:pt x="220" y="224"/>
                      </a:lnTo>
                      <a:lnTo>
                        <a:pt x="220" y="225"/>
                      </a:lnTo>
                      <a:lnTo>
                        <a:pt x="220" y="226"/>
                      </a:lnTo>
                      <a:lnTo>
                        <a:pt x="220" y="228"/>
                      </a:lnTo>
                      <a:lnTo>
                        <a:pt x="220" y="230"/>
                      </a:lnTo>
                      <a:lnTo>
                        <a:pt x="221" y="231"/>
                      </a:lnTo>
                      <a:lnTo>
                        <a:pt x="222" y="231"/>
                      </a:lnTo>
                      <a:lnTo>
                        <a:pt x="222" y="232"/>
                      </a:lnTo>
                      <a:lnTo>
                        <a:pt x="221" y="233"/>
                      </a:lnTo>
                      <a:lnTo>
                        <a:pt x="220" y="233"/>
                      </a:lnTo>
                      <a:lnTo>
                        <a:pt x="221" y="232"/>
                      </a:lnTo>
                      <a:lnTo>
                        <a:pt x="220" y="231"/>
                      </a:lnTo>
                      <a:lnTo>
                        <a:pt x="219" y="231"/>
                      </a:lnTo>
                      <a:lnTo>
                        <a:pt x="220" y="231"/>
                      </a:lnTo>
                      <a:lnTo>
                        <a:pt x="219" y="231"/>
                      </a:lnTo>
                      <a:lnTo>
                        <a:pt x="218" y="231"/>
                      </a:lnTo>
                      <a:lnTo>
                        <a:pt x="218" y="232"/>
                      </a:lnTo>
                      <a:lnTo>
                        <a:pt x="216" y="233"/>
                      </a:lnTo>
                      <a:lnTo>
                        <a:pt x="216" y="232"/>
                      </a:lnTo>
                      <a:lnTo>
                        <a:pt x="216" y="233"/>
                      </a:lnTo>
                      <a:lnTo>
                        <a:pt x="216" y="234"/>
                      </a:lnTo>
                      <a:lnTo>
                        <a:pt x="218" y="234"/>
                      </a:lnTo>
                      <a:lnTo>
                        <a:pt x="218" y="235"/>
                      </a:lnTo>
                      <a:lnTo>
                        <a:pt x="216" y="237"/>
                      </a:lnTo>
                      <a:lnTo>
                        <a:pt x="215" y="238"/>
                      </a:lnTo>
                      <a:lnTo>
                        <a:pt x="214" y="238"/>
                      </a:lnTo>
                      <a:lnTo>
                        <a:pt x="212" y="240"/>
                      </a:lnTo>
                      <a:lnTo>
                        <a:pt x="211" y="241"/>
                      </a:lnTo>
                      <a:lnTo>
                        <a:pt x="210" y="240"/>
                      </a:lnTo>
                      <a:lnTo>
                        <a:pt x="208" y="240"/>
                      </a:lnTo>
                      <a:lnTo>
                        <a:pt x="207" y="240"/>
                      </a:lnTo>
                      <a:lnTo>
                        <a:pt x="204" y="241"/>
                      </a:lnTo>
                      <a:lnTo>
                        <a:pt x="203" y="242"/>
                      </a:lnTo>
                      <a:lnTo>
                        <a:pt x="201" y="242"/>
                      </a:lnTo>
                      <a:lnTo>
                        <a:pt x="200" y="242"/>
                      </a:lnTo>
                      <a:lnTo>
                        <a:pt x="199" y="244"/>
                      </a:lnTo>
                      <a:lnTo>
                        <a:pt x="199" y="245"/>
                      </a:lnTo>
                      <a:lnTo>
                        <a:pt x="198" y="245"/>
                      </a:lnTo>
                      <a:lnTo>
                        <a:pt x="198" y="246"/>
                      </a:lnTo>
                      <a:lnTo>
                        <a:pt x="197" y="247"/>
                      </a:lnTo>
                      <a:lnTo>
                        <a:pt x="197" y="248"/>
                      </a:lnTo>
                      <a:lnTo>
                        <a:pt x="198" y="249"/>
                      </a:lnTo>
                      <a:lnTo>
                        <a:pt x="197" y="249"/>
                      </a:lnTo>
                      <a:lnTo>
                        <a:pt x="197" y="252"/>
                      </a:lnTo>
                      <a:lnTo>
                        <a:pt x="197" y="253"/>
                      </a:lnTo>
                      <a:lnTo>
                        <a:pt x="197" y="254"/>
                      </a:lnTo>
                      <a:lnTo>
                        <a:pt x="198" y="254"/>
                      </a:lnTo>
                      <a:lnTo>
                        <a:pt x="199" y="254"/>
                      </a:lnTo>
                      <a:lnTo>
                        <a:pt x="198" y="254"/>
                      </a:lnTo>
                      <a:lnTo>
                        <a:pt x="198" y="255"/>
                      </a:lnTo>
                      <a:lnTo>
                        <a:pt x="197" y="256"/>
                      </a:lnTo>
                      <a:lnTo>
                        <a:pt x="197" y="259"/>
                      </a:lnTo>
                      <a:lnTo>
                        <a:pt x="196" y="259"/>
                      </a:lnTo>
                      <a:lnTo>
                        <a:pt x="196" y="261"/>
                      </a:lnTo>
                      <a:lnTo>
                        <a:pt x="196" y="262"/>
                      </a:lnTo>
                      <a:lnTo>
                        <a:pt x="196" y="263"/>
                      </a:lnTo>
                      <a:lnTo>
                        <a:pt x="194" y="263"/>
                      </a:lnTo>
                      <a:lnTo>
                        <a:pt x="194" y="265"/>
                      </a:lnTo>
                      <a:lnTo>
                        <a:pt x="192" y="265"/>
                      </a:lnTo>
                      <a:lnTo>
                        <a:pt x="192" y="266"/>
                      </a:lnTo>
                      <a:lnTo>
                        <a:pt x="191" y="266"/>
                      </a:lnTo>
                      <a:lnTo>
                        <a:pt x="191" y="267"/>
                      </a:lnTo>
                      <a:lnTo>
                        <a:pt x="190" y="267"/>
                      </a:lnTo>
                      <a:lnTo>
                        <a:pt x="191" y="266"/>
                      </a:lnTo>
                      <a:lnTo>
                        <a:pt x="191" y="265"/>
                      </a:lnTo>
                      <a:lnTo>
                        <a:pt x="190" y="265"/>
                      </a:lnTo>
                      <a:lnTo>
                        <a:pt x="190" y="266"/>
                      </a:lnTo>
                      <a:lnTo>
                        <a:pt x="190" y="267"/>
                      </a:lnTo>
                      <a:lnTo>
                        <a:pt x="190" y="268"/>
                      </a:lnTo>
                      <a:lnTo>
                        <a:pt x="189" y="270"/>
                      </a:lnTo>
                      <a:lnTo>
                        <a:pt x="189" y="272"/>
                      </a:lnTo>
                      <a:lnTo>
                        <a:pt x="187" y="273"/>
                      </a:lnTo>
                      <a:lnTo>
                        <a:pt x="187" y="274"/>
                      </a:lnTo>
                      <a:lnTo>
                        <a:pt x="186" y="274"/>
                      </a:lnTo>
                      <a:lnTo>
                        <a:pt x="185" y="273"/>
                      </a:lnTo>
                      <a:lnTo>
                        <a:pt x="184" y="273"/>
                      </a:lnTo>
                      <a:lnTo>
                        <a:pt x="185" y="273"/>
                      </a:lnTo>
                      <a:lnTo>
                        <a:pt x="184" y="273"/>
                      </a:lnTo>
                      <a:lnTo>
                        <a:pt x="184" y="274"/>
                      </a:lnTo>
                      <a:lnTo>
                        <a:pt x="185" y="274"/>
                      </a:lnTo>
                      <a:lnTo>
                        <a:pt x="185" y="275"/>
                      </a:lnTo>
                      <a:lnTo>
                        <a:pt x="186" y="274"/>
                      </a:lnTo>
                      <a:lnTo>
                        <a:pt x="186" y="275"/>
                      </a:lnTo>
                      <a:lnTo>
                        <a:pt x="187" y="275"/>
                      </a:lnTo>
                      <a:lnTo>
                        <a:pt x="187" y="276"/>
                      </a:lnTo>
                      <a:lnTo>
                        <a:pt x="184" y="283"/>
                      </a:lnTo>
                      <a:lnTo>
                        <a:pt x="184" y="284"/>
                      </a:lnTo>
                      <a:lnTo>
                        <a:pt x="183" y="284"/>
                      </a:lnTo>
                      <a:lnTo>
                        <a:pt x="182" y="284"/>
                      </a:lnTo>
                      <a:lnTo>
                        <a:pt x="182" y="283"/>
                      </a:lnTo>
                      <a:lnTo>
                        <a:pt x="182" y="284"/>
                      </a:lnTo>
                      <a:lnTo>
                        <a:pt x="182" y="286"/>
                      </a:lnTo>
                      <a:lnTo>
                        <a:pt x="183" y="286"/>
                      </a:lnTo>
                      <a:lnTo>
                        <a:pt x="183" y="287"/>
                      </a:lnTo>
                      <a:lnTo>
                        <a:pt x="182" y="287"/>
                      </a:lnTo>
                      <a:lnTo>
                        <a:pt x="182" y="288"/>
                      </a:lnTo>
                      <a:lnTo>
                        <a:pt x="180" y="288"/>
                      </a:lnTo>
                      <a:lnTo>
                        <a:pt x="180" y="287"/>
                      </a:lnTo>
                      <a:lnTo>
                        <a:pt x="180" y="286"/>
                      </a:lnTo>
                      <a:lnTo>
                        <a:pt x="179" y="286"/>
                      </a:lnTo>
                      <a:lnTo>
                        <a:pt x="178" y="286"/>
                      </a:lnTo>
                      <a:lnTo>
                        <a:pt x="179" y="286"/>
                      </a:lnTo>
                      <a:lnTo>
                        <a:pt x="179" y="287"/>
                      </a:lnTo>
                      <a:lnTo>
                        <a:pt x="178" y="287"/>
                      </a:lnTo>
                      <a:lnTo>
                        <a:pt x="177" y="287"/>
                      </a:lnTo>
                      <a:lnTo>
                        <a:pt x="177" y="288"/>
                      </a:lnTo>
                      <a:lnTo>
                        <a:pt x="177" y="289"/>
                      </a:lnTo>
                      <a:lnTo>
                        <a:pt x="178" y="288"/>
                      </a:lnTo>
                      <a:lnTo>
                        <a:pt x="179" y="288"/>
                      </a:lnTo>
                      <a:lnTo>
                        <a:pt x="180" y="288"/>
                      </a:lnTo>
                      <a:lnTo>
                        <a:pt x="180" y="289"/>
                      </a:lnTo>
                      <a:lnTo>
                        <a:pt x="180" y="290"/>
                      </a:lnTo>
                      <a:lnTo>
                        <a:pt x="179" y="293"/>
                      </a:lnTo>
                      <a:lnTo>
                        <a:pt x="178" y="295"/>
                      </a:lnTo>
                      <a:lnTo>
                        <a:pt x="177" y="298"/>
                      </a:lnTo>
                      <a:lnTo>
                        <a:pt x="177" y="300"/>
                      </a:lnTo>
                      <a:lnTo>
                        <a:pt x="176" y="300"/>
                      </a:lnTo>
                      <a:lnTo>
                        <a:pt x="176" y="301"/>
                      </a:lnTo>
                      <a:lnTo>
                        <a:pt x="175" y="301"/>
                      </a:lnTo>
                      <a:lnTo>
                        <a:pt x="173" y="304"/>
                      </a:lnTo>
                      <a:lnTo>
                        <a:pt x="173" y="303"/>
                      </a:lnTo>
                      <a:lnTo>
                        <a:pt x="172" y="303"/>
                      </a:lnTo>
                      <a:lnTo>
                        <a:pt x="172" y="304"/>
                      </a:lnTo>
                      <a:lnTo>
                        <a:pt x="171" y="304"/>
                      </a:lnTo>
                      <a:lnTo>
                        <a:pt x="171" y="305"/>
                      </a:lnTo>
                      <a:lnTo>
                        <a:pt x="172" y="305"/>
                      </a:lnTo>
                      <a:lnTo>
                        <a:pt x="171" y="307"/>
                      </a:lnTo>
                      <a:lnTo>
                        <a:pt x="170" y="305"/>
                      </a:lnTo>
                      <a:lnTo>
                        <a:pt x="169" y="305"/>
                      </a:lnTo>
                      <a:lnTo>
                        <a:pt x="168" y="305"/>
                      </a:lnTo>
                      <a:lnTo>
                        <a:pt x="166" y="305"/>
                      </a:lnTo>
                      <a:lnTo>
                        <a:pt x="166" y="307"/>
                      </a:lnTo>
                      <a:lnTo>
                        <a:pt x="165" y="308"/>
                      </a:lnTo>
                      <a:lnTo>
                        <a:pt x="163" y="305"/>
                      </a:lnTo>
                      <a:lnTo>
                        <a:pt x="159" y="303"/>
                      </a:lnTo>
                      <a:lnTo>
                        <a:pt x="157" y="302"/>
                      </a:lnTo>
                      <a:lnTo>
                        <a:pt x="155" y="300"/>
                      </a:lnTo>
                      <a:lnTo>
                        <a:pt x="152" y="297"/>
                      </a:lnTo>
                      <a:lnTo>
                        <a:pt x="149" y="296"/>
                      </a:lnTo>
                      <a:lnTo>
                        <a:pt x="147" y="294"/>
                      </a:lnTo>
                      <a:lnTo>
                        <a:pt x="144" y="291"/>
                      </a:lnTo>
                      <a:lnTo>
                        <a:pt x="141" y="290"/>
                      </a:lnTo>
                      <a:lnTo>
                        <a:pt x="139" y="288"/>
                      </a:lnTo>
                      <a:lnTo>
                        <a:pt x="136" y="286"/>
                      </a:lnTo>
                      <a:lnTo>
                        <a:pt x="133" y="284"/>
                      </a:lnTo>
                      <a:lnTo>
                        <a:pt x="130" y="282"/>
                      </a:lnTo>
                      <a:lnTo>
                        <a:pt x="128" y="280"/>
                      </a:lnTo>
                      <a:lnTo>
                        <a:pt x="125" y="279"/>
                      </a:lnTo>
                      <a:lnTo>
                        <a:pt x="122" y="276"/>
                      </a:lnTo>
                      <a:lnTo>
                        <a:pt x="121" y="275"/>
                      </a:lnTo>
                      <a:lnTo>
                        <a:pt x="120" y="274"/>
                      </a:lnTo>
                      <a:lnTo>
                        <a:pt x="120" y="272"/>
                      </a:lnTo>
                      <a:lnTo>
                        <a:pt x="119" y="272"/>
                      </a:lnTo>
                      <a:lnTo>
                        <a:pt x="119" y="270"/>
                      </a:lnTo>
                      <a:lnTo>
                        <a:pt x="118" y="270"/>
                      </a:lnTo>
                      <a:lnTo>
                        <a:pt x="116" y="270"/>
                      </a:lnTo>
                      <a:lnTo>
                        <a:pt x="115" y="270"/>
                      </a:lnTo>
                      <a:lnTo>
                        <a:pt x="115" y="269"/>
                      </a:lnTo>
                      <a:lnTo>
                        <a:pt x="115" y="268"/>
                      </a:lnTo>
                      <a:lnTo>
                        <a:pt x="114" y="268"/>
                      </a:lnTo>
                      <a:lnTo>
                        <a:pt x="115" y="268"/>
                      </a:lnTo>
                      <a:lnTo>
                        <a:pt x="115" y="267"/>
                      </a:lnTo>
                      <a:lnTo>
                        <a:pt x="116" y="266"/>
                      </a:lnTo>
                      <a:lnTo>
                        <a:pt x="118" y="266"/>
                      </a:lnTo>
                      <a:lnTo>
                        <a:pt x="118" y="265"/>
                      </a:lnTo>
                      <a:lnTo>
                        <a:pt x="119" y="265"/>
                      </a:lnTo>
                      <a:lnTo>
                        <a:pt x="118" y="260"/>
                      </a:lnTo>
                      <a:lnTo>
                        <a:pt x="118" y="256"/>
                      </a:lnTo>
                      <a:lnTo>
                        <a:pt x="116" y="255"/>
                      </a:lnTo>
                      <a:lnTo>
                        <a:pt x="114" y="254"/>
                      </a:lnTo>
                      <a:lnTo>
                        <a:pt x="109" y="252"/>
                      </a:lnTo>
                      <a:lnTo>
                        <a:pt x="107" y="251"/>
                      </a:lnTo>
                      <a:lnTo>
                        <a:pt x="100" y="247"/>
                      </a:lnTo>
                      <a:lnTo>
                        <a:pt x="94" y="242"/>
                      </a:lnTo>
                      <a:lnTo>
                        <a:pt x="87" y="239"/>
                      </a:lnTo>
                      <a:lnTo>
                        <a:pt x="80" y="235"/>
                      </a:lnTo>
                      <a:lnTo>
                        <a:pt x="73" y="232"/>
                      </a:lnTo>
                      <a:lnTo>
                        <a:pt x="66" y="227"/>
                      </a:lnTo>
                      <a:lnTo>
                        <a:pt x="61" y="224"/>
                      </a:lnTo>
                      <a:lnTo>
                        <a:pt x="54" y="220"/>
                      </a:lnTo>
                      <a:lnTo>
                        <a:pt x="47" y="216"/>
                      </a:lnTo>
                      <a:lnTo>
                        <a:pt x="41" y="213"/>
                      </a:lnTo>
                      <a:lnTo>
                        <a:pt x="40" y="212"/>
                      </a:lnTo>
                      <a:lnTo>
                        <a:pt x="33" y="209"/>
                      </a:lnTo>
                      <a:lnTo>
                        <a:pt x="26" y="205"/>
                      </a:lnTo>
                      <a:lnTo>
                        <a:pt x="24" y="204"/>
                      </a:lnTo>
                      <a:lnTo>
                        <a:pt x="20" y="200"/>
                      </a:lnTo>
                      <a:lnTo>
                        <a:pt x="13" y="197"/>
                      </a:lnTo>
                      <a:lnTo>
                        <a:pt x="6" y="193"/>
                      </a:lnTo>
                      <a:lnTo>
                        <a:pt x="5" y="192"/>
                      </a:lnTo>
                      <a:lnTo>
                        <a:pt x="4" y="192"/>
                      </a:lnTo>
                      <a:lnTo>
                        <a:pt x="5" y="191"/>
                      </a:lnTo>
                      <a:lnTo>
                        <a:pt x="4" y="191"/>
                      </a:lnTo>
                      <a:lnTo>
                        <a:pt x="5" y="190"/>
                      </a:lnTo>
                      <a:lnTo>
                        <a:pt x="6" y="191"/>
                      </a:lnTo>
                      <a:lnTo>
                        <a:pt x="6" y="190"/>
                      </a:lnTo>
                      <a:lnTo>
                        <a:pt x="6" y="189"/>
                      </a:lnTo>
                      <a:lnTo>
                        <a:pt x="6" y="188"/>
                      </a:lnTo>
                      <a:lnTo>
                        <a:pt x="7" y="188"/>
                      </a:lnTo>
                      <a:lnTo>
                        <a:pt x="8" y="186"/>
                      </a:lnTo>
                      <a:lnTo>
                        <a:pt x="7" y="185"/>
                      </a:lnTo>
                      <a:lnTo>
                        <a:pt x="6" y="185"/>
                      </a:lnTo>
                      <a:lnTo>
                        <a:pt x="5" y="184"/>
                      </a:lnTo>
                      <a:lnTo>
                        <a:pt x="4" y="183"/>
                      </a:lnTo>
                      <a:lnTo>
                        <a:pt x="4" y="182"/>
                      </a:lnTo>
                      <a:lnTo>
                        <a:pt x="4" y="179"/>
                      </a:lnTo>
                      <a:lnTo>
                        <a:pt x="4" y="178"/>
                      </a:lnTo>
                      <a:lnTo>
                        <a:pt x="5" y="178"/>
                      </a:lnTo>
                      <a:lnTo>
                        <a:pt x="5" y="177"/>
                      </a:lnTo>
                      <a:lnTo>
                        <a:pt x="4" y="177"/>
                      </a:lnTo>
                      <a:lnTo>
                        <a:pt x="5" y="177"/>
                      </a:lnTo>
                      <a:lnTo>
                        <a:pt x="5" y="176"/>
                      </a:lnTo>
                      <a:lnTo>
                        <a:pt x="6" y="176"/>
                      </a:lnTo>
                      <a:lnTo>
                        <a:pt x="7" y="176"/>
                      </a:lnTo>
                      <a:lnTo>
                        <a:pt x="7" y="174"/>
                      </a:lnTo>
                      <a:lnTo>
                        <a:pt x="8" y="172"/>
                      </a:lnTo>
                      <a:lnTo>
                        <a:pt x="9" y="172"/>
                      </a:lnTo>
                      <a:lnTo>
                        <a:pt x="8" y="172"/>
                      </a:lnTo>
                      <a:lnTo>
                        <a:pt x="9" y="172"/>
                      </a:lnTo>
                      <a:lnTo>
                        <a:pt x="11" y="174"/>
                      </a:lnTo>
                      <a:lnTo>
                        <a:pt x="12" y="175"/>
                      </a:lnTo>
                      <a:lnTo>
                        <a:pt x="12" y="174"/>
                      </a:lnTo>
                      <a:lnTo>
                        <a:pt x="13" y="174"/>
                      </a:lnTo>
                      <a:lnTo>
                        <a:pt x="13" y="175"/>
                      </a:lnTo>
                      <a:lnTo>
                        <a:pt x="13" y="174"/>
                      </a:lnTo>
                      <a:lnTo>
                        <a:pt x="14" y="174"/>
                      </a:lnTo>
                      <a:lnTo>
                        <a:pt x="13" y="174"/>
                      </a:lnTo>
                      <a:lnTo>
                        <a:pt x="14" y="174"/>
                      </a:lnTo>
                      <a:lnTo>
                        <a:pt x="15" y="174"/>
                      </a:lnTo>
                      <a:lnTo>
                        <a:pt x="15" y="175"/>
                      </a:lnTo>
                      <a:lnTo>
                        <a:pt x="15" y="176"/>
                      </a:lnTo>
                      <a:lnTo>
                        <a:pt x="16" y="175"/>
                      </a:lnTo>
                      <a:lnTo>
                        <a:pt x="18" y="175"/>
                      </a:lnTo>
                      <a:lnTo>
                        <a:pt x="18" y="174"/>
                      </a:lnTo>
                      <a:lnTo>
                        <a:pt x="16" y="172"/>
                      </a:lnTo>
                      <a:lnTo>
                        <a:pt x="16" y="171"/>
                      </a:lnTo>
                      <a:lnTo>
                        <a:pt x="16" y="170"/>
                      </a:lnTo>
                      <a:lnTo>
                        <a:pt x="18" y="170"/>
                      </a:lnTo>
                      <a:lnTo>
                        <a:pt x="19" y="169"/>
                      </a:lnTo>
                      <a:lnTo>
                        <a:pt x="20" y="169"/>
                      </a:lnTo>
                      <a:lnTo>
                        <a:pt x="20" y="170"/>
                      </a:lnTo>
                      <a:lnTo>
                        <a:pt x="21" y="170"/>
                      </a:lnTo>
                      <a:lnTo>
                        <a:pt x="23" y="170"/>
                      </a:lnTo>
                      <a:lnTo>
                        <a:pt x="26" y="170"/>
                      </a:lnTo>
                      <a:lnTo>
                        <a:pt x="26" y="169"/>
                      </a:lnTo>
                      <a:lnTo>
                        <a:pt x="26" y="168"/>
                      </a:lnTo>
                      <a:lnTo>
                        <a:pt x="27" y="169"/>
                      </a:lnTo>
                      <a:lnTo>
                        <a:pt x="27" y="168"/>
                      </a:lnTo>
                      <a:lnTo>
                        <a:pt x="28" y="169"/>
                      </a:lnTo>
                      <a:lnTo>
                        <a:pt x="29" y="169"/>
                      </a:lnTo>
                      <a:lnTo>
                        <a:pt x="29" y="168"/>
                      </a:lnTo>
                      <a:lnTo>
                        <a:pt x="28" y="168"/>
                      </a:lnTo>
                      <a:lnTo>
                        <a:pt x="27" y="165"/>
                      </a:lnTo>
                      <a:lnTo>
                        <a:pt x="26" y="164"/>
                      </a:lnTo>
                      <a:lnTo>
                        <a:pt x="26" y="163"/>
                      </a:lnTo>
                      <a:lnTo>
                        <a:pt x="26" y="162"/>
                      </a:lnTo>
                      <a:lnTo>
                        <a:pt x="24" y="162"/>
                      </a:lnTo>
                      <a:lnTo>
                        <a:pt x="23" y="162"/>
                      </a:lnTo>
                      <a:lnTo>
                        <a:pt x="23" y="163"/>
                      </a:lnTo>
                      <a:lnTo>
                        <a:pt x="22" y="163"/>
                      </a:lnTo>
                      <a:lnTo>
                        <a:pt x="21" y="163"/>
                      </a:lnTo>
                      <a:lnTo>
                        <a:pt x="20" y="164"/>
                      </a:lnTo>
                      <a:lnTo>
                        <a:pt x="19" y="164"/>
                      </a:lnTo>
                      <a:lnTo>
                        <a:pt x="18" y="165"/>
                      </a:lnTo>
                      <a:lnTo>
                        <a:pt x="16" y="164"/>
                      </a:lnTo>
                      <a:lnTo>
                        <a:pt x="15" y="165"/>
                      </a:lnTo>
                      <a:lnTo>
                        <a:pt x="14" y="164"/>
                      </a:lnTo>
                      <a:lnTo>
                        <a:pt x="13" y="164"/>
                      </a:lnTo>
                      <a:lnTo>
                        <a:pt x="13" y="165"/>
                      </a:lnTo>
                      <a:lnTo>
                        <a:pt x="13" y="167"/>
                      </a:lnTo>
                      <a:lnTo>
                        <a:pt x="14" y="167"/>
                      </a:lnTo>
                      <a:lnTo>
                        <a:pt x="14" y="168"/>
                      </a:lnTo>
                      <a:lnTo>
                        <a:pt x="14" y="169"/>
                      </a:lnTo>
                      <a:lnTo>
                        <a:pt x="12" y="170"/>
                      </a:lnTo>
                      <a:lnTo>
                        <a:pt x="12" y="171"/>
                      </a:lnTo>
                      <a:lnTo>
                        <a:pt x="11" y="171"/>
                      </a:lnTo>
                      <a:lnTo>
                        <a:pt x="11" y="170"/>
                      </a:lnTo>
                      <a:lnTo>
                        <a:pt x="9" y="169"/>
                      </a:lnTo>
                      <a:lnTo>
                        <a:pt x="11" y="169"/>
                      </a:lnTo>
                      <a:lnTo>
                        <a:pt x="9" y="169"/>
                      </a:lnTo>
                      <a:lnTo>
                        <a:pt x="11" y="168"/>
                      </a:lnTo>
                      <a:lnTo>
                        <a:pt x="9" y="167"/>
                      </a:lnTo>
                      <a:lnTo>
                        <a:pt x="8" y="167"/>
                      </a:lnTo>
                      <a:lnTo>
                        <a:pt x="8" y="165"/>
                      </a:lnTo>
                      <a:lnTo>
                        <a:pt x="7" y="165"/>
                      </a:lnTo>
                      <a:lnTo>
                        <a:pt x="6" y="165"/>
                      </a:lnTo>
                      <a:lnTo>
                        <a:pt x="5" y="164"/>
                      </a:lnTo>
                      <a:lnTo>
                        <a:pt x="5" y="163"/>
                      </a:lnTo>
                      <a:lnTo>
                        <a:pt x="6" y="163"/>
                      </a:lnTo>
                      <a:lnTo>
                        <a:pt x="6" y="162"/>
                      </a:lnTo>
                      <a:lnTo>
                        <a:pt x="6" y="161"/>
                      </a:lnTo>
                      <a:lnTo>
                        <a:pt x="5" y="161"/>
                      </a:lnTo>
                      <a:lnTo>
                        <a:pt x="4" y="162"/>
                      </a:lnTo>
                      <a:lnTo>
                        <a:pt x="5" y="162"/>
                      </a:lnTo>
                      <a:lnTo>
                        <a:pt x="4" y="162"/>
                      </a:lnTo>
                      <a:lnTo>
                        <a:pt x="2" y="162"/>
                      </a:lnTo>
                      <a:lnTo>
                        <a:pt x="2" y="161"/>
                      </a:lnTo>
                      <a:lnTo>
                        <a:pt x="2" y="160"/>
                      </a:lnTo>
                      <a:lnTo>
                        <a:pt x="1" y="158"/>
                      </a:lnTo>
                      <a:lnTo>
                        <a:pt x="1" y="157"/>
                      </a:lnTo>
                      <a:lnTo>
                        <a:pt x="0" y="157"/>
                      </a:lnTo>
                      <a:lnTo>
                        <a:pt x="0" y="156"/>
                      </a:lnTo>
                      <a:lnTo>
                        <a:pt x="1" y="156"/>
                      </a:lnTo>
                      <a:lnTo>
                        <a:pt x="1" y="155"/>
                      </a:lnTo>
                      <a:lnTo>
                        <a:pt x="1" y="154"/>
                      </a:lnTo>
                      <a:lnTo>
                        <a:pt x="2" y="153"/>
                      </a:lnTo>
                      <a:lnTo>
                        <a:pt x="2" y="151"/>
                      </a:lnTo>
                      <a:lnTo>
                        <a:pt x="4" y="149"/>
                      </a:lnTo>
                      <a:lnTo>
                        <a:pt x="5" y="149"/>
                      </a:lnTo>
                      <a:lnTo>
                        <a:pt x="5" y="148"/>
                      </a:lnTo>
                      <a:lnTo>
                        <a:pt x="5" y="147"/>
                      </a:lnTo>
                      <a:lnTo>
                        <a:pt x="5" y="146"/>
                      </a:lnTo>
                      <a:lnTo>
                        <a:pt x="5" y="144"/>
                      </a:lnTo>
                      <a:lnTo>
                        <a:pt x="6" y="144"/>
                      </a:lnTo>
                      <a:lnTo>
                        <a:pt x="6" y="141"/>
                      </a:lnTo>
                      <a:lnTo>
                        <a:pt x="7" y="140"/>
                      </a:lnTo>
                      <a:lnTo>
                        <a:pt x="8" y="140"/>
                      </a:lnTo>
                      <a:lnTo>
                        <a:pt x="9" y="139"/>
                      </a:lnTo>
                      <a:lnTo>
                        <a:pt x="11" y="139"/>
                      </a:lnTo>
                      <a:lnTo>
                        <a:pt x="11" y="137"/>
                      </a:lnTo>
                      <a:lnTo>
                        <a:pt x="12" y="136"/>
                      </a:lnTo>
                      <a:lnTo>
                        <a:pt x="12" y="135"/>
                      </a:lnTo>
                      <a:lnTo>
                        <a:pt x="14" y="134"/>
                      </a:lnTo>
                      <a:lnTo>
                        <a:pt x="15" y="132"/>
                      </a:lnTo>
                      <a:lnTo>
                        <a:pt x="16" y="130"/>
                      </a:lnTo>
                      <a:lnTo>
                        <a:pt x="16" y="129"/>
                      </a:lnTo>
                      <a:lnTo>
                        <a:pt x="16" y="128"/>
                      </a:lnTo>
                      <a:lnTo>
                        <a:pt x="16" y="127"/>
                      </a:lnTo>
                      <a:lnTo>
                        <a:pt x="18" y="126"/>
                      </a:lnTo>
                      <a:lnTo>
                        <a:pt x="18" y="125"/>
                      </a:lnTo>
                      <a:lnTo>
                        <a:pt x="19" y="125"/>
                      </a:lnTo>
                      <a:lnTo>
                        <a:pt x="20" y="125"/>
                      </a:lnTo>
                      <a:lnTo>
                        <a:pt x="20" y="123"/>
                      </a:lnTo>
                      <a:lnTo>
                        <a:pt x="21" y="122"/>
                      </a:lnTo>
                      <a:lnTo>
                        <a:pt x="22" y="122"/>
                      </a:lnTo>
                      <a:lnTo>
                        <a:pt x="23" y="121"/>
                      </a:lnTo>
                      <a:lnTo>
                        <a:pt x="27" y="121"/>
                      </a:lnTo>
                      <a:lnTo>
                        <a:pt x="28" y="120"/>
                      </a:lnTo>
                      <a:lnTo>
                        <a:pt x="28" y="119"/>
                      </a:lnTo>
                      <a:lnTo>
                        <a:pt x="28" y="118"/>
                      </a:lnTo>
                      <a:lnTo>
                        <a:pt x="27" y="116"/>
                      </a:lnTo>
                      <a:lnTo>
                        <a:pt x="27" y="115"/>
                      </a:lnTo>
                      <a:lnTo>
                        <a:pt x="29" y="114"/>
                      </a:lnTo>
                      <a:lnTo>
                        <a:pt x="29" y="112"/>
                      </a:lnTo>
                      <a:lnTo>
                        <a:pt x="30" y="111"/>
                      </a:lnTo>
                      <a:lnTo>
                        <a:pt x="31" y="109"/>
                      </a:lnTo>
                      <a:lnTo>
                        <a:pt x="33" y="107"/>
                      </a:lnTo>
                      <a:lnTo>
                        <a:pt x="34" y="106"/>
                      </a:lnTo>
                      <a:lnTo>
                        <a:pt x="34" y="100"/>
                      </a:lnTo>
                      <a:lnTo>
                        <a:pt x="34" y="99"/>
                      </a:lnTo>
                      <a:lnTo>
                        <a:pt x="34" y="98"/>
                      </a:lnTo>
                      <a:lnTo>
                        <a:pt x="33" y="98"/>
                      </a:lnTo>
                      <a:lnTo>
                        <a:pt x="33" y="97"/>
                      </a:lnTo>
                      <a:lnTo>
                        <a:pt x="33" y="95"/>
                      </a:lnTo>
                      <a:lnTo>
                        <a:pt x="33" y="93"/>
                      </a:lnTo>
                      <a:lnTo>
                        <a:pt x="31" y="90"/>
                      </a:lnTo>
                      <a:lnTo>
                        <a:pt x="31" y="88"/>
                      </a:lnTo>
                      <a:lnTo>
                        <a:pt x="30" y="85"/>
                      </a:lnTo>
                      <a:lnTo>
                        <a:pt x="29" y="84"/>
                      </a:lnTo>
                      <a:lnTo>
                        <a:pt x="30" y="83"/>
                      </a:lnTo>
                      <a:lnTo>
                        <a:pt x="31" y="83"/>
                      </a:lnTo>
                      <a:lnTo>
                        <a:pt x="31" y="81"/>
                      </a:lnTo>
                      <a:lnTo>
                        <a:pt x="31" y="80"/>
                      </a:lnTo>
                      <a:lnTo>
                        <a:pt x="30" y="79"/>
                      </a:lnTo>
                      <a:lnTo>
                        <a:pt x="30" y="78"/>
                      </a:lnTo>
                      <a:lnTo>
                        <a:pt x="30" y="77"/>
                      </a:lnTo>
                      <a:lnTo>
                        <a:pt x="29" y="77"/>
                      </a:lnTo>
                      <a:lnTo>
                        <a:pt x="29" y="78"/>
                      </a:lnTo>
                      <a:lnTo>
                        <a:pt x="28" y="77"/>
                      </a:lnTo>
                      <a:lnTo>
                        <a:pt x="27" y="74"/>
                      </a:lnTo>
                      <a:lnTo>
                        <a:pt x="27" y="72"/>
                      </a:lnTo>
                      <a:lnTo>
                        <a:pt x="26" y="70"/>
                      </a:lnTo>
                      <a:lnTo>
                        <a:pt x="26" y="69"/>
                      </a:lnTo>
                      <a:lnTo>
                        <a:pt x="24" y="69"/>
                      </a:lnTo>
                      <a:lnTo>
                        <a:pt x="23" y="69"/>
                      </a:lnTo>
                      <a:lnTo>
                        <a:pt x="22" y="69"/>
                      </a:lnTo>
                      <a:lnTo>
                        <a:pt x="22" y="67"/>
                      </a:lnTo>
                      <a:lnTo>
                        <a:pt x="21" y="66"/>
                      </a:lnTo>
                      <a:lnTo>
                        <a:pt x="20" y="62"/>
                      </a:lnTo>
                      <a:lnTo>
                        <a:pt x="20" y="60"/>
                      </a:lnTo>
                      <a:lnTo>
                        <a:pt x="19" y="60"/>
                      </a:lnTo>
                      <a:lnTo>
                        <a:pt x="18" y="60"/>
                      </a:lnTo>
                      <a:lnTo>
                        <a:pt x="16" y="59"/>
                      </a:lnTo>
                      <a:lnTo>
                        <a:pt x="16" y="55"/>
                      </a:lnTo>
                      <a:lnTo>
                        <a:pt x="15" y="53"/>
                      </a:lnTo>
                      <a:lnTo>
                        <a:pt x="15" y="52"/>
                      </a:lnTo>
                      <a:lnTo>
                        <a:pt x="15" y="51"/>
                      </a:lnTo>
                      <a:lnTo>
                        <a:pt x="15" y="50"/>
                      </a:lnTo>
                      <a:lnTo>
                        <a:pt x="14" y="50"/>
                      </a:lnTo>
                      <a:lnTo>
                        <a:pt x="15" y="49"/>
                      </a:lnTo>
                      <a:lnTo>
                        <a:pt x="16" y="48"/>
                      </a:lnTo>
                      <a:lnTo>
                        <a:pt x="16" y="46"/>
                      </a:lnTo>
                      <a:lnTo>
                        <a:pt x="16" y="44"/>
                      </a:lnTo>
                      <a:lnTo>
                        <a:pt x="16" y="43"/>
                      </a:lnTo>
                      <a:lnTo>
                        <a:pt x="15" y="43"/>
                      </a:lnTo>
                      <a:lnTo>
                        <a:pt x="14" y="42"/>
                      </a:lnTo>
                      <a:lnTo>
                        <a:pt x="13" y="42"/>
                      </a:lnTo>
                      <a:lnTo>
                        <a:pt x="12" y="42"/>
                      </a:lnTo>
                      <a:lnTo>
                        <a:pt x="11" y="41"/>
                      </a:lnTo>
                      <a:lnTo>
                        <a:pt x="11" y="39"/>
                      </a:lnTo>
                      <a:lnTo>
                        <a:pt x="9" y="39"/>
                      </a:lnTo>
                      <a:lnTo>
                        <a:pt x="8" y="39"/>
                      </a:lnTo>
                      <a:lnTo>
                        <a:pt x="8" y="41"/>
                      </a:lnTo>
                      <a:lnTo>
                        <a:pt x="7" y="39"/>
                      </a:lnTo>
                      <a:lnTo>
                        <a:pt x="8" y="39"/>
                      </a:lnTo>
                      <a:lnTo>
                        <a:pt x="8" y="38"/>
                      </a:lnTo>
                      <a:lnTo>
                        <a:pt x="7" y="38"/>
                      </a:lnTo>
                      <a:lnTo>
                        <a:pt x="8" y="37"/>
                      </a:lnTo>
                      <a:lnTo>
                        <a:pt x="9" y="37"/>
                      </a:lnTo>
                      <a:lnTo>
                        <a:pt x="8" y="36"/>
                      </a:lnTo>
                      <a:lnTo>
                        <a:pt x="6" y="37"/>
                      </a:lnTo>
                      <a:lnTo>
                        <a:pt x="5" y="37"/>
                      </a:lnTo>
                      <a:lnTo>
                        <a:pt x="5" y="36"/>
                      </a:lnTo>
                      <a:lnTo>
                        <a:pt x="6" y="36"/>
                      </a:lnTo>
                      <a:lnTo>
                        <a:pt x="6" y="35"/>
                      </a:lnTo>
                      <a:lnTo>
                        <a:pt x="6" y="34"/>
                      </a:lnTo>
                      <a:lnTo>
                        <a:pt x="5" y="34"/>
                      </a:lnTo>
                      <a:lnTo>
                        <a:pt x="5" y="32"/>
                      </a:lnTo>
                      <a:lnTo>
                        <a:pt x="5" y="31"/>
                      </a:lnTo>
                      <a:lnTo>
                        <a:pt x="5" y="30"/>
                      </a:lnTo>
                      <a:lnTo>
                        <a:pt x="4" y="29"/>
                      </a:lnTo>
                      <a:lnTo>
                        <a:pt x="4" y="28"/>
                      </a:lnTo>
                      <a:lnTo>
                        <a:pt x="4" y="27"/>
                      </a:lnTo>
                      <a:lnTo>
                        <a:pt x="2" y="27"/>
                      </a:lnTo>
                      <a:lnTo>
                        <a:pt x="2" y="25"/>
                      </a:lnTo>
                      <a:lnTo>
                        <a:pt x="5" y="23"/>
                      </a:lnTo>
                      <a:lnTo>
                        <a:pt x="8" y="20"/>
                      </a:lnTo>
                      <a:lnTo>
                        <a:pt x="12" y="16"/>
                      </a:lnTo>
                      <a:lnTo>
                        <a:pt x="15" y="14"/>
                      </a:lnTo>
                      <a:lnTo>
                        <a:pt x="18" y="11"/>
                      </a:lnTo>
                      <a:lnTo>
                        <a:pt x="20" y="10"/>
                      </a:lnTo>
                      <a:lnTo>
                        <a:pt x="22" y="10"/>
                      </a:lnTo>
                      <a:lnTo>
                        <a:pt x="23" y="9"/>
                      </a:lnTo>
                      <a:lnTo>
                        <a:pt x="27" y="8"/>
                      </a:lnTo>
                      <a:lnTo>
                        <a:pt x="29" y="7"/>
                      </a:lnTo>
                      <a:lnTo>
                        <a:pt x="31" y="6"/>
                      </a:lnTo>
                      <a:lnTo>
                        <a:pt x="35" y="4"/>
                      </a:lnTo>
                      <a:lnTo>
                        <a:pt x="37" y="3"/>
                      </a:lnTo>
                      <a:lnTo>
                        <a:pt x="40" y="2"/>
                      </a:lnTo>
                      <a:lnTo>
                        <a:pt x="42" y="2"/>
                      </a:lnTo>
                      <a:lnTo>
                        <a:pt x="43" y="3"/>
                      </a:lnTo>
                      <a:lnTo>
                        <a:pt x="45" y="2"/>
                      </a:lnTo>
                      <a:lnTo>
                        <a:pt x="48" y="0"/>
                      </a:lnTo>
                      <a:lnTo>
                        <a:pt x="48" y="1"/>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6" name="Freeform 99">
                  <a:extLst>
                    <a:ext uri="{FF2B5EF4-FFF2-40B4-BE49-F238E27FC236}">
                      <a16:creationId xmlns:a16="http://schemas.microsoft.com/office/drawing/2014/main" id="{4449ACEF-EEBB-50C8-6D3D-EDF5C7319221}"/>
                    </a:ext>
                  </a:extLst>
                </p:cNvPr>
                <p:cNvSpPr>
                  <a:spLocks/>
                </p:cNvSpPr>
                <p:nvPr/>
              </p:nvSpPr>
              <p:spPr bwMode="auto">
                <a:xfrm>
                  <a:off x="5631983" y="2477821"/>
                  <a:ext cx="547357" cy="581971"/>
                </a:xfrm>
                <a:custGeom>
                  <a:avLst/>
                  <a:gdLst>
                    <a:gd name="T0" fmla="*/ 369 w 506"/>
                    <a:gd name="T1" fmla="*/ 14 h 538"/>
                    <a:gd name="T2" fmla="*/ 389 w 506"/>
                    <a:gd name="T3" fmla="*/ 28 h 538"/>
                    <a:gd name="T4" fmla="*/ 417 w 506"/>
                    <a:gd name="T5" fmla="*/ 28 h 538"/>
                    <a:gd name="T6" fmla="*/ 432 w 506"/>
                    <a:gd name="T7" fmla="*/ 28 h 538"/>
                    <a:gd name="T8" fmla="*/ 444 w 506"/>
                    <a:gd name="T9" fmla="*/ 25 h 538"/>
                    <a:gd name="T10" fmla="*/ 446 w 506"/>
                    <a:gd name="T11" fmla="*/ 26 h 538"/>
                    <a:gd name="T12" fmla="*/ 466 w 506"/>
                    <a:gd name="T13" fmla="*/ 32 h 538"/>
                    <a:gd name="T14" fmla="*/ 476 w 506"/>
                    <a:gd name="T15" fmla="*/ 42 h 538"/>
                    <a:gd name="T16" fmla="*/ 483 w 506"/>
                    <a:gd name="T17" fmla="*/ 63 h 538"/>
                    <a:gd name="T18" fmla="*/ 486 w 506"/>
                    <a:gd name="T19" fmla="*/ 88 h 538"/>
                    <a:gd name="T20" fmla="*/ 490 w 506"/>
                    <a:gd name="T21" fmla="*/ 110 h 538"/>
                    <a:gd name="T22" fmla="*/ 504 w 506"/>
                    <a:gd name="T23" fmla="*/ 134 h 538"/>
                    <a:gd name="T24" fmla="*/ 502 w 506"/>
                    <a:gd name="T25" fmla="*/ 145 h 538"/>
                    <a:gd name="T26" fmla="*/ 479 w 506"/>
                    <a:gd name="T27" fmla="*/ 147 h 538"/>
                    <a:gd name="T28" fmla="*/ 444 w 506"/>
                    <a:gd name="T29" fmla="*/ 160 h 538"/>
                    <a:gd name="T30" fmla="*/ 417 w 506"/>
                    <a:gd name="T31" fmla="*/ 183 h 538"/>
                    <a:gd name="T32" fmla="*/ 426 w 506"/>
                    <a:gd name="T33" fmla="*/ 192 h 538"/>
                    <a:gd name="T34" fmla="*/ 384 w 506"/>
                    <a:gd name="T35" fmla="*/ 221 h 538"/>
                    <a:gd name="T36" fmla="*/ 345 w 506"/>
                    <a:gd name="T37" fmla="*/ 243 h 538"/>
                    <a:gd name="T38" fmla="*/ 299 w 506"/>
                    <a:gd name="T39" fmla="*/ 251 h 538"/>
                    <a:gd name="T40" fmla="*/ 274 w 506"/>
                    <a:gd name="T41" fmla="*/ 269 h 538"/>
                    <a:gd name="T42" fmla="*/ 263 w 506"/>
                    <a:gd name="T43" fmla="*/ 288 h 538"/>
                    <a:gd name="T44" fmla="*/ 261 w 506"/>
                    <a:gd name="T45" fmla="*/ 314 h 538"/>
                    <a:gd name="T46" fmla="*/ 254 w 506"/>
                    <a:gd name="T47" fmla="*/ 335 h 538"/>
                    <a:gd name="T48" fmla="*/ 220 w 506"/>
                    <a:gd name="T49" fmla="*/ 342 h 538"/>
                    <a:gd name="T50" fmla="*/ 184 w 506"/>
                    <a:gd name="T51" fmla="*/ 342 h 538"/>
                    <a:gd name="T52" fmla="*/ 168 w 506"/>
                    <a:gd name="T53" fmla="*/ 368 h 538"/>
                    <a:gd name="T54" fmla="*/ 152 w 506"/>
                    <a:gd name="T55" fmla="*/ 393 h 538"/>
                    <a:gd name="T56" fmla="*/ 128 w 506"/>
                    <a:gd name="T57" fmla="*/ 430 h 538"/>
                    <a:gd name="T58" fmla="*/ 100 w 506"/>
                    <a:gd name="T59" fmla="*/ 456 h 538"/>
                    <a:gd name="T60" fmla="*/ 89 w 506"/>
                    <a:gd name="T61" fmla="*/ 507 h 538"/>
                    <a:gd name="T62" fmla="*/ 72 w 506"/>
                    <a:gd name="T63" fmla="*/ 535 h 538"/>
                    <a:gd name="T64" fmla="*/ 3 w 506"/>
                    <a:gd name="T65" fmla="*/ 538 h 538"/>
                    <a:gd name="T66" fmla="*/ 3 w 506"/>
                    <a:gd name="T67" fmla="*/ 521 h 538"/>
                    <a:gd name="T68" fmla="*/ 19 w 506"/>
                    <a:gd name="T69" fmla="*/ 501 h 538"/>
                    <a:gd name="T70" fmla="*/ 27 w 506"/>
                    <a:gd name="T71" fmla="*/ 483 h 538"/>
                    <a:gd name="T72" fmla="*/ 33 w 506"/>
                    <a:gd name="T73" fmla="*/ 466 h 538"/>
                    <a:gd name="T74" fmla="*/ 38 w 506"/>
                    <a:gd name="T75" fmla="*/ 453 h 538"/>
                    <a:gd name="T76" fmla="*/ 32 w 506"/>
                    <a:gd name="T77" fmla="*/ 460 h 538"/>
                    <a:gd name="T78" fmla="*/ 46 w 506"/>
                    <a:gd name="T79" fmla="*/ 445 h 538"/>
                    <a:gd name="T80" fmla="*/ 61 w 506"/>
                    <a:gd name="T81" fmla="*/ 430 h 538"/>
                    <a:gd name="T82" fmla="*/ 68 w 506"/>
                    <a:gd name="T83" fmla="*/ 412 h 538"/>
                    <a:gd name="T84" fmla="*/ 74 w 506"/>
                    <a:gd name="T85" fmla="*/ 385 h 538"/>
                    <a:gd name="T86" fmla="*/ 86 w 506"/>
                    <a:gd name="T87" fmla="*/ 364 h 538"/>
                    <a:gd name="T88" fmla="*/ 112 w 506"/>
                    <a:gd name="T89" fmla="*/ 335 h 538"/>
                    <a:gd name="T90" fmla="*/ 125 w 506"/>
                    <a:gd name="T91" fmla="*/ 311 h 538"/>
                    <a:gd name="T92" fmla="*/ 174 w 506"/>
                    <a:gd name="T93" fmla="*/ 291 h 538"/>
                    <a:gd name="T94" fmla="*/ 185 w 506"/>
                    <a:gd name="T95" fmla="*/ 278 h 538"/>
                    <a:gd name="T96" fmla="*/ 213 w 506"/>
                    <a:gd name="T97" fmla="*/ 253 h 538"/>
                    <a:gd name="T98" fmla="*/ 228 w 506"/>
                    <a:gd name="T99" fmla="*/ 230 h 538"/>
                    <a:gd name="T100" fmla="*/ 227 w 506"/>
                    <a:gd name="T101" fmla="*/ 208 h 538"/>
                    <a:gd name="T102" fmla="*/ 224 w 506"/>
                    <a:gd name="T103" fmla="*/ 188 h 538"/>
                    <a:gd name="T104" fmla="*/ 228 w 506"/>
                    <a:gd name="T105" fmla="*/ 168 h 538"/>
                    <a:gd name="T106" fmla="*/ 241 w 506"/>
                    <a:gd name="T107" fmla="*/ 147 h 538"/>
                    <a:gd name="T108" fmla="*/ 250 w 506"/>
                    <a:gd name="T109" fmla="*/ 124 h 538"/>
                    <a:gd name="T110" fmla="*/ 271 w 506"/>
                    <a:gd name="T111" fmla="*/ 102 h 538"/>
                    <a:gd name="T112" fmla="*/ 292 w 506"/>
                    <a:gd name="T113" fmla="*/ 92 h 538"/>
                    <a:gd name="T114" fmla="*/ 306 w 506"/>
                    <a:gd name="T115" fmla="*/ 84 h 538"/>
                    <a:gd name="T116" fmla="*/ 328 w 506"/>
                    <a:gd name="T117" fmla="*/ 59 h 538"/>
                    <a:gd name="T118" fmla="*/ 347 w 506"/>
                    <a:gd name="T119" fmla="*/ 7 h 538"/>
                    <a:gd name="T120" fmla="*/ 360 w 506"/>
                    <a:gd name="T121" fmla="*/ 4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6" h="538">
                      <a:moveTo>
                        <a:pt x="364" y="0"/>
                      </a:moveTo>
                      <a:lnTo>
                        <a:pt x="364" y="1"/>
                      </a:lnTo>
                      <a:lnTo>
                        <a:pt x="364" y="3"/>
                      </a:lnTo>
                      <a:lnTo>
                        <a:pt x="366" y="3"/>
                      </a:lnTo>
                      <a:lnTo>
                        <a:pt x="366" y="4"/>
                      </a:lnTo>
                      <a:lnTo>
                        <a:pt x="366" y="5"/>
                      </a:lnTo>
                      <a:lnTo>
                        <a:pt x="367" y="7"/>
                      </a:lnTo>
                      <a:lnTo>
                        <a:pt x="367" y="8"/>
                      </a:lnTo>
                      <a:lnTo>
                        <a:pt x="367" y="10"/>
                      </a:lnTo>
                      <a:lnTo>
                        <a:pt x="368" y="10"/>
                      </a:lnTo>
                      <a:lnTo>
                        <a:pt x="368" y="11"/>
                      </a:lnTo>
                      <a:lnTo>
                        <a:pt x="369" y="13"/>
                      </a:lnTo>
                      <a:lnTo>
                        <a:pt x="369" y="14"/>
                      </a:lnTo>
                      <a:lnTo>
                        <a:pt x="370" y="14"/>
                      </a:lnTo>
                      <a:lnTo>
                        <a:pt x="371" y="15"/>
                      </a:lnTo>
                      <a:lnTo>
                        <a:pt x="373" y="17"/>
                      </a:lnTo>
                      <a:lnTo>
                        <a:pt x="375" y="20"/>
                      </a:lnTo>
                      <a:lnTo>
                        <a:pt x="376" y="21"/>
                      </a:lnTo>
                      <a:lnTo>
                        <a:pt x="377" y="21"/>
                      </a:lnTo>
                      <a:lnTo>
                        <a:pt x="378" y="22"/>
                      </a:lnTo>
                      <a:lnTo>
                        <a:pt x="380" y="24"/>
                      </a:lnTo>
                      <a:lnTo>
                        <a:pt x="381" y="25"/>
                      </a:lnTo>
                      <a:lnTo>
                        <a:pt x="382" y="25"/>
                      </a:lnTo>
                      <a:lnTo>
                        <a:pt x="383" y="27"/>
                      </a:lnTo>
                      <a:lnTo>
                        <a:pt x="385" y="27"/>
                      </a:lnTo>
                      <a:lnTo>
                        <a:pt x="389" y="28"/>
                      </a:lnTo>
                      <a:lnTo>
                        <a:pt x="394" y="29"/>
                      </a:lnTo>
                      <a:lnTo>
                        <a:pt x="398" y="31"/>
                      </a:lnTo>
                      <a:lnTo>
                        <a:pt x="399" y="31"/>
                      </a:lnTo>
                      <a:lnTo>
                        <a:pt x="401" y="29"/>
                      </a:lnTo>
                      <a:lnTo>
                        <a:pt x="405" y="28"/>
                      </a:lnTo>
                      <a:lnTo>
                        <a:pt x="409" y="27"/>
                      </a:lnTo>
                      <a:lnTo>
                        <a:pt x="411" y="27"/>
                      </a:lnTo>
                      <a:lnTo>
                        <a:pt x="412" y="26"/>
                      </a:lnTo>
                      <a:lnTo>
                        <a:pt x="412" y="27"/>
                      </a:lnTo>
                      <a:lnTo>
                        <a:pt x="413" y="28"/>
                      </a:lnTo>
                      <a:lnTo>
                        <a:pt x="415" y="28"/>
                      </a:lnTo>
                      <a:lnTo>
                        <a:pt x="416" y="28"/>
                      </a:lnTo>
                      <a:lnTo>
                        <a:pt x="417" y="28"/>
                      </a:lnTo>
                      <a:lnTo>
                        <a:pt x="418" y="27"/>
                      </a:lnTo>
                      <a:lnTo>
                        <a:pt x="418" y="26"/>
                      </a:lnTo>
                      <a:lnTo>
                        <a:pt x="418" y="25"/>
                      </a:lnTo>
                      <a:lnTo>
                        <a:pt x="419" y="25"/>
                      </a:lnTo>
                      <a:lnTo>
                        <a:pt x="420" y="25"/>
                      </a:lnTo>
                      <a:lnTo>
                        <a:pt x="420" y="26"/>
                      </a:lnTo>
                      <a:lnTo>
                        <a:pt x="423" y="27"/>
                      </a:lnTo>
                      <a:lnTo>
                        <a:pt x="425" y="27"/>
                      </a:lnTo>
                      <a:lnTo>
                        <a:pt x="426" y="28"/>
                      </a:lnTo>
                      <a:lnTo>
                        <a:pt x="427" y="28"/>
                      </a:lnTo>
                      <a:lnTo>
                        <a:pt x="428" y="28"/>
                      </a:lnTo>
                      <a:lnTo>
                        <a:pt x="431" y="28"/>
                      </a:lnTo>
                      <a:lnTo>
                        <a:pt x="432" y="28"/>
                      </a:lnTo>
                      <a:lnTo>
                        <a:pt x="435" y="27"/>
                      </a:lnTo>
                      <a:lnTo>
                        <a:pt x="437" y="26"/>
                      </a:lnTo>
                      <a:lnTo>
                        <a:pt x="438" y="25"/>
                      </a:lnTo>
                      <a:lnTo>
                        <a:pt x="439" y="25"/>
                      </a:lnTo>
                      <a:lnTo>
                        <a:pt x="440" y="24"/>
                      </a:lnTo>
                      <a:lnTo>
                        <a:pt x="441" y="20"/>
                      </a:lnTo>
                      <a:lnTo>
                        <a:pt x="442" y="19"/>
                      </a:lnTo>
                      <a:lnTo>
                        <a:pt x="444" y="19"/>
                      </a:lnTo>
                      <a:lnTo>
                        <a:pt x="444" y="20"/>
                      </a:lnTo>
                      <a:lnTo>
                        <a:pt x="444" y="21"/>
                      </a:lnTo>
                      <a:lnTo>
                        <a:pt x="444" y="22"/>
                      </a:lnTo>
                      <a:lnTo>
                        <a:pt x="442" y="24"/>
                      </a:lnTo>
                      <a:lnTo>
                        <a:pt x="444" y="25"/>
                      </a:lnTo>
                      <a:lnTo>
                        <a:pt x="444" y="26"/>
                      </a:lnTo>
                      <a:lnTo>
                        <a:pt x="445" y="25"/>
                      </a:lnTo>
                      <a:lnTo>
                        <a:pt x="445" y="26"/>
                      </a:lnTo>
                      <a:lnTo>
                        <a:pt x="445" y="27"/>
                      </a:lnTo>
                      <a:lnTo>
                        <a:pt x="445" y="28"/>
                      </a:lnTo>
                      <a:lnTo>
                        <a:pt x="445" y="29"/>
                      </a:lnTo>
                      <a:lnTo>
                        <a:pt x="446" y="31"/>
                      </a:lnTo>
                      <a:lnTo>
                        <a:pt x="447" y="31"/>
                      </a:lnTo>
                      <a:lnTo>
                        <a:pt x="448" y="31"/>
                      </a:lnTo>
                      <a:lnTo>
                        <a:pt x="451" y="32"/>
                      </a:lnTo>
                      <a:lnTo>
                        <a:pt x="448" y="31"/>
                      </a:lnTo>
                      <a:lnTo>
                        <a:pt x="446" y="27"/>
                      </a:lnTo>
                      <a:lnTo>
                        <a:pt x="446" y="26"/>
                      </a:lnTo>
                      <a:lnTo>
                        <a:pt x="446" y="27"/>
                      </a:lnTo>
                      <a:lnTo>
                        <a:pt x="448" y="28"/>
                      </a:lnTo>
                      <a:lnTo>
                        <a:pt x="449" y="31"/>
                      </a:lnTo>
                      <a:lnTo>
                        <a:pt x="451" y="31"/>
                      </a:lnTo>
                      <a:lnTo>
                        <a:pt x="453" y="32"/>
                      </a:lnTo>
                      <a:lnTo>
                        <a:pt x="456" y="32"/>
                      </a:lnTo>
                      <a:lnTo>
                        <a:pt x="458" y="32"/>
                      </a:lnTo>
                      <a:lnTo>
                        <a:pt x="459" y="32"/>
                      </a:lnTo>
                      <a:lnTo>
                        <a:pt x="460" y="31"/>
                      </a:lnTo>
                      <a:lnTo>
                        <a:pt x="461" y="29"/>
                      </a:lnTo>
                      <a:lnTo>
                        <a:pt x="463" y="31"/>
                      </a:lnTo>
                      <a:lnTo>
                        <a:pt x="465" y="31"/>
                      </a:lnTo>
                      <a:lnTo>
                        <a:pt x="466" y="32"/>
                      </a:lnTo>
                      <a:lnTo>
                        <a:pt x="467" y="32"/>
                      </a:lnTo>
                      <a:lnTo>
                        <a:pt x="467" y="34"/>
                      </a:lnTo>
                      <a:lnTo>
                        <a:pt x="467" y="35"/>
                      </a:lnTo>
                      <a:lnTo>
                        <a:pt x="468" y="35"/>
                      </a:lnTo>
                      <a:lnTo>
                        <a:pt x="469" y="36"/>
                      </a:lnTo>
                      <a:lnTo>
                        <a:pt x="470" y="36"/>
                      </a:lnTo>
                      <a:lnTo>
                        <a:pt x="472" y="38"/>
                      </a:lnTo>
                      <a:lnTo>
                        <a:pt x="473" y="39"/>
                      </a:lnTo>
                      <a:lnTo>
                        <a:pt x="474" y="39"/>
                      </a:lnTo>
                      <a:lnTo>
                        <a:pt x="474" y="40"/>
                      </a:lnTo>
                      <a:lnTo>
                        <a:pt x="475" y="40"/>
                      </a:lnTo>
                      <a:lnTo>
                        <a:pt x="475" y="41"/>
                      </a:lnTo>
                      <a:lnTo>
                        <a:pt x="476" y="42"/>
                      </a:lnTo>
                      <a:lnTo>
                        <a:pt x="477" y="43"/>
                      </a:lnTo>
                      <a:lnTo>
                        <a:pt x="481" y="45"/>
                      </a:lnTo>
                      <a:lnTo>
                        <a:pt x="482" y="46"/>
                      </a:lnTo>
                      <a:lnTo>
                        <a:pt x="481" y="46"/>
                      </a:lnTo>
                      <a:lnTo>
                        <a:pt x="481" y="48"/>
                      </a:lnTo>
                      <a:lnTo>
                        <a:pt x="479" y="50"/>
                      </a:lnTo>
                      <a:lnTo>
                        <a:pt x="479" y="52"/>
                      </a:lnTo>
                      <a:lnTo>
                        <a:pt x="482" y="55"/>
                      </a:lnTo>
                      <a:lnTo>
                        <a:pt x="483" y="55"/>
                      </a:lnTo>
                      <a:lnTo>
                        <a:pt x="484" y="56"/>
                      </a:lnTo>
                      <a:lnTo>
                        <a:pt x="481" y="60"/>
                      </a:lnTo>
                      <a:lnTo>
                        <a:pt x="482" y="61"/>
                      </a:lnTo>
                      <a:lnTo>
                        <a:pt x="483" y="63"/>
                      </a:lnTo>
                      <a:lnTo>
                        <a:pt x="486" y="70"/>
                      </a:lnTo>
                      <a:lnTo>
                        <a:pt x="486" y="71"/>
                      </a:lnTo>
                      <a:lnTo>
                        <a:pt x="486" y="73"/>
                      </a:lnTo>
                      <a:lnTo>
                        <a:pt x="484" y="78"/>
                      </a:lnTo>
                      <a:lnTo>
                        <a:pt x="484" y="81"/>
                      </a:lnTo>
                      <a:lnTo>
                        <a:pt x="484" y="82"/>
                      </a:lnTo>
                      <a:lnTo>
                        <a:pt x="484" y="83"/>
                      </a:lnTo>
                      <a:lnTo>
                        <a:pt x="484" y="84"/>
                      </a:lnTo>
                      <a:lnTo>
                        <a:pt x="483" y="85"/>
                      </a:lnTo>
                      <a:lnTo>
                        <a:pt x="483" y="87"/>
                      </a:lnTo>
                      <a:lnTo>
                        <a:pt x="484" y="87"/>
                      </a:lnTo>
                      <a:lnTo>
                        <a:pt x="484" y="88"/>
                      </a:lnTo>
                      <a:lnTo>
                        <a:pt x="486" y="88"/>
                      </a:lnTo>
                      <a:lnTo>
                        <a:pt x="488" y="91"/>
                      </a:lnTo>
                      <a:lnTo>
                        <a:pt x="488" y="92"/>
                      </a:lnTo>
                      <a:lnTo>
                        <a:pt x="487" y="94"/>
                      </a:lnTo>
                      <a:lnTo>
                        <a:pt x="487" y="95"/>
                      </a:lnTo>
                      <a:lnTo>
                        <a:pt x="486" y="97"/>
                      </a:lnTo>
                      <a:lnTo>
                        <a:pt x="486" y="98"/>
                      </a:lnTo>
                      <a:lnTo>
                        <a:pt x="486" y="103"/>
                      </a:lnTo>
                      <a:lnTo>
                        <a:pt x="486" y="104"/>
                      </a:lnTo>
                      <a:lnTo>
                        <a:pt x="488" y="105"/>
                      </a:lnTo>
                      <a:lnTo>
                        <a:pt x="488" y="106"/>
                      </a:lnTo>
                      <a:lnTo>
                        <a:pt x="488" y="108"/>
                      </a:lnTo>
                      <a:lnTo>
                        <a:pt x="489" y="109"/>
                      </a:lnTo>
                      <a:lnTo>
                        <a:pt x="490" y="110"/>
                      </a:lnTo>
                      <a:lnTo>
                        <a:pt x="491" y="110"/>
                      </a:lnTo>
                      <a:lnTo>
                        <a:pt x="491" y="111"/>
                      </a:lnTo>
                      <a:lnTo>
                        <a:pt x="491" y="112"/>
                      </a:lnTo>
                      <a:lnTo>
                        <a:pt x="491" y="113"/>
                      </a:lnTo>
                      <a:lnTo>
                        <a:pt x="491" y="115"/>
                      </a:lnTo>
                      <a:lnTo>
                        <a:pt x="489" y="116"/>
                      </a:lnTo>
                      <a:lnTo>
                        <a:pt x="494" y="123"/>
                      </a:lnTo>
                      <a:lnTo>
                        <a:pt x="495" y="124"/>
                      </a:lnTo>
                      <a:lnTo>
                        <a:pt x="497" y="124"/>
                      </a:lnTo>
                      <a:lnTo>
                        <a:pt x="506" y="131"/>
                      </a:lnTo>
                      <a:lnTo>
                        <a:pt x="506" y="132"/>
                      </a:lnTo>
                      <a:lnTo>
                        <a:pt x="505" y="134"/>
                      </a:lnTo>
                      <a:lnTo>
                        <a:pt x="504" y="134"/>
                      </a:lnTo>
                      <a:lnTo>
                        <a:pt x="503" y="136"/>
                      </a:lnTo>
                      <a:lnTo>
                        <a:pt x="502" y="136"/>
                      </a:lnTo>
                      <a:lnTo>
                        <a:pt x="501" y="136"/>
                      </a:lnTo>
                      <a:lnTo>
                        <a:pt x="501" y="137"/>
                      </a:lnTo>
                      <a:lnTo>
                        <a:pt x="499" y="137"/>
                      </a:lnTo>
                      <a:lnTo>
                        <a:pt x="499" y="139"/>
                      </a:lnTo>
                      <a:lnTo>
                        <a:pt x="499" y="143"/>
                      </a:lnTo>
                      <a:lnTo>
                        <a:pt x="499" y="144"/>
                      </a:lnTo>
                      <a:lnTo>
                        <a:pt x="498" y="144"/>
                      </a:lnTo>
                      <a:lnTo>
                        <a:pt x="498" y="145"/>
                      </a:lnTo>
                      <a:lnTo>
                        <a:pt x="499" y="145"/>
                      </a:lnTo>
                      <a:lnTo>
                        <a:pt x="501" y="145"/>
                      </a:lnTo>
                      <a:lnTo>
                        <a:pt x="502" y="145"/>
                      </a:lnTo>
                      <a:lnTo>
                        <a:pt x="502" y="146"/>
                      </a:lnTo>
                      <a:lnTo>
                        <a:pt x="501" y="147"/>
                      </a:lnTo>
                      <a:lnTo>
                        <a:pt x="499" y="147"/>
                      </a:lnTo>
                      <a:lnTo>
                        <a:pt x="497" y="147"/>
                      </a:lnTo>
                      <a:lnTo>
                        <a:pt x="496" y="147"/>
                      </a:lnTo>
                      <a:lnTo>
                        <a:pt x="495" y="147"/>
                      </a:lnTo>
                      <a:lnTo>
                        <a:pt x="494" y="147"/>
                      </a:lnTo>
                      <a:lnTo>
                        <a:pt x="491" y="147"/>
                      </a:lnTo>
                      <a:lnTo>
                        <a:pt x="489" y="147"/>
                      </a:lnTo>
                      <a:lnTo>
                        <a:pt x="487" y="147"/>
                      </a:lnTo>
                      <a:lnTo>
                        <a:pt x="484" y="147"/>
                      </a:lnTo>
                      <a:lnTo>
                        <a:pt x="482" y="147"/>
                      </a:lnTo>
                      <a:lnTo>
                        <a:pt x="479" y="147"/>
                      </a:lnTo>
                      <a:lnTo>
                        <a:pt x="476" y="147"/>
                      </a:lnTo>
                      <a:lnTo>
                        <a:pt x="473" y="147"/>
                      </a:lnTo>
                      <a:lnTo>
                        <a:pt x="470" y="147"/>
                      </a:lnTo>
                      <a:lnTo>
                        <a:pt x="468" y="146"/>
                      </a:lnTo>
                      <a:lnTo>
                        <a:pt x="466" y="146"/>
                      </a:lnTo>
                      <a:lnTo>
                        <a:pt x="463" y="146"/>
                      </a:lnTo>
                      <a:lnTo>
                        <a:pt x="459" y="146"/>
                      </a:lnTo>
                      <a:lnTo>
                        <a:pt x="453" y="148"/>
                      </a:lnTo>
                      <a:lnTo>
                        <a:pt x="447" y="148"/>
                      </a:lnTo>
                      <a:lnTo>
                        <a:pt x="446" y="150"/>
                      </a:lnTo>
                      <a:lnTo>
                        <a:pt x="448" y="155"/>
                      </a:lnTo>
                      <a:lnTo>
                        <a:pt x="449" y="159"/>
                      </a:lnTo>
                      <a:lnTo>
                        <a:pt x="444" y="160"/>
                      </a:lnTo>
                      <a:lnTo>
                        <a:pt x="437" y="162"/>
                      </a:lnTo>
                      <a:lnTo>
                        <a:pt x="427" y="164"/>
                      </a:lnTo>
                      <a:lnTo>
                        <a:pt x="426" y="165"/>
                      </a:lnTo>
                      <a:lnTo>
                        <a:pt x="425" y="164"/>
                      </a:lnTo>
                      <a:lnTo>
                        <a:pt x="423" y="165"/>
                      </a:lnTo>
                      <a:lnTo>
                        <a:pt x="423" y="175"/>
                      </a:lnTo>
                      <a:lnTo>
                        <a:pt x="420" y="175"/>
                      </a:lnTo>
                      <a:lnTo>
                        <a:pt x="418" y="176"/>
                      </a:lnTo>
                      <a:lnTo>
                        <a:pt x="418" y="178"/>
                      </a:lnTo>
                      <a:lnTo>
                        <a:pt x="418" y="180"/>
                      </a:lnTo>
                      <a:lnTo>
                        <a:pt x="418" y="181"/>
                      </a:lnTo>
                      <a:lnTo>
                        <a:pt x="417" y="182"/>
                      </a:lnTo>
                      <a:lnTo>
                        <a:pt x="417" y="183"/>
                      </a:lnTo>
                      <a:lnTo>
                        <a:pt x="417" y="185"/>
                      </a:lnTo>
                      <a:lnTo>
                        <a:pt x="418" y="185"/>
                      </a:lnTo>
                      <a:lnTo>
                        <a:pt x="418" y="183"/>
                      </a:lnTo>
                      <a:lnTo>
                        <a:pt x="419" y="183"/>
                      </a:lnTo>
                      <a:lnTo>
                        <a:pt x="420" y="182"/>
                      </a:lnTo>
                      <a:lnTo>
                        <a:pt x="420" y="183"/>
                      </a:lnTo>
                      <a:lnTo>
                        <a:pt x="422" y="183"/>
                      </a:lnTo>
                      <a:lnTo>
                        <a:pt x="422" y="185"/>
                      </a:lnTo>
                      <a:lnTo>
                        <a:pt x="423" y="186"/>
                      </a:lnTo>
                      <a:lnTo>
                        <a:pt x="424" y="186"/>
                      </a:lnTo>
                      <a:lnTo>
                        <a:pt x="424" y="187"/>
                      </a:lnTo>
                      <a:lnTo>
                        <a:pt x="425" y="188"/>
                      </a:lnTo>
                      <a:lnTo>
                        <a:pt x="426" y="192"/>
                      </a:lnTo>
                      <a:lnTo>
                        <a:pt x="425" y="194"/>
                      </a:lnTo>
                      <a:lnTo>
                        <a:pt x="423" y="195"/>
                      </a:lnTo>
                      <a:lnTo>
                        <a:pt x="423" y="197"/>
                      </a:lnTo>
                      <a:lnTo>
                        <a:pt x="424" y="200"/>
                      </a:lnTo>
                      <a:lnTo>
                        <a:pt x="418" y="203"/>
                      </a:lnTo>
                      <a:lnTo>
                        <a:pt x="412" y="204"/>
                      </a:lnTo>
                      <a:lnTo>
                        <a:pt x="408" y="206"/>
                      </a:lnTo>
                      <a:lnTo>
                        <a:pt x="403" y="207"/>
                      </a:lnTo>
                      <a:lnTo>
                        <a:pt x="401" y="208"/>
                      </a:lnTo>
                      <a:lnTo>
                        <a:pt x="397" y="213"/>
                      </a:lnTo>
                      <a:lnTo>
                        <a:pt x="392" y="216"/>
                      </a:lnTo>
                      <a:lnTo>
                        <a:pt x="388" y="218"/>
                      </a:lnTo>
                      <a:lnTo>
                        <a:pt x="384" y="221"/>
                      </a:lnTo>
                      <a:lnTo>
                        <a:pt x="382" y="223"/>
                      </a:lnTo>
                      <a:lnTo>
                        <a:pt x="378" y="225"/>
                      </a:lnTo>
                      <a:lnTo>
                        <a:pt x="375" y="228"/>
                      </a:lnTo>
                      <a:lnTo>
                        <a:pt x="371" y="231"/>
                      </a:lnTo>
                      <a:lnTo>
                        <a:pt x="369" y="236"/>
                      </a:lnTo>
                      <a:lnTo>
                        <a:pt x="367" y="241"/>
                      </a:lnTo>
                      <a:lnTo>
                        <a:pt x="363" y="245"/>
                      </a:lnTo>
                      <a:lnTo>
                        <a:pt x="360" y="246"/>
                      </a:lnTo>
                      <a:lnTo>
                        <a:pt x="358" y="245"/>
                      </a:lnTo>
                      <a:lnTo>
                        <a:pt x="356" y="242"/>
                      </a:lnTo>
                      <a:lnTo>
                        <a:pt x="352" y="243"/>
                      </a:lnTo>
                      <a:lnTo>
                        <a:pt x="348" y="243"/>
                      </a:lnTo>
                      <a:lnTo>
                        <a:pt x="345" y="243"/>
                      </a:lnTo>
                      <a:lnTo>
                        <a:pt x="340" y="243"/>
                      </a:lnTo>
                      <a:lnTo>
                        <a:pt x="335" y="244"/>
                      </a:lnTo>
                      <a:lnTo>
                        <a:pt x="331" y="245"/>
                      </a:lnTo>
                      <a:lnTo>
                        <a:pt x="326" y="246"/>
                      </a:lnTo>
                      <a:lnTo>
                        <a:pt x="324" y="249"/>
                      </a:lnTo>
                      <a:lnTo>
                        <a:pt x="318" y="246"/>
                      </a:lnTo>
                      <a:lnTo>
                        <a:pt x="314" y="246"/>
                      </a:lnTo>
                      <a:lnTo>
                        <a:pt x="312" y="246"/>
                      </a:lnTo>
                      <a:lnTo>
                        <a:pt x="307" y="248"/>
                      </a:lnTo>
                      <a:lnTo>
                        <a:pt x="305" y="251"/>
                      </a:lnTo>
                      <a:lnTo>
                        <a:pt x="302" y="251"/>
                      </a:lnTo>
                      <a:lnTo>
                        <a:pt x="300" y="251"/>
                      </a:lnTo>
                      <a:lnTo>
                        <a:pt x="299" y="251"/>
                      </a:lnTo>
                      <a:lnTo>
                        <a:pt x="298" y="251"/>
                      </a:lnTo>
                      <a:lnTo>
                        <a:pt x="297" y="251"/>
                      </a:lnTo>
                      <a:lnTo>
                        <a:pt x="296" y="251"/>
                      </a:lnTo>
                      <a:lnTo>
                        <a:pt x="294" y="253"/>
                      </a:lnTo>
                      <a:lnTo>
                        <a:pt x="291" y="255"/>
                      </a:lnTo>
                      <a:lnTo>
                        <a:pt x="290" y="257"/>
                      </a:lnTo>
                      <a:lnTo>
                        <a:pt x="287" y="259"/>
                      </a:lnTo>
                      <a:lnTo>
                        <a:pt x="283" y="262"/>
                      </a:lnTo>
                      <a:lnTo>
                        <a:pt x="282" y="263"/>
                      </a:lnTo>
                      <a:lnTo>
                        <a:pt x="278" y="264"/>
                      </a:lnTo>
                      <a:lnTo>
                        <a:pt x="276" y="266"/>
                      </a:lnTo>
                      <a:lnTo>
                        <a:pt x="275" y="267"/>
                      </a:lnTo>
                      <a:lnTo>
                        <a:pt x="274" y="269"/>
                      </a:lnTo>
                      <a:lnTo>
                        <a:pt x="273" y="269"/>
                      </a:lnTo>
                      <a:lnTo>
                        <a:pt x="271" y="271"/>
                      </a:lnTo>
                      <a:lnTo>
                        <a:pt x="270" y="272"/>
                      </a:lnTo>
                      <a:lnTo>
                        <a:pt x="269" y="272"/>
                      </a:lnTo>
                      <a:lnTo>
                        <a:pt x="268" y="273"/>
                      </a:lnTo>
                      <a:lnTo>
                        <a:pt x="264" y="276"/>
                      </a:lnTo>
                      <a:lnTo>
                        <a:pt x="263" y="277"/>
                      </a:lnTo>
                      <a:lnTo>
                        <a:pt x="263" y="278"/>
                      </a:lnTo>
                      <a:lnTo>
                        <a:pt x="263" y="280"/>
                      </a:lnTo>
                      <a:lnTo>
                        <a:pt x="263" y="281"/>
                      </a:lnTo>
                      <a:lnTo>
                        <a:pt x="263" y="284"/>
                      </a:lnTo>
                      <a:lnTo>
                        <a:pt x="263" y="286"/>
                      </a:lnTo>
                      <a:lnTo>
                        <a:pt x="263" y="288"/>
                      </a:lnTo>
                      <a:lnTo>
                        <a:pt x="263" y="291"/>
                      </a:lnTo>
                      <a:lnTo>
                        <a:pt x="263" y="293"/>
                      </a:lnTo>
                      <a:lnTo>
                        <a:pt x="263" y="295"/>
                      </a:lnTo>
                      <a:lnTo>
                        <a:pt x="263" y="297"/>
                      </a:lnTo>
                      <a:lnTo>
                        <a:pt x="263" y="299"/>
                      </a:lnTo>
                      <a:lnTo>
                        <a:pt x="263" y="301"/>
                      </a:lnTo>
                      <a:lnTo>
                        <a:pt x="263" y="304"/>
                      </a:lnTo>
                      <a:lnTo>
                        <a:pt x="263" y="306"/>
                      </a:lnTo>
                      <a:lnTo>
                        <a:pt x="263" y="308"/>
                      </a:lnTo>
                      <a:lnTo>
                        <a:pt x="263" y="311"/>
                      </a:lnTo>
                      <a:lnTo>
                        <a:pt x="263" y="313"/>
                      </a:lnTo>
                      <a:lnTo>
                        <a:pt x="263" y="314"/>
                      </a:lnTo>
                      <a:lnTo>
                        <a:pt x="261" y="314"/>
                      </a:lnTo>
                      <a:lnTo>
                        <a:pt x="259" y="314"/>
                      </a:lnTo>
                      <a:lnTo>
                        <a:pt x="260" y="316"/>
                      </a:lnTo>
                      <a:lnTo>
                        <a:pt x="260" y="319"/>
                      </a:lnTo>
                      <a:lnTo>
                        <a:pt x="261" y="322"/>
                      </a:lnTo>
                      <a:lnTo>
                        <a:pt x="260" y="323"/>
                      </a:lnTo>
                      <a:lnTo>
                        <a:pt x="260" y="326"/>
                      </a:lnTo>
                      <a:lnTo>
                        <a:pt x="260" y="327"/>
                      </a:lnTo>
                      <a:lnTo>
                        <a:pt x="261" y="329"/>
                      </a:lnTo>
                      <a:lnTo>
                        <a:pt x="261" y="332"/>
                      </a:lnTo>
                      <a:lnTo>
                        <a:pt x="261" y="333"/>
                      </a:lnTo>
                      <a:lnTo>
                        <a:pt x="260" y="334"/>
                      </a:lnTo>
                      <a:lnTo>
                        <a:pt x="257" y="335"/>
                      </a:lnTo>
                      <a:lnTo>
                        <a:pt x="254" y="335"/>
                      </a:lnTo>
                      <a:lnTo>
                        <a:pt x="250" y="335"/>
                      </a:lnTo>
                      <a:lnTo>
                        <a:pt x="247" y="335"/>
                      </a:lnTo>
                      <a:lnTo>
                        <a:pt x="245" y="335"/>
                      </a:lnTo>
                      <a:lnTo>
                        <a:pt x="242" y="335"/>
                      </a:lnTo>
                      <a:lnTo>
                        <a:pt x="240" y="335"/>
                      </a:lnTo>
                      <a:lnTo>
                        <a:pt x="238" y="337"/>
                      </a:lnTo>
                      <a:lnTo>
                        <a:pt x="235" y="339"/>
                      </a:lnTo>
                      <a:lnTo>
                        <a:pt x="232" y="342"/>
                      </a:lnTo>
                      <a:lnTo>
                        <a:pt x="230" y="344"/>
                      </a:lnTo>
                      <a:lnTo>
                        <a:pt x="227" y="344"/>
                      </a:lnTo>
                      <a:lnTo>
                        <a:pt x="225" y="344"/>
                      </a:lnTo>
                      <a:lnTo>
                        <a:pt x="223" y="343"/>
                      </a:lnTo>
                      <a:lnTo>
                        <a:pt x="220" y="342"/>
                      </a:lnTo>
                      <a:lnTo>
                        <a:pt x="219" y="342"/>
                      </a:lnTo>
                      <a:lnTo>
                        <a:pt x="218" y="343"/>
                      </a:lnTo>
                      <a:lnTo>
                        <a:pt x="216" y="344"/>
                      </a:lnTo>
                      <a:lnTo>
                        <a:pt x="213" y="344"/>
                      </a:lnTo>
                      <a:lnTo>
                        <a:pt x="210" y="343"/>
                      </a:lnTo>
                      <a:lnTo>
                        <a:pt x="206" y="341"/>
                      </a:lnTo>
                      <a:lnTo>
                        <a:pt x="204" y="340"/>
                      </a:lnTo>
                      <a:lnTo>
                        <a:pt x="200" y="340"/>
                      </a:lnTo>
                      <a:lnTo>
                        <a:pt x="197" y="339"/>
                      </a:lnTo>
                      <a:lnTo>
                        <a:pt x="195" y="339"/>
                      </a:lnTo>
                      <a:lnTo>
                        <a:pt x="192" y="339"/>
                      </a:lnTo>
                      <a:lnTo>
                        <a:pt x="188" y="341"/>
                      </a:lnTo>
                      <a:lnTo>
                        <a:pt x="184" y="342"/>
                      </a:lnTo>
                      <a:lnTo>
                        <a:pt x="181" y="343"/>
                      </a:lnTo>
                      <a:lnTo>
                        <a:pt x="177" y="344"/>
                      </a:lnTo>
                      <a:lnTo>
                        <a:pt x="178" y="347"/>
                      </a:lnTo>
                      <a:lnTo>
                        <a:pt x="179" y="349"/>
                      </a:lnTo>
                      <a:lnTo>
                        <a:pt x="179" y="351"/>
                      </a:lnTo>
                      <a:lnTo>
                        <a:pt x="178" y="353"/>
                      </a:lnTo>
                      <a:lnTo>
                        <a:pt x="177" y="355"/>
                      </a:lnTo>
                      <a:lnTo>
                        <a:pt x="175" y="357"/>
                      </a:lnTo>
                      <a:lnTo>
                        <a:pt x="174" y="358"/>
                      </a:lnTo>
                      <a:lnTo>
                        <a:pt x="172" y="361"/>
                      </a:lnTo>
                      <a:lnTo>
                        <a:pt x="171" y="363"/>
                      </a:lnTo>
                      <a:lnTo>
                        <a:pt x="169" y="365"/>
                      </a:lnTo>
                      <a:lnTo>
                        <a:pt x="168" y="368"/>
                      </a:lnTo>
                      <a:lnTo>
                        <a:pt x="168" y="370"/>
                      </a:lnTo>
                      <a:lnTo>
                        <a:pt x="167" y="372"/>
                      </a:lnTo>
                      <a:lnTo>
                        <a:pt x="166" y="372"/>
                      </a:lnTo>
                      <a:lnTo>
                        <a:pt x="162" y="374"/>
                      </a:lnTo>
                      <a:lnTo>
                        <a:pt x="160" y="374"/>
                      </a:lnTo>
                      <a:lnTo>
                        <a:pt x="157" y="375"/>
                      </a:lnTo>
                      <a:lnTo>
                        <a:pt x="156" y="376"/>
                      </a:lnTo>
                      <a:lnTo>
                        <a:pt x="155" y="378"/>
                      </a:lnTo>
                      <a:lnTo>
                        <a:pt x="155" y="381"/>
                      </a:lnTo>
                      <a:lnTo>
                        <a:pt x="155" y="382"/>
                      </a:lnTo>
                      <a:lnTo>
                        <a:pt x="154" y="385"/>
                      </a:lnTo>
                      <a:lnTo>
                        <a:pt x="153" y="389"/>
                      </a:lnTo>
                      <a:lnTo>
                        <a:pt x="152" y="393"/>
                      </a:lnTo>
                      <a:lnTo>
                        <a:pt x="150" y="397"/>
                      </a:lnTo>
                      <a:lnTo>
                        <a:pt x="149" y="403"/>
                      </a:lnTo>
                      <a:lnTo>
                        <a:pt x="148" y="407"/>
                      </a:lnTo>
                      <a:lnTo>
                        <a:pt x="147" y="412"/>
                      </a:lnTo>
                      <a:lnTo>
                        <a:pt x="146" y="416"/>
                      </a:lnTo>
                      <a:lnTo>
                        <a:pt x="145" y="418"/>
                      </a:lnTo>
                      <a:lnTo>
                        <a:pt x="142" y="419"/>
                      </a:lnTo>
                      <a:lnTo>
                        <a:pt x="141" y="421"/>
                      </a:lnTo>
                      <a:lnTo>
                        <a:pt x="139" y="423"/>
                      </a:lnTo>
                      <a:lnTo>
                        <a:pt x="136" y="425"/>
                      </a:lnTo>
                      <a:lnTo>
                        <a:pt x="133" y="427"/>
                      </a:lnTo>
                      <a:lnTo>
                        <a:pt x="129" y="428"/>
                      </a:lnTo>
                      <a:lnTo>
                        <a:pt x="128" y="430"/>
                      </a:lnTo>
                      <a:lnTo>
                        <a:pt x="127" y="431"/>
                      </a:lnTo>
                      <a:lnTo>
                        <a:pt x="125" y="433"/>
                      </a:lnTo>
                      <a:lnTo>
                        <a:pt x="124" y="437"/>
                      </a:lnTo>
                      <a:lnTo>
                        <a:pt x="122" y="439"/>
                      </a:lnTo>
                      <a:lnTo>
                        <a:pt x="120" y="444"/>
                      </a:lnTo>
                      <a:lnTo>
                        <a:pt x="118" y="446"/>
                      </a:lnTo>
                      <a:lnTo>
                        <a:pt x="118" y="448"/>
                      </a:lnTo>
                      <a:lnTo>
                        <a:pt x="114" y="449"/>
                      </a:lnTo>
                      <a:lnTo>
                        <a:pt x="112" y="451"/>
                      </a:lnTo>
                      <a:lnTo>
                        <a:pt x="108" y="452"/>
                      </a:lnTo>
                      <a:lnTo>
                        <a:pt x="106" y="453"/>
                      </a:lnTo>
                      <a:lnTo>
                        <a:pt x="103" y="454"/>
                      </a:lnTo>
                      <a:lnTo>
                        <a:pt x="100" y="456"/>
                      </a:lnTo>
                      <a:lnTo>
                        <a:pt x="99" y="459"/>
                      </a:lnTo>
                      <a:lnTo>
                        <a:pt x="98" y="461"/>
                      </a:lnTo>
                      <a:lnTo>
                        <a:pt x="96" y="465"/>
                      </a:lnTo>
                      <a:lnTo>
                        <a:pt x="95" y="468"/>
                      </a:lnTo>
                      <a:lnTo>
                        <a:pt x="95" y="470"/>
                      </a:lnTo>
                      <a:lnTo>
                        <a:pt x="92" y="479"/>
                      </a:lnTo>
                      <a:lnTo>
                        <a:pt x="92" y="483"/>
                      </a:lnTo>
                      <a:lnTo>
                        <a:pt x="91" y="487"/>
                      </a:lnTo>
                      <a:lnTo>
                        <a:pt x="91" y="490"/>
                      </a:lnTo>
                      <a:lnTo>
                        <a:pt x="90" y="496"/>
                      </a:lnTo>
                      <a:lnTo>
                        <a:pt x="90" y="502"/>
                      </a:lnTo>
                      <a:lnTo>
                        <a:pt x="90" y="504"/>
                      </a:lnTo>
                      <a:lnTo>
                        <a:pt x="89" y="507"/>
                      </a:lnTo>
                      <a:lnTo>
                        <a:pt x="88" y="509"/>
                      </a:lnTo>
                      <a:lnTo>
                        <a:pt x="86" y="510"/>
                      </a:lnTo>
                      <a:lnTo>
                        <a:pt x="84" y="512"/>
                      </a:lnTo>
                      <a:lnTo>
                        <a:pt x="82" y="515"/>
                      </a:lnTo>
                      <a:lnTo>
                        <a:pt x="82" y="516"/>
                      </a:lnTo>
                      <a:lnTo>
                        <a:pt x="79" y="517"/>
                      </a:lnTo>
                      <a:lnTo>
                        <a:pt x="78" y="521"/>
                      </a:lnTo>
                      <a:lnTo>
                        <a:pt x="76" y="522"/>
                      </a:lnTo>
                      <a:lnTo>
                        <a:pt x="77" y="523"/>
                      </a:lnTo>
                      <a:lnTo>
                        <a:pt x="77" y="525"/>
                      </a:lnTo>
                      <a:lnTo>
                        <a:pt x="76" y="528"/>
                      </a:lnTo>
                      <a:lnTo>
                        <a:pt x="75" y="531"/>
                      </a:lnTo>
                      <a:lnTo>
                        <a:pt x="72" y="535"/>
                      </a:lnTo>
                      <a:lnTo>
                        <a:pt x="70" y="536"/>
                      </a:lnTo>
                      <a:lnTo>
                        <a:pt x="65" y="537"/>
                      </a:lnTo>
                      <a:lnTo>
                        <a:pt x="60" y="537"/>
                      </a:lnTo>
                      <a:lnTo>
                        <a:pt x="55" y="537"/>
                      </a:lnTo>
                      <a:lnTo>
                        <a:pt x="50" y="537"/>
                      </a:lnTo>
                      <a:lnTo>
                        <a:pt x="46" y="536"/>
                      </a:lnTo>
                      <a:lnTo>
                        <a:pt x="41" y="536"/>
                      </a:lnTo>
                      <a:lnTo>
                        <a:pt x="35" y="535"/>
                      </a:lnTo>
                      <a:lnTo>
                        <a:pt x="32" y="536"/>
                      </a:lnTo>
                      <a:lnTo>
                        <a:pt x="27" y="536"/>
                      </a:lnTo>
                      <a:lnTo>
                        <a:pt x="14" y="536"/>
                      </a:lnTo>
                      <a:lnTo>
                        <a:pt x="10" y="537"/>
                      </a:lnTo>
                      <a:lnTo>
                        <a:pt x="3" y="538"/>
                      </a:lnTo>
                      <a:lnTo>
                        <a:pt x="0" y="538"/>
                      </a:lnTo>
                      <a:lnTo>
                        <a:pt x="1" y="532"/>
                      </a:lnTo>
                      <a:lnTo>
                        <a:pt x="1" y="531"/>
                      </a:lnTo>
                      <a:lnTo>
                        <a:pt x="1" y="530"/>
                      </a:lnTo>
                      <a:lnTo>
                        <a:pt x="1" y="529"/>
                      </a:lnTo>
                      <a:lnTo>
                        <a:pt x="3" y="528"/>
                      </a:lnTo>
                      <a:lnTo>
                        <a:pt x="3" y="526"/>
                      </a:lnTo>
                      <a:lnTo>
                        <a:pt x="1" y="526"/>
                      </a:lnTo>
                      <a:lnTo>
                        <a:pt x="1" y="525"/>
                      </a:lnTo>
                      <a:lnTo>
                        <a:pt x="1" y="524"/>
                      </a:lnTo>
                      <a:lnTo>
                        <a:pt x="3" y="523"/>
                      </a:lnTo>
                      <a:lnTo>
                        <a:pt x="3" y="522"/>
                      </a:lnTo>
                      <a:lnTo>
                        <a:pt x="3" y="521"/>
                      </a:lnTo>
                      <a:lnTo>
                        <a:pt x="6" y="514"/>
                      </a:lnTo>
                      <a:lnTo>
                        <a:pt x="7" y="512"/>
                      </a:lnTo>
                      <a:lnTo>
                        <a:pt x="8" y="511"/>
                      </a:lnTo>
                      <a:lnTo>
                        <a:pt x="8" y="510"/>
                      </a:lnTo>
                      <a:lnTo>
                        <a:pt x="10" y="509"/>
                      </a:lnTo>
                      <a:lnTo>
                        <a:pt x="11" y="509"/>
                      </a:lnTo>
                      <a:lnTo>
                        <a:pt x="11" y="508"/>
                      </a:lnTo>
                      <a:lnTo>
                        <a:pt x="12" y="509"/>
                      </a:lnTo>
                      <a:lnTo>
                        <a:pt x="15" y="508"/>
                      </a:lnTo>
                      <a:lnTo>
                        <a:pt x="17" y="507"/>
                      </a:lnTo>
                      <a:lnTo>
                        <a:pt x="18" y="505"/>
                      </a:lnTo>
                      <a:lnTo>
                        <a:pt x="18" y="501"/>
                      </a:lnTo>
                      <a:lnTo>
                        <a:pt x="19" y="501"/>
                      </a:lnTo>
                      <a:lnTo>
                        <a:pt x="20" y="498"/>
                      </a:lnTo>
                      <a:lnTo>
                        <a:pt x="21" y="496"/>
                      </a:lnTo>
                      <a:lnTo>
                        <a:pt x="21" y="493"/>
                      </a:lnTo>
                      <a:lnTo>
                        <a:pt x="21" y="491"/>
                      </a:lnTo>
                      <a:lnTo>
                        <a:pt x="21" y="490"/>
                      </a:lnTo>
                      <a:lnTo>
                        <a:pt x="22" y="489"/>
                      </a:lnTo>
                      <a:lnTo>
                        <a:pt x="22" y="488"/>
                      </a:lnTo>
                      <a:lnTo>
                        <a:pt x="22" y="487"/>
                      </a:lnTo>
                      <a:lnTo>
                        <a:pt x="24" y="487"/>
                      </a:lnTo>
                      <a:lnTo>
                        <a:pt x="25" y="487"/>
                      </a:lnTo>
                      <a:lnTo>
                        <a:pt x="25" y="486"/>
                      </a:lnTo>
                      <a:lnTo>
                        <a:pt x="26" y="484"/>
                      </a:lnTo>
                      <a:lnTo>
                        <a:pt x="27" y="483"/>
                      </a:lnTo>
                      <a:lnTo>
                        <a:pt x="27" y="482"/>
                      </a:lnTo>
                      <a:lnTo>
                        <a:pt x="27" y="481"/>
                      </a:lnTo>
                      <a:lnTo>
                        <a:pt x="26" y="481"/>
                      </a:lnTo>
                      <a:lnTo>
                        <a:pt x="25" y="481"/>
                      </a:lnTo>
                      <a:lnTo>
                        <a:pt x="25" y="480"/>
                      </a:lnTo>
                      <a:lnTo>
                        <a:pt x="26" y="480"/>
                      </a:lnTo>
                      <a:lnTo>
                        <a:pt x="26" y="479"/>
                      </a:lnTo>
                      <a:lnTo>
                        <a:pt x="27" y="477"/>
                      </a:lnTo>
                      <a:lnTo>
                        <a:pt x="29" y="472"/>
                      </a:lnTo>
                      <a:lnTo>
                        <a:pt x="31" y="472"/>
                      </a:lnTo>
                      <a:lnTo>
                        <a:pt x="31" y="470"/>
                      </a:lnTo>
                      <a:lnTo>
                        <a:pt x="32" y="468"/>
                      </a:lnTo>
                      <a:lnTo>
                        <a:pt x="33" y="466"/>
                      </a:lnTo>
                      <a:lnTo>
                        <a:pt x="33" y="465"/>
                      </a:lnTo>
                      <a:lnTo>
                        <a:pt x="34" y="462"/>
                      </a:lnTo>
                      <a:lnTo>
                        <a:pt x="36" y="460"/>
                      </a:lnTo>
                      <a:lnTo>
                        <a:pt x="36" y="459"/>
                      </a:lnTo>
                      <a:lnTo>
                        <a:pt x="38" y="459"/>
                      </a:lnTo>
                      <a:lnTo>
                        <a:pt x="38" y="458"/>
                      </a:lnTo>
                      <a:lnTo>
                        <a:pt x="39" y="456"/>
                      </a:lnTo>
                      <a:lnTo>
                        <a:pt x="39" y="455"/>
                      </a:lnTo>
                      <a:lnTo>
                        <a:pt x="39" y="454"/>
                      </a:lnTo>
                      <a:lnTo>
                        <a:pt x="39" y="453"/>
                      </a:lnTo>
                      <a:lnTo>
                        <a:pt x="39" y="452"/>
                      </a:lnTo>
                      <a:lnTo>
                        <a:pt x="38" y="452"/>
                      </a:lnTo>
                      <a:lnTo>
                        <a:pt x="38" y="453"/>
                      </a:lnTo>
                      <a:lnTo>
                        <a:pt x="38" y="454"/>
                      </a:lnTo>
                      <a:lnTo>
                        <a:pt x="36" y="454"/>
                      </a:lnTo>
                      <a:lnTo>
                        <a:pt x="35" y="454"/>
                      </a:lnTo>
                      <a:lnTo>
                        <a:pt x="35" y="455"/>
                      </a:lnTo>
                      <a:lnTo>
                        <a:pt x="34" y="455"/>
                      </a:lnTo>
                      <a:lnTo>
                        <a:pt x="34" y="456"/>
                      </a:lnTo>
                      <a:lnTo>
                        <a:pt x="34" y="458"/>
                      </a:lnTo>
                      <a:lnTo>
                        <a:pt x="34" y="459"/>
                      </a:lnTo>
                      <a:lnTo>
                        <a:pt x="33" y="459"/>
                      </a:lnTo>
                      <a:lnTo>
                        <a:pt x="33" y="460"/>
                      </a:lnTo>
                      <a:lnTo>
                        <a:pt x="32" y="461"/>
                      </a:lnTo>
                      <a:lnTo>
                        <a:pt x="31" y="461"/>
                      </a:lnTo>
                      <a:lnTo>
                        <a:pt x="32" y="460"/>
                      </a:lnTo>
                      <a:lnTo>
                        <a:pt x="32" y="459"/>
                      </a:lnTo>
                      <a:lnTo>
                        <a:pt x="33" y="456"/>
                      </a:lnTo>
                      <a:lnTo>
                        <a:pt x="35" y="454"/>
                      </a:lnTo>
                      <a:lnTo>
                        <a:pt x="35" y="453"/>
                      </a:lnTo>
                      <a:lnTo>
                        <a:pt x="36" y="453"/>
                      </a:lnTo>
                      <a:lnTo>
                        <a:pt x="36" y="452"/>
                      </a:lnTo>
                      <a:lnTo>
                        <a:pt x="39" y="449"/>
                      </a:lnTo>
                      <a:lnTo>
                        <a:pt x="40" y="449"/>
                      </a:lnTo>
                      <a:lnTo>
                        <a:pt x="41" y="448"/>
                      </a:lnTo>
                      <a:lnTo>
                        <a:pt x="42" y="448"/>
                      </a:lnTo>
                      <a:lnTo>
                        <a:pt x="43" y="447"/>
                      </a:lnTo>
                      <a:lnTo>
                        <a:pt x="44" y="446"/>
                      </a:lnTo>
                      <a:lnTo>
                        <a:pt x="46" y="445"/>
                      </a:lnTo>
                      <a:lnTo>
                        <a:pt x="47" y="444"/>
                      </a:lnTo>
                      <a:lnTo>
                        <a:pt x="48" y="442"/>
                      </a:lnTo>
                      <a:lnTo>
                        <a:pt x="48" y="441"/>
                      </a:lnTo>
                      <a:lnTo>
                        <a:pt x="49" y="440"/>
                      </a:lnTo>
                      <a:lnTo>
                        <a:pt x="51" y="438"/>
                      </a:lnTo>
                      <a:lnTo>
                        <a:pt x="54" y="437"/>
                      </a:lnTo>
                      <a:lnTo>
                        <a:pt x="55" y="433"/>
                      </a:lnTo>
                      <a:lnTo>
                        <a:pt x="56" y="432"/>
                      </a:lnTo>
                      <a:lnTo>
                        <a:pt x="57" y="431"/>
                      </a:lnTo>
                      <a:lnTo>
                        <a:pt x="58" y="431"/>
                      </a:lnTo>
                      <a:lnTo>
                        <a:pt x="58" y="430"/>
                      </a:lnTo>
                      <a:lnTo>
                        <a:pt x="60" y="430"/>
                      </a:lnTo>
                      <a:lnTo>
                        <a:pt x="61" y="430"/>
                      </a:lnTo>
                      <a:lnTo>
                        <a:pt x="62" y="428"/>
                      </a:lnTo>
                      <a:lnTo>
                        <a:pt x="62" y="427"/>
                      </a:lnTo>
                      <a:lnTo>
                        <a:pt x="63" y="426"/>
                      </a:lnTo>
                      <a:lnTo>
                        <a:pt x="64" y="425"/>
                      </a:lnTo>
                      <a:lnTo>
                        <a:pt x="65" y="425"/>
                      </a:lnTo>
                      <a:lnTo>
                        <a:pt x="65" y="424"/>
                      </a:lnTo>
                      <a:lnTo>
                        <a:pt x="67" y="421"/>
                      </a:lnTo>
                      <a:lnTo>
                        <a:pt x="67" y="419"/>
                      </a:lnTo>
                      <a:lnTo>
                        <a:pt x="68" y="417"/>
                      </a:lnTo>
                      <a:lnTo>
                        <a:pt x="68" y="416"/>
                      </a:lnTo>
                      <a:lnTo>
                        <a:pt x="68" y="414"/>
                      </a:lnTo>
                      <a:lnTo>
                        <a:pt x="68" y="413"/>
                      </a:lnTo>
                      <a:lnTo>
                        <a:pt x="68" y="412"/>
                      </a:lnTo>
                      <a:lnTo>
                        <a:pt x="68" y="411"/>
                      </a:lnTo>
                      <a:lnTo>
                        <a:pt x="68" y="410"/>
                      </a:lnTo>
                      <a:lnTo>
                        <a:pt x="68" y="406"/>
                      </a:lnTo>
                      <a:lnTo>
                        <a:pt x="67" y="405"/>
                      </a:lnTo>
                      <a:lnTo>
                        <a:pt x="68" y="402"/>
                      </a:lnTo>
                      <a:lnTo>
                        <a:pt x="68" y="400"/>
                      </a:lnTo>
                      <a:lnTo>
                        <a:pt x="69" y="397"/>
                      </a:lnTo>
                      <a:lnTo>
                        <a:pt x="70" y="395"/>
                      </a:lnTo>
                      <a:lnTo>
                        <a:pt x="71" y="395"/>
                      </a:lnTo>
                      <a:lnTo>
                        <a:pt x="72" y="392"/>
                      </a:lnTo>
                      <a:lnTo>
                        <a:pt x="72" y="390"/>
                      </a:lnTo>
                      <a:lnTo>
                        <a:pt x="72" y="389"/>
                      </a:lnTo>
                      <a:lnTo>
                        <a:pt x="74" y="385"/>
                      </a:lnTo>
                      <a:lnTo>
                        <a:pt x="76" y="382"/>
                      </a:lnTo>
                      <a:lnTo>
                        <a:pt x="77" y="379"/>
                      </a:lnTo>
                      <a:lnTo>
                        <a:pt x="77" y="378"/>
                      </a:lnTo>
                      <a:lnTo>
                        <a:pt x="78" y="377"/>
                      </a:lnTo>
                      <a:lnTo>
                        <a:pt x="78" y="376"/>
                      </a:lnTo>
                      <a:lnTo>
                        <a:pt x="78" y="374"/>
                      </a:lnTo>
                      <a:lnTo>
                        <a:pt x="78" y="372"/>
                      </a:lnTo>
                      <a:lnTo>
                        <a:pt x="78" y="371"/>
                      </a:lnTo>
                      <a:lnTo>
                        <a:pt x="78" y="370"/>
                      </a:lnTo>
                      <a:lnTo>
                        <a:pt x="81" y="368"/>
                      </a:lnTo>
                      <a:lnTo>
                        <a:pt x="83" y="368"/>
                      </a:lnTo>
                      <a:lnTo>
                        <a:pt x="84" y="367"/>
                      </a:lnTo>
                      <a:lnTo>
                        <a:pt x="86" y="364"/>
                      </a:lnTo>
                      <a:lnTo>
                        <a:pt x="88" y="363"/>
                      </a:lnTo>
                      <a:lnTo>
                        <a:pt x="88" y="362"/>
                      </a:lnTo>
                      <a:lnTo>
                        <a:pt x="89" y="362"/>
                      </a:lnTo>
                      <a:lnTo>
                        <a:pt x="92" y="361"/>
                      </a:lnTo>
                      <a:lnTo>
                        <a:pt x="96" y="360"/>
                      </a:lnTo>
                      <a:lnTo>
                        <a:pt x="102" y="355"/>
                      </a:lnTo>
                      <a:lnTo>
                        <a:pt x="106" y="353"/>
                      </a:lnTo>
                      <a:lnTo>
                        <a:pt x="107" y="350"/>
                      </a:lnTo>
                      <a:lnTo>
                        <a:pt x="110" y="346"/>
                      </a:lnTo>
                      <a:lnTo>
                        <a:pt x="110" y="344"/>
                      </a:lnTo>
                      <a:lnTo>
                        <a:pt x="111" y="341"/>
                      </a:lnTo>
                      <a:lnTo>
                        <a:pt x="111" y="339"/>
                      </a:lnTo>
                      <a:lnTo>
                        <a:pt x="112" y="335"/>
                      </a:lnTo>
                      <a:lnTo>
                        <a:pt x="113" y="333"/>
                      </a:lnTo>
                      <a:lnTo>
                        <a:pt x="115" y="329"/>
                      </a:lnTo>
                      <a:lnTo>
                        <a:pt x="115" y="328"/>
                      </a:lnTo>
                      <a:lnTo>
                        <a:pt x="118" y="325"/>
                      </a:lnTo>
                      <a:lnTo>
                        <a:pt x="118" y="320"/>
                      </a:lnTo>
                      <a:lnTo>
                        <a:pt x="119" y="319"/>
                      </a:lnTo>
                      <a:lnTo>
                        <a:pt x="119" y="318"/>
                      </a:lnTo>
                      <a:lnTo>
                        <a:pt x="119" y="316"/>
                      </a:lnTo>
                      <a:lnTo>
                        <a:pt x="120" y="315"/>
                      </a:lnTo>
                      <a:lnTo>
                        <a:pt x="121" y="314"/>
                      </a:lnTo>
                      <a:lnTo>
                        <a:pt x="122" y="314"/>
                      </a:lnTo>
                      <a:lnTo>
                        <a:pt x="124" y="313"/>
                      </a:lnTo>
                      <a:lnTo>
                        <a:pt x="125" y="311"/>
                      </a:lnTo>
                      <a:lnTo>
                        <a:pt x="125" y="308"/>
                      </a:lnTo>
                      <a:lnTo>
                        <a:pt x="126" y="307"/>
                      </a:lnTo>
                      <a:lnTo>
                        <a:pt x="127" y="307"/>
                      </a:lnTo>
                      <a:lnTo>
                        <a:pt x="129" y="306"/>
                      </a:lnTo>
                      <a:lnTo>
                        <a:pt x="135" y="305"/>
                      </a:lnTo>
                      <a:lnTo>
                        <a:pt x="140" y="305"/>
                      </a:lnTo>
                      <a:lnTo>
                        <a:pt x="146" y="302"/>
                      </a:lnTo>
                      <a:lnTo>
                        <a:pt x="155" y="301"/>
                      </a:lnTo>
                      <a:lnTo>
                        <a:pt x="155" y="300"/>
                      </a:lnTo>
                      <a:lnTo>
                        <a:pt x="156" y="300"/>
                      </a:lnTo>
                      <a:lnTo>
                        <a:pt x="163" y="297"/>
                      </a:lnTo>
                      <a:lnTo>
                        <a:pt x="172" y="292"/>
                      </a:lnTo>
                      <a:lnTo>
                        <a:pt x="174" y="291"/>
                      </a:lnTo>
                      <a:lnTo>
                        <a:pt x="175" y="290"/>
                      </a:lnTo>
                      <a:lnTo>
                        <a:pt x="176" y="288"/>
                      </a:lnTo>
                      <a:lnTo>
                        <a:pt x="176" y="287"/>
                      </a:lnTo>
                      <a:lnTo>
                        <a:pt x="177" y="287"/>
                      </a:lnTo>
                      <a:lnTo>
                        <a:pt x="177" y="286"/>
                      </a:lnTo>
                      <a:lnTo>
                        <a:pt x="178" y="285"/>
                      </a:lnTo>
                      <a:lnTo>
                        <a:pt x="179" y="284"/>
                      </a:lnTo>
                      <a:lnTo>
                        <a:pt x="182" y="281"/>
                      </a:lnTo>
                      <a:lnTo>
                        <a:pt x="183" y="280"/>
                      </a:lnTo>
                      <a:lnTo>
                        <a:pt x="183" y="279"/>
                      </a:lnTo>
                      <a:lnTo>
                        <a:pt x="184" y="279"/>
                      </a:lnTo>
                      <a:lnTo>
                        <a:pt x="184" y="278"/>
                      </a:lnTo>
                      <a:lnTo>
                        <a:pt x="185" y="278"/>
                      </a:lnTo>
                      <a:lnTo>
                        <a:pt x="185" y="277"/>
                      </a:lnTo>
                      <a:lnTo>
                        <a:pt x="186" y="276"/>
                      </a:lnTo>
                      <a:lnTo>
                        <a:pt x="196" y="271"/>
                      </a:lnTo>
                      <a:lnTo>
                        <a:pt x="198" y="270"/>
                      </a:lnTo>
                      <a:lnTo>
                        <a:pt x="200" y="269"/>
                      </a:lnTo>
                      <a:lnTo>
                        <a:pt x="202" y="267"/>
                      </a:lnTo>
                      <a:lnTo>
                        <a:pt x="206" y="264"/>
                      </a:lnTo>
                      <a:lnTo>
                        <a:pt x="209" y="258"/>
                      </a:lnTo>
                      <a:lnTo>
                        <a:pt x="210" y="257"/>
                      </a:lnTo>
                      <a:lnTo>
                        <a:pt x="211" y="257"/>
                      </a:lnTo>
                      <a:lnTo>
                        <a:pt x="212" y="256"/>
                      </a:lnTo>
                      <a:lnTo>
                        <a:pt x="213" y="255"/>
                      </a:lnTo>
                      <a:lnTo>
                        <a:pt x="213" y="253"/>
                      </a:lnTo>
                      <a:lnTo>
                        <a:pt x="214" y="252"/>
                      </a:lnTo>
                      <a:lnTo>
                        <a:pt x="216" y="251"/>
                      </a:lnTo>
                      <a:lnTo>
                        <a:pt x="216" y="250"/>
                      </a:lnTo>
                      <a:lnTo>
                        <a:pt x="217" y="248"/>
                      </a:lnTo>
                      <a:lnTo>
                        <a:pt x="218" y="248"/>
                      </a:lnTo>
                      <a:lnTo>
                        <a:pt x="218" y="246"/>
                      </a:lnTo>
                      <a:lnTo>
                        <a:pt x="218" y="245"/>
                      </a:lnTo>
                      <a:lnTo>
                        <a:pt x="218" y="244"/>
                      </a:lnTo>
                      <a:lnTo>
                        <a:pt x="220" y="243"/>
                      </a:lnTo>
                      <a:lnTo>
                        <a:pt x="220" y="242"/>
                      </a:lnTo>
                      <a:lnTo>
                        <a:pt x="221" y="241"/>
                      </a:lnTo>
                      <a:lnTo>
                        <a:pt x="226" y="236"/>
                      </a:lnTo>
                      <a:lnTo>
                        <a:pt x="228" y="230"/>
                      </a:lnTo>
                      <a:lnTo>
                        <a:pt x="231" y="224"/>
                      </a:lnTo>
                      <a:lnTo>
                        <a:pt x="231" y="223"/>
                      </a:lnTo>
                      <a:lnTo>
                        <a:pt x="232" y="218"/>
                      </a:lnTo>
                      <a:lnTo>
                        <a:pt x="232" y="216"/>
                      </a:lnTo>
                      <a:lnTo>
                        <a:pt x="232" y="215"/>
                      </a:lnTo>
                      <a:lnTo>
                        <a:pt x="232" y="214"/>
                      </a:lnTo>
                      <a:lnTo>
                        <a:pt x="231" y="214"/>
                      </a:lnTo>
                      <a:lnTo>
                        <a:pt x="231" y="213"/>
                      </a:lnTo>
                      <a:lnTo>
                        <a:pt x="230" y="210"/>
                      </a:lnTo>
                      <a:lnTo>
                        <a:pt x="230" y="209"/>
                      </a:lnTo>
                      <a:lnTo>
                        <a:pt x="228" y="209"/>
                      </a:lnTo>
                      <a:lnTo>
                        <a:pt x="227" y="209"/>
                      </a:lnTo>
                      <a:lnTo>
                        <a:pt x="227" y="208"/>
                      </a:lnTo>
                      <a:lnTo>
                        <a:pt x="225" y="207"/>
                      </a:lnTo>
                      <a:lnTo>
                        <a:pt x="224" y="207"/>
                      </a:lnTo>
                      <a:lnTo>
                        <a:pt x="224" y="206"/>
                      </a:lnTo>
                      <a:lnTo>
                        <a:pt x="223" y="206"/>
                      </a:lnTo>
                      <a:lnTo>
                        <a:pt x="223" y="204"/>
                      </a:lnTo>
                      <a:lnTo>
                        <a:pt x="224" y="203"/>
                      </a:lnTo>
                      <a:lnTo>
                        <a:pt x="225" y="201"/>
                      </a:lnTo>
                      <a:lnTo>
                        <a:pt x="225" y="200"/>
                      </a:lnTo>
                      <a:lnTo>
                        <a:pt x="225" y="199"/>
                      </a:lnTo>
                      <a:lnTo>
                        <a:pt x="225" y="197"/>
                      </a:lnTo>
                      <a:lnTo>
                        <a:pt x="225" y="190"/>
                      </a:lnTo>
                      <a:lnTo>
                        <a:pt x="225" y="189"/>
                      </a:lnTo>
                      <a:lnTo>
                        <a:pt x="224" y="188"/>
                      </a:lnTo>
                      <a:lnTo>
                        <a:pt x="225" y="187"/>
                      </a:lnTo>
                      <a:lnTo>
                        <a:pt x="225" y="182"/>
                      </a:lnTo>
                      <a:lnTo>
                        <a:pt x="225" y="180"/>
                      </a:lnTo>
                      <a:lnTo>
                        <a:pt x="225" y="179"/>
                      </a:lnTo>
                      <a:lnTo>
                        <a:pt x="224" y="178"/>
                      </a:lnTo>
                      <a:lnTo>
                        <a:pt x="225" y="176"/>
                      </a:lnTo>
                      <a:lnTo>
                        <a:pt x="226" y="175"/>
                      </a:lnTo>
                      <a:lnTo>
                        <a:pt x="226" y="173"/>
                      </a:lnTo>
                      <a:lnTo>
                        <a:pt x="226" y="172"/>
                      </a:lnTo>
                      <a:lnTo>
                        <a:pt x="227" y="172"/>
                      </a:lnTo>
                      <a:lnTo>
                        <a:pt x="227" y="171"/>
                      </a:lnTo>
                      <a:lnTo>
                        <a:pt x="228" y="169"/>
                      </a:lnTo>
                      <a:lnTo>
                        <a:pt x="228" y="168"/>
                      </a:lnTo>
                      <a:lnTo>
                        <a:pt x="230" y="166"/>
                      </a:lnTo>
                      <a:lnTo>
                        <a:pt x="230" y="165"/>
                      </a:lnTo>
                      <a:lnTo>
                        <a:pt x="232" y="161"/>
                      </a:lnTo>
                      <a:lnTo>
                        <a:pt x="233" y="160"/>
                      </a:lnTo>
                      <a:lnTo>
                        <a:pt x="234" y="160"/>
                      </a:lnTo>
                      <a:lnTo>
                        <a:pt x="234" y="159"/>
                      </a:lnTo>
                      <a:lnTo>
                        <a:pt x="235" y="158"/>
                      </a:lnTo>
                      <a:lnTo>
                        <a:pt x="239" y="153"/>
                      </a:lnTo>
                      <a:lnTo>
                        <a:pt x="240" y="152"/>
                      </a:lnTo>
                      <a:lnTo>
                        <a:pt x="240" y="151"/>
                      </a:lnTo>
                      <a:lnTo>
                        <a:pt x="240" y="150"/>
                      </a:lnTo>
                      <a:lnTo>
                        <a:pt x="241" y="148"/>
                      </a:lnTo>
                      <a:lnTo>
                        <a:pt x="241" y="147"/>
                      </a:lnTo>
                      <a:lnTo>
                        <a:pt x="242" y="146"/>
                      </a:lnTo>
                      <a:lnTo>
                        <a:pt x="242" y="141"/>
                      </a:lnTo>
                      <a:lnTo>
                        <a:pt x="241" y="141"/>
                      </a:lnTo>
                      <a:lnTo>
                        <a:pt x="241" y="140"/>
                      </a:lnTo>
                      <a:lnTo>
                        <a:pt x="242" y="138"/>
                      </a:lnTo>
                      <a:lnTo>
                        <a:pt x="242" y="137"/>
                      </a:lnTo>
                      <a:lnTo>
                        <a:pt x="242" y="136"/>
                      </a:lnTo>
                      <a:lnTo>
                        <a:pt x="241" y="136"/>
                      </a:lnTo>
                      <a:lnTo>
                        <a:pt x="241" y="134"/>
                      </a:lnTo>
                      <a:lnTo>
                        <a:pt x="241" y="133"/>
                      </a:lnTo>
                      <a:lnTo>
                        <a:pt x="242" y="132"/>
                      </a:lnTo>
                      <a:lnTo>
                        <a:pt x="247" y="129"/>
                      </a:lnTo>
                      <a:lnTo>
                        <a:pt x="250" y="124"/>
                      </a:lnTo>
                      <a:lnTo>
                        <a:pt x="253" y="122"/>
                      </a:lnTo>
                      <a:lnTo>
                        <a:pt x="254" y="120"/>
                      </a:lnTo>
                      <a:lnTo>
                        <a:pt x="257" y="116"/>
                      </a:lnTo>
                      <a:lnTo>
                        <a:pt x="262" y="111"/>
                      </a:lnTo>
                      <a:lnTo>
                        <a:pt x="262" y="110"/>
                      </a:lnTo>
                      <a:lnTo>
                        <a:pt x="262" y="109"/>
                      </a:lnTo>
                      <a:lnTo>
                        <a:pt x="266" y="105"/>
                      </a:lnTo>
                      <a:lnTo>
                        <a:pt x="266" y="106"/>
                      </a:lnTo>
                      <a:lnTo>
                        <a:pt x="267" y="106"/>
                      </a:lnTo>
                      <a:lnTo>
                        <a:pt x="268" y="106"/>
                      </a:lnTo>
                      <a:lnTo>
                        <a:pt x="269" y="105"/>
                      </a:lnTo>
                      <a:lnTo>
                        <a:pt x="270" y="104"/>
                      </a:lnTo>
                      <a:lnTo>
                        <a:pt x="271" y="102"/>
                      </a:lnTo>
                      <a:lnTo>
                        <a:pt x="273" y="101"/>
                      </a:lnTo>
                      <a:lnTo>
                        <a:pt x="274" y="101"/>
                      </a:lnTo>
                      <a:lnTo>
                        <a:pt x="278" y="99"/>
                      </a:lnTo>
                      <a:lnTo>
                        <a:pt x="282" y="98"/>
                      </a:lnTo>
                      <a:lnTo>
                        <a:pt x="283" y="97"/>
                      </a:lnTo>
                      <a:lnTo>
                        <a:pt x="284" y="97"/>
                      </a:lnTo>
                      <a:lnTo>
                        <a:pt x="285" y="96"/>
                      </a:lnTo>
                      <a:lnTo>
                        <a:pt x="287" y="96"/>
                      </a:lnTo>
                      <a:lnTo>
                        <a:pt x="287" y="95"/>
                      </a:lnTo>
                      <a:lnTo>
                        <a:pt x="289" y="95"/>
                      </a:lnTo>
                      <a:lnTo>
                        <a:pt x="290" y="94"/>
                      </a:lnTo>
                      <a:lnTo>
                        <a:pt x="291" y="94"/>
                      </a:lnTo>
                      <a:lnTo>
                        <a:pt x="292" y="92"/>
                      </a:lnTo>
                      <a:lnTo>
                        <a:pt x="294" y="92"/>
                      </a:lnTo>
                      <a:lnTo>
                        <a:pt x="295" y="92"/>
                      </a:lnTo>
                      <a:lnTo>
                        <a:pt x="296" y="91"/>
                      </a:lnTo>
                      <a:lnTo>
                        <a:pt x="297" y="91"/>
                      </a:lnTo>
                      <a:lnTo>
                        <a:pt x="298" y="91"/>
                      </a:lnTo>
                      <a:lnTo>
                        <a:pt x="298" y="90"/>
                      </a:lnTo>
                      <a:lnTo>
                        <a:pt x="299" y="89"/>
                      </a:lnTo>
                      <a:lnTo>
                        <a:pt x="300" y="89"/>
                      </a:lnTo>
                      <a:lnTo>
                        <a:pt x="300" y="88"/>
                      </a:lnTo>
                      <a:lnTo>
                        <a:pt x="302" y="88"/>
                      </a:lnTo>
                      <a:lnTo>
                        <a:pt x="303" y="88"/>
                      </a:lnTo>
                      <a:lnTo>
                        <a:pt x="305" y="85"/>
                      </a:lnTo>
                      <a:lnTo>
                        <a:pt x="306" y="84"/>
                      </a:lnTo>
                      <a:lnTo>
                        <a:pt x="307" y="84"/>
                      </a:lnTo>
                      <a:lnTo>
                        <a:pt x="309" y="83"/>
                      </a:lnTo>
                      <a:lnTo>
                        <a:pt x="310" y="83"/>
                      </a:lnTo>
                      <a:lnTo>
                        <a:pt x="311" y="83"/>
                      </a:lnTo>
                      <a:lnTo>
                        <a:pt x="312" y="82"/>
                      </a:lnTo>
                      <a:lnTo>
                        <a:pt x="313" y="82"/>
                      </a:lnTo>
                      <a:lnTo>
                        <a:pt x="316" y="78"/>
                      </a:lnTo>
                      <a:lnTo>
                        <a:pt x="319" y="75"/>
                      </a:lnTo>
                      <a:lnTo>
                        <a:pt x="323" y="70"/>
                      </a:lnTo>
                      <a:lnTo>
                        <a:pt x="324" y="66"/>
                      </a:lnTo>
                      <a:lnTo>
                        <a:pt x="327" y="61"/>
                      </a:lnTo>
                      <a:lnTo>
                        <a:pt x="328" y="60"/>
                      </a:lnTo>
                      <a:lnTo>
                        <a:pt x="328" y="59"/>
                      </a:lnTo>
                      <a:lnTo>
                        <a:pt x="330" y="57"/>
                      </a:lnTo>
                      <a:lnTo>
                        <a:pt x="337" y="42"/>
                      </a:lnTo>
                      <a:lnTo>
                        <a:pt x="339" y="33"/>
                      </a:lnTo>
                      <a:lnTo>
                        <a:pt x="345" y="18"/>
                      </a:lnTo>
                      <a:lnTo>
                        <a:pt x="345" y="17"/>
                      </a:lnTo>
                      <a:lnTo>
                        <a:pt x="345" y="15"/>
                      </a:lnTo>
                      <a:lnTo>
                        <a:pt x="346" y="14"/>
                      </a:lnTo>
                      <a:lnTo>
                        <a:pt x="346" y="12"/>
                      </a:lnTo>
                      <a:lnTo>
                        <a:pt x="346" y="11"/>
                      </a:lnTo>
                      <a:lnTo>
                        <a:pt x="347" y="11"/>
                      </a:lnTo>
                      <a:lnTo>
                        <a:pt x="347" y="10"/>
                      </a:lnTo>
                      <a:lnTo>
                        <a:pt x="347" y="8"/>
                      </a:lnTo>
                      <a:lnTo>
                        <a:pt x="347" y="7"/>
                      </a:lnTo>
                      <a:lnTo>
                        <a:pt x="347" y="6"/>
                      </a:lnTo>
                      <a:lnTo>
                        <a:pt x="348" y="6"/>
                      </a:lnTo>
                      <a:lnTo>
                        <a:pt x="349" y="6"/>
                      </a:lnTo>
                      <a:lnTo>
                        <a:pt x="352" y="6"/>
                      </a:lnTo>
                      <a:lnTo>
                        <a:pt x="353" y="6"/>
                      </a:lnTo>
                      <a:lnTo>
                        <a:pt x="353" y="5"/>
                      </a:lnTo>
                      <a:lnTo>
                        <a:pt x="354" y="5"/>
                      </a:lnTo>
                      <a:lnTo>
                        <a:pt x="355" y="4"/>
                      </a:lnTo>
                      <a:lnTo>
                        <a:pt x="355" y="5"/>
                      </a:lnTo>
                      <a:lnTo>
                        <a:pt x="356" y="4"/>
                      </a:lnTo>
                      <a:lnTo>
                        <a:pt x="358" y="4"/>
                      </a:lnTo>
                      <a:lnTo>
                        <a:pt x="358" y="5"/>
                      </a:lnTo>
                      <a:lnTo>
                        <a:pt x="360" y="4"/>
                      </a:lnTo>
                      <a:lnTo>
                        <a:pt x="360" y="3"/>
                      </a:lnTo>
                      <a:lnTo>
                        <a:pt x="361" y="1"/>
                      </a:lnTo>
                      <a:lnTo>
                        <a:pt x="362" y="1"/>
                      </a:lnTo>
                      <a:lnTo>
                        <a:pt x="362" y="0"/>
                      </a:lnTo>
                      <a:lnTo>
                        <a:pt x="363" y="0"/>
                      </a:lnTo>
                      <a:lnTo>
                        <a:pt x="363" y="1"/>
                      </a:lnTo>
                      <a:lnTo>
                        <a:pt x="364" y="1"/>
                      </a:lnTo>
                      <a:lnTo>
                        <a:pt x="364" y="0"/>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7" name="Freeform 107">
                  <a:extLst>
                    <a:ext uri="{FF2B5EF4-FFF2-40B4-BE49-F238E27FC236}">
                      <a16:creationId xmlns:a16="http://schemas.microsoft.com/office/drawing/2014/main" id="{A5935EC8-5E43-5FCB-4752-5ED1A2D33D1E}"/>
                    </a:ext>
                  </a:extLst>
                </p:cNvPr>
                <p:cNvSpPr>
                  <a:spLocks noEditPoints="1"/>
                </p:cNvSpPr>
                <p:nvPr/>
              </p:nvSpPr>
              <p:spPr bwMode="auto">
                <a:xfrm>
                  <a:off x="6317802" y="3320490"/>
                  <a:ext cx="412141" cy="335336"/>
                </a:xfrm>
                <a:custGeom>
                  <a:avLst/>
                  <a:gdLst>
                    <a:gd name="T0" fmla="*/ 148 w 381"/>
                    <a:gd name="T1" fmla="*/ 301 h 310"/>
                    <a:gd name="T2" fmla="*/ 111 w 381"/>
                    <a:gd name="T3" fmla="*/ 7 h 310"/>
                    <a:gd name="T4" fmla="*/ 141 w 381"/>
                    <a:gd name="T5" fmla="*/ 27 h 310"/>
                    <a:gd name="T6" fmla="*/ 182 w 381"/>
                    <a:gd name="T7" fmla="*/ 26 h 310"/>
                    <a:gd name="T8" fmla="*/ 222 w 381"/>
                    <a:gd name="T9" fmla="*/ 34 h 310"/>
                    <a:gd name="T10" fmla="*/ 298 w 381"/>
                    <a:gd name="T11" fmla="*/ 24 h 310"/>
                    <a:gd name="T12" fmla="*/ 316 w 381"/>
                    <a:gd name="T13" fmla="*/ 19 h 310"/>
                    <a:gd name="T14" fmla="*/ 326 w 381"/>
                    <a:gd name="T15" fmla="*/ 12 h 310"/>
                    <a:gd name="T16" fmla="*/ 338 w 381"/>
                    <a:gd name="T17" fmla="*/ 5 h 310"/>
                    <a:gd name="T18" fmla="*/ 377 w 381"/>
                    <a:gd name="T19" fmla="*/ 53 h 310"/>
                    <a:gd name="T20" fmla="*/ 379 w 381"/>
                    <a:gd name="T21" fmla="*/ 70 h 310"/>
                    <a:gd name="T22" fmla="*/ 364 w 381"/>
                    <a:gd name="T23" fmla="*/ 84 h 310"/>
                    <a:gd name="T24" fmla="*/ 343 w 381"/>
                    <a:gd name="T25" fmla="*/ 117 h 310"/>
                    <a:gd name="T26" fmla="*/ 336 w 381"/>
                    <a:gd name="T27" fmla="*/ 136 h 310"/>
                    <a:gd name="T28" fmla="*/ 322 w 381"/>
                    <a:gd name="T29" fmla="*/ 164 h 310"/>
                    <a:gd name="T30" fmla="*/ 308 w 381"/>
                    <a:gd name="T31" fmla="*/ 175 h 310"/>
                    <a:gd name="T32" fmla="*/ 298 w 381"/>
                    <a:gd name="T33" fmla="*/ 202 h 310"/>
                    <a:gd name="T34" fmla="*/ 289 w 381"/>
                    <a:gd name="T35" fmla="*/ 221 h 310"/>
                    <a:gd name="T36" fmla="*/ 277 w 381"/>
                    <a:gd name="T37" fmla="*/ 238 h 310"/>
                    <a:gd name="T38" fmla="*/ 262 w 381"/>
                    <a:gd name="T39" fmla="*/ 228 h 310"/>
                    <a:gd name="T40" fmla="*/ 249 w 381"/>
                    <a:gd name="T41" fmla="*/ 226 h 310"/>
                    <a:gd name="T42" fmla="*/ 222 w 381"/>
                    <a:gd name="T43" fmla="*/ 237 h 310"/>
                    <a:gd name="T44" fmla="*/ 201 w 381"/>
                    <a:gd name="T45" fmla="*/ 257 h 310"/>
                    <a:gd name="T46" fmla="*/ 197 w 381"/>
                    <a:gd name="T47" fmla="*/ 269 h 310"/>
                    <a:gd name="T48" fmla="*/ 190 w 381"/>
                    <a:gd name="T49" fmla="*/ 291 h 310"/>
                    <a:gd name="T50" fmla="*/ 182 w 381"/>
                    <a:gd name="T51" fmla="*/ 291 h 310"/>
                    <a:gd name="T52" fmla="*/ 181 w 381"/>
                    <a:gd name="T53" fmla="*/ 296 h 310"/>
                    <a:gd name="T54" fmla="*/ 162 w 381"/>
                    <a:gd name="T55" fmla="*/ 301 h 310"/>
                    <a:gd name="T56" fmla="*/ 156 w 381"/>
                    <a:gd name="T57" fmla="*/ 298 h 310"/>
                    <a:gd name="T58" fmla="*/ 148 w 381"/>
                    <a:gd name="T59" fmla="*/ 301 h 310"/>
                    <a:gd name="T60" fmla="*/ 145 w 381"/>
                    <a:gd name="T61" fmla="*/ 301 h 310"/>
                    <a:gd name="T62" fmla="*/ 140 w 381"/>
                    <a:gd name="T63" fmla="*/ 296 h 310"/>
                    <a:gd name="T64" fmla="*/ 138 w 381"/>
                    <a:gd name="T65" fmla="*/ 299 h 310"/>
                    <a:gd name="T66" fmla="*/ 133 w 381"/>
                    <a:gd name="T67" fmla="*/ 299 h 310"/>
                    <a:gd name="T68" fmla="*/ 133 w 381"/>
                    <a:gd name="T69" fmla="*/ 298 h 310"/>
                    <a:gd name="T70" fmla="*/ 130 w 381"/>
                    <a:gd name="T71" fmla="*/ 301 h 310"/>
                    <a:gd name="T72" fmla="*/ 127 w 381"/>
                    <a:gd name="T73" fmla="*/ 307 h 310"/>
                    <a:gd name="T74" fmla="*/ 118 w 381"/>
                    <a:gd name="T75" fmla="*/ 308 h 310"/>
                    <a:gd name="T76" fmla="*/ 114 w 381"/>
                    <a:gd name="T77" fmla="*/ 307 h 310"/>
                    <a:gd name="T78" fmla="*/ 110 w 381"/>
                    <a:gd name="T79" fmla="*/ 308 h 310"/>
                    <a:gd name="T80" fmla="*/ 103 w 381"/>
                    <a:gd name="T81" fmla="*/ 304 h 310"/>
                    <a:gd name="T82" fmla="*/ 91 w 381"/>
                    <a:gd name="T83" fmla="*/ 293 h 310"/>
                    <a:gd name="T84" fmla="*/ 90 w 381"/>
                    <a:gd name="T85" fmla="*/ 280 h 310"/>
                    <a:gd name="T86" fmla="*/ 94 w 381"/>
                    <a:gd name="T87" fmla="*/ 273 h 310"/>
                    <a:gd name="T88" fmla="*/ 89 w 381"/>
                    <a:gd name="T89" fmla="*/ 272 h 310"/>
                    <a:gd name="T90" fmla="*/ 90 w 381"/>
                    <a:gd name="T91" fmla="*/ 268 h 310"/>
                    <a:gd name="T92" fmla="*/ 82 w 381"/>
                    <a:gd name="T93" fmla="*/ 268 h 310"/>
                    <a:gd name="T94" fmla="*/ 82 w 381"/>
                    <a:gd name="T95" fmla="*/ 259 h 310"/>
                    <a:gd name="T96" fmla="*/ 56 w 381"/>
                    <a:gd name="T97" fmla="*/ 243 h 310"/>
                    <a:gd name="T98" fmla="*/ 32 w 381"/>
                    <a:gd name="T99" fmla="*/ 238 h 310"/>
                    <a:gd name="T100" fmla="*/ 27 w 381"/>
                    <a:gd name="T101" fmla="*/ 236 h 310"/>
                    <a:gd name="T102" fmla="*/ 3 w 381"/>
                    <a:gd name="T103" fmla="*/ 240 h 310"/>
                    <a:gd name="T104" fmla="*/ 4 w 381"/>
                    <a:gd name="T105" fmla="*/ 222 h 310"/>
                    <a:gd name="T106" fmla="*/ 0 w 381"/>
                    <a:gd name="T107" fmla="*/ 195 h 310"/>
                    <a:gd name="T108" fmla="*/ 2 w 381"/>
                    <a:gd name="T109" fmla="*/ 167 h 310"/>
                    <a:gd name="T110" fmla="*/ 14 w 381"/>
                    <a:gd name="T111" fmla="*/ 152 h 310"/>
                    <a:gd name="T112" fmla="*/ 20 w 381"/>
                    <a:gd name="T113" fmla="*/ 133 h 310"/>
                    <a:gd name="T114" fmla="*/ 30 w 381"/>
                    <a:gd name="T115" fmla="*/ 114 h 310"/>
                    <a:gd name="T116" fmla="*/ 33 w 381"/>
                    <a:gd name="T117" fmla="*/ 102 h 310"/>
                    <a:gd name="T118" fmla="*/ 31 w 381"/>
                    <a:gd name="T119" fmla="*/ 69 h 310"/>
                    <a:gd name="T120" fmla="*/ 48 w 381"/>
                    <a:gd name="T121" fmla="*/ 14 h 310"/>
                    <a:gd name="T122" fmla="*/ 83 w 381"/>
                    <a:gd name="T123" fmla="*/ 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1" h="310">
                      <a:moveTo>
                        <a:pt x="153" y="303"/>
                      </a:moveTo>
                      <a:lnTo>
                        <a:pt x="154" y="303"/>
                      </a:lnTo>
                      <a:lnTo>
                        <a:pt x="155" y="303"/>
                      </a:lnTo>
                      <a:lnTo>
                        <a:pt x="156" y="303"/>
                      </a:lnTo>
                      <a:lnTo>
                        <a:pt x="158" y="301"/>
                      </a:lnTo>
                      <a:lnTo>
                        <a:pt x="158" y="303"/>
                      </a:lnTo>
                      <a:lnTo>
                        <a:pt x="156" y="303"/>
                      </a:lnTo>
                      <a:lnTo>
                        <a:pt x="155" y="303"/>
                      </a:lnTo>
                      <a:lnTo>
                        <a:pt x="153" y="304"/>
                      </a:lnTo>
                      <a:lnTo>
                        <a:pt x="151" y="304"/>
                      </a:lnTo>
                      <a:lnTo>
                        <a:pt x="149" y="304"/>
                      </a:lnTo>
                      <a:lnTo>
                        <a:pt x="149" y="303"/>
                      </a:lnTo>
                      <a:lnTo>
                        <a:pt x="151" y="303"/>
                      </a:lnTo>
                      <a:lnTo>
                        <a:pt x="152" y="301"/>
                      </a:lnTo>
                      <a:lnTo>
                        <a:pt x="153" y="303"/>
                      </a:lnTo>
                      <a:close/>
                      <a:moveTo>
                        <a:pt x="147" y="301"/>
                      </a:moveTo>
                      <a:lnTo>
                        <a:pt x="148" y="301"/>
                      </a:lnTo>
                      <a:lnTo>
                        <a:pt x="149" y="301"/>
                      </a:lnTo>
                      <a:lnTo>
                        <a:pt x="149" y="303"/>
                      </a:lnTo>
                      <a:lnTo>
                        <a:pt x="149" y="304"/>
                      </a:lnTo>
                      <a:lnTo>
                        <a:pt x="148" y="304"/>
                      </a:lnTo>
                      <a:lnTo>
                        <a:pt x="148" y="305"/>
                      </a:lnTo>
                      <a:lnTo>
                        <a:pt x="147" y="305"/>
                      </a:lnTo>
                      <a:lnTo>
                        <a:pt x="145" y="305"/>
                      </a:lnTo>
                      <a:lnTo>
                        <a:pt x="144" y="305"/>
                      </a:lnTo>
                      <a:lnTo>
                        <a:pt x="145" y="304"/>
                      </a:lnTo>
                      <a:lnTo>
                        <a:pt x="146" y="303"/>
                      </a:lnTo>
                      <a:lnTo>
                        <a:pt x="146" y="301"/>
                      </a:lnTo>
                      <a:lnTo>
                        <a:pt x="146" y="300"/>
                      </a:lnTo>
                      <a:lnTo>
                        <a:pt x="147" y="301"/>
                      </a:lnTo>
                      <a:close/>
                      <a:moveTo>
                        <a:pt x="99" y="5"/>
                      </a:moveTo>
                      <a:lnTo>
                        <a:pt x="109" y="9"/>
                      </a:lnTo>
                      <a:lnTo>
                        <a:pt x="110" y="9"/>
                      </a:lnTo>
                      <a:lnTo>
                        <a:pt x="111" y="7"/>
                      </a:lnTo>
                      <a:lnTo>
                        <a:pt x="112" y="7"/>
                      </a:lnTo>
                      <a:lnTo>
                        <a:pt x="113" y="7"/>
                      </a:lnTo>
                      <a:lnTo>
                        <a:pt x="114" y="7"/>
                      </a:lnTo>
                      <a:lnTo>
                        <a:pt x="117" y="9"/>
                      </a:lnTo>
                      <a:lnTo>
                        <a:pt x="121" y="13"/>
                      </a:lnTo>
                      <a:lnTo>
                        <a:pt x="126" y="19"/>
                      </a:lnTo>
                      <a:lnTo>
                        <a:pt x="128" y="24"/>
                      </a:lnTo>
                      <a:lnTo>
                        <a:pt x="130" y="25"/>
                      </a:lnTo>
                      <a:lnTo>
                        <a:pt x="132" y="27"/>
                      </a:lnTo>
                      <a:lnTo>
                        <a:pt x="133" y="28"/>
                      </a:lnTo>
                      <a:lnTo>
                        <a:pt x="134" y="28"/>
                      </a:lnTo>
                      <a:lnTo>
                        <a:pt x="134" y="30"/>
                      </a:lnTo>
                      <a:lnTo>
                        <a:pt x="135" y="30"/>
                      </a:lnTo>
                      <a:lnTo>
                        <a:pt x="138" y="30"/>
                      </a:lnTo>
                      <a:lnTo>
                        <a:pt x="139" y="30"/>
                      </a:lnTo>
                      <a:lnTo>
                        <a:pt x="140" y="28"/>
                      </a:lnTo>
                      <a:lnTo>
                        <a:pt x="141" y="27"/>
                      </a:lnTo>
                      <a:lnTo>
                        <a:pt x="144" y="25"/>
                      </a:lnTo>
                      <a:lnTo>
                        <a:pt x="147" y="26"/>
                      </a:lnTo>
                      <a:lnTo>
                        <a:pt x="148" y="26"/>
                      </a:lnTo>
                      <a:lnTo>
                        <a:pt x="149" y="25"/>
                      </a:lnTo>
                      <a:lnTo>
                        <a:pt x="161" y="18"/>
                      </a:lnTo>
                      <a:lnTo>
                        <a:pt x="162" y="18"/>
                      </a:lnTo>
                      <a:lnTo>
                        <a:pt x="163" y="18"/>
                      </a:lnTo>
                      <a:lnTo>
                        <a:pt x="172" y="19"/>
                      </a:lnTo>
                      <a:lnTo>
                        <a:pt x="173" y="19"/>
                      </a:lnTo>
                      <a:lnTo>
                        <a:pt x="173" y="20"/>
                      </a:lnTo>
                      <a:lnTo>
                        <a:pt x="174" y="20"/>
                      </a:lnTo>
                      <a:lnTo>
                        <a:pt x="175" y="21"/>
                      </a:lnTo>
                      <a:lnTo>
                        <a:pt x="176" y="21"/>
                      </a:lnTo>
                      <a:lnTo>
                        <a:pt x="177" y="23"/>
                      </a:lnTo>
                      <a:lnTo>
                        <a:pt x="178" y="24"/>
                      </a:lnTo>
                      <a:lnTo>
                        <a:pt x="181" y="26"/>
                      </a:lnTo>
                      <a:lnTo>
                        <a:pt x="182" y="26"/>
                      </a:lnTo>
                      <a:lnTo>
                        <a:pt x="183" y="26"/>
                      </a:lnTo>
                      <a:lnTo>
                        <a:pt x="184" y="26"/>
                      </a:lnTo>
                      <a:lnTo>
                        <a:pt x="185" y="27"/>
                      </a:lnTo>
                      <a:lnTo>
                        <a:pt x="187" y="27"/>
                      </a:lnTo>
                      <a:lnTo>
                        <a:pt x="188" y="28"/>
                      </a:lnTo>
                      <a:lnTo>
                        <a:pt x="189" y="30"/>
                      </a:lnTo>
                      <a:lnTo>
                        <a:pt x="189" y="31"/>
                      </a:lnTo>
                      <a:lnTo>
                        <a:pt x="190" y="31"/>
                      </a:lnTo>
                      <a:lnTo>
                        <a:pt x="198" y="33"/>
                      </a:lnTo>
                      <a:lnTo>
                        <a:pt x="199" y="34"/>
                      </a:lnTo>
                      <a:lnTo>
                        <a:pt x="209" y="34"/>
                      </a:lnTo>
                      <a:lnTo>
                        <a:pt x="210" y="34"/>
                      </a:lnTo>
                      <a:lnTo>
                        <a:pt x="212" y="34"/>
                      </a:lnTo>
                      <a:lnTo>
                        <a:pt x="219" y="35"/>
                      </a:lnTo>
                      <a:lnTo>
                        <a:pt x="220" y="35"/>
                      </a:lnTo>
                      <a:lnTo>
                        <a:pt x="220" y="34"/>
                      </a:lnTo>
                      <a:lnTo>
                        <a:pt x="222" y="34"/>
                      </a:lnTo>
                      <a:lnTo>
                        <a:pt x="226" y="27"/>
                      </a:lnTo>
                      <a:lnTo>
                        <a:pt x="227" y="26"/>
                      </a:lnTo>
                      <a:lnTo>
                        <a:pt x="229" y="26"/>
                      </a:lnTo>
                      <a:lnTo>
                        <a:pt x="230" y="25"/>
                      </a:lnTo>
                      <a:lnTo>
                        <a:pt x="230" y="24"/>
                      </a:lnTo>
                      <a:lnTo>
                        <a:pt x="236" y="20"/>
                      </a:lnTo>
                      <a:lnTo>
                        <a:pt x="238" y="20"/>
                      </a:lnTo>
                      <a:lnTo>
                        <a:pt x="253" y="17"/>
                      </a:lnTo>
                      <a:lnTo>
                        <a:pt x="254" y="16"/>
                      </a:lnTo>
                      <a:lnTo>
                        <a:pt x="256" y="16"/>
                      </a:lnTo>
                      <a:lnTo>
                        <a:pt x="262" y="17"/>
                      </a:lnTo>
                      <a:lnTo>
                        <a:pt x="279" y="17"/>
                      </a:lnTo>
                      <a:lnTo>
                        <a:pt x="288" y="19"/>
                      </a:lnTo>
                      <a:lnTo>
                        <a:pt x="291" y="20"/>
                      </a:lnTo>
                      <a:lnTo>
                        <a:pt x="296" y="23"/>
                      </a:lnTo>
                      <a:lnTo>
                        <a:pt x="297" y="24"/>
                      </a:lnTo>
                      <a:lnTo>
                        <a:pt x="298" y="24"/>
                      </a:lnTo>
                      <a:lnTo>
                        <a:pt x="300" y="25"/>
                      </a:lnTo>
                      <a:lnTo>
                        <a:pt x="301" y="25"/>
                      </a:lnTo>
                      <a:lnTo>
                        <a:pt x="302" y="24"/>
                      </a:lnTo>
                      <a:lnTo>
                        <a:pt x="304" y="25"/>
                      </a:lnTo>
                      <a:lnTo>
                        <a:pt x="305" y="25"/>
                      </a:lnTo>
                      <a:lnTo>
                        <a:pt x="307" y="25"/>
                      </a:lnTo>
                      <a:lnTo>
                        <a:pt x="308" y="25"/>
                      </a:lnTo>
                      <a:lnTo>
                        <a:pt x="309" y="25"/>
                      </a:lnTo>
                      <a:lnTo>
                        <a:pt x="310" y="26"/>
                      </a:lnTo>
                      <a:lnTo>
                        <a:pt x="311" y="26"/>
                      </a:lnTo>
                      <a:lnTo>
                        <a:pt x="311" y="25"/>
                      </a:lnTo>
                      <a:lnTo>
                        <a:pt x="312" y="24"/>
                      </a:lnTo>
                      <a:lnTo>
                        <a:pt x="313" y="23"/>
                      </a:lnTo>
                      <a:lnTo>
                        <a:pt x="313" y="21"/>
                      </a:lnTo>
                      <a:lnTo>
                        <a:pt x="313" y="20"/>
                      </a:lnTo>
                      <a:lnTo>
                        <a:pt x="315" y="19"/>
                      </a:lnTo>
                      <a:lnTo>
                        <a:pt x="316" y="19"/>
                      </a:lnTo>
                      <a:lnTo>
                        <a:pt x="316" y="18"/>
                      </a:lnTo>
                      <a:lnTo>
                        <a:pt x="317" y="18"/>
                      </a:lnTo>
                      <a:lnTo>
                        <a:pt x="317" y="19"/>
                      </a:lnTo>
                      <a:lnTo>
                        <a:pt x="318" y="18"/>
                      </a:lnTo>
                      <a:lnTo>
                        <a:pt x="319" y="18"/>
                      </a:lnTo>
                      <a:lnTo>
                        <a:pt x="319" y="17"/>
                      </a:lnTo>
                      <a:lnTo>
                        <a:pt x="320" y="16"/>
                      </a:lnTo>
                      <a:lnTo>
                        <a:pt x="322" y="16"/>
                      </a:lnTo>
                      <a:lnTo>
                        <a:pt x="322" y="14"/>
                      </a:lnTo>
                      <a:lnTo>
                        <a:pt x="323" y="14"/>
                      </a:lnTo>
                      <a:lnTo>
                        <a:pt x="323" y="13"/>
                      </a:lnTo>
                      <a:lnTo>
                        <a:pt x="324" y="13"/>
                      </a:lnTo>
                      <a:lnTo>
                        <a:pt x="324" y="12"/>
                      </a:lnTo>
                      <a:lnTo>
                        <a:pt x="323" y="12"/>
                      </a:lnTo>
                      <a:lnTo>
                        <a:pt x="324" y="12"/>
                      </a:lnTo>
                      <a:lnTo>
                        <a:pt x="325" y="12"/>
                      </a:lnTo>
                      <a:lnTo>
                        <a:pt x="326" y="12"/>
                      </a:lnTo>
                      <a:lnTo>
                        <a:pt x="329" y="10"/>
                      </a:lnTo>
                      <a:lnTo>
                        <a:pt x="330" y="10"/>
                      </a:lnTo>
                      <a:lnTo>
                        <a:pt x="331" y="10"/>
                      </a:lnTo>
                      <a:lnTo>
                        <a:pt x="330" y="11"/>
                      </a:lnTo>
                      <a:lnTo>
                        <a:pt x="331" y="11"/>
                      </a:lnTo>
                      <a:lnTo>
                        <a:pt x="332" y="10"/>
                      </a:lnTo>
                      <a:lnTo>
                        <a:pt x="332" y="11"/>
                      </a:lnTo>
                      <a:lnTo>
                        <a:pt x="332" y="10"/>
                      </a:lnTo>
                      <a:lnTo>
                        <a:pt x="333" y="10"/>
                      </a:lnTo>
                      <a:lnTo>
                        <a:pt x="332" y="11"/>
                      </a:lnTo>
                      <a:lnTo>
                        <a:pt x="333" y="11"/>
                      </a:lnTo>
                      <a:lnTo>
                        <a:pt x="334" y="10"/>
                      </a:lnTo>
                      <a:lnTo>
                        <a:pt x="336" y="9"/>
                      </a:lnTo>
                      <a:lnTo>
                        <a:pt x="336" y="7"/>
                      </a:lnTo>
                      <a:lnTo>
                        <a:pt x="337" y="7"/>
                      </a:lnTo>
                      <a:lnTo>
                        <a:pt x="338" y="6"/>
                      </a:lnTo>
                      <a:lnTo>
                        <a:pt x="338" y="5"/>
                      </a:lnTo>
                      <a:lnTo>
                        <a:pt x="339" y="4"/>
                      </a:lnTo>
                      <a:lnTo>
                        <a:pt x="347" y="5"/>
                      </a:lnTo>
                      <a:lnTo>
                        <a:pt x="354" y="14"/>
                      </a:lnTo>
                      <a:lnTo>
                        <a:pt x="361" y="25"/>
                      </a:lnTo>
                      <a:lnTo>
                        <a:pt x="364" y="34"/>
                      </a:lnTo>
                      <a:lnTo>
                        <a:pt x="366" y="42"/>
                      </a:lnTo>
                      <a:lnTo>
                        <a:pt x="366" y="45"/>
                      </a:lnTo>
                      <a:lnTo>
                        <a:pt x="366" y="46"/>
                      </a:lnTo>
                      <a:lnTo>
                        <a:pt x="366" y="47"/>
                      </a:lnTo>
                      <a:lnTo>
                        <a:pt x="366" y="48"/>
                      </a:lnTo>
                      <a:lnTo>
                        <a:pt x="367" y="48"/>
                      </a:lnTo>
                      <a:lnTo>
                        <a:pt x="373" y="48"/>
                      </a:lnTo>
                      <a:lnTo>
                        <a:pt x="375" y="49"/>
                      </a:lnTo>
                      <a:lnTo>
                        <a:pt x="376" y="49"/>
                      </a:lnTo>
                      <a:lnTo>
                        <a:pt x="376" y="51"/>
                      </a:lnTo>
                      <a:lnTo>
                        <a:pt x="377" y="52"/>
                      </a:lnTo>
                      <a:lnTo>
                        <a:pt x="377" y="53"/>
                      </a:lnTo>
                      <a:lnTo>
                        <a:pt x="379" y="53"/>
                      </a:lnTo>
                      <a:lnTo>
                        <a:pt x="380" y="54"/>
                      </a:lnTo>
                      <a:lnTo>
                        <a:pt x="381" y="54"/>
                      </a:lnTo>
                      <a:lnTo>
                        <a:pt x="381" y="55"/>
                      </a:lnTo>
                      <a:lnTo>
                        <a:pt x="380" y="55"/>
                      </a:lnTo>
                      <a:lnTo>
                        <a:pt x="380" y="56"/>
                      </a:lnTo>
                      <a:lnTo>
                        <a:pt x="380" y="59"/>
                      </a:lnTo>
                      <a:lnTo>
                        <a:pt x="379" y="59"/>
                      </a:lnTo>
                      <a:lnTo>
                        <a:pt x="379" y="60"/>
                      </a:lnTo>
                      <a:lnTo>
                        <a:pt x="380" y="61"/>
                      </a:lnTo>
                      <a:lnTo>
                        <a:pt x="380" y="62"/>
                      </a:lnTo>
                      <a:lnTo>
                        <a:pt x="380" y="63"/>
                      </a:lnTo>
                      <a:lnTo>
                        <a:pt x="379" y="67"/>
                      </a:lnTo>
                      <a:lnTo>
                        <a:pt x="379" y="68"/>
                      </a:lnTo>
                      <a:lnTo>
                        <a:pt x="377" y="69"/>
                      </a:lnTo>
                      <a:lnTo>
                        <a:pt x="377" y="70"/>
                      </a:lnTo>
                      <a:lnTo>
                        <a:pt x="379" y="70"/>
                      </a:lnTo>
                      <a:lnTo>
                        <a:pt x="380" y="72"/>
                      </a:lnTo>
                      <a:lnTo>
                        <a:pt x="380" y="73"/>
                      </a:lnTo>
                      <a:lnTo>
                        <a:pt x="380" y="74"/>
                      </a:lnTo>
                      <a:lnTo>
                        <a:pt x="380" y="75"/>
                      </a:lnTo>
                      <a:lnTo>
                        <a:pt x="379" y="76"/>
                      </a:lnTo>
                      <a:lnTo>
                        <a:pt x="376" y="77"/>
                      </a:lnTo>
                      <a:lnTo>
                        <a:pt x="375" y="79"/>
                      </a:lnTo>
                      <a:lnTo>
                        <a:pt x="374" y="79"/>
                      </a:lnTo>
                      <a:lnTo>
                        <a:pt x="373" y="80"/>
                      </a:lnTo>
                      <a:lnTo>
                        <a:pt x="372" y="80"/>
                      </a:lnTo>
                      <a:lnTo>
                        <a:pt x="369" y="83"/>
                      </a:lnTo>
                      <a:lnTo>
                        <a:pt x="368" y="83"/>
                      </a:lnTo>
                      <a:lnTo>
                        <a:pt x="367" y="83"/>
                      </a:lnTo>
                      <a:lnTo>
                        <a:pt x="367" y="84"/>
                      </a:lnTo>
                      <a:lnTo>
                        <a:pt x="366" y="84"/>
                      </a:lnTo>
                      <a:lnTo>
                        <a:pt x="365" y="84"/>
                      </a:lnTo>
                      <a:lnTo>
                        <a:pt x="364" y="84"/>
                      </a:lnTo>
                      <a:lnTo>
                        <a:pt x="361" y="84"/>
                      </a:lnTo>
                      <a:lnTo>
                        <a:pt x="360" y="83"/>
                      </a:lnTo>
                      <a:lnTo>
                        <a:pt x="359" y="83"/>
                      </a:lnTo>
                      <a:lnTo>
                        <a:pt x="358" y="84"/>
                      </a:lnTo>
                      <a:lnTo>
                        <a:pt x="357" y="86"/>
                      </a:lnTo>
                      <a:lnTo>
                        <a:pt x="357" y="87"/>
                      </a:lnTo>
                      <a:lnTo>
                        <a:pt x="355" y="89"/>
                      </a:lnTo>
                      <a:lnTo>
                        <a:pt x="354" y="90"/>
                      </a:lnTo>
                      <a:lnTo>
                        <a:pt x="353" y="91"/>
                      </a:lnTo>
                      <a:lnTo>
                        <a:pt x="352" y="93"/>
                      </a:lnTo>
                      <a:lnTo>
                        <a:pt x="352" y="94"/>
                      </a:lnTo>
                      <a:lnTo>
                        <a:pt x="352" y="95"/>
                      </a:lnTo>
                      <a:lnTo>
                        <a:pt x="346" y="103"/>
                      </a:lnTo>
                      <a:lnTo>
                        <a:pt x="345" y="104"/>
                      </a:lnTo>
                      <a:lnTo>
                        <a:pt x="344" y="109"/>
                      </a:lnTo>
                      <a:lnTo>
                        <a:pt x="344" y="115"/>
                      </a:lnTo>
                      <a:lnTo>
                        <a:pt x="343" y="117"/>
                      </a:lnTo>
                      <a:lnTo>
                        <a:pt x="343" y="118"/>
                      </a:lnTo>
                      <a:lnTo>
                        <a:pt x="343" y="119"/>
                      </a:lnTo>
                      <a:lnTo>
                        <a:pt x="341" y="121"/>
                      </a:lnTo>
                      <a:lnTo>
                        <a:pt x="340" y="122"/>
                      </a:lnTo>
                      <a:lnTo>
                        <a:pt x="337" y="122"/>
                      </a:lnTo>
                      <a:lnTo>
                        <a:pt x="336" y="123"/>
                      </a:lnTo>
                      <a:lnTo>
                        <a:pt x="336" y="124"/>
                      </a:lnTo>
                      <a:lnTo>
                        <a:pt x="336" y="125"/>
                      </a:lnTo>
                      <a:lnTo>
                        <a:pt x="337" y="125"/>
                      </a:lnTo>
                      <a:lnTo>
                        <a:pt x="336" y="126"/>
                      </a:lnTo>
                      <a:lnTo>
                        <a:pt x="336" y="128"/>
                      </a:lnTo>
                      <a:lnTo>
                        <a:pt x="336" y="129"/>
                      </a:lnTo>
                      <a:lnTo>
                        <a:pt x="336" y="130"/>
                      </a:lnTo>
                      <a:lnTo>
                        <a:pt x="337" y="131"/>
                      </a:lnTo>
                      <a:lnTo>
                        <a:pt x="337" y="132"/>
                      </a:lnTo>
                      <a:lnTo>
                        <a:pt x="336" y="133"/>
                      </a:lnTo>
                      <a:lnTo>
                        <a:pt x="336" y="136"/>
                      </a:lnTo>
                      <a:lnTo>
                        <a:pt x="336" y="137"/>
                      </a:lnTo>
                      <a:lnTo>
                        <a:pt x="334" y="139"/>
                      </a:lnTo>
                      <a:lnTo>
                        <a:pt x="332" y="140"/>
                      </a:lnTo>
                      <a:lnTo>
                        <a:pt x="330" y="140"/>
                      </a:lnTo>
                      <a:lnTo>
                        <a:pt x="327" y="142"/>
                      </a:lnTo>
                      <a:lnTo>
                        <a:pt x="326" y="144"/>
                      </a:lnTo>
                      <a:lnTo>
                        <a:pt x="324" y="145"/>
                      </a:lnTo>
                      <a:lnTo>
                        <a:pt x="325" y="146"/>
                      </a:lnTo>
                      <a:lnTo>
                        <a:pt x="325" y="147"/>
                      </a:lnTo>
                      <a:lnTo>
                        <a:pt x="325" y="149"/>
                      </a:lnTo>
                      <a:lnTo>
                        <a:pt x="325" y="150"/>
                      </a:lnTo>
                      <a:lnTo>
                        <a:pt x="324" y="152"/>
                      </a:lnTo>
                      <a:lnTo>
                        <a:pt x="323" y="154"/>
                      </a:lnTo>
                      <a:lnTo>
                        <a:pt x="323" y="156"/>
                      </a:lnTo>
                      <a:lnTo>
                        <a:pt x="323" y="157"/>
                      </a:lnTo>
                      <a:lnTo>
                        <a:pt x="323" y="163"/>
                      </a:lnTo>
                      <a:lnTo>
                        <a:pt x="322" y="164"/>
                      </a:lnTo>
                      <a:lnTo>
                        <a:pt x="322" y="165"/>
                      </a:lnTo>
                      <a:lnTo>
                        <a:pt x="320" y="165"/>
                      </a:lnTo>
                      <a:lnTo>
                        <a:pt x="319" y="165"/>
                      </a:lnTo>
                      <a:lnTo>
                        <a:pt x="319" y="166"/>
                      </a:lnTo>
                      <a:lnTo>
                        <a:pt x="318" y="167"/>
                      </a:lnTo>
                      <a:lnTo>
                        <a:pt x="318" y="168"/>
                      </a:lnTo>
                      <a:lnTo>
                        <a:pt x="315" y="170"/>
                      </a:lnTo>
                      <a:lnTo>
                        <a:pt x="313" y="170"/>
                      </a:lnTo>
                      <a:lnTo>
                        <a:pt x="312" y="170"/>
                      </a:lnTo>
                      <a:lnTo>
                        <a:pt x="311" y="170"/>
                      </a:lnTo>
                      <a:lnTo>
                        <a:pt x="310" y="170"/>
                      </a:lnTo>
                      <a:lnTo>
                        <a:pt x="309" y="170"/>
                      </a:lnTo>
                      <a:lnTo>
                        <a:pt x="310" y="172"/>
                      </a:lnTo>
                      <a:lnTo>
                        <a:pt x="310" y="173"/>
                      </a:lnTo>
                      <a:lnTo>
                        <a:pt x="309" y="174"/>
                      </a:lnTo>
                      <a:lnTo>
                        <a:pt x="308" y="174"/>
                      </a:lnTo>
                      <a:lnTo>
                        <a:pt x="308" y="175"/>
                      </a:lnTo>
                      <a:lnTo>
                        <a:pt x="307" y="175"/>
                      </a:lnTo>
                      <a:lnTo>
                        <a:pt x="305" y="175"/>
                      </a:lnTo>
                      <a:lnTo>
                        <a:pt x="304" y="177"/>
                      </a:lnTo>
                      <a:lnTo>
                        <a:pt x="304" y="178"/>
                      </a:lnTo>
                      <a:lnTo>
                        <a:pt x="304" y="180"/>
                      </a:lnTo>
                      <a:lnTo>
                        <a:pt x="304" y="182"/>
                      </a:lnTo>
                      <a:lnTo>
                        <a:pt x="304" y="184"/>
                      </a:lnTo>
                      <a:lnTo>
                        <a:pt x="303" y="186"/>
                      </a:lnTo>
                      <a:lnTo>
                        <a:pt x="303" y="187"/>
                      </a:lnTo>
                      <a:lnTo>
                        <a:pt x="303" y="188"/>
                      </a:lnTo>
                      <a:lnTo>
                        <a:pt x="303" y="189"/>
                      </a:lnTo>
                      <a:lnTo>
                        <a:pt x="303" y="191"/>
                      </a:lnTo>
                      <a:lnTo>
                        <a:pt x="302" y="192"/>
                      </a:lnTo>
                      <a:lnTo>
                        <a:pt x="298" y="196"/>
                      </a:lnTo>
                      <a:lnTo>
                        <a:pt x="297" y="199"/>
                      </a:lnTo>
                      <a:lnTo>
                        <a:pt x="297" y="200"/>
                      </a:lnTo>
                      <a:lnTo>
                        <a:pt x="298" y="202"/>
                      </a:lnTo>
                      <a:lnTo>
                        <a:pt x="297" y="202"/>
                      </a:lnTo>
                      <a:lnTo>
                        <a:pt x="297" y="203"/>
                      </a:lnTo>
                      <a:lnTo>
                        <a:pt x="296" y="205"/>
                      </a:lnTo>
                      <a:lnTo>
                        <a:pt x="294" y="207"/>
                      </a:lnTo>
                      <a:lnTo>
                        <a:pt x="293" y="208"/>
                      </a:lnTo>
                      <a:lnTo>
                        <a:pt x="290" y="212"/>
                      </a:lnTo>
                      <a:lnTo>
                        <a:pt x="289" y="212"/>
                      </a:lnTo>
                      <a:lnTo>
                        <a:pt x="289" y="213"/>
                      </a:lnTo>
                      <a:lnTo>
                        <a:pt x="290" y="213"/>
                      </a:lnTo>
                      <a:lnTo>
                        <a:pt x="290" y="214"/>
                      </a:lnTo>
                      <a:lnTo>
                        <a:pt x="291" y="216"/>
                      </a:lnTo>
                      <a:lnTo>
                        <a:pt x="293" y="217"/>
                      </a:lnTo>
                      <a:lnTo>
                        <a:pt x="294" y="217"/>
                      </a:lnTo>
                      <a:lnTo>
                        <a:pt x="293" y="219"/>
                      </a:lnTo>
                      <a:lnTo>
                        <a:pt x="291" y="219"/>
                      </a:lnTo>
                      <a:lnTo>
                        <a:pt x="290" y="220"/>
                      </a:lnTo>
                      <a:lnTo>
                        <a:pt x="289" y="221"/>
                      </a:lnTo>
                      <a:lnTo>
                        <a:pt x="288" y="221"/>
                      </a:lnTo>
                      <a:lnTo>
                        <a:pt x="287" y="222"/>
                      </a:lnTo>
                      <a:lnTo>
                        <a:pt x="286" y="223"/>
                      </a:lnTo>
                      <a:lnTo>
                        <a:pt x="283" y="226"/>
                      </a:lnTo>
                      <a:lnTo>
                        <a:pt x="282" y="227"/>
                      </a:lnTo>
                      <a:lnTo>
                        <a:pt x="283" y="227"/>
                      </a:lnTo>
                      <a:lnTo>
                        <a:pt x="283" y="228"/>
                      </a:lnTo>
                      <a:lnTo>
                        <a:pt x="283" y="229"/>
                      </a:lnTo>
                      <a:lnTo>
                        <a:pt x="283" y="230"/>
                      </a:lnTo>
                      <a:lnTo>
                        <a:pt x="282" y="233"/>
                      </a:lnTo>
                      <a:lnTo>
                        <a:pt x="282" y="234"/>
                      </a:lnTo>
                      <a:lnTo>
                        <a:pt x="281" y="234"/>
                      </a:lnTo>
                      <a:lnTo>
                        <a:pt x="280" y="234"/>
                      </a:lnTo>
                      <a:lnTo>
                        <a:pt x="279" y="235"/>
                      </a:lnTo>
                      <a:lnTo>
                        <a:pt x="279" y="236"/>
                      </a:lnTo>
                      <a:lnTo>
                        <a:pt x="279" y="237"/>
                      </a:lnTo>
                      <a:lnTo>
                        <a:pt x="277" y="238"/>
                      </a:lnTo>
                      <a:lnTo>
                        <a:pt x="276" y="240"/>
                      </a:lnTo>
                      <a:lnTo>
                        <a:pt x="275" y="240"/>
                      </a:lnTo>
                      <a:lnTo>
                        <a:pt x="274" y="238"/>
                      </a:lnTo>
                      <a:lnTo>
                        <a:pt x="274" y="240"/>
                      </a:lnTo>
                      <a:lnTo>
                        <a:pt x="273" y="240"/>
                      </a:lnTo>
                      <a:lnTo>
                        <a:pt x="272" y="240"/>
                      </a:lnTo>
                      <a:lnTo>
                        <a:pt x="270" y="240"/>
                      </a:lnTo>
                      <a:lnTo>
                        <a:pt x="269" y="240"/>
                      </a:lnTo>
                      <a:lnTo>
                        <a:pt x="268" y="238"/>
                      </a:lnTo>
                      <a:lnTo>
                        <a:pt x="268" y="237"/>
                      </a:lnTo>
                      <a:lnTo>
                        <a:pt x="267" y="235"/>
                      </a:lnTo>
                      <a:lnTo>
                        <a:pt x="267" y="234"/>
                      </a:lnTo>
                      <a:lnTo>
                        <a:pt x="267" y="233"/>
                      </a:lnTo>
                      <a:lnTo>
                        <a:pt x="267" y="231"/>
                      </a:lnTo>
                      <a:lnTo>
                        <a:pt x="267" y="229"/>
                      </a:lnTo>
                      <a:lnTo>
                        <a:pt x="266" y="229"/>
                      </a:lnTo>
                      <a:lnTo>
                        <a:pt x="262" y="228"/>
                      </a:lnTo>
                      <a:lnTo>
                        <a:pt x="261" y="227"/>
                      </a:lnTo>
                      <a:lnTo>
                        <a:pt x="261" y="226"/>
                      </a:lnTo>
                      <a:lnTo>
                        <a:pt x="261" y="224"/>
                      </a:lnTo>
                      <a:lnTo>
                        <a:pt x="260" y="223"/>
                      </a:lnTo>
                      <a:lnTo>
                        <a:pt x="259" y="222"/>
                      </a:lnTo>
                      <a:lnTo>
                        <a:pt x="256" y="221"/>
                      </a:lnTo>
                      <a:lnTo>
                        <a:pt x="254" y="220"/>
                      </a:lnTo>
                      <a:lnTo>
                        <a:pt x="253" y="220"/>
                      </a:lnTo>
                      <a:lnTo>
                        <a:pt x="253" y="219"/>
                      </a:lnTo>
                      <a:lnTo>
                        <a:pt x="252" y="217"/>
                      </a:lnTo>
                      <a:lnTo>
                        <a:pt x="252" y="219"/>
                      </a:lnTo>
                      <a:lnTo>
                        <a:pt x="251" y="220"/>
                      </a:lnTo>
                      <a:lnTo>
                        <a:pt x="251" y="221"/>
                      </a:lnTo>
                      <a:lnTo>
                        <a:pt x="251" y="223"/>
                      </a:lnTo>
                      <a:lnTo>
                        <a:pt x="249" y="223"/>
                      </a:lnTo>
                      <a:lnTo>
                        <a:pt x="249" y="224"/>
                      </a:lnTo>
                      <a:lnTo>
                        <a:pt x="249" y="226"/>
                      </a:lnTo>
                      <a:lnTo>
                        <a:pt x="241" y="226"/>
                      </a:lnTo>
                      <a:lnTo>
                        <a:pt x="240" y="226"/>
                      </a:lnTo>
                      <a:lnTo>
                        <a:pt x="240" y="224"/>
                      </a:lnTo>
                      <a:lnTo>
                        <a:pt x="239" y="224"/>
                      </a:lnTo>
                      <a:lnTo>
                        <a:pt x="239" y="222"/>
                      </a:lnTo>
                      <a:lnTo>
                        <a:pt x="239" y="221"/>
                      </a:lnTo>
                      <a:lnTo>
                        <a:pt x="238" y="221"/>
                      </a:lnTo>
                      <a:lnTo>
                        <a:pt x="238" y="222"/>
                      </a:lnTo>
                      <a:lnTo>
                        <a:pt x="230" y="228"/>
                      </a:lnTo>
                      <a:lnTo>
                        <a:pt x="229" y="229"/>
                      </a:lnTo>
                      <a:lnTo>
                        <a:pt x="229" y="228"/>
                      </a:lnTo>
                      <a:lnTo>
                        <a:pt x="227" y="228"/>
                      </a:lnTo>
                      <a:lnTo>
                        <a:pt x="226" y="229"/>
                      </a:lnTo>
                      <a:lnTo>
                        <a:pt x="224" y="236"/>
                      </a:lnTo>
                      <a:lnTo>
                        <a:pt x="224" y="237"/>
                      </a:lnTo>
                      <a:lnTo>
                        <a:pt x="223" y="237"/>
                      </a:lnTo>
                      <a:lnTo>
                        <a:pt x="222" y="237"/>
                      </a:lnTo>
                      <a:lnTo>
                        <a:pt x="220" y="237"/>
                      </a:lnTo>
                      <a:lnTo>
                        <a:pt x="220" y="238"/>
                      </a:lnTo>
                      <a:lnTo>
                        <a:pt x="219" y="240"/>
                      </a:lnTo>
                      <a:lnTo>
                        <a:pt x="218" y="241"/>
                      </a:lnTo>
                      <a:lnTo>
                        <a:pt x="217" y="241"/>
                      </a:lnTo>
                      <a:lnTo>
                        <a:pt x="216" y="243"/>
                      </a:lnTo>
                      <a:lnTo>
                        <a:pt x="215" y="243"/>
                      </a:lnTo>
                      <a:lnTo>
                        <a:pt x="213" y="243"/>
                      </a:lnTo>
                      <a:lnTo>
                        <a:pt x="212" y="244"/>
                      </a:lnTo>
                      <a:lnTo>
                        <a:pt x="211" y="245"/>
                      </a:lnTo>
                      <a:lnTo>
                        <a:pt x="211" y="247"/>
                      </a:lnTo>
                      <a:lnTo>
                        <a:pt x="206" y="250"/>
                      </a:lnTo>
                      <a:lnTo>
                        <a:pt x="203" y="254"/>
                      </a:lnTo>
                      <a:lnTo>
                        <a:pt x="203" y="255"/>
                      </a:lnTo>
                      <a:lnTo>
                        <a:pt x="202" y="256"/>
                      </a:lnTo>
                      <a:lnTo>
                        <a:pt x="202" y="257"/>
                      </a:lnTo>
                      <a:lnTo>
                        <a:pt x="201" y="257"/>
                      </a:lnTo>
                      <a:lnTo>
                        <a:pt x="199" y="257"/>
                      </a:lnTo>
                      <a:lnTo>
                        <a:pt x="198" y="258"/>
                      </a:lnTo>
                      <a:lnTo>
                        <a:pt x="197" y="258"/>
                      </a:lnTo>
                      <a:lnTo>
                        <a:pt x="197" y="259"/>
                      </a:lnTo>
                      <a:lnTo>
                        <a:pt x="197" y="261"/>
                      </a:lnTo>
                      <a:lnTo>
                        <a:pt x="198" y="261"/>
                      </a:lnTo>
                      <a:lnTo>
                        <a:pt x="198" y="262"/>
                      </a:lnTo>
                      <a:lnTo>
                        <a:pt x="197" y="262"/>
                      </a:lnTo>
                      <a:lnTo>
                        <a:pt x="197" y="263"/>
                      </a:lnTo>
                      <a:lnTo>
                        <a:pt x="196" y="263"/>
                      </a:lnTo>
                      <a:lnTo>
                        <a:pt x="197" y="264"/>
                      </a:lnTo>
                      <a:lnTo>
                        <a:pt x="198" y="265"/>
                      </a:lnTo>
                      <a:lnTo>
                        <a:pt x="199" y="266"/>
                      </a:lnTo>
                      <a:lnTo>
                        <a:pt x="199" y="268"/>
                      </a:lnTo>
                      <a:lnTo>
                        <a:pt x="198" y="268"/>
                      </a:lnTo>
                      <a:lnTo>
                        <a:pt x="198" y="269"/>
                      </a:lnTo>
                      <a:lnTo>
                        <a:pt x="197" y="269"/>
                      </a:lnTo>
                      <a:lnTo>
                        <a:pt x="197" y="270"/>
                      </a:lnTo>
                      <a:lnTo>
                        <a:pt x="197" y="271"/>
                      </a:lnTo>
                      <a:lnTo>
                        <a:pt x="197" y="272"/>
                      </a:lnTo>
                      <a:lnTo>
                        <a:pt x="197" y="273"/>
                      </a:lnTo>
                      <a:lnTo>
                        <a:pt x="196" y="275"/>
                      </a:lnTo>
                      <a:lnTo>
                        <a:pt x="197" y="276"/>
                      </a:lnTo>
                      <a:lnTo>
                        <a:pt x="196" y="280"/>
                      </a:lnTo>
                      <a:lnTo>
                        <a:pt x="195" y="280"/>
                      </a:lnTo>
                      <a:lnTo>
                        <a:pt x="195" y="282"/>
                      </a:lnTo>
                      <a:lnTo>
                        <a:pt x="194" y="283"/>
                      </a:lnTo>
                      <a:lnTo>
                        <a:pt x="194" y="284"/>
                      </a:lnTo>
                      <a:lnTo>
                        <a:pt x="192" y="285"/>
                      </a:lnTo>
                      <a:lnTo>
                        <a:pt x="191" y="287"/>
                      </a:lnTo>
                      <a:lnTo>
                        <a:pt x="191" y="289"/>
                      </a:lnTo>
                      <a:lnTo>
                        <a:pt x="190" y="289"/>
                      </a:lnTo>
                      <a:lnTo>
                        <a:pt x="190" y="290"/>
                      </a:lnTo>
                      <a:lnTo>
                        <a:pt x="190" y="291"/>
                      </a:lnTo>
                      <a:lnTo>
                        <a:pt x="189" y="291"/>
                      </a:lnTo>
                      <a:lnTo>
                        <a:pt x="188" y="291"/>
                      </a:lnTo>
                      <a:lnTo>
                        <a:pt x="188" y="292"/>
                      </a:lnTo>
                      <a:lnTo>
                        <a:pt x="188" y="293"/>
                      </a:lnTo>
                      <a:lnTo>
                        <a:pt x="188" y="294"/>
                      </a:lnTo>
                      <a:lnTo>
                        <a:pt x="187" y="294"/>
                      </a:lnTo>
                      <a:lnTo>
                        <a:pt x="185" y="294"/>
                      </a:lnTo>
                      <a:lnTo>
                        <a:pt x="185" y="293"/>
                      </a:lnTo>
                      <a:lnTo>
                        <a:pt x="184" y="293"/>
                      </a:lnTo>
                      <a:lnTo>
                        <a:pt x="183" y="293"/>
                      </a:lnTo>
                      <a:lnTo>
                        <a:pt x="183" y="292"/>
                      </a:lnTo>
                      <a:lnTo>
                        <a:pt x="184" y="291"/>
                      </a:lnTo>
                      <a:lnTo>
                        <a:pt x="183" y="291"/>
                      </a:lnTo>
                      <a:lnTo>
                        <a:pt x="183" y="292"/>
                      </a:lnTo>
                      <a:lnTo>
                        <a:pt x="182" y="292"/>
                      </a:lnTo>
                      <a:lnTo>
                        <a:pt x="181" y="291"/>
                      </a:lnTo>
                      <a:lnTo>
                        <a:pt x="182" y="291"/>
                      </a:lnTo>
                      <a:lnTo>
                        <a:pt x="181" y="291"/>
                      </a:lnTo>
                      <a:lnTo>
                        <a:pt x="181" y="290"/>
                      </a:lnTo>
                      <a:lnTo>
                        <a:pt x="180" y="289"/>
                      </a:lnTo>
                      <a:lnTo>
                        <a:pt x="178" y="289"/>
                      </a:lnTo>
                      <a:lnTo>
                        <a:pt x="178" y="287"/>
                      </a:lnTo>
                      <a:lnTo>
                        <a:pt x="177" y="287"/>
                      </a:lnTo>
                      <a:lnTo>
                        <a:pt x="177" y="286"/>
                      </a:lnTo>
                      <a:lnTo>
                        <a:pt x="176" y="286"/>
                      </a:lnTo>
                      <a:lnTo>
                        <a:pt x="178" y="287"/>
                      </a:lnTo>
                      <a:lnTo>
                        <a:pt x="178" y="289"/>
                      </a:lnTo>
                      <a:lnTo>
                        <a:pt x="180" y="290"/>
                      </a:lnTo>
                      <a:lnTo>
                        <a:pt x="180" y="291"/>
                      </a:lnTo>
                      <a:lnTo>
                        <a:pt x="178" y="291"/>
                      </a:lnTo>
                      <a:lnTo>
                        <a:pt x="180" y="292"/>
                      </a:lnTo>
                      <a:lnTo>
                        <a:pt x="181" y="292"/>
                      </a:lnTo>
                      <a:lnTo>
                        <a:pt x="181" y="294"/>
                      </a:lnTo>
                      <a:lnTo>
                        <a:pt x="181" y="296"/>
                      </a:lnTo>
                      <a:lnTo>
                        <a:pt x="181" y="297"/>
                      </a:lnTo>
                      <a:lnTo>
                        <a:pt x="182" y="297"/>
                      </a:lnTo>
                      <a:lnTo>
                        <a:pt x="182" y="298"/>
                      </a:lnTo>
                      <a:lnTo>
                        <a:pt x="181" y="298"/>
                      </a:lnTo>
                      <a:lnTo>
                        <a:pt x="181" y="299"/>
                      </a:lnTo>
                      <a:lnTo>
                        <a:pt x="180" y="300"/>
                      </a:lnTo>
                      <a:lnTo>
                        <a:pt x="178" y="300"/>
                      </a:lnTo>
                      <a:lnTo>
                        <a:pt x="176" y="300"/>
                      </a:lnTo>
                      <a:lnTo>
                        <a:pt x="174" y="300"/>
                      </a:lnTo>
                      <a:lnTo>
                        <a:pt x="173" y="299"/>
                      </a:lnTo>
                      <a:lnTo>
                        <a:pt x="172" y="299"/>
                      </a:lnTo>
                      <a:lnTo>
                        <a:pt x="170" y="300"/>
                      </a:lnTo>
                      <a:lnTo>
                        <a:pt x="169" y="300"/>
                      </a:lnTo>
                      <a:lnTo>
                        <a:pt x="163" y="301"/>
                      </a:lnTo>
                      <a:lnTo>
                        <a:pt x="163" y="300"/>
                      </a:lnTo>
                      <a:lnTo>
                        <a:pt x="162" y="300"/>
                      </a:lnTo>
                      <a:lnTo>
                        <a:pt x="162" y="301"/>
                      </a:lnTo>
                      <a:lnTo>
                        <a:pt x="163" y="301"/>
                      </a:lnTo>
                      <a:lnTo>
                        <a:pt x="162" y="301"/>
                      </a:lnTo>
                      <a:lnTo>
                        <a:pt x="161" y="301"/>
                      </a:lnTo>
                      <a:lnTo>
                        <a:pt x="160" y="301"/>
                      </a:lnTo>
                      <a:lnTo>
                        <a:pt x="156" y="300"/>
                      </a:lnTo>
                      <a:lnTo>
                        <a:pt x="158" y="300"/>
                      </a:lnTo>
                      <a:lnTo>
                        <a:pt x="156" y="300"/>
                      </a:lnTo>
                      <a:lnTo>
                        <a:pt x="156" y="299"/>
                      </a:lnTo>
                      <a:lnTo>
                        <a:pt x="156" y="298"/>
                      </a:lnTo>
                      <a:lnTo>
                        <a:pt x="155" y="297"/>
                      </a:lnTo>
                      <a:lnTo>
                        <a:pt x="156" y="297"/>
                      </a:lnTo>
                      <a:lnTo>
                        <a:pt x="156" y="294"/>
                      </a:lnTo>
                      <a:lnTo>
                        <a:pt x="156" y="296"/>
                      </a:lnTo>
                      <a:lnTo>
                        <a:pt x="155" y="296"/>
                      </a:lnTo>
                      <a:lnTo>
                        <a:pt x="155" y="297"/>
                      </a:lnTo>
                      <a:lnTo>
                        <a:pt x="155" y="298"/>
                      </a:lnTo>
                      <a:lnTo>
                        <a:pt x="156" y="298"/>
                      </a:lnTo>
                      <a:lnTo>
                        <a:pt x="155" y="298"/>
                      </a:lnTo>
                      <a:lnTo>
                        <a:pt x="155" y="299"/>
                      </a:lnTo>
                      <a:lnTo>
                        <a:pt x="154" y="299"/>
                      </a:lnTo>
                      <a:lnTo>
                        <a:pt x="153" y="300"/>
                      </a:lnTo>
                      <a:lnTo>
                        <a:pt x="152" y="299"/>
                      </a:lnTo>
                      <a:lnTo>
                        <a:pt x="151" y="299"/>
                      </a:lnTo>
                      <a:lnTo>
                        <a:pt x="149" y="299"/>
                      </a:lnTo>
                      <a:lnTo>
                        <a:pt x="149" y="298"/>
                      </a:lnTo>
                      <a:lnTo>
                        <a:pt x="148" y="298"/>
                      </a:lnTo>
                      <a:lnTo>
                        <a:pt x="148" y="299"/>
                      </a:lnTo>
                      <a:lnTo>
                        <a:pt x="147" y="299"/>
                      </a:lnTo>
                      <a:lnTo>
                        <a:pt x="148" y="299"/>
                      </a:lnTo>
                      <a:lnTo>
                        <a:pt x="147" y="300"/>
                      </a:lnTo>
                      <a:lnTo>
                        <a:pt x="148" y="300"/>
                      </a:lnTo>
                      <a:lnTo>
                        <a:pt x="149" y="300"/>
                      </a:lnTo>
                      <a:lnTo>
                        <a:pt x="149" y="301"/>
                      </a:lnTo>
                      <a:lnTo>
                        <a:pt x="148" y="301"/>
                      </a:lnTo>
                      <a:lnTo>
                        <a:pt x="147" y="300"/>
                      </a:lnTo>
                      <a:lnTo>
                        <a:pt x="145" y="298"/>
                      </a:lnTo>
                      <a:lnTo>
                        <a:pt x="145" y="297"/>
                      </a:lnTo>
                      <a:lnTo>
                        <a:pt x="144" y="297"/>
                      </a:lnTo>
                      <a:lnTo>
                        <a:pt x="142" y="297"/>
                      </a:lnTo>
                      <a:lnTo>
                        <a:pt x="142" y="296"/>
                      </a:lnTo>
                      <a:lnTo>
                        <a:pt x="141" y="294"/>
                      </a:lnTo>
                      <a:lnTo>
                        <a:pt x="141" y="293"/>
                      </a:lnTo>
                      <a:lnTo>
                        <a:pt x="141" y="294"/>
                      </a:lnTo>
                      <a:lnTo>
                        <a:pt x="141" y="296"/>
                      </a:lnTo>
                      <a:lnTo>
                        <a:pt x="142" y="297"/>
                      </a:lnTo>
                      <a:lnTo>
                        <a:pt x="144" y="297"/>
                      </a:lnTo>
                      <a:lnTo>
                        <a:pt x="145" y="298"/>
                      </a:lnTo>
                      <a:lnTo>
                        <a:pt x="145" y="299"/>
                      </a:lnTo>
                      <a:lnTo>
                        <a:pt x="144" y="300"/>
                      </a:lnTo>
                      <a:lnTo>
                        <a:pt x="145" y="300"/>
                      </a:lnTo>
                      <a:lnTo>
                        <a:pt x="145" y="301"/>
                      </a:lnTo>
                      <a:lnTo>
                        <a:pt x="144" y="303"/>
                      </a:lnTo>
                      <a:lnTo>
                        <a:pt x="142" y="303"/>
                      </a:lnTo>
                      <a:lnTo>
                        <a:pt x="142" y="304"/>
                      </a:lnTo>
                      <a:lnTo>
                        <a:pt x="142" y="303"/>
                      </a:lnTo>
                      <a:lnTo>
                        <a:pt x="141" y="303"/>
                      </a:lnTo>
                      <a:lnTo>
                        <a:pt x="141" y="301"/>
                      </a:lnTo>
                      <a:lnTo>
                        <a:pt x="141" y="303"/>
                      </a:lnTo>
                      <a:lnTo>
                        <a:pt x="141" y="304"/>
                      </a:lnTo>
                      <a:lnTo>
                        <a:pt x="140" y="304"/>
                      </a:lnTo>
                      <a:lnTo>
                        <a:pt x="140" y="303"/>
                      </a:lnTo>
                      <a:lnTo>
                        <a:pt x="140" y="300"/>
                      </a:lnTo>
                      <a:lnTo>
                        <a:pt x="139" y="300"/>
                      </a:lnTo>
                      <a:lnTo>
                        <a:pt x="139" y="299"/>
                      </a:lnTo>
                      <a:lnTo>
                        <a:pt x="140" y="299"/>
                      </a:lnTo>
                      <a:lnTo>
                        <a:pt x="140" y="298"/>
                      </a:lnTo>
                      <a:lnTo>
                        <a:pt x="140" y="297"/>
                      </a:lnTo>
                      <a:lnTo>
                        <a:pt x="140" y="296"/>
                      </a:lnTo>
                      <a:lnTo>
                        <a:pt x="139" y="296"/>
                      </a:lnTo>
                      <a:lnTo>
                        <a:pt x="139" y="294"/>
                      </a:lnTo>
                      <a:lnTo>
                        <a:pt x="139" y="296"/>
                      </a:lnTo>
                      <a:lnTo>
                        <a:pt x="138" y="296"/>
                      </a:lnTo>
                      <a:lnTo>
                        <a:pt x="138" y="294"/>
                      </a:lnTo>
                      <a:lnTo>
                        <a:pt x="138" y="296"/>
                      </a:lnTo>
                      <a:lnTo>
                        <a:pt x="138" y="297"/>
                      </a:lnTo>
                      <a:lnTo>
                        <a:pt x="139" y="298"/>
                      </a:lnTo>
                      <a:lnTo>
                        <a:pt x="138" y="298"/>
                      </a:lnTo>
                      <a:lnTo>
                        <a:pt x="137" y="298"/>
                      </a:lnTo>
                      <a:lnTo>
                        <a:pt x="137" y="297"/>
                      </a:lnTo>
                      <a:lnTo>
                        <a:pt x="135" y="296"/>
                      </a:lnTo>
                      <a:lnTo>
                        <a:pt x="135" y="297"/>
                      </a:lnTo>
                      <a:lnTo>
                        <a:pt x="137" y="297"/>
                      </a:lnTo>
                      <a:lnTo>
                        <a:pt x="137" y="298"/>
                      </a:lnTo>
                      <a:lnTo>
                        <a:pt x="137" y="299"/>
                      </a:lnTo>
                      <a:lnTo>
                        <a:pt x="138" y="299"/>
                      </a:lnTo>
                      <a:lnTo>
                        <a:pt x="139" y="299"/>
                      </a:lnTo>
                      <a:lnTo>
                        <a:pt x="138" y="301"/>
                      </a:lnTo>
                      <a:lnTo>
                        <a:pt x="138" y="303"/>
                      </a:lnTo>
                      <a:lnTo>
                        <a:pt x="139" y="305"/>
                      </a:lnTo>
                      <a:lnTo>
                        <a:pt x="140" y="305"/>
                      </a:lnTo>
                      <a:lnTo>
                        <a:pt x="140" y="306"/>
                      </a:lnTo>
                      <a:lnTo>
                        <a:pt x="139" y="306"/>
                      </a:lnTo>
                      <a:lnTo>
                        <a:pt x="138" y="305"/>
                      </a:lnTo>
                      <a:lnTo>
                        <a:pt x="138" y="306"/>
                      </a:lnTo>
                      <a:lnTo>
                        <a:pt x="137" y="305"/>
                      </a:lnTo>
                      <a:lnTo>
                        <a:pt x="135" y="305"/>
                      </a:lnTo>
                      <a:lnTo>
                        <a:pt x="134" y="305"/>
                      </a:lnTo>
                      <a:lnTo>
                        <a:pt x="134" y="304"/>
                      </a:lnTo>
                      <a:lnTo>
                        <a:pt x="134" y="303"/>
                      </a:lnTo>
                      <a:lnTo>
                        <a:pt x="133" y="301"/>
                      </a:lnTo>
                      <a:lnTo>
                        <a:pt x="133" y="300"/>
                      </a:lnTo>
                      <a:lnTo>
                        <a:pt x="133" y="299"/>
                      </a:lnTo>
                      <a:lnTo>
                        <a:pt x="134" y="299"/>
                      </a:lnTo>
                      <a:lnTo>
                        <a:pt x="134" y="298"/>
                      </a:lnTo>
                      <a:lnTo>
                        <a:pt x="133" y="298"/>
                      </a:lnTo>
                      <a:lnTo>
                        <a:pt x="133" y="297"/>
                      </a:lnTo>
                      <a:lnTo>
                        <a:pt x="132" y="296"/>
                      </a:lnTo>
                      <a:lnTo>
                        <a:pt x="132" y="294"/>
                      </a:lnTo>
                      <a:lnTo>
                        <a:pt x="132" y="293"/>
                      </a:lnTo>
                      <a:lnTo>
                        <a:pt x="132" y="292"/>
                      </a:lnTo>
                      <a:lnTo>
                        <a:pt x="131" y="292"/>
                      </a:lnTo>
                      <a:lnTo>
                        <a:pt x="131" y="291"/>
                      </a:lnTo>
                      <a:lnTo>
                        <a:pt x="130" y="291"/>
                      </a:lnTo>
                      <a:lnTo>
                        <a:pt x="130" y="292"/>
                      </a:lnTo>
                      <a:lnTo>
                        <a:pt x="131" y="293"/>
                      </a:lnTo>
                      <a:lnTo>
                        <a:pt x="132" y="294"/>
                      </a:lnTo>
                      <a:lnTo>
                        <a:pt x="132" y="296"/>
                      </a:lnTo>
                      <a:lnTo>
                        <a:pt x="132" y="297"/>
                      </a:lnTo>
                      <a:lnTo>
                        <a:pt x="133" y="298"/>
                      </a:lnTo>
                      <a:lnTo>
                        <a:pt x="133" y="299"/>
                      </a:lnTo>
                      <a:lnTo>
                        <a:pt x="133" y="300"/>
                      </a:lnTo>
                      <a:lnTo>
                        <a:pt x="133" y="303"/>
                      </a:lnTo>
                      <a:lnTo>
                        <a:pt x="133" y="304"/>
                      </a:lnTo>
                      <a:lnTo>
                        <a:pt x="134" y="305"/>
                      </a:lnTo>
                      <a:lnTo>
                        <a:pt x="134" y="306"/>
                      </a:lnTo>
                      <a:lnTo>
                        <a:pt x="135" y="306"/>
                      </a:lnTo>
                      <a:lnTo>
                        <a:pt x="134" y="306"/>
                      </a:lnTo>
                      <a:lnTo>
                        <a:pt x="133" y="307"/>
                      </a:lnTo>
                      <a:lnTo>
                        <a:pt x="132" y="307"/>
                      </a:lnTo>
                      <a:lnTo>
                        <a:pt x="131" y="307"/>
                      </a:lnTo>
                      <a:lnTo>
                        <a:pt x="130" y="306"/>
                      </a:lnTo>
                      <a:lnTo>
                        <a:pt x="130" y="304"/>
                      </a:lnTo>
                      <a:lnTo>
                        <a:pt x="131" y="304"/>
                      </a:lnTo>
                      <a:lnTo>
                        <a:pt x="130" y="304"/>
                      </a:lnTo>
                      <a:lnTo>
                        <a:pt x="130" y="303"/>
                      </a:lnTo>
                      <a:lnTo>
                        <a:pt x="130" y="301"/>
                      </a:lnTo>
                      <a:lnTo>
                        <a:pt x="131" y="299"/>
                      </a:lnTo>
                      <a:lnTo>
                        <a:pt x="131" y="298"/>
                      </a:lnTo>
                      <a:lnTo>
                        <a:pt x="130" y="299"/>
                      </a:lnTo>
                      <a:lnTo>
                        <a:pt x="130" y="300"/>
                      </a:lnTo>
                      <a:lnTo>
                        <a:pt x="130" y="301"/>
                      </a:lnTo>
                      <a:lnTo>
                        <a:pt x="130" y="303"/>
                      </a:lnTo>
                      <a:lnTo>
                        <a:pt x="130" y="304"/>
                      </a:lnTo>
                      <a:lnTo>
                        <a:pt x="128" y="303"/>
                      </a:lnTo>
                      <a:lnTo>
                        <a:pt x="128" y="301"/>
                      </a:lnTo>
                      <a:lnTo>
                        <a:pt x="128" y="300"/>
                      </a:lnTo>
                      <a:lnTo>
                        <a:pt x="128" y="301"/>
                      </a:lnTo>
                      <a:lnTo>
                        <a:pt x="128" y="304"/>
                      </a:lnTo>
                      <a:lnTo>
                        <a:pt x="128" y="305"/>
                      </a:lnTo>
                      <a:lnTo>
                        <a:pt x="130" y="306"/>
                      </a:lnTo>
                      <a:lnTo>
                        <a:pt x="130" y="307"/>
                      </a:lnTo>
                      <a:lnTo>
                        <a:pt x="128" y="307"/>
                      </a:lnTo>
                      <a:lnTo>
                        <a:pt x="127" y="307"/>
                      </a:lnTo>
                      <a:lnTo>
                        <a:pt x="126" y="306"/>
                      </a:lnTo>
                      <a:lnTo>
                        <a:pt x="126" y="305"/>
                      </a:lnTo>
                      <a:lnTo>
                        <a:pt x="126" y="304"/>
                      </a:lnTo>
                      <a:lnTo>
                        <a:pt x="126" y="303"/>
                      </a:lnTo>
                      <a:lnTo>
                        <a:pt x="126" y="301"/>
                      </a:lnTo>
                      <a:lnTo>
                        <a:pt x="125" y="301"/>
                      </a:lnTo>
                      <a:lnTo>
                        <a:pt x="126" y="303"/>
                      </a:lnTo>
                      <a:lnTo>
                        <a:pt x="126" y="304"/>
                      </a:lnTo>
                      <a:lnTo>
                        <a:pt x="126" y="305"/>
                      </a:lnTo>
                      <a:lnTo>
                        <a:pt x="125" y="306"/>
                      </a:lnTo>
                      <a:lnTo>
                        <a:pt x="125" y="307"/>
                      </a:lnTo>
                      <a:lnTo>
                        <a:pt x="124" y="307"/>
                      </a:lnTo>
                      <a:lnTo>
                        <a:pt x="121" y="307"/>
                      </a:lnTo>
                      <a:lnTo>
                        <a:pt x="120" y="307"/>
                      </a:lnTo>
                      <a:lnTo>
                        <a:pt x="119" y="307"/>
                      </a:lnTo>
                      <a:lnTo>
                        <a:pt x="119" y="308"/>
                      </a:lnTo>
                      <a:lnTo>
                        <a:pt x="118" y="308"/>
                      </a:lnTo>
                      <a:lnTo>
                        <a:pt x="117" y="308"/>
                      </a:lnTo>
                      <a:lnTo>
                        <a:pt x="116" y="308"/>
                      </a:lnTo>
                      <a:lnTo>
                        <a:pt x="116" y="307"/>
                      </a:lnTo>
                      <a:lnTo>
                        <a:pt x="116" y="306"/>
                      </a:lnTo>
                      <a:lnTo>
                        <a:pt x="118" y="304"/>
                      </a:lnTo>
                      <a:lnTo>
                        <a:pt x="117" y="304"/>
                      </a:lnTo>
                      <a:lnTo>
                        <a:pt x="116" y="305"/>
                      </a:lnTo>
                      <a:lnTo>
                        <a:pt x="116" y="304"/>
                      </a:lnTo>
                      <a:lnTo>
                        <a:pt x="114" y="303"/>
                      </a:lnTo>
                      <a:lnTo>
                        <a:pt x="114" y="304"/>
                      </a:lnTo>
                      <a:lnTo>
                        <a:pt x="116" y="305"/>
                      </a:lnTo>
                      <a:lnTo>
                        <a:pt x="114" y="305"/>
                      </a:lnTo>
                      <a:lnTo>
                        <a:pt x="114" y="304"/>
                      </a:lnTo>
                      <a:lnTo>
                        <a:pt x="113" y="304"/>
                      </a:lnTo>
                      <a:lnTo>
                        <a:pt x="114" y="305"/>
                      </a:lnTo>
                      <a:lnTo>
                        <a:pt x="114" y="306"/>
                      </a:lnTo>
                      <a:lnTo>
                        <a:pt x="114" y="307"/>
                      </a:lnTo>
                      <a:lnTo>
                        <a:pt x="113" y="307"/>
                      </a:lnTo>
                      <a:lnTo>
                        <a:pt x="113" y="308"/>
                      </a:lnTo>
                      <a:lnTo>
                        <a:pt x="114" y="308"/>
                      </a:lnTo>
                      <a:lnTo>
                        <a:pt x="113" y="308"/>
                      </a:lnTo>
                      <a:lnTo>
                        <a:pt x="112" y="308"/>
                      </a:lnTo>
                      <a:lnTo>
                        <a:pt x="111" y="308"/>
                      </a:lnTo>
                      <a:lnTo>
                        <a:pt x="111" y="310"/>
                      </a:lnTo>
                      <a:lnTo>
                        <a:pt x="110" y="308"/>
                      </a:lnTo>
                      <a:lnTo>
                        <a:pt x="110" y="307"/>
                      </a:lnTo>
                      <a:lnTo>
                        <a:pt x="111" y="306"/>
                      </a:lnTo>
                      <a:lnTo>
                        <a:pt x="110" y="306"/>
                      </a:lnTo>
                      <a:lnTo>
                        <a:pt x="110" y="305"/>
                      </a:lnTo>
                      <a:lnTo>
                        <a:pt x="109" y="305"/>
                      </a:lnTo>
                      <a:lnTo>
                        <a:pt x="109" y="306"/>
                      </a:lnTo>
                      <a:lnTo>
                        <a:pt x="109" y="307"/>
                      </a:lnTo>
                      <a:lnTo>
                        <a:pt x="110" y="307"/>
                      </a:lnTo>
                      <a:lnTo>
                        <a:pt x="110" y="308"/>
                      </a:lnTo>
                      <a:lnTo>
                        <a:pt x="109" y="308"/>
                      </a:lnTo>
                      <a:lnTo>
                        <a:pt x="108" y="308"/>
                      </a:lnTo>
                      <a:lnTo>
                        <a:pt x="108" y="307"/>
                      </a:lnTo>
                      <a:lnTo>
                        <a:pt x="108" y="306"/>
                      </a:lnTo>
                      <a:lnTo>
                        <a:pt x="106" y="305"/>
                      </a:lnTo>
                      <a:lnTo>
                        <a:pt x="108" y="305"/>
                      </a:lnTo>
                      <a:lnTo>
                        <a:pt x="106" y="305"/>
                      </a:lnTo>
                      <a:lnTo>
                        <a:pt x="106" y="306"/>
                      </a:lnTo>
                      <a:lnTo>
                        <a:pt x="106" y="305"/>
                      </a:lnTo>
                      <a:lnTo>
                        <a:pt x="106" y="306"/>
                      </a:lnTo>
                      <a:lnTo>
                        <a:pt x="106" y="307"/>
                      </a:lnTo>
                      <a:lnTo>
                        <a:pt x="105" y="307"/>
                      </a:lnTo>
                      <a:lnTo>
                        <a:pt x="105" y="306"/>
                      </a:lnTo>
                      <a:lnTo>
                        <a:pt x="104" y="306"/>
                      </a:lnTo>
                      <a:lnTo>
                        <a:pt x="103" y="306"/>
                      </a:lnTo>
                      <a:lnTo>
                        <a:pt x="103" y="305"/>
                      </a:lnTo>
                      <a:lnTo>
                        <a:pt x="103" y="304"/>
                      </a:lnTo>
                      <a:lnTo>
                        <a:pt x="103" y="305"/>
                      </a:lnTo>
                      <a:lnTo>
                        <a:pt x="102" y="305"/>
                      </a:lnTo>
                      <a:lnTo>
                        <a:pt x="102" y="304"/>
                      </a:lnTo>
                      <a:lnTo>
                        <a:pt x="101" y="304"/>
                      </a:lnTo>
                      <a:lnTo>
                        <a:pt x="101" y="303"/>
                      </a:lnTo>
                      <a:lnTo>
                        <a:pt x="101" y="304"/>
                      </a:lnTo>
                      <a:lnTo>
                        <a:pt x="101" y="303"/>
                      </a:lnTo>
                      <a:lnTo>
                        <a:pt x="99" y="303"/>
                      </a:lnTo>
                      <a:lnTo>
                        <a:pt x="98" y="301"/>
                      </a:lnTo>
                      <a:lnTo>
                        <a:pt x="97" y="300"/>
                      </a:lnTo>
                      <a:lnTo>
                        <a:pt x="95" y="298"/>
                      </a:lnTo>
                      <a:lnTo>
                        <a:pt x="94" y="297"/>
                      </a:lnTo>
                      <a:lnTo>
                        <a:pt x="94" y="296"/>
                      </a:lnTo>
                      <a:lnTo>
                        <a:pt x="94" y="294"/>
                      </a:lnTo>
                      <a:lnTo>
                        <a:pt x="92" y="294"/>
                      </a:lnTo>
                      <a:lnTo>
                        <a:pt x="92" y="293"/>
                      </a:lnTo>
                      <a:lnTo>
                        <a:pt x="91" y="293"/>
                      </a:lnTo>
                      <a:lnTo>
                        <a:pt x="91" y="292"/>
                      </a:lnTo>
                      <a:lnTo>
                        <a:pt x="90" y="291"/>
                      </a:lnTo>
                      <a:lnTo>
                        <a:pt x="91" y="292"/>
                      </a:lnTo>
                      <a:lnTo>
                        <a:pt x="91" y="291"/>
                      </a:lnTo>
                      <a:lnTo>
                        <a:pt x="90" y="290"/>
                      </a:lnTo>
                      <a:lnTo>
                        <a:pt x="89" y="287"/>
                      </a:lnTo>
                      <a:lnTo>
                        <a:pt x="89" y="286"/>
                      </a:lnTo>
                      <a:lnTo>
                        <a:pt x="89" y="285"/>
                      </a:lnTo>
                      <a:lnTo>
                        <a:pt x="89" y="284"/>
                      </a:lnTo>
                      <a:lnTo>
                        <a:pt x="88" y="284"/>
                      </a:lnTo>
                      <a:lnTo>
                        <a:pt x="88" y="283"/>
                      </a:lnTo>
                      <a:lnTo>
                        <a:pt x="88" y="282"/>
                      </a:lnTo>
                      <a:lnTo>
                        <a:pt x="89" y="282"/>
                      </a:lnTo>
                      <a:lnTo>
                        <a:pt x="90" y="283"/>
                      </a:lnTo>
                      <a:lnTo>
                        <a:pt x="90" y="282"/>
                      </a:lnTo>
                      <a:lnTo>
                        <a:pt x="91" y="282"/>
                      </a:lnTo>
                      <a:lnTo>
                        <a:pt x="90" y="280"/>
                      </a:lnTo>
                      <a:lnTo>
                        <a:pt x="89" y="282"/>
                      </a:lnTo>
                      <a:lnTo>
                        <a:pt x="88" y="282"/>
                      </a:lnTo>
                      <a:lnTo>
                        <a:pt x="87" y="282"/>
                      </a:lnTo>
                      <a:lnTo>
                        <a:pt x="87" y="280"/>
                      </a:lnTo>
                      <a:lnTo>
                        <a:pt x="87" y="279"/>
                      </a:lnTo>
                      <a:lnTo>
                        <a:pt x="87" y="278"/>
                      </a:lnTo>
                      <a:lnTo>
                        <a:pt x="87" y="276"/>
                      </a:lnTo>
                      <a:lnTo>
                        <a:pt x="87" y="275"/>
                      </a:lnTo>
                      <a:lnTo>
                        <a:pt x="89" y="275"/>
                      </a:lnTo>
                      <a:lnTo>
                        <a:pt x="90" y="275"/>
                      </a:lnTo>
                      <a:lnTo>
                        <a:pt x="90" y="276"/>
                      </a:lnTo>
                      <a:lnTo>
                        <a:pt x="91" y="275"/>
                      </a:lnTo>
                      <a:lnTo>
                        <a:pt x="92" y="275"/>
                      </a:lnTo>
                      <a:lnTo>
                        <a:pt x="92" y="273"/>
                      </a:lnTo>
                      <a:lnTo>
                        <a:pt x="94" y="273"/>
                      </a:lnTo>
                      <a:lnTo>
                        <a:pt x="94" y="275"/>
                      </a:lnTo>
                      <a:lnTo>
                        <a:pt x="94" y="273"/>
                      </a:lnTo>
                      <a:lnTo>
                        <a:pt x="92" y="273"/>
                      </a:lnTo>
                      <a:lnTo>
                        <a:pt x="92" y="272"/>
                      </a:lnTo>
                      <a:lnTo>
                        <a:pt x="92" y="271"/>
                      </a:lnTo>
                      <a:lnTo>
                        <a:pt x="94" y="270"/>
                      </a:lnTo>
                      <a:lnTo>
                        <a:pt x="95" y="270"/>
                      </a:lnTo>
                      <a:lnTo>
                        <a:pt x="96" y="269"/>
                      </a:lnTo>
                      <a:lnTo>
                        <a:pt x="95" y="269"/>
                      </a:lnTo>
                      <a:lnTo>
                        <a:pt x="95" y="270"/>
                      </a:lnTo>
                      <a:lnTo>
                        <a:pt x="94" y="270"/>
                      </a:lnTo>
                      <a:lnTo>
                        <a:pt x="92" y="270"/>
                      </a:lnTo>
                      <a:lnTo>
                        <a:pt x="91" y="270"/>
                      </a:lnTo>
                      <a:lnTo>
                        <a:pt x="91" y="271"/>
                      </a:lnTo>
                      <a:lnTo>
                        <a:pt x="91" y="272"/>
                      </a:lnTo>
                      <a:lnTo>
                        <a:pt x="91" y="273"/>
                      </a:lnTo>
                      <a:lnTo>
                        <a:pt x="90" y="273"/>
                      </a:lnTo>
                      <a:lnTo>
                        <a:pt x="89" y="273"/>
                      </a:lnTo>
                      <a:lnTo>
                        <a:pt x="89" y="272"/>
                      </a:lnTo>
                      <a:lnTo>
                        <a:pt x="89" y="273"/>
                      </a:lnTo>
                      <a:lnTo>
                        <a:pt x="88" y="273"/>
                      </a:lnTo>
                      <a:lnTo>
                        <a:pt x="83" y="272"/>
                      </a:lnTo>
                      <a:lnTo>
                        <a:pt x="82" y="271"/>
                      </a:lnTo>
                      <a:lnTo>
                        <a:pt x="82" y="270"/>
                      </a:lnTo>
                      <a:lnTo>
                        <a:pt x="81" y="270"/>
                      </a:lnTo>
                      <a:lnTo>
                        <a:pt x="81" y="269"/>
                      </a:lnTo>
                      <a:lnTo>
                        <a:pt x="82" y="269"/>
                      </a:lnTo>
                      <a:lnTo>
                        <a:pt x="82" y="268"/>
                      </a:lnTo>
                      <a:lnTo>
                        <a:pt x="83" y="268"/>
                      </a:lnTo>
                      <a:lnTo>
                        <a:pt x="85" y="268"/>
                      </a:lnTo>
                      <a:lnTo>
                        <a:pt x="87" y="269"/>
                      </a:lnTo>
                      <a:lnTo>
                        <a:pt x="88" y="269"/>
                      </a:lnTo>
                      <a:lnTo>
                        <a:pt x="88" y="268"/>
                      </a:lnTo>
                      <a:lnTo>
                        <a:pt x="89" y="266"/>
                      </a:lnTo>
                      <a:lnTo>
                        <a:pt x="90" y="266"/>
                      </a:lnTo>
                      <a:lnTo>
                        <a:pt x="90" y="268"/>
                      </a:lnTo>
                      <a:lnTo>
                        <a:pt x="91" y="268"/>
                      </a:lnTo>
                      <a:lnTo>
                        <a:pt x="91" y="266"/>
                      </a:lnTo>
                      <a:lnTo>
                        <a:pt x="90" y="266"/>
                      </a:lnTo>
                      <a:lnTo>
                        <a:pt x="90" y="265"/>
                      </a:lnTo>
                      <a:lnTo>
                        <a:pt x="89" y="265"/>
                      </a:lnTo>
                      <a:lnTo>
                        <a:pt x="88" y="266"/>
                      </a:lnTo>
                      <a:lnTo>
                        <a:pt x="88" y="268"/>
                      </a:lnTo>
                      <a:lnTo>
                        <a:pt x="87" y="268"/>
                      </a:lnTo>
                      <a:lnTo>
                        <a:pt x="85" y="268"/>
                      </a:lnTo>
                      <a:lnTo>
                        <a:pt x="85" y="266"/>
                      </a:lnTo>
                      <a:lnTo>
                        <a:pt x="85" y="264"/>
                      </a:lnTo>
                      <a:lnTo>
                        <a:pt x="85" y="263"/>
                      </a:lnTo>
                      <a:lnTo>
                        <a:pt x="85" y="265"/>
                      </a:lnTo>
                      <a:lnTo>
                        <a:pt x="84" y="266"/>
                      </a:lnTo>
                      <a:lnTo>
                        <a:pt x="83" y="266"/>
                      </a:lnTo>
                      <a:lnTo>
                        <a:pt x="83" y="268"/>
                      </a:lnTo>
                      <a:lnTo>
                        <a:pt x="82" y="268"/>
                      </a:lnTo>
                      <a:lnTo>
                        <a:pt x="81" y="268"/>
                      </a:lnTo>
                      <a:lnTo>
                        <a:pt x="80" y="268"/>
                      </a:lnTo>
                      <a:lnTo>
                        <a:pt x="80" y="266"/>
                      </a:lnTo>
                      <a:lnTo>
                        <a:pt x="78" y="265"/>
                      </a:lnTo>
                      <a:lnTo>
                        <a:pt x="78" y="264"/>
                      </a:lnTo>
                      <a:lnTo>
                        <a:pt x="78" y="263"/>
                      </a:lnTo>
                      <a:lnTo>
                        <a:pt x="78" y="262"/>
                      </a:lnTo>
                      <a:lnTo>
                        <a:pt x="78" y="261"/>
                      </a:lnTo>
                      <a:lnTo>
                        <a:pt x="80" y="261"/>
                      </a:lnTo>
                      <a:lnTo>
                        <a:pt x="80" y="262"/>
                      </a:lnTo>
                      <a:lnTo>
                        <a:pt x="81" y="262"/>
                      </a:lnTo>
                      <a:lnTo>
                        <a:pt x="80" y="261"/>
                      </a:lnTo>
                      <a:lnTo>
                        <a:pt x="81" y="259"/>
                      </a:lnTo>
                      <a:lnTo>
                        <a:pt x="83" y="258"/>
                      </a:lnTo>
                      <a:lnTo>
                        <a:pt x="84" y="257"/>
                      </a:lnTo>
                      <a:lnTo>
                        <a:pt x="83" y="258"/>
                      </a:lnTo>
                      <a:lnTo>
                        <a:pt x="82" y="259"/>
                      </a:lnTo>
                      <a:lnTo>
                        <a:pt x="78" y="261"/>
                      </a:lnTo>
                      <a:lnTo>
                        <a:pt x="77" y="262"/>
                      </a:lnTo>
                      <a:lnTo>
                        <a:pt x="76" y="262"/>
                      </a:lnTo>
                      <a:lnTo>
                        <a:pt x="75" y="259"/>
                      </a:lnTo>
                      <a:lnTo>
                        <a:pt x="71" y="255"/>
                      </a:lnTo>
                      <a:lnTo>
                        <a:pt x="70" y="254"/>
                      </a:lnTo>
                      <a:lnTo>
                        <a:pt x="69" y="254"/>
                      </a:lnTo>
                      <a:lnTo>
                        <a:pt x="69" y="252"/>
                      </a:lnTo>
                      <a:lnTo>
                        <a:pt x="68" y="251"/>
                      </a:lnTo>
                      <a:lnTo>
                        <a:pt x="67" y="250"/>
                      </a:lnTo>
                      <a:lnTo>
                        <a:pt x="66" y="250"/>
                      </a:lnTo>
                      <a:lnTo>
                        <a:pt x="63" y="248"/>
                      </a:lnTo>
                      <a:lnTo>
                        <a:pt x="62" y="248"/>
                      </a:lnTo>
                      <a:lnTo>
                        <a:pt x="61" y="245"/>
                      </a:lnTo>
                      <a:lnTo>
                        <a:pt x="60" y="245"/>
                      </a:lnTo>
                      <a:lnTo>
                        <a:pt x="59" y="244"/>
                      </a:lnTo>
                      <a:lnTo>
                        <a:pt x="56" y="243"/>
                      </a:lnTo>
                      <a:lnTo>
                        <a:pt x="54" y="243"/>
                      </a:lnTo>
                      <a:lnTo>
                        <a:pt x="47" y="242"/>
                      </a:lnTo>
                      <a:lnTo>
                        <a:pt x="39" y="241"/>
                      </a:lnTo>
                      <a:lnTo>
                        <a:pt x="26" y="242"/>
                      </a:lnTo>
                      <a:lnTo>
                        <a:pt x="25" y="242"/>
                      </a:lnTo>
                      <a:lnTo>
                        <a:pt x="24" y="242"/>
                      </a:lnTo>
                      <a:lnTo>
                        <a:pt x="24" y="241"/>
                      </a:lnTo>
                      <a:lnTo>
                        <a:pt x="25" y="241"/>
                      </a:lnTo>
                      <a:lnTo>
                        <a:pt x="25" y="242"/>
                      </a:lnTo>
                      <a:lnTo>
                        <a:pt x="26" y="241"/>
                      </a:lnTo>
                      <a:lnTo>
                        <a:pt x="27" y="241"/>
                      </a:lnTo>
                      <a:lnTo>
                        <a:pt x="28" y="241"/>
                      </a:lnTo>
                      <a:lnTo>
                        <a:pt x="30" y="241"/>
                      </a:lnTo>
                      <a:lnTo>
                        <a:pt x="30" y="240"/>
                      </a:lnTo>
                      <a:lnTo>
                        <a:pt x="30" y="238"/>
                      </a:lnTo>
                      <a:lnTo>
                        <a:pt x="31" y="238"/>
                      </a:lnTo>
                      <a:lnTo>
                        <a:pt x="32" y="238"/>
                      </a:lnTo>
                      <a:lnTo>
                        <a:pt x="33" y="238"/>
                      </a:lnTo>
                      <a:lnTo>
                        <a:pt x="34" y="238"/>
                      </a:lnTo>
                      <a:lnTo>
                        <a:pt x="35" y="237"/>
                      </a:lnTo>
                      <a:lnTo>
                        <a:pt x="35" y="236"/>
                      </a:lnTo>
                      <a:lnTo>
                        <a:pt x="37" y="236"/>
                      </a:lnTo>
                      <a:lnTo>
                        <a:pt x="39" y="236"/>
                      </a:lnTo>
                      <a:lnTo>
                        <a:pt x="38" y="236"/>
                      </a:lnTo>
                      <a:lnTo>
                        <a:pt x="37" y="235"/>
                      </a:lnTo>
                      <a:lnTo>
                        <a:pt x="34" y="236"/>
                      </a:lnTo>
                      <a:lnTo>
                        <a:pt x="33" y="237"/>
                      </a:lnTo>
                      <a:lnTo>
                        <a:pt x="31" y="237"/>
                      </a:lnTo>
                      <a:lnTo>
                        <a:pt x="30" y="237"/>
                      </a:lnTo>
                      <a:lnTo>
                        <a:pt x="30" y="238"/>
                      </a:lnTo>
                      <a:lnTo>
                        <a:pt x="28" y="238"/>
                      </a:lnTo>
                      <a:lnTo>
                        <a:pt x="27" y="238"/>
                      </a:lnTo>
                      <a:lnTo>
                        <a:pt x="26" y="237"/>
                      </a:lnTo>
                      <a:lnTo>
                        <a:pt x="27" y="236"/>
                      </a:lnTo>
                      <a:lnTo>
                        <a:pt x="26" y="236"/>
                      </a:lnTo>
                      <a:lnTo>
                        <a:pt x="25" y="237"/>
                      </a:lnTo>
                      <a:lnTo>
                        <a:pt x="24" y="237"/>
                      </a:lnTo>
                      <a:lnTo>
                        <a:pt x="24" y="238"/>
                      </a:lnTo>
                      <a:lnTo>
                        <a:pt x="25" y="238"/>
                      </a:lnTo>
                      <a:lnTo>
                        <a:pt x="24" y="240"/>
                      </a:lnTo>
                      <a:lnTo>
                        <a:pt x="24" y="241"/>
                      </a:lnTo>
                      <a:lnTo>
                        <a:pt x="24" y="242"/>
                      </a:lnTo>
                      <a:lnTo>
                        <a:pt x="24" y="243"/>
                      </a:lnTo>
                      <a:lnTo>
                        <a:pt x="21" y="243"/>
                      </a:lnTo>
                      <a:lnTo>
                        <a:pt x="18" y="243"/>
                      </a:lnTo>
                      <a:lnTo>
                        <a:pt x="14" y="243"/>
                      </a:lnTo>
                      <a:lnTo>
                        <a:pt x="10" y="243"/>
                      </a:lnTo>
                      <a:lnTo>
                        <a:pt x="2" y="244"/>
                      </a:lnTo>
                      <a:lnTo>
                        <a:pt x="2" y="242"/>
                      </a:lnTo>
                      <a:lnTo>
                        <a:pt x="3" y="241"/>
                      </a:lnTo>
                      <a:lnTo>
                        <a:pt x="3" y="240"/>
                      </a:lnTo>
                      <a:lnTo>
                        <a:pt x="3" y="237"/>
                      </a:lnTo>
                      <a:lnTo>
                        <a:pt x="3" y="236"/>
                      </a:lnTo>
                      <a:lnTo>
                        <a:pt x="3" y="235"/>
                      </a:lnTo>
                      <a:lnTo>
                        <a:pt x="3" y="234"/>
                      </a:lnTo>
                      <a:lnTo>
                        <a:pt x="4" y="234"/>
                      </a:lnTo>
                      <a:lnTo>
                        <a:pt x="4" y="233"/>
                      </a:lnTo>
                      <a:lnTo>
                        <a:pt x="4" y="231"/>
                      </a:lnTo>
                      <a:lnTo>
                        <a:pt x="3" y="231"/>
                      </a:lnTo>
                      <a:lnTo>
                        <a:pt x="3" y="230"/>
                      </a:lnTo>
                      <a:lnTo>
                        <a:pt x="3" y="229"/>
                      </a:lnTo>
                      <a:lnTo>
                        <a:pt x="3" y="228"/>
                      </a:lnTo>
                      <a:lnTo>
                        <a:pt x="3" y="227"/>
                      </a:lnTo>
                      <a:lnTo>
                        <a:pt x="3" y="226"/>
                      </a:lnTo>
                      <a:lnTo>
                        <a:pt x="3" y="224"/>
                      </a:lnTo>
                      <a:lnTo>
                        <a:pt x="3" y="223"/>
                      </a:lnTo>
                      <a:lnTo>
                        <a:pt x="4" y="223"/>
                      </a:lnTo>
                      <a:lnTo>
                        <a:pt x="4" y="222"/>
                      </a:lnTo>
                      <a:lnTo>
                        <a:pt x="3" y="221"/>
                      </a:lnTo>
                      <a:lnTo>
                        <a:pt x="3" y="220"/>
                      </a:lnTo>
                      <a:lnTo>
                        <a:pt x="4" y="219"/>
                      </a:lnTo>
                      <a:lnTo>
                        <a:pt x="3" y="210"/>
                      </a:lnTo>
                      <a:lnTo>
                        <a:pt x="4" y="210"/>
                      </a:lnTo>
                      <a:lnTo>
                        <a:pt x="4" y="209"/>
                      </a:lnTo>
                      <a:lnTo>
                        <a:pt x="5" y="208"/>
                      </a:lnTo>
                      <a:lnTo>
                        <a:pt x="4" y="207"/>
                      </a:lnTo>
                      <a:lnTo>
                        <a:pt x="3" y="206"/>
                      </a:lnTo>
                      <a:lnTo>
                        <a:pt x="3" y="205"/>
                      </a:lnTo>
                      <a:lnTo>
                        <a:pt x="2" y="203"/>
                      </a:lnTo>
                      <a:lnTo>
                        <a:pt x="2" y="202"/>
                      </a:lnTo>
                      <a:lnTo>
                        <a:pt x="3" y="199"/>
                      </a:lnTo>
                      <a:lnTo>
                        <a:pt x="3" y="198"/>
                      </a:lnTo>
                      <a:lnTo>
                        <a:pt x="2" y="198"/>
                      </a:lnTo>
                      <a:lnTo>
                        <a:pt x="2" y="196"/>
                      </a:lnTo>
                      <a:lnTo>
                        <a:pt x="0" y="195"/>
                      </a:lnTo>
                      <a:lnTo>
                        <a:pt x="0" y="194"/>
                      </a:lnTo>
                      <a:lnTo>
                        <a:pt x="2" y="194"/>
                      </a:lnTo>
                      <a:lnTo>
                        <a:pt x="2" y="192"/>
                      </a:lnTo>
                      <a:lnTo>
                        <a:pt x="2" y="189"/>
                      </a:lnTo>
                      <a:lnTo>
                        <a:pt x="2" y="188"/>
                      </a:lnTo>
                      <a:lnTo>
                        <a:pt x="2" y="187"/>
                      </a:lnTo>
                      <a:lnTo>
                        <a:pt x="3" y="186"/>
                      </a:lnTo>
                      <a:lnTo>
                        <a:pt x="3" y="185"/>
                      </a:lnTo>
                      <a:lnTo>
                        <a:pt x="2" y="182"/>
                      </a:lnTo>
                      <a:lnTo>
                        <a:pt x="2" y="181"/>
                      </a:lnTo>
                      <a:lnTo>
                        <a:pt x="2" y="179"/>
                      </a:lnTo>
                      <a:lnTo>
                        <a:pt x="2" y="178"/>
                      </a:lnTo>
                      <a:lnTo>
                        <a:pt x="3" y="178"/>
                      </a:lnTo>
                      <a:lnTo>
                        <a:pt x="3" y="177"/>
                      </a:lnTo>
                      <a:lnTo>
                        <a:pt x="3" y="175"/>
                      </a:lnTo>
                      <a:lnTo>
                        <a:pt x="3" y="174"/>
                      </a:lnTo>
                      <a:lnTo>
                        <a:pt x="2" y="167"/>
                      </a:lnTo>
                      <a:lnTo>
                        <a:pt x="2" y="166"/>
                      </a:lnTo>
                      <a:lnTo>
                        <a:pt x="3" y="166"/>
                      </a:lnTo>
                      <a:lnTo>
                        <a:pt x="3" y="165"/>
                      </a:lnTo>
                      <a:lnTo>
                        <a:pt x="3" y="164"/>
                      </a:lnTo>
                      <a:lnTo>
                        <a:pt x="3" y="163"/>
                      </a:lnTo>
                      <a:lnTo>
                        <a:pt x="3" y="161"/>
                      </a:lnTo>
                      <a:lnTo>
                        <a:pt x="3" y="160"/>
                      </a:lnTo>
                      <a:lnTo>
                        <a:pt x="4" y="159"/>
                      </a:lnTo>
                      <a:lnTo>
                        <a:pt x="3" y="158"/>
                      </a:lnTo>
                      <a:lnTo>
                        <a:pt x="6" y="158"/>
                      </a:lnTo>
                      <a:lnTo>
                        <a:pt x="7" y="157"/>
                      </a:lnTo>
                      <a:lnTo>
                        <a:pt x="9" y="157"/>
                      </a:lnTo>
                      <a:lnTo>
                        <a:pt x="10" y="158"/>
                      </a:lnTo>
                      <a:lnTo>
                        <a:pt x="12" y="157"/>
                      </a:lnTo>
                      <a:lnTo>
                        <a:pt x="13" y="157"/>
                      </a:lnTo>
                      <a:lnTo>
                        <a:pt x="13" y="156"/>
                      </a:lnTo>
                      <a:lnTo>
                        <a:pt x="14" y="152"/>
                      </a:lnTo>
                      <a:lnTo>
                        <a:pt x="16" y="151"/>
                      </a:lnTo>
                      <a:lnTo>
                        <a:pt x="16" y="150"/>
                      </a:lnTo>
                      <a:lnTo>
                        <a:pt x="16" y="149"/>
                      </a:lnTo>
                      <a:lnTo>
                        <a:pt x="16" y="147"/>
                      </a:lnTo>
                      <a:lnTo>
                        <a:pt x="14" y="146"/>
                      </a:lnTo>
                      <a:lnTo>
                        <a:pt x="14" y="145"/>
                      </a:lnTo>
                      <a:lnTo>
                        <a:pt x="16" y="144"/>
                      </a:lnTo>
                      <a:lnTo>
                        <a:pt x="17" y="143"/>
                      </a:lnTo>
                      <a:lnTo>
                        <a:pt x="18" y="140"/>
                      </a:lnTo>
                      <a:lnTo>
                        <a:pt x="18" y="139"/>
                      </a:lnTo>
                      <a:lnTo>
                        <a:pt x="19" y="139"/>
                      </a:lnTo>
                      <a:lnTo>
                        <a:pt x="20" y="139"/>
                      </a:lnTo>
                      <a:lnTo>
                        <a:pt x="21" y="138"/>
                      </a:lnTo>
                      <a:lnTo>
                        <a:pt x="21" y="137"/>
                      </a:lnTo>
                      <a:lnTo>
                        <a:pt x="20" y="136"/>
                      </a:lnTo>
                      <a:lnTo>
                        <a:pt x="20" y="135"/>
                      </a:lnTo>
                      <a:lnTo>
                        <a:pt x="20" y="133"/>
                      </a:lnTo>
                      <a:lnTo>
                        <a:pt x="21" y="133"/>
                      </a:lnTo>
                      <a:lnTo>
                        <a:pt x="24" y="132"/>
                      </a:lnTo>
                      <a:lnTo>
                        <a:pt x="25" y="132"/>
                      </a:lnTo>
                      <a:lnTo>
                        <a:pt x="27" y="132"/>
                      </a:lnTo>
                      <a:lnTo>
                        <a:pt x="28" y="130"/>
                      </a:lnTo>
                      <a:lnTo>
                        <a:pt x="30" y="129"/>
                      </a:lnTo>
                      <a:lnTo>
                        <a:pt x="30" y="125"/>
                      </a:lnTo>
                      <a:lnTo>
                        <a:pt x="31" y="124"/>
                      </a:lnTo>
                      <a:lnTo>
                        <a:pt x="32" y="123"/>
                      </a:lnTo>
                      <a:lnTo>
                        <a:pt x="32" y="122"/>
                      </a:lnTo>
                      <a:lnTo>
                        <a:pt x="31" y="122"/>
                      </a:lnTo>
                      <a:lnTo>
                        <a:pt x="28" y="119"/>
                      </a:lnTo>
                      <a:lnTo>
                        <a:pt x="28" y="118"/>
                      </a:lnTo>
                      <a:lnTo>
                        <a:pt x="30" y="117"/>
                      </a:lnTo>
                      <a:lnTo>
                        <a:pt x="30" y="116"/>
                      </a:lnTo>
                      <a:lnTo>
                        <a:pt x="30" y="115"/>
                      </a:lnTo>
                      <a:lnTo>
                        <a:pt x="30" y="114"/>
                      </a:lnTo>
                      <a:lnTo>
                        <a:pt x="31" y="114"/>
                      </a:lnTo>
                      <a:lnTo>
                        <a:pt x="32" y="114"/>
                      </a:lnTo>
                      <a:lnTo>
                        <a:pt x="34" y="114"/>
                      </a:lnTo>
                      <a:lnTo>
                        <a:pt x="35" y="114"/>
                      </a:lnTo>
                      <a:lnTo>
                        <a:pt x="35" y="112"/>
                      </a:lnTo>
                      <a:lnTo>
                        <a:pt x="35" y="111"/>
                      </a:lnTo>
                      <a:lnTo>
                        <a:pt x="35" y="110"/>
                      </a:lnTo>
                      <a:lnTo>
                        <a:pt x="37" y="109"/>
                      </a:lnTo>
                      <a:lnTo>
                        <a:pt x="37" y="108"/>
                      </a:lnTo>
                      <a:lnTo>
                        <a:pt x="37" y="107"/>
                      </a:lnTo>
                      <a:lnTo>
                        <a:pt x="37" y="105"/>
                      </a:lnTo>
                      <a:lnTo>
                        <a:pt x="37" y="104"/>
                      </a:lnTo>
                      <a:lnTo>
                        <a:pt x="35" y="104"/>
                      </a:lnTo>
                      <a:lnTo>
                        <a:pt x="34" y="104"/>
                      </a:lnTo>
                      <a:lnTo>
                        <a:pt x="34" y="103"/>
                      </a:lnTo>
                      <a:lnTo>
                        <a:pt x="34" y="102"/>
                      </a:lnTo>
                      <a:lnTo>
                        <a:pt x="33" y="102"/>
                      </a:lnTo>
                      <a:lnTo>
                        <a:pt x="33" y="101"/>
                      </a:lnTo>
                      <a:lnTo>
                        <a:pt x="34" y="98"/>
                      </a:lnTo>
                      <a:lnTo>
                        <a:pt x="33" y="95"/>
                      </a:lnTo>
                      <a:lnTo>
                        <a:pt x="33" y="94"/>
                      </a:lnTo>
                      <a:lnTo>
                        <a:pt x="33" y="93"/>
                      </a:lnTo>
                      <a:lnTo>
                        <a:pt x="33" y="91"/>
                      </a:lnTo>
                      <a:lnTo>
                        <a:pt x="32" y="91"/>
                      </a:lnTo>
                      <a:lnTo>
                        <a:pt x="31" y="90"/>
                      </a:lnTo>
                      <a:lnTo>
                        <a:pt x="25" y="82"/>
                      </a:lnTo>
                      <a:lnTo>
                        <a:pt x="25" y="81"/>
                      </a:lnTo>
                      <a:lnTo>
                        <a:pt x="25" y="79"/>
                      </a:lnTo>
                      <a:lnTo>
                        <a:pt x="26" y="79"/>
                      </a:lnTo>
                      <a:lnTo>
                        <a:pt x="26" y="77"/>
                      </a:lnTo>
                      <a:lnTo>
                        <a:pt x="28" y="73"/>
                      </a:lnTo>
                      <a:lnTo>
                        <a:pt x="31" y="72"/>
                      </a:lnTo>
                      <a:lnTo>
                        <a:pt x="31" y="70"/>
                      </a:lnTo>
                      <a:lnTo>
                        <a:pt x="31" y="69"/>
                      </a:lnTo>
                      <a:lnTo>
                        <a:pt x="30" y="68"/>
                      </a:lnTo>
                      <a:lnTo>
                        <a:pt x="28" y="66"/>
                      </a:lnTo>
                      <a:lnTo>
                        <a:pt x="30" y="66"/>
                      </a:lnTo>
                      <a:lnTo>
                        <a:pt x="30" y="65"/>
                      </a:lnTo>
                      <a:lnTo>
                        <a:pt x="31" y="63"/>
                      </a:lnTo>
                      <a:lnTo>
                        <a:pt x="31" y="62"/>
                      </a:lnTo>
                      <a:lnTo>
                        <a:pt x="30" y="60"/>
                      </a:lnTo>
                      <a:lnTo>
                        <a:pt x="30" y="59"/>
                      </a:lnTo>
                      <a:lnTo>
                        <a:pt x="31" y="54"/>
                      </a:lnTo>
                      <a:lnTo>
                        <a:pt x="30" y="46"/>
                      </a:lnTo>
                      <a:lnTo>
                        <a:pt x="37" y="40"/>
                      </a:lnTo>
                      <a:lnTo>
                        <a:pt x="39" y="38"/>
                      </a:lnTo>
                      <a:lnTo>
                        <a:pt x="44" y="30"/>
                      </a:lnTo>
                      <a:lnTo>
                        <a:pt x="45" y="23"/>
                      </a:lnTo>
                      <a:lnTo>
                        <a:pt x="45" y="14"/>
                      </a:lnTo>
                      <a:lnTo>
                        <a:pt x="47" y="14"/>
                      </a:lnTo>
                      <a:lnTo>
                        <a:pt x="48" y="14"/>
                      </a:lnTo>
                      <a:lnTo>
                        <a:pt x="49" y="14"/>
                      </a:lnTo>
                      <a:lnTo>
                        <a:pt x="54" y="9"/>
                      </a:lnTo>
                      <a:lnTo>
                        <a:pt x="55" y="7"/>
                      </a:lnTo>
                      <a:lnTo>
                        <a:pt x="57" y="7"/>
                      </a:lnTo>
                      <a:lnTo>
                        <a:pt x="61" y="6"/>
                      </a:lnTo>
                      <a:lnTo>
                        <a:pt x="67" y="5"/>
                      </a:lnTo>
                      <a:lnTo>
                        <a:pt x="68" y="5"/>
                      </a:lnTo>
                      <a:lnTo>
                        <a:pt x="69" y="5"/>
                      </a:lnTo>
                      <a:lnTo>
                        <a:pt x="70" y="6"/>
                      </a:lnTo>
                      <a:lnTo>
                        <a:pt x="73" y="6"/>
                      </a:lnTo>
                      <a:lnTo>
                        <a:pt x="75" y="5"/>
                      </a:lnTo>
                      <a:lnTo>
                        <a:pt x="80" y="5"/>
                      </a:lnTo>
                      <a:lnTo>
                        <a:pt x="81" y="5"/>
                      </a:lnTo>
                      <a:lnTo>
                        <a:pt x="82" y="5"/>
                      </a:lnTo>
                      <a:lnTo>
                        <a:pt x="82" y="4"/>
                      </a:lnTo>
                      <a:lnTo>
                        <a:pt x="83" y="4"/>
                      </a:lnTo>
                      <a:lnTo>
                        <a:pt x="83" y="3"/>
                      </a:lnTo>
                      <a:lnTo>
                        <a:pt x="84" y="3"/>
                      </a:lnTo>
                      <a:lnTo>
                        <a:pt x="84" y="2"/>
                      </a:lnTo>
                      <a:lnTo>
                        <a:pt x="89" y="0"/>
                      </a:lnTo>
                      <a:lnTo>
                        <a:pt x="90" y="2"/>
                      </a:lnTo>
                      <a:lnTo>
                        <a:pt x="99" y="5"/>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9" name="Freeform 108">
                  <a:extLst>
                    <a:ext uri="{FF2B5EF4-FFF2-40B4-BE49-F238E27FC236}">
                      <a16:creationId xmlns:a16="http://schemas.microsoft.com/office/drawing/2014/main" id="{CF7EEC5E-896F-1264-2D68-E4AEFFAFD55B}"/>
                    </a:ext>
                  </a:extLst>
                </p:cNvPr>
                <p:cNvSpPr>
                  <a:spLocks/>
                </p:cNvSpPr>
                <p:nvPr/>
              </p:nvSpPr>
              <p:spPr bwMode="auto">
                <a:xfrm>
                  <a:off x="7217802" y="3834313"/>
                  <a:ext cx="69230" cy="60578"/>
                </a:xfrm>
                <a:custGeom>
                  <a:avLst/>
                  <a:gdLst>
                    <a:gd name="T0" fmla="*/ 52 w 64"/>
                    <a:gd name="T1" fmla="*/ 3 h 56"/>
                    <a:gd name="T2" fmla="*/ 52 w 64"/>
                    <a:gd name="T3" fmla="*/ 4 h 56"/>
                    <a:gd name="T4" fmla="*/ 54 w 64"/>
                    <a:gd name="T5" fmla="*/ 6 h 56"/>
                    <a:gd name="T6" fmla="*/ 54 w 64"/>
                    <a:gd name="T7" fmla="*/ 8 h 56"/>
                    <a:gd name="T8" fmla="*/ 59 w 64"/>
                    <a:gd name="T9" fmla="*/ 11 h 56"/>
                    <a:gd name="T10" fmla="*/ 60 w 64"/>
                    <a:gd name="T11" fmla="*/ 14 h 56"/>
                    <a:gd name="T12" fmla="*/ 63 w 64"/>
                    <a:gd name="T13" fmla="*/ 18 h 56"/>
                    <a:gd name="T14" fmla="*/ 62 w 64"/>
                    <a:gd name="T15" fmla="*/ 24 h 56"/>
                    <a:gd name="T16" fmla="*/ 62 w 64"/>
                    <a:gd name="T17" fmla="*/ 27 h 56"/>
                    <a:gd name="T18" fmla="*/ 63 w 64"/>
                    <a:gd name="T19" fmla="*/ 31 h 56"/>
                    <a:gd name="T20" fmla="*/ 63 w 64"/>
                    <a:gd name="T21" fmla="*/ 40 h 56"/>
                    <a:gd name="T22" fmla="*/ 60 w 64"/>
                    <a:gd name="T23" fmla="*/ 42 h 56"/>
                    <a:gd name="T24" fmla="*/ 56 w 64"/>
                    <a:gd name="T25" fmla="*/ 42 h 56"/>
                    <a:gd name="T26" fmla="*/ 49 w 64"/>
                    <a:gd name="T27" fmla="*/ 40 h 56"/>
                    <a:gd name="T28" fmla="*/ 48 w 64"/>
                    <a:gd name="T29" fmla="*/ 40 h 56"/>
                    <a:gd name="T30" fmla="*/ 45 w 64"/>
                    <a:gd name="T31" fmla="*/ 41 h 56"/>
                    <a:gd name="T32" fmla="*/ 42 w 64"/>
                    <a:gd name="T33" fmla="*/ 41 h 56"/>
                    <a:gd name="T34" fmla="*/ 37 w 64"/>
                    <a:gd name="T35" fmla="*/ 41 h 56"/>
                    <a:gd name="T36" fmla="*/ 35 w 64"/>
                    <a:gd name="T37" fmla="*/ 40 h 56"/>
                    <a:gd name="T38" fmla="*/ 34 w 64"/>
                    <a:gd name="T39" fmla="*/ 45 h 56"/>
                    <a:gd name="T40" fmla="*/ 32 w 64"/>
                    <a:gd name="T41" fmla="*/ 53 h 56"/>
                    <a:gd name="T42" fmla="*/ 28 w 64"/>
                    <a:gd name="T43" fmla="*/ 54 h 56"/>
                    <a:gd name="T44" fmla="*/ 25 w 64"/>
                    <a:gd name="T45" fmla="*/ 55 h 56"/>
                    <a:gd name="T46" fmla="*/ 21 w 64"/>
                    <a:gd name="T47" fmla="*/ 55 h 56"/>
                    <a:gd name="T48" fmla="*/ 16 w 64"/>
                    <a:gd name="T49" fmla="*/ 56 h 56"/>
                    <a:gd name="T50" fmla="*/ 16 w 64"/>
                    <a:gd name="T51" fmla="*/ 53 h 56"/>
                    <a:gd name="T52" fmla="*/ 14 w 64"/>
                    <a:gd name="T53" fmla="*/ 50 h 56"/>
                    <a:gd name="T54" fmla="*/ 6 w 64"/>
                    <a:gd name="T55" fmla="*/ 48 h 56"/>
                    <a:gd name="T56" fmla="*/ 2 w 64"/>
                    <a:gd name="T57" fmla="*/ 50 h 56"/>
                    <a:gd name="T58" fmla="*/ 0 w 64"/>
                    <a:gd name="T59" fmla="*/ 46 h 56"/>
                    <a:gd name="T60" fmla="*/ 2 w 64"/>
                    <a:gd name="T61" fmla="*/ 42 h 56"/>
                    <a:gd name="T62" fmla="*/ 5 w 64"/>
                    <a:gd name="T63" fmla="*/ 41 h 56"/>
                    <a:gd name="T64" fmla="*/ 6 w 64"/>
                    <a:gd name="T65" fmla="*/ 41 h 56"/>
                    <a:gd name="T66" fmla="*/ 7 w 64"/>
                    <a:gd name="T67" fmla="*/ 40 h 56"/>
                    <a:gd name="T68" fmla="*/ 7 w 64"/>
                    <a:gd name="T69" fmla="*/ 39 h 56"/>
                    <a:gd name="T70" fmla="*/ 10 w 64"/>
                    <a:gd name="T71" fmla="*/ 38 h 56"/>
                    <a:gd name="T72" fmla="*/ 10 w 64"/>
                    <a:gd name="T73" fmla="*/ 36 h 56"/>
                    <a:gd name="T74" fmla="*/ 13 w 64"/>
                    <a:gd name="T75" fmla="*/ 35 h 56"/>
                    <a:gd name="T76" fmla="*/ 13 w 64"/>
                    <a:gd name="T77" fmla="*/ 32 h 56"/>
                    <a:gd name="T78" fmla="*/ 13 w 64"/>
                    <a:gd name="T79" fmla="*/ 32 h 56"/>
                    <a:gd name="T80" fmla="*/ 14 w 64"/>
                    <a:gd name="T81" fmla="*/ 32 h 56"/>
                    <a:gd name="T82" fmla="*/ 16 w 64"/>
                    <a:gd name="T83" fmla="*/ 32 h 56"/>
                    <a:gd name="T84" fmla="*/ 16 w 64"/>
                    <a:gd name="T85" fmla="*/ 28 h 56"/>
                    <a:gd name="T86" fmla="*/ 13 w 64"/>
                    <a:gd name="T87" fmla="*/ 26 h 56"/>
                    <a:gd name="T88" fmla="*/ 13 w 64"/>
                    <a:gd name="T89" fmla="*/ 21 h 56"/>
                    <a:gd name="T90" fmla="*/ 13 w 64"/>
                    <a:gd name="T91" fmla="*/ 20 h 56"/>
                    <a:gd name="T92" fmla="*/ 14 w 64"/>
                    <a:gd name="T93" fmla="*/ 17 h 56"/>
                    <a:gd name="T94" fmla="*/ 19 w 64"/>
                    <a:gd name="T95" fmla="*/ 14 h 56"/>
                    <a:gd name="T96" fmla="*/ 25 w 64"/>
                    <a:gd name="T97" fmla="*/ 11 h 56"/>
                    <a:gd name="T98" fmla="*/ 28 w 64"/>
                    <a:gd name="T99" fmla="*/ 10 h 56"/>
                    <a:gd name="T100" fmla="*/ 31 w 64"/>
                    <a:gd name="T101" fmla="*/ 8 h 56"/>
                    <a:gd name="T102" fmla="*/ 33 w 64"/>
                    <a:gd name="T103" fmla="*/ 13 h 56"/>
                    <a:gd name="T104" fmla="*/ 38 w 64"/>
                    <a:gd name="T105" fmla="*/ 11 h 56"/>
                    <a:gd name="T106" fmla="*/ 41 w 64"/>
                    <a:gd name="T107" fmla="*/ 7 h 56"/>
                    <a:gd name="T108" fmla="*/ 45 w 64"/>
                    <a:gd name="T109" fmla="*/ 5 h 56"/>
                    <a:gd name="T110" fmla="*/ 46 w 64"/>
                    <a:gd name="T111" fmla="*/ 3 h 56"/>
                    <a:gd name="T112" fmla="*/ 48 w 64"/>
                    <a:gd name="T11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 h="56">
                      <a:moveTo>
                        <a:pt x="52" y="0"/>
                      </a:moveTo>
                      <a:lnTo>
                        <a:pt x="51" y="0"/>
                      </a:lnTo>
                      <a:lnTo>
                        <a:pt x="51" y="1"/>
                      </a:lnTo>
                      <a:lnTo>
                        <a:pt x="51" y="1"/>
                      </a:lnTo>
                      <a:lnTo>
                        <a:pt x="51" y="1"/>
                      </a:lnTo>
                      <a:lnTo>
                        <a:pt x="52" y="1"/>
                      </a:lnTo>
                      <a:lnTo>
                        <a:pt x="52" y="3"/>
                      </a:lnTo>
                      <a:lnTo>
                        <a:pt x="52" y="3"/>
                      </a:lnTo>
                      <a:lnTo>
                        <a:pt x="52" y="3"/>
                      </a:lnTo>
                      <a:lnTo>
                        <a:pt x="51" y="3"/>
                      </a:lnTo>
                      <a:lnTo>
                        <a:pt x="51" y="3"/>
                      </a:lnTo>
                      <a:lnTo>
                        <a:pt x="52" y="4"/>
                      </a:lnTo>
                      <a:lnTo>
                        <a:pt x="52" y="4"/>
                      </a:lnTo>
                      <a:lnTo>
                        <a:pt x="52" y="4"/>
                      </a:lnTo>
                      <a:lnTo>
                        <a:pt x="52" y="3"/>
                      </a:lnTo>
                      <a:lnTo>
                        <a:pt x="53" y="4"/>
                      </a:lnTo>
                      <a:lnTo>
                        <a:pt x="53" y="4"/>
                      </a:lnTo>
                      <a:lnTo>
                        <a:pt x="53" y="5"/>
                      </a:lnTo>
                      <a:lnTo>
                        <a:pt x="53" y="5"/>
                      </a:lnTo>
                      <a:lnTo>
                        <a:pt x="53" y="6"/>
                      </a:lnTo>
                      <a:lnTo>
                        <a:pt x="54" y="6"/>
                      </a:lnTo>
                      <a:lnTo>
                        <a:pt x="54" y="7"/>
                      </a:lnTo>
                      <a:lnTo>
                        <a:pt x="54" y="7"/>
                      </a:lnTo>
                      <a:lnTo>
                        <a:pt x="54" y="7"/>
                      </a:lnTo>
                      <a:lnTo>
                        <a:pt x="54" y="7"/>
                      </a:lnTo>
                      <a:lnTo>
                        <a:pt x="54" y="7"/>
                      </a:lnTo>
                      <a:lnTo>
                        <a:pt x="54" y="7"/>
                      </a:lnTo>
                      <a:lnTo>
                        <a:pt x="54" y="8"/>
                      </a:lnTo>
                      <a:lnTo>
                        <a:pt x="54" y="8"/>
                      </a:lnTo>
                      <a:lnTo>
                        <a:pt x="55" y="8"/>
                      </a:lnTo>
                      <a:lnTo>
                        <a:pt x="55" y="10"/>
                      </a:lnTo>
                      <a:lnTo>
                        <a:pt x="56" y="10"/>
                      </a:lnTo>
                      <a:lnTo>
                        <a:pt x="56" y="10"/>
                      </a:lnTo>
                      <a:lnTo>
                        <a:pt x="59" y="11"/>
                      </a:lnTo>
                      <a:lnTo>
                        <a:pt x="59" y="11"/>
                      </a:lnTo>
                      <a:lnTo>
                        <a:pt x="60" y="11"/>
                      </a:lnTo>
                      <a:lnTo>
                        <a:pt x="60" y="12"/>
                      </a:lnTo>
                      <a:lnTo>
                        <a:pt x="60" y="13"/>
                      </a:lnTo>
                      <a:lnTo>
                        <a:pt x="60" y="13"/>
                      </a:lnTo>
                      <a:lnTo>
                        <a:pt x="60" y="13"/>
                      </a:lnTo>
                      <a:lnTo>
                        <a:pt x="60" y="14"/>
                      </a:lnTo>
                      <a:lnTo>
                        <a:pt x="60" y="14"/>
                      </a:lnTo>
                      <a:lnTo>
                        <a:pt x="61" y="14"/>
                      </a:lnTo>
                      <a:lnTo>
                        <a:pt x="61" y="15"/>
                      </a:lnTo>
                      <a:lnTo>
                        <a:pt x="61" y="17"/>
                      </a:lnTo>
                      <a:lnTo>
                        <a:pt x="61" y="17"/>
                      </a:lnTo>
                      <a:lnTo>
                        <a:pt x="62" y="18"/>
                      </a:lnTo>
                      <a:lnTo>
                        <a:pt x="62" y="17"/>
                      </a:lnTo>
                      <a:lnTo>
                        <a:pt x="63" y="18"/>
                      </a:lnTo>
                      <a:lnTo>
                        <a:pt x="63" y="19"/>
                      </a:lnTo>
                      <a:lnTo>
                        <a:pt x="62" y="21"/>
                      </a:lnTo>
                      <a:lnTo>
                        <a:pt x="62" y="21"/>
                      </a:lnTo>
                      <a:lnTo>
                        <a:pt x="62" y="21"/>
                      </a:lnTo>
                      <a:lnTo>
                        <a:pt x="62" y="22"/>
                      </a:lnTo>
                      <a:lnTo>
                        <a:pt x="63" y="22"/>
                      </a:lnTo>
                      <a:lnTo>
                        <a:pt x="62" y="24"/>
                      </a:lnTo>
                      <a:lnTo>
                        <a:pt x="62" y="24"/>
                      </a:lnTo>
                      <a:lnTo>
                        <a:pt x="63" y="25"/>
                      </a:lnTo>
                      <a:lnTo>
                        <a:pt x="62" y="25"/>
                      </a:lnTo>
                      <a:lnTo>
                        <a:pt x="62" y="26"/>
                      </a:lnTo>
                      <a:lnTo>
                        <a:pt x="62" y="26"/>
                      </a:lnTo>
                      <a:lnTo>
                        <a:pt x="62" y="27"/>
                      </a:lnTo>
                      <a:lnTo>
                        <a:pt x="62" y="27"/>
                      </a:lnTo>
                      <a:lnTo>
                        <a:pt x="62" y="27"/>
                      </a:lnTo>
                      <a:lnTo>
                        <a:pt x="61" y="27"/>
                      </a:lnTo>
                      <a:lnTo>
                        <a:pt x="62" y="28"/>
                      </a:lnTo>
                      <a:lnTo>
                        <a:pt x="62" y="28"/>
                      </a:lnTo>
                      <a:lnTo>
                        <a:pt x="62" y="31"/>
                      </a:lnTo>
                      <a:lnTo>
                        <a:pt x="62" y="31"/>
                      </a:lnTo>
                      <a:lnTo>
                        <a:pt x="63" y="31"/>
                      </a:lnTo>
                      <a:lnTo>
                        <a:pt x="63" y="31"/>
                      </a:lnTo>
                      <a:lnTo>
                        <a:pt x="64" y="32"/>
                      </a:lnTo>
                      <a:lnTo>
                        <a:pt x="64" y="33"/>
                      </a:lnTo>
                      <a:lnTo>
                        <a:pt x="63" y="36"/>
                      </a:lnTo>
                      <a:lnTo>
                        <a:pt x="63" y="38"/>
                      </a:lnTo>
                      <a:lnTo>
                        <a:pt x="63" y="40"/>
                      </a:lnTo>
                      <a:lnTo>
                        <a:pt x="63" y="40"/>
                      </a:lnTo>
                      <a:lnTo>
                        <a:pt x="62" y="41"/>
                      </a:lnTo>
                      <a:lnTo>
                        <a:pt x="62" y="41"/>
                      </a:lnTo>
                      <a:lnTo>
                        <a:pt x="62" y="41"/>
                      </a:lnTo>
                      <a:lnTo>
                        <a:pt x="61" y="41"/>
                      </a:lnTo>
                      <a:lnTo>
                        <a:pt x="61" y="41"/>
                      </a:lnTo>
                      <a:lnTo>
                        <a:pt x="61" y="42"/>
                      </a:lnTo>
                      <a:lnTo>
                        <a:pt x="60" y="42"/>
                      </a:lnTo>
                      <a:lnTo>
                        <a:pt x="60" y="42"/>
                      </a:lnTo>
                      <a:lnTo>
                        <a:pt x="59" y="41"/>
                      </a:lnTo>
                      <a:lnTo>
                        <a:pt x="57" y="41"/>
                      </a:lnTo>
                      <a:lnTo>
                        <a:pt x="57" y="41"/>
                      </a:lnTo>
                      <a:lnTo>
                        <a:pt x="57" y="41"/>
                      </a:lnTo>
                      <a:lnTo>
                        <a:pt x="56" y="42"/>
                      </a:lnTo>
                      <a:lnTo>
                        <a:pt x="56" y="42"/>
                      </a:lnTo>
                      <a:lnTo>
                        <a:pt x="55" y="42"/>
                      </a:lnTo>
                      <a:lnTo>
                        <a:pt x="55" y="42"/>
                      </a:lnTo>
                      <a:lnTo>
                        <a:pt x="54" y="42"/>
                      </a:lnTo>
                      <a:lnTo>
                        <a:pt x="54" y="42"/>
                      </a:lnTo>
                      <a:lnTo>
                        <a:pt x="53" y="42"/>
                      </a:lnTo>
                      <a:lnTo>
                        <a:pt x="52" y="42"/>
                      </a:lnTo>
                      <a:lnTo>
                        <a:pt x="49" y="40"/>
                      </a:lnTo>
                      <a:lnTo>
                        <a:pt x="49" y="40"/>
                      </a:lnTo>
                      <a:lnTo>
                        <a:pt x="49" y="40"/>
                      </a:lnTo>
                      <a:lnTo>
                        <a:pt x="49" y="40"/>
                      </a:lnTo>
                      <a:lnTo>
                        <a:pt x="49" y="40"/>
                      </a:lnTo>
                      <a:lnTo>
                        <a:pt x="48" y="40"/>
                      </a:lnTo>
                      <a:lnTo>
                        <a:pt x="48" y="39"/>
                      </a:lnTo>
                      <a:lnTo>
                        <a:pt x="48" y="40"/>
                      </a:lnTo>
                      <a:lnTo>
                        <a:pt x="47" y="40"/>
                      </a:lnTo>
                      <a:lnTo>
                        <a:pt x="47" y="40"/>
                      </a:lnTo>
                      <a:lnTo>
                        <a:pt x="47" y="40"/>
                      </a:lnTo>
                      <a:lnTo>
                        <a:pt x="47" y="40"/>
                      </a:lnTo>
                      <a:lnTo>
                        <a:pt x="46" y="41"/>
                      </a:lnTo>
                      <a:lnTo>
                        <a:pt x="46" y="41"/>
                      </a:lnTo>
                      <a:lnTo>
                        <a:pt x="45" y="41"/>
                      </a:lnTo>
                      <a:lnTo>
                        <a:pt x="45" y="41"/>
                      </a:lnTo>
                      <a:lnTo>
                        <a:pt x="45" y="41"/>
                      </a:lnTo>
                      <a:lnTo>
                        <a:pt x="44" y="40"/>
                      </a:lnTo>
                      <a:lnTo>
                        <a:pt x="42" y="40"/>
                      </a:lnTo>
                      <a:lnTo>
                        <a:pt x="42" y="41"/>
                      </a:lnTo>
                      <a:lnTo>
                        <a:pt x="42" y="41"/>
                      </a:lnTo>
                      <a:lnTo>
                        <a:pt x="42" y="41"/>
                      </a:lnTo>
                      <a:lnTo>
                        <a:pt x="41" y="43"/>
                      </a:lnTo>
                      <a:lnTo>
                        <a:pt x="40" y="43"/>
                      </a:lnTo>
                      <a:lnTo>
                        <a:pt x="40" y="43"/>
                      </a:lnTo>
                      <a:lnTo>
                        <a:pt x="39" y="43"/>
                      </a:lnTo>
                      <a:lnTo>
                        <a:pt x="39" y="42"/>
                      </a:lnTo>
                      <a:lnTo>
                        <a:pt x="38" y="42"/>
                      </a:lnTo>
                      <a:lnTo>
                        <a:pt x="37" y="41"/>
                      </a:lnTo>
                      <a:lnTo>
                        <a:pt x="37" y="41"/>
                      </a:lnTo>
                      <a:lnTo>
                        <a:pt x="37" y="41"/>
                      </a:lnTo>
                      <a:lnTo>
                        <a:pt x="35" y="41"/>
                      </a:lnTo>
                      <a:lnTo>
                        <a:pt x="35" y="41"/>
                      </a:lnTo>
                      <a:lnTo>
                        <a:pt x="35" y="41"/>
                      </a:lnTo>
                      <a:lnTo>
                        <a:pt x="35" y="40"/>
                      </a:lnTo>
                      <a:lnTo>
                        <a:pt x="35" y="40"/>
                      </a:lnTo>
                      <a:lnTo>
                        <a:pt x="34" y="40"/>
                      </a:lnTo>
                      <a:lnTo>
                        <a:pt x="34" y="40"/>
                      </a:lnTo>
                      <a:lnTo>
                        <a:pt x="34" y="40"/>
                      </a:lnTo>
                      <a:lnTo>
                        <a:pt x="34" y="40"/>
                      </a:lnTo>
                      <a:lnTo>
                        <a:pt x="34" y="40"/>
                      </a:lnTo>
                      <a:lnTo>
                        <a:pt x="34" y="42"/>
                      </a:lnTo>
                      <a:lnTo>
                        <a:pt x="34" y="45"/>
                      </a:lnTo>
                      <a:lnTo>
                        <a:pt x="33" y="47"/>
                      </a:lnTo>
                      <a:lnTo>
                        <a:pt x="33" y="49"/>
                      </a:lnTo>
                      <a:lnTo>
                        <a:pt x="33" y="50"/>
                      </a:lnTo>
                      <a:lnTo>
                        <a:pt x="33" y="50"/>
                      </a:lnTo>
                      <a:lnTo>
                        <a:pt x="33" y="52"/>
                      </a:lnTo>
                      <a:lnTo>
                        <a:pt x="32" y="53"/>
                      </a:lnTo>
                      <a:lnTo>
                        <a:pt x="32" y="53"/>
                      </a:lnTo>
                      <a:lnTo>
                        <a:pt x="31" y="54"/>
                      </a:lnTo>
                      <a:lnTo>
                        <a:pt x="31" y="54"/>
                      </a:lnTo>
                      <a:lnTo>
                        <a:pt x="30" y="54"/>
                      </a:lnTo>
                      <a:lnTo>
                        <a:pt x="30" y="54"/>
                      </a:lnTo>
                      <a:lnTo>
                        <a:pt x="28" y="54"/>
                      </a:lnTo>
                      <a:lnTo>
                        <a:pt x="28" y="54"/>
                      </a:lnTo>
                      <a:lnTo>
                        <a:pt x="28" y="54"/>
                      </a:lnTo>
                      <a:lnTo>
                        <a:pt x="27" y="55"/>
                      </a:lnTo>
                      <a:lnTo>
                        <a:pt x="27" y="55"/>
                      </a:lnTo>
                      <a:lnTo>
                        <a:pt x="27" y="55"/>
                      </a:lnTo>
                      <a:lnTo>
                        <a:pt x="26" y="55"/>
                      </a:lnTo>
                      <a:lnTo>
                        <a:pt x="26" y="55"/>
                      </a:lnTo>
                      <a:lnTo>
                        <a:pt x="25" y="55"/>
                      </a:lnTo>
                      <a:lnTo>
                        <a:pt x="25" y="55"/>
                      </a:lnTo>
                      <a:lnTo>
                        <a:pt x="24" y="55"/>
                      </a:lnTo>
                      <a:lnTo>
                        <a:pt x="24" y="55"/>
                      </a:lnTo>
                      <a:lnTo>
                        <a:pt x="23" y="55"/>
                      </a:lnTo>
                      <a:lnTo>
                        <a:pt x="23" y="55"/>
                      </a:lnTo>
                      <a:lnTo>
                        <a:pt x="23" y="55"/>
                      </a:lnTo>
                      <a:lnTo>
                        <a:pt x="21" y="55"/>
                      </a:lnTo>
                      <a:lnTo>
                        <a:pt x="21" y="55"/>
                      </a:lnTo>
                      <a:lnTo>
                        <a:pt x="20" y="56"/>
                      </a:lnTo>
                      <a:lnTo>
                        <a:pt x="20" y="55"/>
                      </a:lnTo>
                      <a:lnTo>
                        <a:pt x="19" y="55"/>
                      </a:lnTo>
                      <a:lnTo>
                        <a:pt x="18" y="55"/>
                      </a:lnTo>
                      <a:lnTo>
                        <a:pt x="18" y="55"/>
                      </a:lnTo>
                      <a:lnTo>
                        <a:pt x="16" y="55"/>
                      </a:lnTo>
                      <a:lnTo>
                        <a:pt x="16" y="56"/>
                      </a:lnTo>
                      <a:lnTo>
                        <a:pt x="14" y="55"/>
                      </a:lnTo>
                      <a:lnTo>
                        <a:pt x="14" y="55"/>
                      </a:lnTo>
                      <a:lnTo>
                        <a:pt x="14" y="54"/>
                      </a:lnTo>
                      <a:lnTo>
                        <a:pt x="14" y="54"/>
                      </a:lnTo>
                      <a:lnTo>
                        <a:pt x="14" y="54"/>
                      </a:lnTo>
                      <a:lnTo>
                        <a:pt x="16" y="53"/>
                      </a:lnTo>
                      <a:lnTo>
                        <a:pt x="16" y="53"/>
                      </a:lnTo>
                      <a:lnTo>
                        <a:pt x="16" y="52"/>
                      </a:lnTo>
                      <a:lnTo>
                        <a:pt x="14" y="52"/>
                      </a:lnTo>
                      <a:lnTo>
                        <a:pt x="14" y="52"/>
                      </a:lnTo>
                      <a:lnTo>
                        <a:pt x="14" y="52"/>
                      </a:lnTo>
                      <a:lnTo>
                        <a:pt x="14" y="50"/>
                      </a:lnTo>
                      <a:lnTo>
                        <a:pt x="14" y="50"/>
                      </a:lnTo>
                      <a:lnTo>
                        <a:pt x="14" y="50"/>
                      </a:lnTo>
                      <a:lnTo>
                        <a:pt x="13" y="50"/>
                      </a:lnTo>
                      <a:lnTo>
                        <a:pt x="12" y="49"/>
                      </a:lnTo>
                      <a:lnTo>
                        <a:pt x="11" y="49"/>
                      </a:lnTo>
                      <a:lnTo>
                        <a:pt x="11" y="49"/>
                      </a:lnTo>
                      <a:lnTo>
                        <a:pt x="9" y="48"/>
                      </a:lnTo>
                      <a:lnTo>
                        <a:pt x="9" y="48"/>
                      </a:lnTo>
                      <a:lnTo>
                        <a:pt x="6" y="48"/>
                      </a:lnTo>
                      <a:lnTo>
                        <a:pt x="5" y="49"/>
                      </a:lnTo>
                      <a:lnTo>
                        <a:pt x="5" y="53"/>
                      </a:lnTo>
                      <a:lnTo>
                        <a:pt x="5" y="52"/>
                      </a:lnTo>
                      <a:lnTo>
                        <a:pt x="4" y="52"/>
                      </a:lnTo>
                      <a:lnTo>
                        <a:pt x="3" y="52"/>
                      </a:lnTo>
                      <a:lnTo>
                        <a:pt x="3" y="52"/>
                      </a:lnTo>
                      <a:lnTo>
                        <a:pt x="2" y="50"/>
                      </a:lnTo>
                      <a:lnTo>
                        <a:pt x="2" y="50"/>
                      </a:lnTo>
                      <a:lnTo>
                        <a:pt x="2" y="48"/>
                      </a:lnTo>
                      <a:lnTo>
                        <a:pt x="2" y="47"/>
                      </a:lnTo>
                      <a:lnTo>
                        <a:pt x="0" y="47"/>
                      </a:lnTo>
                      <a:lnTo>
                        <a:pt x="0" y="47"/>
                      </a:lnTo>
                      <a:lnTo>
                        <a:pt x="0" y="47"/>
                      </a:lnTo>
                      <a:lnTo>
                        <a:pt x="0" y="46"/>
                      </a:lnTo>
                      <a:lnTo>
                        <a:pt x="0" y="46"/>
                      </a:lnTo>
                      <a:lnTo>
                        <a:pt x="0" y="45"/>
                      </a:lnTo>
                      <a:lnTo>
                        <a:pt x="0" y="45"/>
                      </a:lnTo>
                      <a:lnTo>
                        <a:pt x="0" y="45"/>
                      </a:lnTo>
                      <a:lnTo>
                        <a:pt x="0" y="45"/>
                      </a:lnTo>
                      <a:lnTo>
                        <a:pt x="2" y="43"/>
                      </a:lnTo>
                      <a:lnTo>
                        <a:pt x="2" y="42"/>
                      </a:lnTo>
                      <a:lnTo>
                        <a:pt x="2" y="42"/>
                      </a:lnTo>
                      <a:lnTo>
                        <a:pt x="4" y="41"/>
                      </a:lnTo>
                      <a:lnTo>
                        <a:pt x="4" y="41"/>
                      </a:lnTo>
                      <a:lnTo>
                        <a:pt x="4" y="41"/>
                      </a:lnTo>
                      <a:lnTo>
                        <a:pt x="4" y="41"/>
                      </a:lnTo>
                      <a:lnTo>
                        <a:pt x="4" y="41"/>
                      </a:lnTo>
                      <a:lnTo>
                        <a:pt x="5" y="41"/>
                      </a:lnTo>
                      <a:lnTo>
                        <a:pt x="5" y="39"/>
                      </a:lnTo>
                      <a:lnTo>
                        <a:pt x="5" y="39"/>
                      </a:lnTo>
                      <a:lnTo>
                        <a:pt x="5" y="39"/>
                      </a:lnTo>
                      <a:lnTo>
                        <a:pt x="6" y="39"/>
                      </a:lnTo>
                      <a:lnTo>
                        <a:pt x="6" y="40"/>
                      </a:lnTo>
                      <a:lnTo>
                        <a:pt x="6" y="40"/>
                      </a:lnTo>
                      <a:lnTo>
                        <a:pt x="6" y="41"/>
                      </a:lnTo>
                      <a:lnTo>
                        <a:pt x="6" y="41"/>
                      </a:lnTo>
                      <a:lnTo>
                        <a:pt x="6" y="42"/>
                      </a:lnTo>
                      <a:lnTo>
                        <a:pt x="6" y="42"/>
                      </a:lnTo>
                      <a:lnTo>
                        <a:pt x="6" y="41"/>
                      </a:lnTo>
                      <a:lnTo>
                        <a:pt x="6" y="41"/>
                      </a:lnTo>
                      <a:lnTo>
                        <a:pt x="7" y="40"/>
                      </a:lnTo>
                      <a:lnTo>
                        <a:pt x="7" y="40"/>
                      </a:lnTo>
                      <a:lnTo>
                        <a:pt x="7" y="40"/>
                      </a:lnTo>
                      <a:lnTo>
                        <a:pt x="7" y="40"/>
                      </a:lnTo>
                      <a:lnTo>
                        <a:pt x="7" y="40"/>
                      </a:lnTo>
                      <a:lnTo>
                        <a:pt x="7" y="40"/>
                      </a:lnTo>
                      <a:lnTo>
                        <a:pt x="7" y="40"/>
                      </a:lnTo>
                      <a:lnTo>
                        <a:pt x="7" y="40"/>
                      </a:lnTo>
                      <a:lnTo>
                        <a:pt x="7" y="39"/>
                      </a:lnTo>
                      <a:lnTo>
                        <a:pt x="9" y="39"/>
                      </a:lnTo>
                      <a:lnTo>
                        <a:pt x="9" y="39"/>
                      </a:lnTo>
                      <a:lnTo>
                        <a:pt x="9" y="39"/>
                      </a:lnTo>
                      <a:lnTo>
                        <a:pt x="9" y="39"/>
                      </a:lnTo>
                      <a:lnTo>
                        <a:pt x="9" y="40"/>
                      </a:lnTo>
                      <a:lnTo>
                        <a:pt x="9" y="40"/>
                      </a:lnTo>
                      <a:lnTo>
                        <a:pt x="10" y="38"/>
                      </a:lnTo>
                      <a:lnTo>
                        <a:pt x="10" y="38"/>
                      </a:lnTo>
                      <a:lnTo>
                        <a:pt x="11" y="38"/>
                      </a:lnTo>
                      <a:lnTo>
                        <a:pt x="11" y="38"/>
                      </a:lnTo>
                      <a:lnTo>
                        <a:pt x="11" y="38"/>
                      </a:lnTo>
                      <a:lnTo>
                        <a:pt x="11" y="38"/>
                      </a:lnTo>
                      <a:lnTo>
                        <a:pt x="11" y="38"/>
                      </a:lnTo>
                      <a:lnTo>
                        <a:pt x="10" y="36"/>
                      </a:lnTo>
                      <a:lnTo>
                        <a:pt x="11" y="36"/>
                      </a:lnTo>
                      <a:lnTo>
                        <a:pt x="11" y="35"/>
                      </a:lnTo>
                      <a:lnTo>
                        <a:pt x="11" y="36"/>
                      </a:lnTo>
                      <a:lnTo>
                        <a:pt x="11" y="35"/>
                      </a:lnTo>
                      <a:lnTo>
                        <a:pt x="12" y="34"/>
                      </a:lnTo>
                      <a:lnTo>
                        <a:pt x="12" y="34"/>
                      </a:lnTo>
                      <a:lnTo>
                        <a:pt x="13" y="35"/>
                      </a:lnTo>
                      <a:lnTo>
                        <a:pt x="13" y="34"/>
                      </a:lnTo>
                      <a:lnTo>
                        <a:pt x="13" y="34"/>
                      </a:lnTo>
                      <a:lnTo>
                        <a:pt x="12" y="34"/>
                      </a:lnTo>
                      <a:lnTo>
                        <a:pt x="12" y="34"/>
                      </a:lnTo>
                      <a:lnTo>
                        <a:pt x="12" y="33"/>
                      </a:lnTo>
                      <a:lnTo>
                        <a:pt x="12" y="33"/>
                      </a:lnTo>
                      <a:lnTo>
                        <a:pt x="13" y="32"/>
                      </a:lnTo>
                      <a:lnTo>
                        <a:pt x="13" y="33"/>
                      </a:lnTo>
                      <a:lnTo>
                        <a:pt x="13" y="33"/>
                      </a:lnTo>
                      <a:lnTo>
                        <a:pt x="13" y="34"/>
                      </a:lnTo>
                      <a:lnTo>
                        <a:pt x="13" y="34"/>
                      </a:lnTo>
                      <a:lnTo>
                        <a:pt x="13" y="33"/>
                      </a:lnTo>
                      <a:lnTo>
                        <a:pt x="13" y="32"/>
                      </a:lnTo>
                      <a:lnTo>
                        <a:pt x="13" y="32"/>
                      </a:lnTo>
                      <a:lnTo>
                        <a:pt x="14" y="32"/>
                      </a:lnTo>
                      <a:lnTo>
                        <a:pt x="14" y="32"/>
                      </a:lnTo>
                      <a:lnTo>
                        <a:pt x="14" y="33"/>
                      </a:lnTo>
                      <a:lnTo>
                        <a:pt x="14" y="33"/>
                      </a:lnTo>
                      <a:lnTo>
                        <a:pt x="14" y="32"/>
                      </a:lnTo>
                      <a:lnTo>
                        <a:pt x="14" y="32"/>
                      </a:lnTo>
                      <a:lnTo>
                        <a:pt x="14" y="32"/>
                      </a:lnTo>
                      <a:lnTo>
                        <a:pt x="14" y="32"/>
                      </a:lnTo>
                      <a:lnTo>
                        <a:pt x="16" y="32"/>
                      </a:lnTo>
                      <a:lnTo>
                        <a:pt x="16" y="31"/>
                      </a:lnTo>
                      <a:lnTo>
                        <a:pt x="16" y="31"/>
                      </a:lnTo>
                      <a:lnTo>
                        <a:pt x="16" y="31"/>
                      </a:lnTo>
                      <a:lnTo>
                        <a:pt x="16" y="32"/>
                      </a:lnTo>
                      <a:lnTo>
                        <a:pt x="16" y="32"/>
                      </a:lnTo>
                      <a:lnTo>
                        <a:pt x="16" y="31"/>
                      </a:lnTo>
                      <a:lnTo>
                        <a:pt x="16" y="31"/>
                      </a:lnTo>
                      <a:lnTo>
                        <a:pt x="16" y="29"/>
                      </a:lnTo>
                      <a:lnTo>
                        <a:pt x="16" y="29"/>
                      </a:lnTo>
                      <a:lnTo>
                        <a:pt x="16" y="28"/>
                      </a:lnTo>
                      <a:lnTo>
                        <a:pt x="16" y="29"/>
                      </a:lnTo>
                      <a:lnTo>
                        <a:pt x="16" y="28"/>
                      </a:lnTo>
                      <a:lnTo>
                        <a:pt x="14" y="28"/>
                      </a:lnTo>
                      <a:lnTo>
                        <a:pt x="14" y="28"/>
                      </a:lnTo>
                      <a:lnTo>
                        <a:pt x="14" y="27"/>
                      </a:lnTo>
                      <a:lnTo>
                        <a:pt x="14" y="27"/>
                      </a:lnTo>
                      <a:lnTo>
                        <a:pt x="14" y="27"/>
                      </a:lnTo>
                      <a:lnTo>
                        <a:pt x="13" y="27"/>
                      </a:lnTo>
                      <a:lnTo>
                        <a:pt x="13" y="26"/>
                      </a:lnTo>
                      <a:lnTo>
                        <a:pt x="13" y="26"/>
                      </a:lnTo>
                      <a:lnTo>
                        <a:pt x="13" y="25"/>
                      </a:lnTo>
                      <a:lnTo>
                        <a:pt x="13" y="24"/>
                      </a:lnTo>
                      <a:lnTo>
                        <a:pt x="13" y="22"/>
                      </a:lnTo>
                      <a:lnTo>
                        <a:pt x="13" y="22"/>
                      </a:lnTo>
                      <a:lnTo>
                        <a:pt x="13" y="22"/>
                      </a:lnTo>
                      <a:lnTo>
                        <a:pt x="13" y="21"/>
                      </a:lnTo>
                      <a:lnTo>
                        <a:pt x="13" y="21"/>
                      </a:lnTo>
                      <a:lnTo>
                        <a:pt x="13" y="21"/>
                      </a:lnTo>
                      <a:lnTo>
                        <a:pt x="12" y="21"/>
                      </a:lnTo>
                      <a:lnTo>
                        <a:pt x="12" y="21"/>
                      </a:lnTo>
                      <a:lnTo>
                        <a:pt x="12" y="21"/>
                      </a:lnTo>
                      <a:lnTo>
                        <a:pt x="12" y="20"/>
                      </a:lnTo>
                      <a:lnTo>
                        <a:pt x="13" y="20"/>
                      </a:lnTo>
                      <a:lnTo>
                        <a:pt x="12" y="20"/>
                      </a:lnTo>
                      <a:lnTo>
                        <a:pt x="12" y="20"/>
                      </a:lnTo>
                      <a:lnTo>
                        <a:pt x="12" y="20"/>
                      </a:lnTo>
                      <a:lnTo>
                        <a:pt x="12" y="19"/>
                      </a:lnTo>
                      <a:lnTo>
                        <a:pt x="12" y="19"/>
                      </a:lnTo>
                      <a:lnTo>
                        <a:pt x="14" y="17"/>
                      </a:lnTo>
                      <a:lnTo>
                        <a:pt x="14" y="17"/>
                      </a:lnTo>
                      <a:lnTo>
                        <a:pt x="16" y="15"/>
                      </a:lnTo>
                      <a:lnTo>
                        <a:pt x="16" y="14"/>
                      </a:lnTo>
                      <a:lnTo>
                        <a:pt x="16" y="14"/>
                      </a:lnTo>
                      <a:lnTo>
                        <a:pt x="18" y="14"/>
                      </a:lnTo>
                      <a:lnTo>
                        <a:pt x="18" y="14"/>
                      </a:lnTo>
                      <a:lnTo>
                        <a:pt x="19" y="14"/>
                      </a:lnTo>
                      <a:lnTo>
                        <a:pt x="19" y="14"/>
                      </a:lnTo>
                      <a:lnTo>
                        <a:pt x="19" y="14"/>
                      </a:lnTo>
                      <a:lnTo>
                        <a:pt x="19" y="13"/>
                      </a:lnTo>
                      <a:lnTo>
                        <a:pt x="20" y="12"/>
                      </a:lnTo>
                      <a:lnTo>
                        <a:pt x="21" y="11"/>
                      </a:lnTo>
                      <a:lnTo>
                        <a:pt x="23" y="11"/>
                      </a:lnTo>
                      <a:lnTo>
                        <a:pt x="24" y="11"/>
                      </a:lnTo>
                      <a:lnTo>
                        <a:pt x="25" y="11"/>
                      </a:lnTo>
                      <a:lnTo>
                        <a:pt x="25" y="11"/>
                      </a:lnTo>
                      <a:lnTo>
                        <a:pt x="26" y="10"/>
                      </a:lnTo>
                      <a:lnTo>
                        <a:pt x="26" y="10"/>
                      </a:lnTo>
                      <a:lnTo>
                        <a:pt x="27" y="10"/>
                      </a:lnTo>
                      <a:lnTo>
                        <a:pt x="28" y="10"/>
                      </a:lnTo>
                      <a:lnTo>
                        <a:pt x="28" y="10"/>
                      </a:lnTo>
                      <a:lnTo>
                        <a:pt x="28" y="10"/>
                      </a:lnTo>
                      <a:lnTo>
                        <a:pt x="30" y="10"/>
                      </a:lnTo>
                      <a:lnTo>
                        <a:pt x="30" y="10"/>
                      </a:lnTo>
                      <a:lnTo>
                        <a:pt x="30" y="8"/>
                      </a:lnTo>
                      <a:lnTo>
                        <a:pt x="30" y="8"/>
                      </a:lnTo>
                      <a:lnTo>
                        <a:pt x="31" y="8"/>
                      </a:lnTo>
                      <a:lnTo>
                        <a:pt x="31" y="8"/>
                      </a:lnTo>
                      <a:lnTo>
                        <a:pt x="31" y="8"/>
                      </a:lnTo>
                      <a:lnTo>
                        <a:pt x="31" y="8"/>
                      </a:lnTo>
                      <a:lnTo>
                        <a:pt x="31" y="8"/>
                      </a:lnTo>
                      <a:lnTo>
                        <a:pt x="32" y="10"/>
                      </a:lnTo>
                      <a:lnTo>
                        <a:pt x="32" y="11"/>
                      </a:lnTo>
                      <a:lnTo>
                        <a:pt x="32" y="12"/>
                      </a:lnTo>
                      <a:lnTo>
                        <a:pt x="33" y="12"/>
                      </a:lnTo>
                      <a:lnTo>
                        <a:pt x="33" y="13"/>
                      </a:lnTo>
                      <a:lnTo>
                        <a:pt x="34" y="13"/>
                      </a:lnTo>
                      <a:lnTo>
                        <a:pt x="34" y="13"/>
                      </a:lnTo>
                      <a:lnTo>
                        <a:pt x="35" y="13"/>
                      </a:lnTo>
                      <a:lnTo>
                        <a:pt x="38" y="12"/>
                      </a:lnTo>
                      <a:lnTo>
                        <a:pt x="38" y="12"/>
                      </a:lnTo>
                      <a:lnTo>
                        <a:pt x="38" y="11"/>
                      </a:lnTo>
                      <a:lnTo>
                        <a:pt x="38" y="11"/>
                      </a:lnTo>
                      <a:lnTo>
                        <a:pt x="39" y="11"/>
                      </a:lnTo>
                      <a:lnTo>
                        <a:pt x="39" y="10"/>
                      </a:lnTo>
                      <a:lnTo>
                        <a:pt x="40" y="10"/>
                      </a:lnTo>
                      <a:lnTo>
                        <a:pt x="41" y="10"/>
                      </a:lnTo>
                      <a:lnTo>
                        <a:pt x="41" y="8"/>
                      </a:lnTo>
                      <a:lnTo>
                        <a:pt x="41" y="7"/>
                      </a:lnTo>
                      <a:lnTo>
                        <a:pt x="41" y="7"/>
                      </a:lnTo>
                      <a:lnTo>
                        <a:pt x="41" y="7"/>
                      </a:lnTo>
                      <a:lnTo>
                        <a:pt x="42" y="7"/>
                      </a:lnTo>
                      <a:lnTo>
                        <a:pt x="42" y="7"/>
                      </a:lnTo>
                      <a:lnTo>
                        <a:pt x="42" y="7"/>
                      </a:lnTo>
                      <a:lnTo>
                        <a:pt x="44" y="6"/>
                      </a:lnTo>
                      <a:lnTo>
                        <a:pt x="45" y="5"/>
                      </a:lnTo>
                      <a:lnTo>
                        <a:pt x="45" y="5"/>
                      </a:lnTo>
                      <a:lnTo>
                        <a:pt x="45" y="4"/>
                      </a:lnTo>
                      <a:lnTo>
                        <a:pt x="45" y="4"/>
                      </a:lnTo>
                      <a:lnTo>
                        <a:pt x="46" y="4"/>
                      </a:lnTo>
                      <a:lnTo>
                        <a:pt x="46" y="3"/>
                      </a:lnTo>
                      <a:lnTo>
                        <a:pt x="46" y="3"/>
                      </a:lnTo>
                      <a:lnTo>
                        <a:pt x="46" y="3"/>
                      </a:lnTo>
                      <a:lnTo>
                        <a:pt x="46" y="3"/>
                      </a:lnTo>
                      <a:lnTo>
                        <a:pt x="46" y="3"/>
                      </a:lnTo>
                      <a:lnTo>
                        <a:pt x="47" y="3"/>
                      </a:lnTo>
                      <a:lnTo>
                        <a:pt x="47" y="0"/>
                      </a:lnTo>
                      <a:lnTo>
                        <a:pt x="47" y="0"/>
                      </a:lnTo>
                      <a:lnTo>
                        <a:pt x="47" y="0"/>
                      </a:lnTo>
                      <a:lnTo>
                        <a:pt x="48" y="0"/>
                      </a:lnTo>
                      <a:lnTo>
                        <a:pt x="48" y="0"/>
                      </a:lnTo>
                      <a:lnTo>
                        <a:pt x="49" y="0"/>
                      </a:lnTo>
                      <a:lnTo>
                        <a:pt x="49" y="0"/>
                      </a:lnTo>
                      <a:lnTo>
                        <a:pt x="51" y="0"/>
                      </a:lnTo>
                      <a:lnTo>
                        <a:pt x="51" y="0"/>
                      </a:lnTo>
                      <a:lnTo>
                        <a:pt x="51" y="0"/>
                      </a:lnTo>
                      <a:lnTo>
                        <a:pt x="52" y="0"/>
                      </a:lnTo>
                      <a:close/>
                    </a:path>
                  </a:pathLst>
                </a:custGeom>
                <a:solidFill>
                  <a:srgbClr val="AFD7F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0" name="Freeform 112">
                  <a:extLst>
                    <a:ext uri="{FF2B5EF4-FFF2-40B4-BE49-F238E27FC236}">
                      <a16:creationId xmlns:a16="http://schemas.microsoft.com/office/drawing/2014/main" id="{F361FAB8-7BD0-0294-8B02-41009E3D4D15}"/>
                    </a:ext>
                  </a:extLst>
                </p:cNvPr>
                <p:cNvSpPr>
                  <a:spLocks/>
                </p:cNvSpPr>
                <p:nvPr/>
              </p:nvSpPr>
              <p:spPr bwMode="auto">
                <a:xfrm>
                  <a:off x="5620084" y="3231788"/>
                  <a:ext cx="212019" cy="154688"/>
                </a:xfrm>
                <a:custGeom>
                  <a:avLst/>
                  <a:gdLst>
                    <a:gd name="T0" fmla="*/ 168 w 196"/>
                    <a:gd name="T1" fmla="*/ 70 h 143"/>
                    <a:gd name="T2" fmla="*/ 175 w 196"/>
                    <a:gd name="T3" fmla="*/ 86 h 143"/>
                    <a:gd name="T4" fmla="*/ 175 w 196"/>
                    <a:gd name="T5" fmla="*/ 100 h 143"/>
                    <a:gd name="T6" fmla="*/ 183 w 196"/>
                    <a:gd name="T7" fmla="*/ 108 h 143"/>
                    <a:gd name="T8" fmla="*/ 190 w 196"/>
                    <a:gd name="T9" fmla="*/ 113 h 143"/>
                    <a:gd name="T10" fmla="*/ 195 w 196"/>
                    <a:gd name="T11" fmla="*/ 119 h 143"/>
                    <a:gd name="T12" fmla="*/ 194 w 196"/>
                    <a:gd name="T13" fmla="*/ 130 h 143"/>
                    <a:gd name="T14" fmla="*/ 196 w 196"/>
                    <a:gd name="T15" fmla="*/ 137 h 143"/>
                    <a:gd name="T16" fmla="*/ 179 w 196"/>
                    <a:gd name="T17" fmla="*/ 138 h 143"/>
                    <a:gd name="T18" fmla="*/ 160 w 196"/>
                    <a:gd name="T19" fmla="*/ 140 h 143"/>
                    <a:gd name="T20" fmla="*/ 146 w 196"/>
                    <a:gd name="T21" fmla="*/ 135 h 143"/>
                    <a:gd name="T22" fmla="*/ 138 w 196"/>
                    <a:gd name="T23" fmla="*/ 131 h 143"/>
                    <a:gd name="T24" fmla="*/ 76 w 196"/>
                    <a:gd name="T25" fmla="*/ 131 h 143"/>
                    <a:gd name="T26" fmla="*/ 47 w 196"/>
                    <a:gd name="T27" fmla="*/ 138 h 143"/>
                    <a:gd name="T28" fmla="*/ 26 w 196"/>
                    <a:gd name="T29" fmla="*/ 142 h 143"/>
                    <a:gd name="T30" fmla="*/ 32 w 196"/>
                    <a:gd name="T31" fmla="*/ 136 h 143"/>
                    <a:gd name="T32" fmla="*/ 43 w 196"/>
                    <a:gd name="T33" fmla="*/ 135 h 143"/>
                    <a:gd name="T34" fmla="*/ 57 w 196"/>
                    <a:gd name="T35" fmla="*/ 135 h 143"/>
                    <a:gd name="T36" fmla="*/ 64 w 196"/>
                    <a:gd name="T37" fmla="*/ 130 h 143"/>
                    <a:gd name="T38" fmla="*/ 64 w 196"/>
                    <a:gd name="T39" fmla="*/ 128 h 143"/>
                    <a:gd name="T40" fmla="*/ 54 w 196"/>
                    <a:gd name="T41" fmla="*/ 135 h 143"/>
                    <a:gd name="T42" fmla="*/ 47 w 196"/>
                    <a:gd name="T43" fmla="*/ 133 h 143"/>
                    <a:gd name="T44" fmla="*/ 37 w 196"/>
                    <a:gd name="T45" fmla="*/ 135 h 143"/>
                    <a:gd name="T46" fmla="*/ 31 w 196"/>
                    <a:gd name="T47" fmla="*/ 133 h 143"/>
                    <a:gd name="T48" fmla="*/ 29 w 196"/>
                    <a:gd name="T49" fmla="*/ 133 h 143"/>
                    <a:gd name="T50" fmla="*/ 26 w 196"/>
                    <a:gd name="T51" fmla="*/ 130 h 143"/>
                    <a:gd name="T52" fmla="*/ 25 w 196"/>
                    <a:gd name="T53" fmla="*/ 120 h 143"/>
                    <a:gd name="T54" fmla="*/ 54 w 196"/>
                    <a:gd name="T55" fmla="*/ 116 h 143"/>
                    <a:gd name="T56" fmla="*/ 69 w 196"/>
                    <a:gd name="T57" fmla="*/ 109 h 143"/>
                    <a:gd name="T58" fmla="*/ 80 w 196"/>
                    <a:gd name="T59" fmla="*/ 105 h 143"/>
                    <a:gd name="T60" fmla="*/ 94 w 196"/>
                    <a:gd name="T61" fmla="*/ 109 h 143"/>
                    <a:gd name="T62" fmla="*/ 111 w 196"/>
                    <a:gd name="T63" fmla="*/ 110 h 143"/>
                    <a:gd name="T64" fmla="*/ 114 w 196"/>
                    <a:gd name="T65" fmla="*/ 101 h 143"/>
                    <a:gd name="T66" fmla="*/ 97 w 196"/>
                    <a:gd name="T67" fmla="*/ 103 h 143"/>
                    <a:gd name="T68" fmla="*/ 86 w 196"/>
                    <a:gd name="T69" fmla="*/ 98 h 143"/>
                    <a:gd name="T70" fmla="*/ 67 w 196"/>
                    <a:gd name="T71" fmla="*/ 96 h 143"/>
                    <a:gd name="T72" fmla="*/ 53 w 196"/>
                    <a:gd name="T73" fmla="*/ 102 h 143"/>
                    <a:gd name="T74" fmla="*/ 31 w 196"/>
                    <a:gd name="T75" fmla="*/ 102 h 143"/>
                    <a:gd name="T76" fmla="*/ 29 w 196"/>
                    <a:gd name="T77" fmla="*/ 99 h 143"/>
                    <a:gd name="T78" fmla="*/ 32 w 196"/>
                    <a:gd name="T79" fmla="*/ 93 h 143"/>
                    <a:gd name="T80" fmla="*/ 25 w 196"/>
                    <a:gd name="T81" fmla="*/ 95 h 143"/>
                    <a:gd name="T82" fmla="*/ 31 w 196"/>
                    <a:gd name="T83" fmla="*/ 88 h 143"/>
                    <a:gd name="T84" fmla="*/ 35 w 196"/>
                    <a:gd name="T85" fmla="*/ 84 h 143"/>
                    <a:gd name="T86" fmla="*/ 26 w 196"/>
                    <a:gd name="T87" fmla="*/ 88 h 143"/>
                    <a:gd name="T88" fmla="*/ 23 w 196"/>
                    <a:gd name="T89" fmla="*/ 87 h 143"/>
                    <a:gd name="T90" fmla="*/ 15 w 196"/>
                    <a:gd name="T91" fmla="*/ 74 h 143"/>
                    <a:gd name="T92" fmla="*/ 3 w 196"/>
                    <a:gd name="T93" fmla="*/ 65 h 143"/>
                    <a:gd name="T94" fmla="*/ 17 w 196"/>
                    <a:gd name="T95" fmla="*/ 53 h 143"/>
                    <a:gd name="T96" fmla="*/ 32 w 196"/>
                    <a:gd name="T97" fmla="*/ 17 h 143"/>
                    <a:gd name="T98" fmla="*/ 43 w 196"/>
                    <a:gd name="T99" fmla="*/ 4 h 143"/>
                    <a:gd name="T100" fmla="*/ 57 w 196"/>
                    <a:gd name="T101" fmla="*/ 7 h 143"/>
                    <a:gd name="T102" fmla="*/ 68 w 196"/>
                    <a:gd name="T103" fmla="*/ 4 h 143"/>
                    <a:gd name="T104" fmla="*/ 79 w 196"/>
                    <a:gd name="T105" fmla="*/ 1 h 143"/>
                    <a:gd name="T106" fmla="*/ 96 w 196"/>
                    <a:gd name="T107" fmla="*/ 1 h 143"/>
                    <a:gd name="T108" fmla="*/ 107 w 196"/>
                    <a:gd name="T109" fmla="*/ 7 h 143"/>
                    <a:gd name="T110" fmla="*/ 115 w 196"/>
                    <a:gd name="T111" fmla="*/ 16 h 143"/>
                    <a:gd name="T112" fmla="*/ 119 w 196"/>
                    <a:gd name="T113" fmla="*/ 16 h 143"/>
                    <a:gd name="T114" fmla="*/ 126 w 196"/>
                    <a:gd name="T115" fmla="*/ 18 h 143"/>
                    <a:gd name="T116" fmla="*/ 135 w 196"/>
                    <a:gd name="T117" fmla="*/ 28 h 143"/>
                    <a:gd name="T118" fmla="*/ 140 w 196"/>
                    <a:gd name="T119" fmla="*/ 35 h 143"/>
                    <a:gd name="T120" fmla="*/ 146 w 196"/>
                    <a:gd name="T121" fmla="*/ 42 h 143"/>
                    <a:gd name="T122" fmla="*/ 151 w 196"/>
                    <a:gd name="T123" fmla="*/ 50 h 143"/>
                    <a:gd name="T124" fmla="*/ 163 w 196"/>
                    <a:gd name="T125" fmla="*/ 5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143">
                      <a:moveTo>
                        <a:pt x="167" y="61"/>
                      </a:moveTo>
                      <a:lnTo>
                        <a:pt x="167" y="63"/>
                      </a:lnTo>
                      <a:lnTo>
                        <a:pt x="168" y="63"/>
                      </a:lnTo>
                      <a:lnTo>
                        <a:pt x="168" y="64"/>
                      </a:lnTo>
                      <a:lnTo>
                        <a:pt x="170" y="64"/>
                      </a:lnTo>
                      <a:lnTo>
                        <a:pt x="170" y="65"/>
                      </a:lnTo>
                      <a:lnTo>
                        <a:pt x="171" y="65"/>
                      </a:lnTo>
                      <a:lnTo>
                        <a:pt x="171" y="66"/>
                      </a:lnTo>
                      <a:lnTo>
                        <a:pt x="170" y="67"/>
                      </a:lnTo>
                      <a:lnTo>
                        <a:pt x="170" y="68"/>
                      </a:lnTo>
                      <a:lnTo>
                        <a:pt x="168" y="68"/>
                      </a:lnTo>
                      <a:lnTo>
                        <a:pt x="168" y="70"/>
                      </a:lnTo>
                      <a:lnTo>
                        <a:pt x="168" y="72"/>
                      </a:lnTo>
                      <a:lnTo>
                        <a:pt x="168" y="74"/>
                      </a:lnTo>
                      <a:lnTo>
                        <a:pt x="170" y="74"/>
                      </a:lnTo>
                      <a:lnTo>
                        <a:pt x="172" y="74"/>
                      </a:lnTo>
                      <a:lnTo>
                        <a:pt x="172" y="75"/>
                      </a:lnTo>
                      <a:lnTo>
                        <a:pt x="172" y="77"/>
                      </a:lnTo>
                      <a:lnTo>
                        <a:pt x="173" y="77"/>
                      </a:lnTo>
                      <a:lnTo>
                        <a:pt x="174" y="78"/>
                      </a:lnTo>
                      <a:lnTo>
                        <a:pt x="175" y="78"/>
                      </a:lnTo>
                      <a:lnTo>
                        <a:pt x="177" y="81"/>
                      </a:lnTo>
                      <a:lnTo>
                        <a:pt x="175" y="82"/>
                      </a:lnTo>
                      <a:lnTo>
                        <a:pt x="175" y="86"/>
                      </a:lnTo>
                      <a:lnTo>
                        <a:pt x="175" y="87"/>
                      </a:lnTo>
                      <a:lnTo>
                        <a:pt x="175" y="88"/>
                      </a:lnTo>
                      <a:lnTo>
                        <a:pt x="177" y="88"/>
                      </a:lnTo>
                      <a:lnTo>
                        <a:pt x="178" y="89"/>
                      </a:lnTo>
                      <a:lnTo>
                        <a:pt x="178" y="91"/>
                      </a:lnTo>
                      <a:lnTo>
                        <a:pt x="178" y="92"/>
                      </a:lnTo>
                      <a:lnTo>
                        <a:pt x="177" y="93"/>
                      </a:lnTo>
                      <a:lnTo>
                        <a:pt x="175" y="94"/>
                      </a:lnTo>
                      <a:lnTo>
                        <a:pt x="173" y="96"/>
                      </a:lnTo>
                      <a:lnTo>
                        <a:pt x="174" y="98"/>
                      </a:lnTo>
                      <a:lnTo>
                        <a:pt x="174" y="99"/>
                      </a:lnTo>
                      <a:lnTo>
                        <a:pt x="175" y="100"/>
                      </a:lnTo>
                      <a:lnTo>
                        <a:pt x="175" y="101"/>
                      </a:lnTo>
                      <a:lnTo>
                        <a:pt x="177" y="101"/>
                      </a:lnTo>
                      <a:lnTo>
                        <a:pt x="178" y="102"/>
                      </a:lnTo>
                      <a:lnTo>
                        <a:pt x="179" y="102"/>
                      </a:lnTo>
                      <a:lnTo>
                        <a:pt x="179" y="103"/>
                      </a:lnTo>
                      <a:lnTo>
                        <a:pt x="180" y="103"/>
                      </a:lnTo>
                      <a:lnTo>
                        <a:pt x="180" y="105"/>
                      </a:lnTo>
                      <a:lnTo>
                        <a:pt x="180" y="107"/>
                      </a:lnTo>
                      <a:lnTo>
                        <a:pt x="181" y="107"/>
                      </a:lnTo>
                      <a:lnTo>
                        <a:pt x="181" y="108"/>
                      </a:lnTo>
                      <a:lnTo>
                        <a:pt x="182" y="109"/>
                      </a:lnTo>
                      <a:lnTo>
                        <a:pt x="183" y="108"/>
                      </a:lnTo>
                      <a:lnTo>
                        <a:pt x="183" y="107"/>
                      </a:lnTo>
                      <a:lnTo>
                        <a:pt x="185" y="106"/>
                      </a:lnTo>
                      <a:lnTo>
                        <a:pt x="186" y="106"/>
                      </a:lnTo>
                      <a:lnTo>
                        <a:pt x="186" y="107"/>
                      </a:lnTo>
                      <a:lnTo>
                        <a:pt x="187" y="106"/>
                      </a:lnTo>
                      <a:lnTo>
                        <a:pt x="188" y="107"/>
                      </a:lnTo>
                      <a:lnTo>
                        <a:pt x="188" y="108"/>
                      </a:lnTo>
                      <a:lnTo>
                        <a:pt x="189" y="108"/>
                      </a:lnTo>
                      <a:lnTo>
                        <a:pt x="189" y="109"/>
                      </a:lnTo>
                      <a:lnTo>
                        <a:pt x="190" y="110"/>
                      </a:lnTo>
                      <a:lnTo>
                        <a:pt x="190" y="112"/>
                      </a:lnTo>
                      <a:lnTo>
                        <a:pt x="190" y="113"/>
                      </a:lnTo>
                      <a:lnTo>
                        <a:pt x="192" y="114"/>
                      </a:lnTo>
                      <a:lnTo>
                        <a:pt x="192" y="115"/>
                      </a:lnTo>
                      <a:lnTo>
                        <a:pt x="193" y="115"/>
                      </a:lnTo>
                      <a:lnTo>
                        <a:pt x="193" y="116"/>
                      </a:lnTo>
                      <a:lnTo>
                        <a:pt x="194" y="116"/>
                      </a:lnTo>
                      <a:lnTo>
                        <a:pt x="194" y="117"/>
                      </a:lnTo>
                      <a:lnTo>
                        <a:pt x="194" y="119"/>
                      </a:lnTo>
                      <a:lnTo>
                        <a:pt x="195" y="119"/>
                      </a:lnTo>
                      <a:lnTo>
                        <a:pt x="195" y="120"/>
                      </a:lnTo>
                      <a:lnTo>
                        <a:pt x="194" y="120"/>
                      </a:lnTo>
                      <a:lnTo>
                        <a:pt x="195" y="120"/>
                      </a:lnTo>
                      <a:lnTo>
                        <a:pt x="195" y="119"/>
                      </a:lnTo>
                      <a:lnTo>
                        <a:pt x="196" y="120"/>
                      </a:lnTo>
                      <a:lnTo>
                        <a:pt x="196" y="121"/>
                      </a:lnTo>
                      <a:lnTo>
                        <a:pt x="195" y="121"/>
                      </a:lnTo>
                      <a:lnTo>
                        <a:pt x="195" y="122"/>
                      </a:lnTo>
                      <a:lnTo>
                        <a:pt x="195" y="123"/>
                      </a:lnTo>
                      <a:lnTo>
                        <a:pt x="195" y="124"/>
                      </a:lnTo>
                      <a:lnTo>
                        <a:pt x="195" y="126"/>
                      </a:lnTo>
                      <a:lnTo>
                        <a:pt x="195" y="127"/>
                      </a:lnTo>
                      <a:lnTo>
                        <a:pt x="196" y="128"/>
                      </a:lnTo>
                      <a:lnTo>
                        <a:pt x="195" y="128"/>
                      </a:lnTo>
                      <a:lnTo>
                        <a:pt x="194" y="129"/>
                      </a:lnTo>
                      <a:lnTo>
                        <a:pt x="194" y="130"/>
                      </a:lnTo>
                      <a:lnTo>
                        <a:pt x="195" y="130"/>
                      </a:lnTo>
                      <a:lnTo>
                        <a:pt x="195" y="131"/>
                      </a:lnTo>
                      <a:lnTo>
                        <a:pt x="195" y="133"/>
                      </a:lnTo>
                      <a:lnTo>
                        <a:pt x="194" y="134"/>
                      </a:lnTo>
                      <a:lnTo>
                        <a:pt x="195" y="135"/>
                      </a:lnTo>
                      <a:lnTo>
                        <a:pt x="195" y="134"/>
                      </a:lnTo>
                      <a:lnTo>
                        <a:pt x="195" y="135"/>
                      </a:lnTo>
                      <a:lnTo>
                        <a:pt x="196" y="135"/>
                      </a:lnTo>
                      <a:lnTo>
                        <a:pt x="196" y="136"/>
                      </a:lnTo>
                      <a:lnTo>
                        <a:pt x="196" y="135"/>
                      </a:lnTo>
                      <a:lnTo>
                        <a:pt x="196" y="136"/>
                      </a:lnTo>
                      <a:lnTo>
                        <a:pt x="196" y="137"/>
                      </a:lnTo>
                      <a:lnTo>
                        <a:pt x="196" y="138"/>
                      </a:lnTo>
                      <a:lnTo>
                        <a:pt x="195" y="138"/>
                      </a:lnTo>
                      <a:lnTo>
                        <a:pt x="194" y="137"/>
                      </a:lnTo>
                      <a:lnTo>
                        <a:pt x="193" y="137"/>
                      </a:lnTo>
                      <a:lnTo>
                        <a:pt x="189" y="137"/>
                      </a:lnTo>
                      <a:lnTo>
                        <a:pt x="188" y="137"/>
                      </a:lnTo>
                      <a:lnTo>
                        <a:pt x="186" y="138"/>
                      </a:lnTo>
                      <a:lnTo>
                        <a:pt x="185" y="138"/>
                      </a:lnTo>
                      <a:lnTo>
                        <a:pt x="182" y="138"/>
                      </a:lnTo>
                      <a:lnTo>
                        <a:pt x="181" y="138"/>
                      </a:lnTo>
                      <a:lnTo>
                        <a:pt x="180" y="138"/>
                      </a:lnTo>
                      <a:lnTo>
                        <a:pt x="179" y="138"/>
                      </a:lnTo>
                      <a:lnTo>
                        <a:pt x="178" y="138"/>
                      </a:lnTo>
                      <a:lnTo>
                        <a:pt x="177" y="138"/>
                      </a:lnTo>
                      <a:lnTo>
                        <a:pt x="174" y="138"/>
                      </a:lnTo>
                      <a:lnTo>
                        <a:pt x="173" y="138"/>
                      </a:lnTo>
                      <a:lnTo>
                        <a:pt x="172" y="140"/>
                      </a:lnTo>
                      <a:lnTo>
                        <a:pt x="171" y="141"/>
                      </a:lnTo>
                      <a:lnTo>
                        <a:pt x="166" y="142"/>
                      </a:lnTo>
                      <a:lnTo>
                        <a:pt x="165" y="142"/>
                      </a:lnTo>
                      <a:lnTo>
                        <a:pt x="164" y="140"/>
                      </a:lnTo>
                      <a:lnTo>
                        <a:pt x="163" y="140"/>
                      </a:lnTo>
                      <a:lnTo>
                        <a:pt x="161" y="140"/>
                      </a:lnTo>
                      <a:lnTo>
                        <a:pt x="160" y="140"/>
                      </a:lnTo>
                      <a:lnTo>
                        <a:pt x="159" y="140"/>
                      </a:lnTo>
                      <a:lnTo>
                        <a:pt x="158" y="140"/>
                      </a:lnTo>
                      <a:lnTo>
                        <a:pt x="157" y="138"/>
                      </a:lnTo>
                      <a:lnTo>
                        <a:pt x="156" y="137"/>
                      </a:lnTo>
                      <a:lnTo>
                        <a:pt x="153" y="138"/>
                      </a:lnTo>
                      <a:lnTo>
                        <a:pt x="152" y="137"/>
                      </a:lnTo>
                      <a:lnTo>
                        <a:pt x="151" y="137"/>
                      </a:lnTo>
                      <a:lnTo>
                        <a:pt x="150" y="137"/>
                      </a:lnTo>
                      <a:lnTo>
                        <a:pt x="150" y="136"/>
                      </a:lnTo>
                      <a:lnTo>
                        <a:pt x="149" y="135"/>
                      </a:lnTo>
                      <a:lnTo>
                        <a:pt x="147" y="135"/>
                      </a:lnTo>
                      <a:lnTo>
                        <a:pt x="146" y="135"/>
                      </a:lnTo>
                      <a:lnTo>
                        <a:pt x="146" y="136"/>
                      </a:lnTo>
                      <a:lnTo>
                        <a:pt x="145" y="137"/>
                      </a:lnTo>
                      <a:lnTo>
                        <a:pt x="144" y="137"/>
                      </a:lnTo>
                      <a:lnTo>
                        <a:pt x="143" y="136"/>
                      </a:lnTo>
                      <a:lnTo>
                        <a:pt x="143" y="135"/>
                      </a:lnTo>
                      <a:lnTo>
                        <a:pt x="143" y="134"/>
                      </a:lnTo>
                      <a:lnTo>
                        <a:pt x="143" y="133"/>
                      </a:lnTo>
                      <a:lnTo>
                        <a:pt x="143" y="131"/>
                      </a:lnTo>
                      <a:lnTo>
                        <a:pt x="142" y="131"/>
                      </a:lnTo>
                      <a:lnTo>
                        <a:pt x="140" y="131"/>
                      </a:lnTo>
                      <a:lnTo>
                        <a:pt x="139" y="131"/>
                      </a:lnTo>
                      <a:lnTo>
                        <a:pt x="138" y="131"/>
                      </a:lnTo>
                      <a:lnTo>
                        <a:pt x="137" y="131"/>
                      </a:lnTo>
                      <a:lnTo>
                        <a:pt x="136" y="131"/>
                      </a:lnTo>
                      <a:lnTo>
                        <a:pt x="135" y="131"/>
                      </a:lnTo>
                      <a:lnTo>
                        <a:pt x="133" y="131"/>
                      </a:lnTo>
                      <a:lnTo>
                        <a:pt x="132" y="130"/>
                      </a:lnTo>
                      <a:lnTo>
                        <a:pt x="122" y="130"/>
                      </a:lnTo>
                      <a:lnTo>
                        <a:pt x="110" y="130"/>
                      </a:lnTo>
                      <a:lnTo>
                        <a:pt x="102" y="131"/>
                      </a:lnTo>
                      <a:lnTo>
                        <a:pt x="100" y="131"/>
                      </a:lnTo>
                      <a:lnTo>
                        <a:pt x="88" y="131"/>
                      </a:lnTo>
                      <a:lnTo>
                        <a:pt x="86" y="131"/>
                      </a:lnTo>
                      <a:lnTo>
                        <a:pt x="76" y="131"/>
                      </a:lnTo>
                      <a:lnTo>
                        <a:pt x="75" y="131"/>
                      </a:lnTo>
                      <a:lnTo>
                        <a:pt x="74" y="131"/>
                      </a:lnTo>
                      <a:lnTo>
                        <a:pt x="73" y="131"/>
                      </a:lnTo>
                      <a:lnTo>
                        <a:pt x="72" y="134"/>
                      </a:lnTo>
                      <a:lnTo>
                        <a:pt x="69" y="134"/>
                      </a:lnTo>
                      <a:lnTo>
                        <a:pt x="68" y="135"/>
                      </a:lnTo>
                      <a:lnTo>
                        <a:pt x="60" y="140"/>
                      </a:lnTo>
                      <a:lnTo>
                        <a:pt x="59" y="140"/>
                      </a:lnTo>
                      <a:lnTo>
                        <a:pt x="53" y="140"/>
                      </a:lnTo>
                      <a:lnTo>
                        <a:pt x="51" y="140"/>
                      </a:lnTo>
                      <a:lnTo>
                        <a:pt x="50" y="140"/>
                      </a:lnTo>
                      <a:lnTo>
                        <a:pt x="47" y="138"/>
                      </a:lnTo>
                      <a:lnTo>
                        <a:pt x="46" y="138"/>
                      </a:lnTo>
                      <a:lnTo>
                        <a:pt x="44" y="140"/>
                      </a:lnTo>
                      <a:lnTo>
                        <a:pt x="43" y="140"/>
                      </a:lnTo>
                      <a:lnTo>
                        <a:pt x="40" y="141"/>
                      </a:lnTo>
                      <a:lnTo>
                        <a:pt x="37" y="142"/>
                      </a:lnTo>
                      <a:lnTo>
                        <a:pt x="35" y="142"/>
                      </a:lnTo>
                      <a:lnTo>
                        <a:pt x="33" y="143"/>
                      </a:lnTo>
                      <a:lnTo>
                        <a:pt x="32" y="143"/>
                      </a:lnTo>
                      <a:lnTo>
                        <a:pt x="29" y="143"/>
                      </a:lnTo>
                      <a:lnTo>
                        <a:pt x="28" y="143"/>
                      </a:lnTo>
                      <a:lnTo>
                        <a:pt x="26" y="143"/>
                      </a:lnTo>
                      <a:lnTo>
                        <a:pt x="26" y="142"/>
                      </a:lnTo>
                      <a:lnTo>
                        <a:pt x="25" y="142"/>
                      </a:lnTo>
                      <a:lnTo>
                        <a:pt x="24" y="141"/>
                      </a:lnTo>
                      <a:lnTo>
                        <a:pt x="24" y="140"/>
                      </a:lnTo>
                      <a:lnTo>
                        <a:pt x="24" y="138"/>
                      </a:lnTo>
                      <a:lnTo>
                        <a:pt x="24" y="137"/>
                      </a:lnTo>
                      <a:lnTo>
                        <a:pt x="26" y="136"/>
                      </a:lnTo>
                      <a:lnTo>
                        <a:pt x="28" y="136"/>
                      </a:lnTo>
                      <a:lnTo>
                        <a:pt x="29" y="136"/>
                      </a:lnTo>
                      <a:lnTo>
                        <a:pt x="29" y="135"/>
                      </a:lnTo>
                      <a:lnTo>
                        <a:pt x="30" y="135"/>
                      </a:lnTo>
                      <a:lnTo>
                        <a:pt x="31" y="134"/>
                      </a:lnTo>
                      <a:lnTo>
                        <a:pt x="32" y="136"/>
                      </a:lnTo>
                      <a:lnTo>
                        <a:pt x="32" y="135"/>
                      </a:lnTo>
                      <a:lnTo>
                        <a:pt x="33" y="135"/>
                      </a:lnTo>
                      <a:lnTo>
                        <a:pt x="35" y="135"/>
                      </a:lnTo>
                      <a:lnTo>
                        <a:pt x="36" y="136"/>
                      </a:lnTo>
                      <a:lnTo>
                        <a:pt x="37" y="136"/>
                      </a:lnTo>
                      <a:lnTo>
                        <a:pt x="38" y="136"/>
                      </a:lnTo>
                      <a:lnTo>
                        <a:pt x="39" y="135"/>
                      </a:lnTo>
                      <a:lnTo>
                        <a:pt x="40" y="135"/>
                      </a:lnTo>
                      <a:lnTo>
                        <a:pt x="42" y="135"/>
                      </a:lnTo>
                      <a:lnTo>
                        <a:pt x="43" y="135"/>
                      </a:lnTo>
                      <a:lnTo>
                        <a:pt x="43" y="134"/>
                      </a:lnTo>
                      <a:lnTo>
                        <a:pt x="43" y="135"/>
                      </a:lnTo>
                      <a:lnTo>
                        <a:pt x="44" y="135"/>
                      </a:lnTo>
                      <a:lnTo>
                        <a:pt x="46" y="134"/>
                      </a:lnTo>
                      <a:lnTo>
                        <a:pt x="47" y="134"/>
                      </a:lnTo>
                      <a:lnTo>
                        <a:pt x="49" y="134"/>
                      </a:lnTo>
                      <a:lnTo>
                        <a:pt x="50" y="134"/>
                      </a:lnTo>
                      <a:lnTo>
                        <a:pt x="51" y="134"/>
                      </a:lnTo>
                      <a:lnTo>
                        <a:pt x="51" y="135"/>
                      </a:lnTo>
                      <a:lnTo>
                        <a:pt x="52" y="135"/>
                      </a:lnTo>
                      <a:lnTo>
                        <a:pt x="54" y="135"/>
                      </a:lnTo>
                      <a:lnTo>
                        <a:pt x="54" y="136"/>
                      </a:lnTo>
                      <a:lnTo>
                        <a:pt x="55" y="135"/>
                      </a:lnTo>
                      <a:lnTo>
                        <a:pt x="57" y="135"/>
                      </a:lnTo>
                      <a:lnTo>
                        <a:pt x="58" y="135"/>
                      </a:lnTo>
                      <a:lnTo>
                        <a:pt x="59" y="135"/>
                      </a:lnTo>
                      <a:lnTo>
                        <a:pt x="59" y="136"/>
                      </a:lnTo>
                      <a:lnTo>
                        <a:pt x="60" y="136"/>
                      </a:lnTo>
                      <a:lnTo>
                        <a:pt x="61" y="136"/>
                      </a:lnTo>
                      <a:lnTo>
                        <a:pt x="62" y="135"/>
                      </a:lnTo>
                      <a:lnTo>
                        <a:pt x="64" y="135"/>
                      </a:lnTo>
                      <a:lnTo>
                        <a:pt x="64" y="134"/>
                      </a:lnTo>
                      <a:lnTo>
                        <a:pt x="65" y="134"/>
                      </a:lnTo>
                      <a:lnTo>
                        <a:pt x="65" y="133"/>
                      </a:lnTo>
                      <a:lnTo>
                        <a:pt x="65" y="131"/>
                      </a:lnTo>
                      <a:lnTo>
                        <a:pt x="64" y="130"/>
                      </a:lnTo>
                      <a:lnTo>
                        <a:pt x="64" y="129"/>
                      </a:lnTo>
                      <a:lnTo>
                        <a:pt x="64" y="128"/>
                      </a:lnTo>
                      <a:lnTo>
                        <a:pt x="65" y="128"/>
                      </a:lnTo>
                      <a:lnTo>
                        <a:pt x="66" y="128"/>
                      </a:lnTo>
                      <a:lnTo>
                        <a:pt x="67" y="128"/>
                      </a:lnTo>
                      <a:lnTo>
                        <a:pt x="67" y="127"/>
                      </a:lnTo>
                      <a:lnTo>
                        <a:pt x="68" y="128"/>
                      </a:lnTo>
                      <a:lnTo>
                        <a:pt x="68" y="127"/>
                      </a:lnTo>
                      <a:lnTo>
                        <a:pt x="67" y="127"/>
                      </a:lnTo>
                      <a:lnTo>
                        <a:pt x="66" y="127"/>
                      </a:lnTo>
                      <a:lnTo>
                        <a:pt x="65" y="128"/>
                      </a:lnTo>
                      <a:lnTo>
                        <a:pt x="64" y="128"/>
                      </a:lnTo>
                      <a:lnTo>
                        <a:pt x="64" y="130"/>
                      </a:lnTo>
                      <a:lnTo>
                        <a:pt x="64" y="131"/>
                      </a:lnTo>
                      <a:lnTo>
                        <a:pt x="64" y="133"/>
                      </a:lnTo>
                      <a:lnTo>
                        <a:pt x="64" y="134"/>
                      </a:lnTo>
                      <a:lnTo>
                        <a:pt x="62" y="134"/>
                      </a:lnTo>
                      <a:lnTo>
                        <a:pt x="61" y="135"/>
                      </a:lnTo>
                      <a:lnTo>
                        <a:pt x="60" y="135"/>
                      </a:lnTo>
                      <a:lnTo>
                        <a:pt x="60" y="134"/>
                      </a:lnTo>
                      <a:lnTo>
                        <a:pt x="59" y="134"/>
                      </a:lnTo>
                      <a:lnTo>
                        <a:pt x="57" y="134"/>
                      </a:lnTo>
                      <a:lnTo>
                        <a:pt x="55" y="135"/>
                      </a:lnTo>
                      <a:lnTo>
                        <a:pt x="54" y="135"/>
                      </a:lnTo>
                      <a:lnTo>
                        <a:pt x="54" y="134"/>
                      </a:lnTo>
                      <a:lnTo>
                        <a:pt x="53" y="134"/>
                      </a:lnTo>
                      <a:lnTo>
                        <a:pt x="52" y="135"/>
                      </a:lnTo>
                      <a:lnTo>
                        <a:pt x="52" y="134"/>
                      </a:lnTo>
                      <a:lnTo>
                        <a:pt x="51" y="134"/>
                      </a:lnTo>
                      <a:lnTo>
                        <a:pt x="51" y="133"/>
                      </a:lnTo>
                      <a:lnTo>
                        <a:pt x="50" y="133"/>
                      </a:lnTo>
                      <a:lnTo>
                        <a:pt x="50" y="131"/>
                      </a:lnTo>
                      <a:lnTo>
                        <a:pt x="49" y="131"/>
                      </a:lnTo>
                      <a:lnTo>
                        <a:pt x="49" y="130"/>
                      </a:lnTo>
                      <a:lnTo>
                        <a:pt x="49" y="131"/>
                      </a:lnTo>
                      <a:lnTo>
                        <a:pt x="47" y="133"/>
                      </a:lnTo>
                      <a:lnTo>
                        <a:pt x="46" y="134"/>
                      </a:lnTo>
                      <a:lnTo>
                        <a:pt x="45" y="134"/>
                      </a:lnTo>
                      <a:lnTo>
                        <a:pt x="44" y="134"/>
                      </a:lnTo>
                      <a:lnTo>
                        <a:pt x="43" y="134"/>
                      </a:lnTo>
                      <a:lnTo>
                        <a:pt x="42" y="134"/>
                      </a:lnTo>
                      <a:lnTo>
                        <a:pt x="40" y="134"/>
                      </a:lnTo>
                      <a:lnTo>
                        <a:pt x="40" y="135"/>
                      </a:lnTo>
                      <a:lnTo>
                        <a:pt x="39" y="134"/>
                      </a:lnTo>
                      <a:lnTo>
                        <a:pt x="39" y="135"/>
                      </a:lnTo>
                      <a:lnTo>
                        <a:pt x="38" y="135"/>
                      </a:lnTo>
                      <a:lnTo>
                        <a:pt x="38" y="136"/>
                      </a:lnTo>
                      <a:lnTo>
                        <a:pt x="37" y="135"/>
                      </a:lnTo>
                      <a:lnTo>
                        <a:pt x="36" y="135"/>
                      </a:lnTo>
                      <a:lnTo>
                        <a:pt x="35" y="135"/>
                      </a:lnTo>
                      <a:lnTo>
                        <a:pt x="35" y="134"/>
                      </a:lnTo>
                      <a:lnTo>
                        <a:pt x="33" y="134"/>
                      </a:lnTo>
                      <a:lnTo>
                        <a:pt x="33" y="133"/>
                      </a:lnTo>
                      <a:lnTo>
                        <a:pt x="35" y="133"/>
                      </a:lnTo>
                      <a:lnTo>
                        <a:pt x="33" y="131"/>
                      </a:lnTo>
                      <a:lnTo>
                        <a:pt x="33" y="134"/>
                      </a:lnTo>
                      <a:lnTo>
                        <a:pt x="32" y="134"/>
                      </a:lnTo>
                      <a:lnTo>
                        <a:pt x="31" y="133"/>
                      </a:lnTo>
                      <a:lnTo>
                        <a:pt x="31" y="131"/>
                      </a:lnTo>
                      <a:lnTo>
                        <a:pt x="31" y="133"/>
                      </a:lnTo>
                      <a:lnTo>
                        <a:pt x="30" y="133"/>
                      </a:lnTo>
                      <a:lnTo>
                        <a:pt x="29" y="133"/>
                      </a:lnTo>
                      <a:lnTo>
                        <a:pt x="29" y="131"/>
                      </a:lnTo>
                      <a:lnTo>
                        <a:pt x="30" y="131"/>
                      </a:lnTo>
                      <a:lnTo>
                        <a:pt x="30" y="130"/>
                      </a:lnTo>
                      <a:lnTo>
                        <a:pt x="31" y="129"/>
                      </a:lnTo>
                      <a:lnTo>
                        <a:pt x="30" y="128"/>
                      </a:lnTo>
                      <a:lnTo>
                        <a:pt x="30" y="129"/>
                      </a:lnTo>
                      <a:lnTo>
                        <a:pt x="30" y="130"/>
                      </a:lnTo>
                      <a:lnTo>
                        <a:pt x="29" y="130"/>
                      </a:lnTo>
                      <a:lnTo>
                        <a:pt x="29" y="131"/>
                      </a:lnTo>
                      <a:lnTo>
                        <a:pt x="29" y="133"/>
                      </a:lnTo>
                      <a:lnTo>
                        <a:pt x="29" y="134"/>
                      </a:lnTo>
                      <a:lnTo>
                        <a:pt x="28" y="134"/>
                      </a:lnTo>
                      <a:lnTo>
                        <a:pt x="26" y="135"/>
                      </a:lnTo>
                      <a:lnTo>
                        <a:pt x="25" y="136"/>
                      </a:lnTo>
                      <a:lnTo>
                        <a:pt x="25" y="135"/>
                      </a:lnTo>
                      <a:lnTo>
                        <a:pt x="24" y="135"/>
                      </a:lnTo>
                      <a:lnTo>
                        <a:pt x="24" y="134"/>
                      </a:lnTo>
                      <a:lnTo>
                        <a:pt x="24" y="133"/>
                      </a:lnTo>
                      <a:lnTo>
                        <a:pt x="25" y="131"/>
                      </a:lnTo>
                      <a:lnTo>
                        <a:pt x="26" y="130"/>
                      </a:lnTo>
                      <a:lnTo>
                        <a:pt x="28" y="130"/>
                      </a:lnTo>
                      <a:lnTo>
                        <a:pt x="26" y="130"/>
                      </a:lnTo>
                      <a:lnTo>
                        <a:pt x="25" y="130"/>
                      </a:lnTo>
                      <a:lnTo>
                        <a:pt x="25" y="131"/>
                      </a:lnTo>
                      <a:lnTo>
                        <a:pt x="24" y="131"/>
                      </a:lnTo>
                      <a:lnTo>
                        <a:pt x="24" y="130"/>
                      </a:lnTo>
                      <a:lnTo>
                        <a:pt x="25" y="129"/>
                      </a:lnTo>
                      <a:lnTo>
                        <a:pt x="24" y="128"/>
                      </a:lnTo>
                      <a:lnTo>
                        <a:pt x="24" y="127"/>
                      </a:lnTo>
                      <a:lnTo>
                        <a:pt x="25" y="126"/>
                      </a:lnTo>
                      <a:lnTo>
                        <a:pt x="25" y="124"/>
                      </a:lnTo>
                      <a:lnTo>
                        <a:pt x="25" y="123"/>
                      </a:lnTo>
                      <a:lnTo>
                        <a:pt x="25" y="121"/>
                      </a:lnTo>
                      <a:lnTo>
                        <a:pt x="25" y="120"/>
                      </a:lnTo>
                      <a:lnTo>
                        <a:pt x="25" y="119"/>
                      </a:lnTo>
                      <a:lnTo>
                        <a:pt x="26" y="117"/>
                      </a:lnTo>
                      <a:lnTo>
                        <a:pt x="26" y="116"/>
                      </a:lnTo>
                      <a:lnTo>
                        <a:pt x="28" y="116"/>
                      </a:lnTo>
                      <a:lnTo>
                        <a:pt x="29" y="116"/>
                      </a:lnTo>
                      <a:lnTo>
                        <a:pt x="35" y="116"/>
                      </a:lnTo>
                      <a:lnTo>
                        <a:pt x="39" y="116"/>
                      </a:lnTo>
                      <a:lnTo>
                        <a:pt x="46" y="116"/>
                      </a:lnTo>
                      <a:lnTo>
                        <a:pt x="51" y="116"/>
                      </a:lnTo>
                      <a:lnTo>
                        <a:pt x="52" y="116"/>
                      </a:lnTo>
                      <a:lnTo>
                        <a:pt x="53" y="116"/>
                      </a:lnTo>
                      <a:lnTo>
                        <a:pt x="54" y="116"/>
                      </a:lnTo>
                      <a:lnTo>
                        <a:pt x="54" y="114"/>
                      </a:lnTo>
                      <a:lnTo>
                        <a:pt x="54" y="113"/>
                      </a:lnTo>
                      <a:lnTo>
                        <a:pt x="54" y="110"/>
                      </a:lnTo>
                      <a:lnTo>
                        <a:pt x="55" y="110"/>
                      </a:lnTo>
                      <a:lnTo>
                        <a:pt x="58" y="110"/>
                      </a:lnTo>
                      <a:lnTo>
                        <a:pt x="59" y="109"/>
                      </a:lnTo>
                      <a:lnTo>
                        <a:pt x="61" y="109"/>
                      </a:lnTo>
                      <a:lnTo>
                        <a:pt x="62" y="109"/>
                      </a:lnTo>
                      <a:lnTo>
                        <a:pt x="64" y="109"/>
                      </a:lnTo>
                      <a:lnTo>
                        <a:pt x="65" y="108"/>
                      </a:lnTo>
                      <a:lnTo>
                        <a:pt x="68" y="109"/>
                      </a:lnTo>
                      <a:lnTo>
                        <a:pt x="69" y="109"/>
                      </a:lnTo>
                      <a:lnTo>
                        <a:pt x="71" y="109"/>
                      </a:lnTo>
                      <a:lnTo>
                        <a:pt x="72" y="108"/>
                      </a:lnTo>
                      <a:lnTo>
                        <a:pt x="73" y="108"/>
                      </a:lnTo>
                      <a:lnTo>
                        <a:pt x="73" y="107"/>
                      </a:lnTo>
                      <a:lnTo>
                        <a:pt x="74" y="106"/>
                      </a:lnTo>
                      <a:lnTo>
                        <a:pt x="74" y="105"/>
                      </a:lnTo>
                      <a:lnTo>
                        <a:pt x="74" y="103"/>
                      </a:lnTo>
                      <a:lnTo>
                        <a:pt x="75" y="102"/>
                      </a:lnTo>
                      <a:lnTo>
                        <a:pt x="76" y="101"/>
                      </a:lnTo>
                      <a:lnTo>
                        <a:pt x="78" y="102"/>
                      </a:lnTo>
                      <a:lnTo>
                        <a:pt x="79" y="103"/>
                      </a:lnTo>
                      <a:lnTo>
                        <a:pt x="80" y="105"/>
                      </a:lnTo>
                      <a:lnTo>
                        <a:pt x="82" y="106"/>
                      </a:lnTo>
                      <a:lnTo>
                        <a:pt x="83" y="106"/>
                      </a:lnTo>
                      <a:lnTo>
                        <a:pt x="85" y="106"/>
                      </a:lnTo>
                      <a:lnTo>
                        <a:pt x="86" y="107"/>
                      </a:lnTo>
                      <a:lnTo>
                        <a:pt x="87" y="107"/>
                      </a:lnTo>
                      <a:lnTo>
                        <a:pt x="88" y="107"/>
                      </a:lnTo>
                      <a:lnTo>
                        <a:pt x="88" y="108"/>
                      </a:lnTo>
                      <a:lnTo>
                        <a:pt x="89" y="109"/>
                      </a:lnTo>
                      <a:lnTo>
                        <a:pt x="90" y="109"/>
                      </a:lnTo>
                      <a:lnTo>
                        <a:pt x="92" y="109"/>
                      </a:lnTo>
                      <a:lnTo>
                        <a:pt x="93" y="109"/>
                      </a:lnTo>
                      <a:lnTo>
                        <a:pt x="94" y="109"/>
                      </a:lnTo>
                      <a:lnTo>
                        <a:pt x="95" y="110"/>
                      </a:lnTo>
                      <a:lnTo>
                        <a:pt x="96" y="110"/>
                      </a:lnTo>
                      <a:lnTo>
                        <a:pt x="97" y="110"/>
                      </a:lnTo>
                      <a:lnTo>
                        <a:pt x="99" y="112"/>
                      </a:lnTo>
                      <a:lnTo>
                        <a:pt x="100" y="113"/>
                      </a:lnTo>
                      <a:lnTo>
                        <a:pt x="101" y="113"/>
                      </a:lnTo>
                      <a:lnTo>
                        <a:pt x="102" y="113"/>
                      </a:lnTo>
                      <a:lnTo>
                        <a:pt x="103" y="113"/>
                      </a:lnTo>
                      <a:lnTo>
                        <a:pt x="106" y="113"/>
                      </a:lnTo>
                      <a:lnTo>
                        <a:pt x="107" y="113"/>
                      </a:lnTo>
                      <a:lnTo>
                        <a:pt x="109" y="112"/>
                      </a:lnTo>
                      <a:lnTo>
                        <a:pt x="111" y="110"/>
                      </a:lnTo>
                      <a:lnTo>
                        <a:pt x="113" y="110"/>
                      </a:lnTo>
                      <a:lnTo>
                        <a:pt x="114" y="110"/>
                      </a:lnTo>
                      <a:lnTo>
                        <a:pt x="116" y="109"/>
                      </a:lnTo>
                      <a:lnTo>
                        <a:pt x="117" y="109"/>
                      </a:lnTo>
                      <a:lnTo>
                        <a:pt x="118" y="108"/>
                      </a:lnTo>
                      <a:lnTo>
                        <a:pt x="118" y="106"/>
                      </a:lnTo>
                      <a:lnTo>
                        <a:pt x="117" y="105"/>
                      </a:lnTo>
                      <a:lnTo>
                        <a:pt x="116" y="103"/>
                      </a:lnTo>
                      <a:lnTo>
                        <a:pt x="116" y="102"/>
                      </a:lnTo>
                      <a:lnTo>
                        <a:pt x="115" y="102"/>
                      </a:lnTo>
                      <a:lnTo>
                        <a:pt x="115" y="101"/>
                      </a:lnTo>
                      <a:lnTo>
                        <a:pt x="114" y="101"/>
                      </a:lnTo>
                      <a:lnTo>
                        <a:pt x="113" y="101"/>
                      </a:lnTo>
                      <a:lnTo>
                        <a:pt x="111" y="102"/>
                      </a:lnTo>
                      <a:lnTo>
                        <a:pt x="110" y="102"/>
                      </a:lnTo>
                      <a:lnTo>
                        <a:pt x="109" y="102"/>
                      </a:lnTo>
                      <a:lnTo>
                        <a:pt x="108" y="103"/>
                      </a:lnTo>
                      <a:lnTo>
                        <a:pt x="107" y="103"/>
                      </a:lnTo>
                      <a:lnTo>
                        <a:pt x="106" y="103"/>
                      </a:lnTo>
                      <a:lnTo>
                        <a:pt x="104" y="105"/>
                      </a:lnTo>
                      <a:lnTo>
                        <a:pt x="102" y="106"/>
                      </a:lnTo>
                      <a:lnTo>
                        <a:pt x="101" y="106"/>
                      </a:lnTo>
                      <a:lnTo>
                        <a:pt x="100" y="106"/>
                      </a:lnTo>
                      <a:lnTo>
                        <a:pt x="97" y="103"/>
                      </a:lnTo>
                      <a:lnTo>
                        <a:pt x="97" y="102"/>
                      </a:lnTo>
                      <a:lnTo>
                        <a:pt x="96" y="101"/>
                      </a:lnTo>
                      <a:lnTo>
                        <a:pt x="96" y="100"/>
                      </a:lnTo>
                      <a:lnTo>
                        <a:pt x="95" y="100"/>
                      </a:lnTo>
                      <a:lnTo>
                        <a:pt x="94" y="99"/>
                      </a:lnTo>
                      <a:lnTo>
                        <a:pt x="93" y="99"/>
                      </a:lnTo>
                      <a:lnTo>
                        <a:pt x="92" y="99"/>
                      </a:lnTo>
                      <a:lnTo>
                        <a:pt x="89" y="100"/>
                      </a:lnTo>
                      <a:lnTo>
                        <a:pt x="88" y="100"/>
                      </a:lnTo>
                      <a:lnTo>
                        <a:pt x="87" y="100"/>
                      </a:lnTo>
                      <a:lnTo>
                        <a:pt x="87" y="99"/>
                      </a:lnTo>
                      <a:lnTo>
                        <a:pt x="86" y="98"/>
                      </a:lnTo>
                      <a:lnTo>
                        <a:pt x="86" y="96"/>
                      </a:lnTo>
                      <a:lnTo>
                        <a:pt x="85" y="95"/>
                      </a:lnTo>
                      <a:lnTo>
                        <a:pt x="83" y="95"/>
                      </a:lnTo>
                      <a:lnTo>
                        <a:pt x="80" y="95"/>
                      </a:lnTo>
                      <a:lnTo>
                        <a:pt x="78" y="94"/>
                      </a:lnTo>
                      <a:lnTo>
                        <a:pt x="75" y="95"/>
                      </a:lnTo>
                      <a:lnTo>
                        <a:pt x="73" y="96"/>
                      </a:lnTo>
                      <a:lnTo>
                        <a:pt x="72" y="96"/>
                      </a:lnTo>
                      <a:lnTo>
                        <a:pt x="71" y="95"/>
                      </a:lnTo>
                      <a:lnTo>
                        <a:pt x="69" y="95"/>
                      </a:lnTo>
                      <a:lnTo>
                        <a:pt x="68" y="95"/>
                      </a:lnTo>
                      <a:lnTo>
                        <a:pt x="67" y="96"/>
                      </a:lnTo>
                      <a:lnTo>
                        <a:pt x="66" y="98"/>
                      </a:lnTo>
                      <a:lnTo>
                        <a:pt x="65" y="99"/>
                      </a:lnTo>
                      <a:lnTo>
                        <a:pt x="65" y="100"/>
                      </a:lnTo>
                      <a:lnTo>
                        <a:pt x="65" y="101"/>
                      </a:lnTo>
                      <a:lnTo>
                        <a:pt x="65" y="102"/>
                      </a:lnTo>
                      <a:lnTo>
                        <a:pt x="64" y="102"/>
                      </a:lnTo>
                      <a:lnTo>
                        <a:pt x="62" y="102"/>
                      </a:lnTo>
                      <a:lnTo>
                        <a:pt x="60" y="102"/>
                      </a:lnTo>
                      <a:lnTo>
                        <a:pt x="59" y="102"/>
                      </a:lnTo>
                      <a:lnTo>
                        <a:pt x="57" y="102"/>
                      </a:lnTo>
                      <a:lnTo>
                        <a:pt x="54" y="102"/>
                      </a:lnTo>
                      <a:lnTo>
                        <a:pt x="53" y="102"/>
                      </a:lnTo>
                      <a:lnTo>
                        <a:pt x="51" y="102"/>
                      </a:lnTo>
                      <a:lnTo>
                        <a:pt x="49" y="102"/>
                      </a:lnTo>
                      <a:lnTo>
                        <a:pt x="47" y="102"/>
                      </a:lnTo>
                      <a:lnTo>
                        <a:pt x="46" y="102"/>
                      </a:lnTo>
                      <a:lnTo>
                        <a:pt x="45" y="102"/>
                      </a:lnTo>
                      <a:lnTo>
                        <a:pt x="43" y="102"/>
                      </a:lnTo>
                      <a:lnTo>
                        <a:pt x="40" y="102"/>
                      </a:lnTo>
                      <a:lnTo>
                        <a:pt x="39" y="102"/>
                      </a:lnTo>
                      <a:lnTo>
                        <a:pt x="37" y="102"/>
                      </a:lnTo>
                      <a:lnTo>
                        <a:pt x="35" y="102"/>
                      </a:lnTo>
                      <a:lnTo>
                        <a:pt x="33" y="102"/>
                      </a:lnTo>
                      <a:lnTo>
                        <a:pt x="31" y="102"/>
                      </a:lnTo>
                      <a:lnTo>
                        <a:pt x="30" y="102"/>
                      </a:lnTo>
                      <a:lnTo>
                        <a:pt x="30" y="101"/>
                      </a:lnTo>
                      <a:lnTo>
                        <a:pt x="31" y="100"/>
                      </a:lnTo>
                      <a:lnTo>
                        <a:pt x="32" y="100"/>
                      </a:lnTo>
                      <a:lnTo>
                        <a:pt x="32" y="99"/>
                      </a:lnTo>
                      <a:lnTo>
                        <a:pt x="32" y="98"/>
                      </a:lnTo>
                      <a:lnTo>
                        <a:pt x="32" y="99"/>
                      </a:lnTo>
                      <a:lnTo>
                        <a:pt x="31" y="99"/>
                      </a:lnTo>
                      <a:lnTo>
                        <a:pt x="31" y="100"/>
                      </a:lnTo>
                      <a:lnTo>
                        <a:pt x="30" y="100"/>
                      </a:lnTo>
                      <a:lnTo>
                        <a:pt x="29" y="100"/>
                      </a:lnTo>
                      <a:lnTo>
                        <a:pt x="29" y="99"/>
                      </a:lnTo>
                      <a:lnTo>
                        <a:pt x="29" y="98"/>
                      </a:lnTo>
                      <a:lnTo>
                        <a:pt x="29" y="96"/>
                      </a:lnTo>
                      <a:lnTo>
                        <a:pt x="30" y="95"/>
                      </a:lnTo>
                      <a:lnTo>
                        <a:pt x="30" y="94"/>
                      </a:lnTo>
                      <a:lnTo>
                        <a:pt x="31" y="94"/>
                      </a:lnTo>
                      <a:lnTo>
                        <a:pt x="31" y="95"/>
                      </a:lnTo>
                      <a:lnTo>
                        <a:pt x="31" y="94"/>
                      </a:lnTo>
                      <a:lnTo>
                        <a:pt x="32" y="94"/>
                      </a:lnTo>
                      <a:lnTo>
                        <a:pt x="32" y="95"/>
                      </a:lnTo>
                      <a:lnTo>
                        <a:pt x="33" y="95"/>
                      </a:lnTo>
                      <a:lnTo>
                        <a:pt x="33" y="94"/>
                      </a:lnTo>
                      <a:lnTo>
                        <a:pt x="32" y="93"/>
                      </a:lnTo>
                      <a:lnTo>
                        <a:pt x="33" y="89"/>
                      </a:lnTo>
                      <a:lnTo>
                        <a:pt x="32" y="89"/>
                      </a:lnTo>
                      <a:lnTo>
                        <a:pt x="32" y="91"/>
                      </a:lnTo>
                      <a:lnTo>
                        <a:pt x="32" y="92"/>
                      </a:lnTo>
                      <a:lnTo>
                        <a:pt x="31" y="93"/>
                      </a:lnTo>
                      <a:lnTo>
                        <a:pt x="30" y="94"/>
                      </a:lnTo>
                      <a:lnTo>
                        <a:pt x="29" y="94"/>
                      </a:lnTo>
                      <a:lnTo>
                        <a:pt x="28" y="94"/>
                      </a:lnTo>
                      <a:lnTo>
                        <a:pt x="28" y="95"/>
                      </a:lnTo>
                      <a:lnTo>
                        <a:pt x="26" y="96"/>
                      </a:lnTo>
                      <a:lnTo>
                        <a:pt x="26" y="95"/>
                      </a:lnTo>
                      <a:lnTo>
                        <a:pt x="25" y="95"/>
                      </a:lnTo>
                      <a:lnTo>
                        <a:pt x="25" y="94"/>
                      </a:lnTo>
                      <a:lnTo>
                        <a:pt x="25" y="93"/>
                      </a:lnTo>
                      <a:lnTo>
                        <a:pt x="25" y="92"/>
                      </a:lnTo>
                      <a:lnTo>
                        <a:pt x="25" y="91"/>
                      </a:lnTo>
                      <a:lnTo>
                        <a:pt x="26" y="89"/>
                      </a:lnTo>
                      <a:lnTo>
                        <a:pt x="28" y="89"/>
                      </a:lnTo>
                      <a:lnTo>
                        <a:pt x="29" y="89"/>
                      </a:lnTo>
                      <a:lnTo>
                        <a:pt x="29" y="91"/>
                      </a:lnTo>
                      <a:lnTo>
                        <a:pt x="29" y="89"/>
                      </a:lnTo>
                      <a:lnTo>
                        <a:pt x="30" y="89"/>
                      </a:lnTo>
                      <a:lnTo>
                        <a:pt x="30" y="88"/>
                      </a:lnTo>
                      <a:lnTo>
                        <a:pt x="31" y="88"/>
                      </a:lnTo>
                      <a:lnTo>
                        <a:pt x="30" y="88"/>
                      </a:lnTo>
                      <a:lnTo>
                        <a:pt x="30" y="87"/>
                      </a:lnTo>
                      <a:lnTo>
                        <a:pt x="31" y="87"/>
                      </a:lnTo>
                      <a:lnTo>
                        <a:pt x="32" y="86"/>
                      </a:lnTo>
                      <a:lnTo>
                        <a:pt x="32" y="85"/>
                      </a:lnTo>
                      <a:lnTo>
                        <a:pt x="33" y="85"/>
                      </a:lnTo>
                      <a:lnTo>
                        <a:pt x="35" y="84"/>
                      </a:lnTo>
                      <a:lnTo>
                        <a:pt x="36" y="84"/>
                      </a:lnTo>
                      <a:lnTo>
                        <a:pt x="36" y="85"/>
                      </a:lnTo>
                      <a:lnTo>
                        <a:pt x="36" y="84"/>
                      </a:lnTo>
                      <a:lnTo>
                        <a:pt x="37" y="84"/>
                      </a:lnTo>
                      <a:lnTo>
                        <a:pt x="35" y="84"/>
                      </a:lnTo>
                      <a:lnTo>
                        <a:pt x="35" y="82"/>
                      </a:lnTo>
                      <a:lnTo>
                        <a:pt x="33" y="82"/>
                      </a:lnTo>
                      <a:lnTo>
                        <a:pt x="33" y="84"/>
                      </a:lnTo>
                      <a:lnTo>
                        <a:pt x="32" y="84"/>
                      </a:lnTo>
                      <a:lnTo>
                        <a:pt x="32" y="85"/>
                      </a:lnTo>
                      <a:lnTo>
                        <a:pt x="31" y="86"/>
                      </a:lnTo>
                      <a:lnTo>
                        <a:pt x="31" y="87"/>
                      </a:lnTo>
                      <a:lnTo>
                        <a:pt x="30" y="87"/>
                      </a:lnTo>
                      <a:lnTo>
                        <a:pt x="29" y="87"/>
                      </a:lnTo>
                      <a:lnTo>
                        <a:pt x="29" y="88"/>
                      </a:lnTo>
                      <a:lnTo>
                        <a:pt x="28" y="89"/>
                      </a:lnTo>
                      <a:lnTo>
                        <a:pt x="26" y="88"/>
                      </a:lnTo>
                      <a:lnTo>
                        <a:pt x="25" y="88"/>
                      </a:lnTo>
                      <a:lnTo>
                        <a:pt x="26" y="87"/>
                      </a:lnTo>
                      <a:lnTo>
                        <a:pt x="28" y="86"/>
                      </a:lnTo>
                      <a:lnTo>
                        <a:pt x="26" y="87"/>
                      </a:lnTo>
                      <a:lnTo>
                        <a:pt x="25" y="87"/>
                      </a:lnTo>
                      <a:lnTo>
                        <a:pt x="25" y="88"/>
                      </a:lnTo>
                      <a:lnTo>
                        <a:pt x="25" y="89"/>
                      </a:lnTo>
                      <a:lnTo>
                        <a:pt x="24" y="91"/>
                      </a:lnTo>
                      <a:lnTo>
                        <a:pt x="24" y="92"/>
                      </a:lnTo>
                      <a:lnTo>
                        <a:pt x="24" y="94"/>
                      </a:lnTo>
                      <a:lnTo>
                        <a:pt x="24" y="88"/>
                      </a:lnTo>
                      <a:lnTo>
                        <a:pt x="23" y="87"/>
                      </a:lnTo>
                      <a:lnTo>
                        <a:pt x="23" y="86"/>
                      </a:lnTo>
                      <a:lnTo>
                        <a:pt x="22" y="85"/>
                      </a:lnTo>
                      <a:lnTo>
                        <a:pt x="22" y="84"/>
                      </a:lnTo>
                      <a:lnTo>
                        <a:pt x="21" y="84"/>
                      </a:lnTo>
                      <a:lnTo>
                        <a:pt x="19" y="81"/>
                      </a:lnTo>
                      <a:lnTo>
                        <a:pt x="19" y="80"/>
                      </a:lnTo>
                      <a:lnTo>
                        <a:pt x="18" y="80"/>
                      </a:lnTo>
                      <a:lnTo>
                        <a:pt x="18" y="79"/>
                      </a:lnTo>
                      <a:lnTo>
                        <a:pt x="18" y="78"/>
                      </a:lnTo>
                      <a:lnTo>
                        <a:pt x="18" y="77"/>
                      </a:lnTo>
                      <a:lnTo>
                        <a:pt x="17" y="75"/>
                      </a:lnTo>
                      <a:lnTo>
                        <a:pt x="15" y="74"/>
                      </a:lnTo>
                      <a:lnTo>
                        <a:pt x="14" y="74"/>
                      </a:lnTo>
                      <a:lnTo>
                        <a:pt x="12" y="72"/>
                      </a:lnTo>
                      <a:lnTo>
                        <a:pt x="12" y="70"/>
                      </a:lnTo>
                      <a:lnTo>
                        <a:pt x="10" y="68"/>
                      </a:lnTo>
                      <a:lnTo>
                        <a:pt x="10" y="67"/>
                      </a:lnTo>
                      <a:lnTo>
                        <a:pt x="9" y="67"/>
                      </a:lnTo>
                      <a:lnTo>
                        <a:pt x="9" y="66"/>
                      </a:lnTo>
                      <a:lnTo>
                        <a:pt x="8" y="66"/>
                      </a:lnTo>
                      <a:lnTo>
                        <a:pt x="5" y="66"/>
                      </a:lnTo>
                      <a:lnTo>
                        <a:pt x="5" y="65"/>
                      </a:lnTo>
                      <a:lnTo>
                        <a:pt x="4" y="65"/>
                      </a:lnTo>
                      <a:lnTo>
                        <a:pt x="3" y="65"/>
                      </a:lnTo>
                      <a:lnTo>
                        <a:pt x="2" y="66"/>
                      </a:lnTo>
                      <a:lnTo>
                        <a:pt x="3" y="66"/>
                      </a:lnTo>
                      <a:lnTo>
                        <a:pt x="3" y="67"/>
                      </a:lnTo>
                      <a:lnTo>
                        <a:pt x="2" y="67"/>
                      </a:lnTo>
                      <a:lnTo>
                        <a:pt x="3" y="67"/>
                      </a:lnTo>
                      <a:lnTo>
                        <a:pt x="2" y="68"/>
                      </a:lnTo>
                      <a:lnTo>
                        <a:pt x="0" y="65"/>
                      </a:lnTo>
                      <a:lnTo>
                        <a:pt x="4" y="64"/>
                      </a:lnTo>
                      <a:lnTo>
                        <a:pt x="5" y="63"/>
                      </a:lnTo>
                      <a:lnTo>
                        <a:pt x="10" y="60"/>
                      </a:lnTo>
                      <a:lnTo>
                        <a:pt x="11" y="59"/>
                      </a:lnTo>
                      <a:lnTo>
                        <a:pt x="17" y="53"/>
                      </a:lnTo>
                      <a:lnTo>
                        <a:pt x="17" y="51"/>
                      </a:lnTo>
                      <a:lnTo>
                        <a:pt x="19" y="49"/>
                      </a:lnTo>
                      <a:lnTo>
                        <a:pt x="24" y="40"/>
                      </a:lnTo>
                      <a:lnTo>
                        <a:pt x="26" y="38"/>
                      </a:lnTo>
                      <a:lnTo>
                        <a:pt x="30" y="31"/>
                      </a:lnTo>
                      <a:lnTo>
                        <a:pt x="30" y="30"/>
                      </a:lnTo>
                      <a:lnTo>
                        <a:pt x="31" y="29"/>
                      </a:lnTo>
                      <a:lnTo>
                        <a:pt x="31" y="26"/>
                      </a:lnTo>
                      <a:lnTo>
                        <a:pt x="31" y="23"/>
                      </a:lnTo>
                      <a:lnTo>
                        <a:pt x="32" y="21"/>
                      </a:lnTo>
                      <a:lnTo>
                        <a:pt x="32" y="19"/>
                      </a:lnTo>
                      <a:lnTo>
                        <a:pt x="32" y="17"/>
                      </a:lnTo>
                      <a:lnTo>
                        <a:pt x="33" y="16"/>
                      </a:lnTo>
                      <a:lnTo>
                        <a:pt x="35" y="16"/>
                      </a:lnTo>
                      <a:lnTo>
                        <a:pt x="35" y="15"/>
                      </a:lnTo>
                      <a:lnTo>
                        <a:pt x="36" y="9"/>
                      </a:lnTo>
                      <a:lnTo>
                        <a:pt x="37" y="8"/>
                      </a:lnTo>
                      <a:lnTo>
                        <a:pt x="37" y="7"/>
                      </a:lnTo>
                      <a:lnTo>
                        <a:pt x="38" y="7"/>
                      </a:lnTo>
                      <a:lnTo>
                        <a:pt x="38" y="5"/>
                      </a:lnTo>
                      <a:lnTo>
                        <a:pt x="39" y="5"/>
                      </a:lnTo>
                      <a:lnTo>
                        <a:pt x="40" y="5"/>
                      </a:lnTo>
                      <a:lnTo>
                        <a:pt x="42" y="5"/>
                      </a:lnTo>
                      <a:lnTo>
                        <a:pt x="43" y="4"/>
                      </a:lnTo>
                      <a:lnTo>
                        <a:pt x="44" y="5"/>
                      </a:lnTo>
                      <a:lnTo>
                        <a:pt x="45" y="7"/>
                      </a:lnTo>
                      <a:lnTo>
                        <a:pt x="46" y="7"/>
                      </a:lnTo>
                      <a:lnTo>
                        <a:pt x="47" y="7"/>
                      </a:lnTo>
                      <a:lnTo>
                        <a:pt x="49" y="7"/>
                      </a:lnTo>
                      <a:lnTo>
                        <a:pt x="50" y="5"/>
                      </a:lnTo>
                      <a:lnTo>
                        <a:pt x="51" y="5"/>
                      </a:lnTo>
                      <a:lnTo>
                        <a:pt x="52" y="5"/>
                      </a:lnTo>
                      <a:lnTo>
                        <a:pt x="53" y="5"/>
                      </a:lnTo>
                      <a:lnTo>
                        <a:pt x="54" y="7"/>
                      </a:lnTo>
                      <a:lnTo>
                        <a:pt x="55" y="7"/>
                      </a:lnTo>
                      <a:lnTo>
                        <a:pt x="57" y="7"/>
                      </a:lnTo>
                      <a:lnTo>
                        <a:pt x="58" y="7"/>
                      </a:lnTo>
                      <a:lnTo>
                        <a:pt x="59" y="5"/>
                      </a:lnTo>
                      <a:lnTo>
                        <a:pt x="60" y="5"/>
                      </a:lnTo>
                      <a:lnTo>
                        <a:pt x="61" y="5"/>
                      </a:lnTo>
                      <a:lnTo>
                        <a:pt x="62" y="5"/>
                      </a:lnTo>
                      <a:lnTo>
                        <a:pt x="64" y="4"/>
                      </a:lnTo>
                      <a:lnTo>
                        <a:pt x="64" y="3"/>
                      </a:lnTo>
                      <a:lnTo>
                        <a:pt x="65" y="3"/>
                      </a:lnTo>
                      <a:lnTo>
                        <a:pt x="65" y="4"/>
                      </a:lnTo>
                      <a:lnTo>
                        <a:pt x="66" y="4"/>
                      </a:lnTo>
                      <a:lnTo>
                        <a:pt x="67" y="4"/>
                      </a:lnTo>
                      <a:lnTo>
                        <a:pt x="68" y="4"/>
                      </a:lnTo>
                      <a:lnTo>
                        <a:pt x="68" y="3"/>
                      </a:lnTo>
                      <a:lnTo>
                        <a:pt x="69" y="3"/>
                      </a:lnTo>
                      <a:lnTo>
                        <a:pt x="71" y="4"/>
                      </a:lnTo>
                      <a:lnTo>
                        <a:pt x="72" y="4"/>
                      </a:lnTo>
                      <a:lnTo>
                        <a:pt x="75" y="3"/>
                      </a:lnTo>
                      <a:lnTo>
                        <a:pt x="76" y="2"/>
                      </a:lnTo>
                      <a:lnTo>
                        <a:pt x="75" y="2"/>
                      </a:lnTo>
                      <a:lnTo>
                        <a:pt x="75" y="1"/>
                      </a:lnTo>
                      <a:lnTo>
                        <a:pt x="76" y="1"/>
                      </a:lnTo>
                      <a:lnTo>
                        <a:pt x="78" y="2"/>
                      </a:lnTo>
                      <a:lnTo>
                        <a:pt x="78" y="1"/>
                      </a:lnTo>
                      <a:lnTo>
                        <a:pt x="79" y="1"/>
                      </a:lnTo>
                      <a:lnTo>
                        <a:pt x="79" y="0"/>
                      </a:lnTo>
                      <a:lnTo>
                        <a:pt x="80" y="0"/>
                      </a:lnTo>
                      <a:lnTo>
                        <a:pt x="81" y="1"/>
                      </a:lnTo>
                      <a:lnTo>
                        <a:pt x="82" y="1"/>
                      </a:lnTo>
                      <a:lnTo>
                        <a:pt x="88" y="1"/>
                      </a:lnTo>
                      <a:lnTo>
                        <a:pt x="89" y="1"/>
                      </a:lnTo>
                      <a:lnTo>
                        <a:pt x="90" y="1"/>
                      </a:lnTo>
                      <a:lnTo>
                        <a:pt x="92" y="1"/>
                      </a:lnTo>
                      <a:lnTo>
                        <a:pt x="93" y="1"/>
                      </a:lnTo>
                      <a:lnTo>
                        <a:pt x="94" y="1"/>
                      </a:lnTo>
                      <a:lnTo>
                        <a:pt x="95" y="1"/>
                      </a:lnTo>
                      <a:lnTo>
                        <a:pt x="96" y="1"/>
                      </a:lnTo>
                      <a:lnTo>
                        <a:pt x="97" y="0"/>
                      </a:lnTo>
                      <a:lnTo>
                        <a:pt x="100" y="1"/>
                      </a:lnTo>
                      <a:lnTo>
                        <a:pt x="100" y="2"/>
                      </a:lnTo>
                      <a:lnTo>
                        <a:pt x="100" y="3"/>
                      </a:lnTo>
                      <a:lnTo>
                        <a:pt x="101" y="3"/>
                      </a:lnTo>
                      <a:lnTo>
                        <a:pt x="102" y="3"/>
                      </a:lnTo>
                      <a:lnTo>
                        <a:pt x="102" y="4"/>
                      </a:lnTo>
                      <a:lnTo>
                        <a:pt x="103" y="4"/>
                      </a:lnTo>
                      <a:lnTo>
                        <a:pt x="104" y="4"/>
                      </a:lnTo>
                      <a:lnTo>
                        <a:pt x="104" y="5"/>
                      </a:lnTo>
                      <a:lnTo>
                        <a:pt x="106" y="5"/>
                      </a:lnTo>
                      <a:lnTo>
                        <a:pt x="107" y="7"/>
                      </a:lnTo>
                      <a:lnTo>
                        <a:pt x="109" y="9"/>
                      </a:lnTo>
                      <a:lnTo>
                        <a:pt x="110" y="9"/>
                      </a:lnTo>
                      <a:lnTo>
                        <a:pt x="110" y="10"/>
                      </a:lnTo>
                      <a:lnTo>
                        <a:pt x="111" y="10"/>
                      </a:lnTo>
                      <a:lnTo>
                        <a:pt x="111" y="11"/>
                      </a:lnTo>
                      <a:lnTo>
                        <a:pt x="111" y="12"/>
                      </a:lnTo>
                      <a:lnTo>
                        <a:pt x="113" y="12"/>
                      </a:lnTo>
                      <a:lnTo>
                        <a:pt x="113" y="14"/>
                      </a:lnTo>
                      <a:lnTo>
                        <a:pt x="113" y="15"/>
                      </a:lnTo>
                      <a:lnTo>
                        <a:pt x="114" y="15"/>
                      </a:lnTo>
                      <a:lnTo>
                        <a:pt x="115" y="15"/>
                      </a:lnTo>
                      <a:lnTo>
                        <a:pt x="115" y="16"/>
                      </a:lnTo>
                      <a:lnTo>
                        <a:pt x="115" y="17"/>
                      </a:lnTo>
                      <a:lnTo>
                        <a:pt x="116" y="17"/>
                      </a:lnTo>
                      <a:lnTo>
                        <a:pt x="116" y="18"/>
                      </a:lnTo>
                      <a:lnTo>
                        <a:pt x="117" y="18"/>
                      </a:lnTo>
                      <a:lnTo>
                        <a:pt x="117" y="17"/>
                      </a:lnTo>
                      <a:lnTo>
                        <a:pt x="118" y="17"/>
                      </a:lnTo>
                      <a:lnTo>
                        <a:pt x="118" y="16"/>
                      </a:lnTo>
                      <a:lnTo>
                        <a:pt x="119" y="16"/>
                      </a:lnTo>
                      <a:lnTo>
                        <a:pt x="119" y="15"/>
                      </a:lnTo>
                      <a:lnTo>
                        <a:pt x="121" y="15"/>
                      </a:lnTo>
                      <a:lnTo>
                        <a:pt x="121" y="16"/>
                      </a:lnTo>
                      <a:lnTo>
                        <a:pt x="119" y="16"/>
                      </a:lnTo>
                      <a:lnTo>
                        <a:pt x="119" y="17"/>
                      </a:lnTo>
                      <a:lnTo>
                        <a:pt x="121" y="17"/>
                      </a:lnTo>
                      <a:lnTo>
                        <a:pt x="121" y="18"/>
                      </a:lnTo>
                      <a:lnTo>
                        <a:pt x="122" y="18"/>
                      </a:lnTo>
                      <a:lnTo>
                        <a:pt x="123" y="17"/>
                      </a:lnTo>
                      <a:lnTo>
                        <a:pt x="124" y="17"/>
                      </a:lnTo>
                      <a:lnTo>
                        <a:pt x="125" y="17"/>
                      </a:lnTo>
                      <a:lnTo>
                        <a:pt x="126" y="17"/>
                      </a:lnTo>
                      <a:lnTo>
                        <a:pt x="126" y="16"/>
                      </a:lnTo>
                      <a:lnTo>
                        <a:pt x="128" y="16"/>
                      </a:lnTo>
                      <a:lnTo>
                        <a:pt x="128" y="17"/>
                      </a:lnTo>
                      <a:lnTo>
                        <a:pt x="126" y="18"/>
                      </a:lnTo>
                      <a:lnTo>
                        <a:pt x="128" y="18"/>
                      </a:lnTo>
                      <a:lnTo>
                        <a:pt x="129" y="18"/>
                      </a:lnTo>
                      <a:lnTo>
                        <a:pt x="130" y="19"/>
                      </a:lnTo>
                      <a:lnTo>
                        <a:pt x="131" y="19"/>
                      </a:lnTo>
                      <a:lnTo>
                        <a:pt x="131" y="21"/>
                      </a:lnTo>
                      <a:lnTo>
                        <a:pt x="131" y="22"/>
                      </a:lnTo>
                      <a:lnTo>
                        <a:pt x="131" y="23"/>
                      </a:lnTo>
                      <a:lnTo>
                        <a:pt x="132" y="23"/>
                      </a:lnTo>
                      <a:lnTo>
                        <a:pt x="133" y="24"/>
                      </a:lnTo>
                      <a:lnTo>
                        <a:pt x="133" y="25"/>
                      </a:lnTo>
                      <a:lnTo>
                        <a:pt x="133" y="26"/>
                      </a:lnTo>
                      <a:lnTo>
                        <a:pt x="135" y="28"/>
                      </a:lnTo>
                      <a:lnTo>
                        <a:pt x="133" y="29"/>
                      </a:lnTo>
                      <a:lnTo>
                        <a:pt x="135" y="29"/>
                      </a:lnTo>
                      <a:lnTo>
                        <a:pt x="135" y="30"/>
                      </a:lnTo>
                      <a:lnTo>
                        <a:pt x="136" y="30"/>
                      </a:lnTo>
                      <a:lnTo>
                        <a:pt x="136" y="31"/>
                      </a:lnTo>
                      <a:lnTo>
                        <a:pt x="136" y="32"/>
                      </a:lnTo>
                      <a:lnTo>
                        <a:pt x="136" y="33"/>
                      </a:lnTo>
                      <a:lnTo>
                        <a:pt x="137" y="33"/>
                      </a:lnTo>
                      <a:lnTo>
                        <a:pt x="138" y="33"/>
                      </a:lnTo>
                      <a:lnTo>
                        <a:pt x="138" y="35"/>
                      </a:lnTo>
                      <a:lnTo>
                        <a:pt x="139" y="35"/>
                      </a:lnTo>
                      <a:lnTo>
                        <a:pt x="140" y="35"/>
                      </a:lnTo>
                      <a:lnTo>
                        <a:pt x="140" y="36"/>
                      </a:lnTo>
                      <a:lnTo>
                        <a:pt x="140" y="37"/>
                      </a:lnTo>
                      <a:lnTo>
                        <a:pt x="140" y="38"/>
                      </a:lnTo>
                      <a:lnTo>
                        <a:pt x="142" y="38"/>
                      </a:lnTo>
                      <a:lnTo>
                        <a:pt x="143" y="38"/>
                      </a:lnTo>
                      <a:lnTo>
                        <a:pt x="143" y="37"/>
                      </a:lnTo>
                      <a:lnTo>
                        <a:pt x="144" y="37"/>
                      </a:lnTo>
                      <a:lnTo>
                        <a:pt x="145" y="38"/>
                      </a:lnTo>
                      <a:lnTo>
                        <a:pt x="145" y="39"/>
                      </a:lnTo>
                      <a:lnTo>
                        <a:pt x="145" y="40"/>
                      </a:lnTo>
                      <a:lnTo>
                        <a:pt x="145" y="42"/>
                      </a:lnTo>
                      <a:lnTo>
                        <a:pt x="146" y="42"/>
                      </a:lnTo>
                      <a:lnTo>
                        <a:pt x="146" y="43"/>
                      </a:lnTo>
                      <a:lnTo>
                        <a:pt x="149" y="44"/>
                      </a:lnTo>
                      <a:lnTo>
                        <a:pt x="149" y="45"/>
                      </a:lnTo>
                      <a:lnTo>
                        <a:pt x="147" y="45"/>
                      </a:lnTo>
                      <a:lnTo>
                        <a:pt x="146" y="45"/>
                      </a:lnTo>
                      <a:lnTo>
                        <a:pt x="147" y="46"/>
                      </a:lnTo>
                      <a:lnTo>
                        <a:pt x="149" y="46"/>
                      </a:lnTo>
                      <a:lnTo>
                        <a:pt x="150" y="46"/>
                      </a:lnTo>
                      <a:lnTo>
                        <a:pt x="150" y="47"/>
                      </a:lnTo>
                      <a:lnTo>
                        <a:pt x="151" y="47"/>
                      </a:lnTo>
                      <a:lnTo>
                        <a:pt x="151" y="49"/>
                      </a:lnTo>
                      <a:lnTo>
                        <a:pt x="151" y="50"/>
                      </a:lnTo>
                      <a:lnTo>
                        <a:pt x="152" y="50"/>
                      </a:lnTo>
                      <a:lnTo>
                        <a:pt x="152" y="51"/>
                      </a:lnTo>
                      <a:lnTo>
                        <a:pt x="153" y="51"/>
                      </a:lnTo>
                      <a:lnTo>
                        <a:pt x="154" y="51"/>
                      </a:lnTo>
                      <a:lnTo>
                        <a:pt x="156" y="51"/>
                      </a:lnTo>
                      <a:lnTo>
                        <a:pt x="157" y="51"/>
                      </a:lnTo>
                      <a:lnTo>
                        <a:pt x="158" y="52"/>
                      </a:lnTo>
                      <a:lnTo>
                        <a:pt x="159" y="53"/>
                      </a:lnTo>
                      <a:lnTo>
                        <a:pt x="160" y="53"/>
                      </a:lnTo>
                      <a:lnTo>
                        <a:pt x="160" y="54"/>
                      </a:lnTo>
                      <a:lnTo>
                        <a:pt x="161" y="57"/>
                      </a:lnTo>
                      <a:lnTo>
                        <a:pt x="163" y="58"/>
                      </a:lnTo>
                      <a:lnTo>
                        <a:pt x="164" y="59"/>
                      </a:lnTo>
                      <a:lnTo>
                        <a:pt x="165" y="60"/>
                      </a:lnTo>
                      <a:lnTo>
                        <a:pt x="167" y="61"/>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1" name="Freeform 121">
                  <a:extLst>
                    <a:ext uri="{FF2B5EF4-FFF2-40B4-BE49-F238E27FC236}">
                      <a16:creationId xmlns:a16="http://schemas.microsoft.com/office/drawing/2014/main" id="{051DCFFD-B11C-3747-BE88-DD09192A8E18}"/>
                    </a:ext>
                  </a:extLst>
                </p:cNvPr>
                <p:cNvSpPr>
                  <a:spLocks noEditPoints="1"/>
                </p:cNvSpPr>
                <p:nvPr/>
              </p:nvSpPr>
              <p:spPr bwMode="auto">
                <a:xfrm>
                  <a:off x="7242683" y="3832149"/>
                  <a:ext cx="369953" cy="367788"/>
                </a:xfrm>
                <a:custGeom>
                  <a:avLst/>
                  <a:gdLst>
                    <a:gd name="T0" fmla="*/ 317 w 342"/>
                    <a:gd name="T1" fmla="*/ 220 h 340"/>
                    <a:gd name="T2" fmla="*/ 309 w 342"/>
                    <a:gd name="T3" fmla="*/ 157 h 340"/>
                    <a:gd name="T4" fmla="*/ 309 w 342"/>
                    <a:gd name="T5" fmla="*/ 170 h 340"/>
                    <a:gd name="T6" fmla="*/ 318 w 342"/>
                    <a:gd name="T7" fmla="*/ 142 h 340"/>
                    <a:gd name="T8" fmla="*/ 324 w 342"/>
                    <a:gd name="T9" fmla="*/ 133 h 340"/>
                    <a:gd name="T10" fmla="*/ 318 w 342"/>
                    <a:gd name="T11" fmla="*/ 136 h 340"/>
                    <a:gd name="T12" fmla="*/ 318 w 342"/>
                    <a:gd name="T13" fmla="*/ 125 h 340"/>
                    <a:gd name="T14" fmla="*/ 79 w 342"/>
                    <a:gd name="T15" fmla="*/ 41 h 340"/>
                    <a:gd name="T16" fmla="*/ 69 w 342"/>
                    <a:gd name="T17" fmla="*/ 41 h 340"/>
                    <a:gd name="T18" fmla="*/ 112 w 342"/>
                    <a:gd name="T19" fmla="*/ 37 h 340"/>
                    <a:gd name="T20" fmla="*/ 109 w 342"/>
                    <a:gd name="T21" fmla="*/ 29 h 340"/>
                    <a:gd name="T22" fmla="*/ 41 w 342"/>
                    <a:gd name="T23" fmla="*/ 0 h 340"/>
                    <a:gd name="T24" fmla="*/ 71 w 342"/>
                    <a:gd name="T25" fmla="*/ 15 h 340"/>
                    <a:gd name="T26" fmla="*/ 66 w 342"/>
                    <a:gd name="T27" fmla="*/ 41 h 340"/>
                    <a:gd name="T28" fmla="*/ 71 w 342"/>
                    <a:gd name="T29" fmla="*/ 51 h 340"/>
                    <a:gd name="T30" fmla="*/ 78 w 342"/>
                    <a:gd name="T31" fmla="*/ 55 h 340"/>
                    <a:gd name="T32" fmla="*/ 80 w 342"/>
                    <a:gd name="T33" fmla="*/ 45 h 340"/>
                    <a:gd name="T34" fmla="*/ 94 w 342"/>
                    <a:gd name="T35" fmla="*/ 47 h 340"/>
                    <a:gd name="T36" fmla="*/ 102 w 342"/>
                    <a:gd name="T37" fmla="*/ 51 h 340"/>
                    <a:gd name="T38" fmla="*/ 103 w 342"/>
                    <a:gd name="T39" fmla="*/ 59 h 340"/>
                    <a:gd name="T40" fmla="*/ 105 w 342"/>
                    <a:gd name="T41" fmla="*/ 47 h 340"/>
                    <a:gd name="T42" fmla="*/ 121 w 342"/>
                    <a:gd name="T43" fmla="*/ 47 h 340"/>
                    <a:gd name="T44" fmla="*/ 128 w 342"/>
                    <a:gd name="T45" fmla="*/ 38 h 340"/>
                    <a:gd name="T46" fmla="*/ 126 w 342"/>
                    <a:gd name="T47" fmla="*/ 33 h 340"/>
                    <a:gd name="T48" fmla="*/ 126 w 342"/>
                    <a:gd name="T49" fmla="*/ 24 h 340"/>
                    <a:gd name="T50" fmla="*/ 132 w 342"/>
                    <a:gd name="T51" fmla="*/ 16 h 340"/>
                    <a:gd name="T52" fmla="*/ 139 w 342"/>
                    <a:gd name="T53" fmla="*/ 12 h 340"/>
                    <a:gd name="T54" fmla="*/ 192 w 342"/>
                    <a:gd name="T55" fmla="*/ 30 h 340"/>
                    <a:gd name="T56" fmla="*/ 257 w 342"/>
                    <a:gd name="T57" fmla="*/ 80 h 340"/>
                    <a:gd name="T58" fmla="*/ 302 w 342"/>
                    <a:gd name="T59" fmla="*/ 121 h 340"/>
                    <a:gd name="T60" fmla="*/ 297 w 342"/>
                    <a:gd name="T61" fmla="*/ 140 h 340"/>
                    <a:gd name="T62" fmla="*/ 293 w 342"/>
                    <a:gd name="T63" fmla="*/ 170 h 340"/>
                    <a:gd name="T64" fmla="*/ 306 w 342"/>
                    <a:gd name="T65" fmla="*/ 184 h 340"/>
                    <a:gd name="T66" fmla="*/ 307 w 342"/>
                    <a:gd name="T67" fmla="*/ 201 h 340"/>
                    <a:gd name="T68" fmla="*/ 310 w 342"/>
                    <a:gd name="T69" fmla="*/ 222 h 340"/>
                    <a:gd name="T70" fmla="*/ 308 w 342"/>
                    <a:gd name="T71" fmla="*/ 245 h 340"/>
                    <a:gd name="T72" fmla="*/ 313 w 342"/>
                    <a:gd name="T73" fmla="*/ 258 h 340"/>
                    <a:gd name="T74" fmla="*/ 318 w 342"/>
                    <a:gd name="T75" fmla="*/ 274 h 340"/>
                    <a:gd name="T76" fmla="*/ 327 w 342"/>
                    <a:gd name="T77" fmla="*/ 290 h 340"/>
                    <a:gd name="T78" fmla="*/ 337 w 342"/>
                    <a:gd name="T79" fmla="*/ 295 h 340"/>
                    <a:gd name="T80" fmla="*/ 313 w 342"/>
                    <a:gd name="T81" fmla="*/ 317 h 340"/>
                    <a:gd name="T82" fmla="*/ 274 w 342"/>
                    <a:gd name="T83" fmla="*/ 328 h 340"/>
                    <a:gd name="T84" fmla="*/ 249 w 342"/>
                    <a:gd name="T85" fmla="*/ 339 h 340"/>
                    <a:gd name="T86" fmla="*/ 218 w 342"/>
                    <a:gd name="T87" fmla="*/ 340 h 340"/>
                    <a:gd name="T88" fmla="*/ 195 w 342"/>
                    <a:gd name="T89" fmla="*/ 332 h 340"/>
                    <a:gd name="T90" fmla="*/ 161 w 342"/>
                    <a:gd name="T91" fmla="*/ 326 h 340"/>
                    <a:gd name="T92" fmla="*/ 157 w 342"/>
                    <a:gd name="T93" fmla="*/ 303 h 340"/>
                    <a:gd name="T94" fmla="*/ 140 w 342"/>
                    <a:gd name="T95" fmla="*/ 269 h 340"/>
                    <a:gd name="T96" fmla="*/ 117 w 342"/>
                    <a:gd name="T97" fmla="*/ 269 h 340"/>
                    <a:gd name="T98" fmla="*/ 82 w 342"/>
                    <a:gd name="T99" fmla="*/ 257 h 340"/>
                    <a:gd name="T100" fmla="*/ 55 w 342"/>
                    <a:gd name="T101" fmla="*/ 240 h 340"/>
                    <a:gd name="T102" fmla="*/ 41 w 342"/>
                    <a:gd name="T103" fmla="*/ 222 h 340"/>
                    <a:gd name="T104" fmla="*/ 29 w 342"/>
                    <a:gd name="T105" fmla="*/ 192 h 340"/>
                    <a:gd name="T106" fmla="*/ 11 w 342"/>
                    <a:gd name="T107" fmla="*/ 173 h 340"/>
                    <a:gd name="T108" fmla="*/ 5 w 342"/>
                    <a:gd name="T109" fmla="*/ 138 h 340"/>
                    <a:gd name="T110" fmla="*/ 2 w 342"/>
                    <a:gd name="T111" fmla="*/ 108 h 340"/>
                    <a:gd name="T112" fmla="*/ 25 w 342"/>
                    <a:gd name="T113" fmla="*/ 89 h 340"/>
                    <a:gd name="T114" fmla="*/ 39 w 342"/>
                    <a:gd name="T115" fmla="*/ 68 h 340"/>
                    <a:gd name="T116" fmla="*/ 28 w 342"/>
                    <a:gd name="T117" fmla="*/ 54 h 340"/>
                    <a:gd name="T118" fmla="*/ 38 w 342"/>
                    <a:gd name="T119" fmla="*/ 29 h 340"/>
                    <a:gd name="T120" fmla="*/ 31 w 342"/>
                    <a:gd name="T121" fmla="*/ 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2" h="340">
                      <a:moveTo>
                        <a:pt x="321" y="225"/>
                      </a:moveTo>
                      <a:lnTo>
                        <a:pt x="320" y="225"/>
                      </a:lnTo>
                      <a:lnTo>
                        <a:pt x="318" y="225"/>
                      </a:lnTo>
                      <a:lnTo>
                        <a:pt x="318" y="224"/>
                      </a:lnTo>
                      <a:lnTo>
                        <a:pt x="320" y="224"/>
                      </a:lnTo>
                      <a:lnTo>
                        <a:pt x="320" y="223"/>
                      </a:lnTo>
                      <a:lnTo>
                        <a:pt x="321" y="223"/>
                      </a:lnTo>
                      <a:lnTo>
                        <a:pt x="322" y="223"/>
                      </a:lnTo>
                      <a:lnTo>
                        <a:pt x="321" y="225"/>
                      </a:lnTo>
                      <a:close/>
                      <a:moveTo>
                        <a:pt x="325" y="215"/>
                      </a:moveTo>
                      <a:lnTo>
                        <a:pt x="324" y="217"/>
                      </a:lnTo>
                      <a:lnTo>
                        <a:pt x="323" y="218"/>
                      </a:lnTo>
                      <a:lnTo>
                        <a:pt x="323" y="219"/>
                      </a:lnTo>
                      <a:lnTo>
                        <a:pt x="323" y="220"/>
                      </a:lnTo>
                      <a:lnTo>
                        <a:pt x="322" y="220"/>
                      </a:lnTo>
                      <a:lnTo>
                        <a:pt x="322" y="219"/>
                      </a:lnTo>
                      <a:lnTo>
                        <a:pt x="321" y="220"/>
                      </a:lnTo>
                      <a:lnTo>
                        <a:pt x="320" y="220"/>
                      </a:lnTo>
                      <a:lnTo>
                        <a:pt x="320" y="222"/>
                      </a:lnTo>
                      <a:lnTo>
                        <a:pt x="318" y="223"/>
                      </a:lnTo>
                      <a:lnTo>
                        <a:pt x="317" y="223"/>
                      </a:lnTo>
                      <a:lnTo>
                        <a:pt x="316" y="223"/>
                      </a:lnTo>
                      <a:lnTo>
                        <a:pt x="316" y="222"/>
                      </a:lnTo>
                      <a:lnTo>
                        <a:pt x="315" y="220"/>
                      </a:lnTo>
                      <a:lnTo>
                        <a:pt x="316" y="220"/>
                      </a:lnTo>
                      <a:lnTo>
                        <a:pt x="317" y="220"/>
                      </a:lnTo>
                      <a:lnTo>
                        <a:pt x="318" y="218"/>
                      </a:lnTo>
                      <a:lnTo>
                        <a:pt x="318" y="217"/>
                      </a:lnTo>
                      <a:lnTo>
                        <a:pt x="320" y="217"/>
                      </a:lnTo>
                      <a:lnTo>
                        <a:pt x="321" y="217"/>
                      </a:lnTo>
                      <a:lnTo>
                        <a:pt x="322" y="216"/>
                      </a:lnTo>
                      <a:lnTo>
                        <a:pt x="321" y="216"/>
                      </a:lnTo>
                      <a:lnTo>
                        <a:pt x="322" y="216"/>
                      </a:lnTo>
                      <a:lnTo>
                        <a:pt x="322" y="215"/>
                      </a:lnTo>
                      <a:lnTo>
                        <a:pt x="323" y="215"/>
                      </a:lnTo>
                      <a:lnTo>
                        <a:pt x="323" y="213"/>
                      </a:lnTo>
                      <a:lnTo>
                        <a:pt x="324" y="213"/>
                      </a:lnTo>
                      <a:lnTo>
                        <a:pt x="324" y="212"/>
                      </a:lnTo>
                      <a:lnTo>
                        <a:pt x="325" y="211"/>
                      </a:lnTo>
                      <a:lnTo>
                        <a:pt x="325" y="212"/>
                      </a:lnTo>
                      <a:lnTo>
                        <a:pt x="325" y="215"/>
                      </a:lnTo>
                      <a:close/>
                      <a:moveTo>
                        <a:pt x="304" y="155"/>
                      </a:moveTo>
                      <a:lnTo>
                        <a:pt x="303" y="155"/>
                      </a:lnTo>
                      <a:lnTo>
                        <a:pt x="303" y="154"/>
                      </a:lnTo>
                      <a:lnTo>
                        <a:pt x="304" y="153"/>
                      </a:lnTo>
                      <a:lnTo>
                        <a:pt x="303" y="153"/>
                      </a:lnTo>
                      <a:lnTo>
                        <a:pt x="304" y="152"/>
                      </a:lnTo>
                      <a:lnTo>
                        <a:pt x="304" y="153"/>
                      </a:lnTo>
                      <a:lnTo>
                        <a:pt x="304" y="154"/>
                      </a:lnTo>
                      <a:lnTo>
                        <a:pt x="304" y="155"/>
                      </a:lnTo>
                      <a:close/>
                      <a:moveTo>
                        <a:pt x="308" y="156"/>
                      </a:moveTo>
                      <a:lnTo>
                        <a:pt x="309" y="157"/>
                      </a:lnTo>
                      <a:lnTo>
                        <a:pt x="309" y="159"/>
                      </a:lnTo>
                      <a:lnTo>
                        <a:pt x="309" y="160"/>
                      </a:lnTo>
                      <a:lnTo>
                        <a:pt x="310" y="161"/>
                      </a:lnTo>
                      <a:lnTo>
                        <a:pt x="310" y="162"/>
                      </a:lnTo>
                      <a:lnTo>
                        <a:pt x="310" y="163"/>
                      </a:lnTo>
                      <a:lnTo>
                        <a:pt x="310" y="164"/>
                      </a:lnTo>
                      <a:lnTo>
                        <a:pt x="310" y="166"/>
                      </a:lnTo>
                      <a:lnTo>
                        <a:pt x="311" y="166"/>
                      </a:lnTo>
                      <a:lnTo>
                        <a:pt x="313" y="166"/>
                      </a:lnTo>
                      <a:lnTo>
                        <a:pt x="313" y="164"/>
                      </a:lnTo>
                      <a:lnTo>
                        <a:pt x="313" y="163"/>
                      </a:lnTo>
                      <a:lnTo>
                        <a:pt x="314" y="164"/>
                      </a:lnTo>
                      <a:lnTo>
                        <a:pt x="314" y="169"/>
                      </a:lnTo>
                      <a:lnTo>
                        <a:pt x="314" y="170"/>
                      </a:lnTo>
                      <a:lnTo>
                        <a:pt x="315" y="171"/>
                      </a:lnTo>
                      <a:lnTo>
                        <a:pt x="315" y="173"/>
                      </a:lnTo>
                      <a:lnTo>
                        <a:pt x="314" y="174"/>
                      </a:lnTo>
                      <a:lnTo>
                        <a:pt x="313" y="174"/>
                      </a:lnTo>
                      <a:lnTo>
                        <a:pt x="311" y="174"/>
                      </a:lnTo>
                      <a:lnTo>
                        <a:pt x="311" y="173"/>
                      </a:lnTo>
                      <a:lnTo>
                        <a:pt x="310" y="171"/>
                      </a:lnTo>
                      <a:lnTo>
                        <a:pt x="310" y="169"/>
                      </a:lnTo>
                      <a:lnTo>
                        <a:pt x="309" y="169"/>
                      </a:lnTo>
                      <a:lnTo>
                        <a:pt x="310" y="170"/>
                      </a:lnTo>
                      <a:lnTo>
                        <a:pt x="310" y="171"/>
                      </a:lnTo>
                      <a:lnTo>
                        <a:pt x="309" y="170"/>
                      </a:lnTo>
                      <a:lnTo>
                        <a:pt x="308" y="169"/>
                      </a:lnTo>
                      <a:lnTo>
                        <a:pt x="307" y="167"/>
                      </a:lnTo>
                      <a:lnTo>
                        <a:pt x="306" y="167"/>
                      </a:lnTo>
                      <a:lnTo>
                        <a:pt x="307" y="167"/>
                      </a:lnTo>
                      <a:lnTo>
                        <a:pt x="307" y="168"/>
                      </a:lnTo>
                      <a:lnTo>
                        <a:pt x="306" y="168"/>
                      </a:lnTo>
                      <a:lnTo>
                        <a:pt x="306" y="169"/>
                      </a:lnTo>
                      <a:lnTo>
                        <a:pt x="303" y="167"/>
                      </a:lnTo>
                      <a:lnTo>
                        <a:pt x="303" y="164"/>
                      </a:lnTo>
                      <a:lnTo>
                        <a:pt x="302" y="164"/>
                      </a:lnTo>
                      <a:lnTo>
                        <a:pt x="303" y="163"/>
                      </a:lnTo>
                      <a:lnTo>
                        <a:pt x="303" y="161"/>
                      </a:lnTo>
                      <a:lnTo>
                        <a:pt x="303" y="159"/>
                      </a:lnTo>
                      <a:lnTo>
                        <a:pt x="303" y="157"/>
                      </a:lnTo>
                      <a:lnTo>
                        <a:pt x="303" y="156"/>
                      </a:lnTo>
                      <a:lnTo>
                        <a:pt x="304" y="156"/>
                      </a:lnTo>
                      <a:lnTo>
                        <a:pt x="306" y="155"/>
                      </a:lnTo>
                      <a:lnTo>
                        <a:pt x="306" y="154"/>
                      </a:lnTo>
                      <a:lnTo>
                        <a:pt x="306" y="153"/>
                      </a:lnTo>
                      <a:lnTo>
                        <a:pt x="307" y="150"/>
                      </a:lnTo>
                      <a:lnTo>
                        <a:pt x="308" y="152"/>
                      </a:lnTo>
                      <a:lnTo>
                        <a:pt x="308" y="153"/>
                      </a:lnTo>
                      <a:lnTo>
                        <a:pt x="308" y="154"/>
                      </a:lnTo>
                      <a:lnTo>
                        <a:pt x="308" y="155"/>
                      </a:lnTo>
                      <a:lnTo>
                        <a:pt x="308" y="156"/>
                      </a:lnTo>
                      <a:close/>
                      <a:moveTo>
                        <a:pt x="318" y="142"/>
                      </a:moveTo>
                      <a:lnTo>
                        <a:pt x="317" y="143"/>
                      </a:lnTo>
                      <a:lnTo>
                        <a:pt x="316" y="142"/>
                      </a:lnTo>
                      <a:lnTo>
                        <a:pt x="316" y="141"/>
                      </a:lnTo>
                      <a:lnTo>
                        <a:pt x="315" y="141"/>
                      </a:lnTo>
                      <a:lnTo>
                        <a:pt x="315" y="140"/>
                      </a:lnTo>
                      <a:lnTo>
                        <a:pt x="316" y="140"/>
                      </a:lnTo>
                      <a:lnTo>
                        <a:pt x="316" y="141"/>
                      </a:lnTo>
                      <a:lnTo>
                        <a:pt x="317" y="142"/>
                      </a:lnTo>
                      <a:lnTo>
                        <a:pt x="318" y="142"/>
                      </a:lnTo>
                      <a:close/>
                      <a:moveTo>
                        <a:pt x="320" y="126"/>
                      </a:moveTo>
                      <a:lnTo>
                        <a:pt x="321" y="125"/>
                      </a:lnTo>
                      <a:lnTo>
                        <a:pt x="321" y="126"/>
                      </a:lnTo>
                      <a:lnTo>
                        <a:pt x="323" y="127"/>
                      </a:lnTo>
                      <a:lnTo>
                        <a:pt x="323" y="126"/>
                      </a:lnTo>
                      <a:lnTo>
                        <a:pt x="324" y="126"/>
                      </a:lnTo>
                      <a:lnTo>
                        <a:pt x="324" y="127"/>
                      </a:lnTo>
                      <a:lnTo>
                        <a:pt x="324" y="126"/>
                      </a:lnTo>
                      <a:lnTo>
                        <a:pt x="324" y="125"/>
                      </a:lnTo>
                      <a:lnTo>
                        <a:pt x="324" y="126"/>
                      </a:lnTo>
                      <a:lnTo>
                        <a:pt x="325" y="127"/>
                      </a:lnTo>
                      <a:lnTo>
                        <a:pt x="324" y="128"/>
                      </a:lnTo>
                      <a:lnTo>
                        <a:pt x="323" y="128"/>
                      </a:lnTo>
                      <a:lnTo>
                        <a:pt x="324" y="129"/>
                      </a:lnTo>
                      <a:lnTo>
                        <a:pt x="323" y="131"/>
                      </a:lnTo>
                      <a:lnTo>
                        <a:pt x="324" y="132"/>
                      </a:lnTo>
                      <a:lnTo>
                        <a:pt x="324" y="133"/>
                      </a:lnTo>
                      <a:lnTo>
                        <a:pt x="324" y="135"/>
                      </a:lnTo>
                      <a:lnTo>
                        <a:pt x="324" y="136"/>
                      </a:lnTo>
                      <a:lnTo>
                        <a:pt x="323" y="139"/>
                      </a:lnTo>
                      <a:lnTo>
                        <a:pt x="323" y="140"/>
                      </a:lnTo>
                      <a:lnTo>
                        <a:pt x="322" y="140"/>
                      </a:lnTo>
                      <a:lnTo>
                        <a:pt x="322" y="141"/>
                      </a:lnTo>
                      <a:lnTo>
                        <a:pt x="322" y="140"/>
                      </a:lnTo>
                      <a:lnTo>
                        <a:pt x="322" y="141"/>
                      </a:lnTo>
                      <a:lnTo>
                        <a:pt x="321" y="141"/>
                      </a:lnTo>
                      <a:lnTo>
                        <a:pt x="321" y="142"/>
                      </a:lnTo>
                      <a:lnTo>
                        <a:pt x="320" y="142"/>
                      </a:lnTo>
                      <a:lnTo>
                        <a:pt x="321" y="142"/>
                      </a:lnTo>
                      <a:lnTo>
                        <a:pt x="321" y="141"/>
                      </a:lnTo>
                      <a:lnTo>
                        <a:pt x="320" y="141"/>
                      </a:lnTo>
                      <a:lnTo>
                        <a:pt x="320" y="142"/>
                      </a:lnTo>
                      <a:lnTo>
                        <a:pt x="320" y="141"/>
                      </a:lnTo>
                      <a:lnTo>
                        <a:pt x="318" y="141"/>
                      </a:lnTo>
                      <a:lnTo>
                        <a:pt x="317" y="141"/>
                      </a:lnTo>
                      <a:lnTo>
                        <a:pt x="317" y="140"/>
                      </a:lnTo>
                      <a:lnTo>
                        <a:pt x="317" y="139"/>
                      </a:lnTo>
                      <a:lnTo>
                        <a:pt x="318" y="139"/>
                      </a:lnTo>
                      <a:lnTo>
                        <a:pt x="317" y="139"/>
                      </a:lnTo>
                      <a:lnTo>
                        <a:pt x="318" y="139"/>
                      </a:lnTo>
                      <a:lnTo>
                        <a:pt x="320" y="139"/>
                      </a:lnTo>
                      <a:lnTo>
                        <a:pt x="318" y="138"/>
                      </a:lnTo>
                      <a:lnTo>
                        <a:pt x="318" y="136"/>
                      </a:lnTo>
                      <a:lnTo>
                        <a:pt x="320" y="138"/>
                      </a:lnTo>
                      <a:lnTo>
                        <a:pt x="320" y="136"/>
                      </a:lnTo>
                      <a:lnTo>
                        <a:pt x="321" y="135"/>
                      </a:lnTo>
                      <a:lnTo>
                        <a:pt x="322" y="136"/>
                      </a:lnTo>
                      <a:lnTo>
                        <a:pt x="322" y="135"/>
                      </a:lnTo>
                      <a:lnTo>
                        <a:pt x="321" y="135"/>
                      </a:lnTo>
                      <a:lnTo>
                        <a:pt x="320" y="134"/>
                      </a:lnTo>
                      <a:lnTo>
                        <a:pt x="318" y="134"/>
                      </a:lnTo>
                      <a:lnTo>
                        <a:pt x="317" y="134"/>
                      </a:lnTo>
                      <a:lnTo>
                        <a:pt x="318" y="134"/>
                      </a:lnTo>
                      <a:lnTo>
                        <a:pt x="320" y="134"/>
                      </a:lnTo>
                      <a:lnTo>
                        <a:pt x="321" y="134"/>
                      </a:lnTo>
                      <a:lnTo>
                        <a:pt x="321" y="133"/>
                      </a:lnTo>
                      <a:lnTo>
                        <a:pt x="320" y="133"/>
                      </a:lnTo>
                      <a:lnTo>
                        <a:pt x="321" y="132"/>
                      </a:lnTo>
                      <a:lnTo>
                        <a:pt x="320" y="132"/>
                      </a:lnTo>
                      <a:lnTo>
                        <a:pt x="320" y="131"/>
                      </a:lnTo>
                      <a:lnTo>
                        <a:pt x="320" y="129"/>
                      </a:lnTo>
                      <a:lnTo>
                        <a:pt x="318" y="129"/>
                      </a:lnTo>
                      <a:lnTo>
                        <a:pt x="320" y="128"/>
                      </a:lnTo>
                      <a:lnTo>
                        <a:pt x="318" y="128"/>
                      </a:lnTo>
                      <a:lnTo>
                        <a:pt x="318" y="127"/>
                      </a:lnTo>
                      <a:lnTo>
                        <a:pt x="320" y="127"/>
                      </a:lnTo>
                      <a:lnTo>
                        <a:pt x="320" y="126"/>
                      </a:lnTo>
                      <a:lnTo>
                        <a:pt x="318" y="126"/>
                      </a:lnTo>
                      <a:lnTo>
                        <a:pt x="318" y="125"/>
                      </a:lnTo>
                      <a:lnTo>
                        <a:pt x="320" y="125"/>
                      </a:lnTo>
                      <a:lnTo>
                        <a:pt x="320" y="126"/>
                      </a:lnTo>
                      <a:close/>
                      <a:moveTo>
                        <a:pt x="90" y="41"/>
                      </a:moveTo>
                      <a:lnTo>
                        <a:pt x="92" y="41"/>
                      </a:lnTo>
                      <a:lnTo>
                        <a:pt x="92" y="42"/>
                      </a:lnTo>
                      <a:lnTo>
                        <a:pt x="93" y="42"/>
                      </a:lnTo>
                      <a:lnTo>
                        <a:pt x="93" y="41"/>
                      </a:lnTo>
                      <a:lnTo>
                        <a:pt x="94" y="41"/>
                      </a:lnTo>
                      <a:lnTo>
                        <a:pt x="94" y="42"/>
                      </a:lnTo>
                      <a:lnTo>
                        <a:pt x="93" y="42"/>
                      </a:lnTo>
                      <a:lnTo>
                        <a:pt x="93" y="43"/>
                      </a:lnTo>
                      <a:lnTo>
                        <a:pt x="93" y="44"/>
                      </a:lnTo>
                      <a:lnTo>
                        <a:pt x="93" y="43"/>
                      </a:lnTo>
                      <a:lnTo>
                        <a:pt x="93" y="44"/>
                      </a:lnTo>
                      <a:lnTo>
                        <a:pt x="92" y="44"/>
                      </a:lnTo>
                      <a:lnTo>
                        <a:pt x="92" y="45"/>
                      </a:lnTo>
                      <a:lnTo>
                        <a:pt x="90" y="45"/>
                      </a:lnTo>
                      <a:lnTo>
                        <a:pt x="90" y="44"/>
                      </a:lnTo>
                      <a:lnTo>
                        <a:pt x="90" y="43"/>
                      </a:lnTo>
                      <a:lnTo>
                        <a:pt x="89" y="43"/>
                      </a:lnTo>
                      <a:lnTo>
                        <a:pt x="90" y="41"/>
                      </a:lnTo>
                      <a:close/>
                      <a:moveTo>
                        <a:pt x="78" y="40"/>
                      </a:moveTo>
                      <a:lnTo>
                        <a:pt x="79" y="40"/>
                      </a:lnTo>
                      <a:lnTo>
                        <a:pt x="78" y="40"/>
                      </a:lnTo>
                      <a:lnTo>
                        <a:pt x="78" y="41"/>
                      </a:lnTo>
                      <a:lnTo>
                        <a:pt x="79" y="41"/>
                      </a:lnTo>
                      <a:lnTo>
                        <a:pt x="78" y="43"/>
                      </a:lnTo>
                      <a:lnTo>
                        <a:pt x="76" y="43"/>
                      </a:lnTo>
                      <a:lnTo>
                        <a:pt x="75" y="43"/>
                      </a:lnTo>
                      <a:lnTo>
                        <a:pt x="75" y="42"/>
                      </a:lnTo>
                      <a:lnTo>
                        <a:pt x="76" y="42"/>
                      </a:lnTo>
                      <a:lnTo>
                        <a:pt x="76" y="41"/>
                      </a:lnTo>
                      <a:lnTo>
                        <a:pt x="75" y="41"/>
                      </a:lnTo>
                      <a:lnTo>
                        <a:pt x="76" y="40"/>
                      </a:lnTo>
                      <a:lnTo>
                        <a:pt x="78" y="40"/>
                      </a:lnTo>
                      <a:close/>
                      <a:moveTo>
                        <a:pt x="72" y="40"/>
                      </a:moveTo>
                      <a:lnTo>
                        <a:pt x="72" y="41"/>
                      </a:lnTo>
                      <a:lnTo>
                        <a:pt x="72" y="42"/>
                      </a:lnTo>
                      <a:lnTo>
                        <a:pt x="73" y="42"/>
                      </a:lnTo>
                      <a:lnTo>
                        <a:pt x="74" y="42"/>
                      </a:lnTo>
                      <a:lnTo>
                        <a:pt x="73" y="43"/>
                      </a:lnTo>
                      <a:lnTo>
                        <a:pt x="74" y="44"/>
                      </a:lnTo>
                      <a:lnTo>
                        <a:pt x="74" y="45"/>
                      </a:lnTo>
                      <a:lnTo>
                        <a:pt x="73" y="47"/>
                      </a:lnTo>
                      <a:lnTo>
                        <a:pt x="72" y="47"/>
                      </a:lnTo>
                      <a:lnTo>
                        <a:pt x="72" y="45"/>
                      </a:lnTo>
                      <a:lnTo>
                        <a:pt x="72" y="44"/>
                      </a:lnTo>
                      <a:lnTo>
                        <a:pt x="72" y="43"/>
                      </a:lnTo>
                      <a:lnTo>
                        <a:pt x="71" y="43"/>
                      </a:lnTo>
                      <a:lnTo>
                        <a:pt x="71" y="42"/>
                      </a:lnTo>
                      <a:lnTo>
                        <a:pt x="69" y="42"/>
                      </a:lnTo>
                      <a:lnTo>
                        <a:pt x="69" y="41"/>
                      </a:lnTo>
                      <a:lnTo>
                        <a:pt x="71" y="41"/>
                      </a:lnTo>
                      <a:lnTo>
                        <a:pt x="71" y="40"/>
                      </a:lnTo>
                      <a:lnTo>
                        <a:pt x="69" y="40"/>
                      </a:lnTo>
                      <a:lnTo>
                        <a:pt x="71" y="37"/>
                      </a:lnTo>
                      <a:lnTo>
                        <a:pt x="71" y="38"/>
                      </a:lnTo>
                      <a:lnTo>
                        <a:pt x="72" y="38"/>
                      </a:lnTo>
                      <a:lnTo>
                        <a:pt x="72" y="40"/>
                      </a:lnTo>
                      <a:close/>
                      <a:moveTo>
                        <a:pt x="71" y="36"/>
                      </a:moveTo>
                      <a:lnTo>
                        <a:pt x="69" y="36"/>
                      </a:lnTo>
                      <a:lnTo>
                        <a:pt x="69" y="35"/>
                      </a:lnTo>
                      <a:lnTo>
                        <a:pt x="69" y="36"/>
                      </a:lnTo>
                      <a:lnTo>
                        <a:pt x="71" y="36"/>
                      </a:lnTo>
                      <a:close/>
                      <a:moveTo>
                        <a:pt x="107" y="30"/>
                      </a:moveTo>
                      <a:lnTo>
                        <a:pt x="105" y="30"/>
                      </a:lnTo>
                      <a:lnTo>
                        <a:pt x="107" y="31"/>
                      </a:lnTo>
                      <a:lnTo>
                        <a:pt x="108" y="31"/>
                      </a:lnTo>
                      <a:lnTo>
                        <a:pt x="109" y="31"/>
                      </a:lnTo>
                      <a:lnTo>
                        <a:pt x="110" y="31"/>
                      </a:lnTo>
                      <a:lnTo>
                        <a:pt x="111" y="31"/>
                      </a:lnTo>
                      <a:lnTo>
                        <a:pt x="112" y="33"/>
                      </a:lnTo>
                      <a:lnTo>
                        <a:pt x="111" y="34"/>
                      </a:lnTo>
                      <a:lnTo>
                        <a:pt x="112" y="34"/>
                      </a:lnTo>
                      <a:lnTo>
                        <a:pt x="112" y="35"/>
                      </a:lnTo>
                      <a:lnTo>
                        <a:pt x="114" y="36"/>
                      </a:lnTo>
                      <a:lnTo>
                        <a:pt x="114" y="37"/>
                      </a:lnTo>
                      <a:lnTo>
                        <a:pt x="112" y="37"/>
                      </a:lnTo>
                      <a:lnTo>
                        <a:pt x="111" y="36"/>
                      </a:lnTo>
                      <a:lnTo>
                        <a:pt x="110" y="36"/>
                      </a:lnTo>
                      <a:lnTo>
                        <a:pt x="109" y="36"/>
                      </a:lnTo>
                      <a:lnTo>
                        <a:pt x="108" y="35"/>
                      </a:lnTo>
                      <a:lnTo>
                        <a:pt x="105" y="35"/>
                      </a:lnTo>
                      <a:lnTo>
                        <a:pt x="104" y="34"/>
                      </a:lnTo>
                      <a:lnTo>
                        <a:pt x="103" y="34"/>
                      </a:lnTo>
                      <a:lnTo>
                        <a:pt x="104" y="33"/>
                      </a:lnTo>
                      <a:lnTo>
                        <a:pt x="104" y="31"/>
                      </a:lnTo>
                      <a:lnTo>
                        <a:pt x="105" y="31"/>
                      </a:lnTo>
                      <a:lnTo>
                        <a:pt x="104" y="31"/>
                      </a:lnTo>
                      <a:lnTo>
                        <a:pt x="103" y="31"/>
                      </a:lnTo>
                      <a:lnTo>
                        <a:pt x="103" y="30"/>
                      </a:lnTo>
                      <a:lnTo>
                        <a:pt x="104" y="30"/>
                      </a:lnTo>
                      <a:lnTo>
                        <a:pt x="105" y="29"/>
                      </a:lnTo>
                      <a:lnTo>
                        <a:pt x="107" y="29"/>
                      </a:lnTo>
                      <a:lnTo>
                        <a:pt x="107" y="30"/>
                      </a:lnTo>
                      <a:close/>
                      <a:moveTo>
                        <a:pt x="111" y="26"/>
                      </a:moveTo>
                      <a:lnTo>
                        <a:pt x="111" y="27"/>
                      </a:lnTo>
                      <a:lnTo>
                        <a:pt x="111" y="26"/>
                      </a:lnTo>
                      <a:lnTo>
                        <a:pt x="110" y="26"/>
                      </a:lnTo>
                      <a:lnTo>
                        <a:pt x="110" y="27"/>
                      </a:lnTo>
                      <a:lnTo>
                        <a:pt x="111" y="27"/>
                      </a:lnTo>
                      <a:lnTo>
                        <a:pt x="111" y="28"/>
                      </a:lnTo>
                      <a:lnTo>
                        <a:pt x="110" y="28"/>
                      </a:lnTo>
                      <a:lnTo>
                        <a:pt x="109" y="29"/>
                      </a:lnTo>
                      <a:lnTo>
                        <a:pt x="109" y="28"/>
                      </a:lnTo>
                      <a:lnTo>
                        <a:pt x="108" y="28"/>
                      </a:lnTo>
                      <a:lnTo>
                        <a:pt x="108" y="27"/>
                      </a:lnTo>
                      <a:lnTo>
                        <a:pt x="109" y="27"/>
                      </a:lnTo>
                      <a:lnTo>
                        <a:pt x="108" y="26"/>
                      </a:lnTo>
                      <a:lnTo>
                        <a:pt x="109" y="26"/>
                      </a:lnTo>
                      <a:lnTo>
                        <a:pt x="110" y="26"/>
                      </a:lnTo>
                      <a:lnTo>
                        <a:pt x="111" y="26"/>
                      </a:lnTo>
                      <a:close/>
                      <a:moveTo>
                        <a:pt x="72" y="26"/>
                      </a:moveTo>
                      <a:lnTo>
                        <a:pt x="71" y="27"/>
                      </a:lnTo>
                      <a:lnTo>
                        <a:pt x="71" y="26"/>
                      </a:lnTo>
                      <a:lnTo>
                        <a:pt x="72" y="24"/>
                      </a:lnTo>
                      <a:lnTo>
                        <a:pt x="72" y="26"/>
                      </a:lnTo>
                      <a:close/>
                      <a:moveTo>
                        <a:pt x="74" y="20"/>
                      </a:moveTo>
                      <a:lnTo>
                        <a:pt x="74" y="21"/>
                      </a:lnTo>
                      <a:lnTo>
                        <a:pt x="73" y="21"/>
                      </a:lnTo>
                      <a:lnTo>
                        <a:pt x="73" y="22"/>
                      </a:lnTo>
                      <a:lnTo>
                        <a:pt x="72" y="24"/>
                      </a:lnTo>
                      <a:lnTo>
                        <a:pt x="72" y="22"/>
                      </a:lnTo>
                      <a:lnTo>
                        <a:pt x="73" y="22"/>
                      </a:lnTo>
                      <a:lnTo>
                        <a:pt x="73" y="21"/>
                      </a:lnTo>
                      <a:lnTo>
                        <a:pt x="72" y="20"/>
                      </a:lnTo>
                      <a:lnTo>
                        <a:pt x="73" y="20"/>
                      </a:lnTo>
                      <a:lnTo>
                        <a:pt x="74" y="20"/>
                      </a:lnTo>
                      <a:close/>
                      <a:moveTo>
                        <a:pt x="39" y="0"/>
                      </a:moveTo>
                      <a:lnTo>
                        <a:pt x="41" y="0"/>
                      </a:lnTo>
                      <a:lnTo>
                        <a:pt x="47" y="0"/>
                      </a:lnTo>
                      <a:lnTo>
                        <a:pt x="53" y="0"/>
                      </a:lnTo>
                      <a:lnTo>
                        <a:pt x="54" y="0"/>
                      </a:lnTo>
                      <a:lnTo>
                        <a:pt x="59" y="0"/>
                      </a:lnTo>
                      <a:lnTo>
                        <a:pt x="65" y="0"/>
                      </a:lnTo>
                      <a:lnTo>
                        <a:pt x="69" y="0"/>
                      </a:lnTo>
                      <a:lnTo>
                        <a:pt x="69" y="1"/>
                      </a:lnTo>
                      <a:lnTo>
                        <a:pt x="69" y="2"/>
                      </a:lnTo>
                      <a:lnTo>
                        <a:pt x="71" y="2"/>
                      </a:lnTo>
                      <a:lnTo>
                        <a:pt x="71" y="1"/>
                      </a:lnTo>
                      <a:lnTo>
                        <a:pt x="71" y="0"/>
                      </a:lnTo>
                      <a:lnTo>
                        <a:pt x="72" y="0"/>
                      </a:lnTo>
                      <a:lnTo>
                        <a:pt x="72" y="1"/>
                      </a:lnTo>
                      <a:lnTo>
                        <a:pt x="73" y="1"/>
                      </a:lnTo>
                      <a:lnTo>
                        <a:pt x="72" y="2"/>
                      </a:lnTo>
                      <a:lnTo>
                        <a:pt x="72" y="3"/>
                      </a:lnTo>
                      <a:lnTo>
                        <a:pt x="72" y="5"/>
                      </a:lnTo>
                      <a:lnTo>
                        <a:pt x="73" y="5"/>
                      </a:lnTo>
                      <a:lnTo>
                        <a:pt x="73" y="6"/>
                      </a:lnTo>
                      <a:lnTo>
                        <a:pt x="72" y="6"/>
                      </a:lnTo>
                      <a:lnTo>
                        <a:pt x="72" y="9"/>
                      </a:lnTo>
                      <a:lnTo>
                        <a:pt x="72" y="10"/>
                      </a:lnTo>
                      <a:lnTo>
                        <a:pt x="71" y="12"/>
                      </a:lnTo>
                      <a:lnTo>
                        <a:pt x="71" y="13"/>
                      </a:lnTo>
                      <a:lnTo>
                        <a:pt x="71" y="14"/>
                      </a:lnTo>
                      <a:lnTo>
                        <a:pt x="71" y="15"/>
                      </a:lnTo>
                      <a:lnTo>
                        <a:pt x="68" y="15"/>
                      </a:lnTo>
                      <a:lnTo>
                        <a:pt x="68" y="16"/>
                      </a:lnTo>
                      <a:lnTo>
                        <a:pt x="68" y="17"/>
                      </a:lnTo>
                      <a:lnTo>
                        <a:pt x="68" y="19"/>
                      </a:lnTo>
                      <a:lnTo>
                        <a:pt x="69" y="19"/>
                      </a:lnTo>
                      <a:lnTo>
                        <a:pt x="68" y="20"/>
                      </a:lnTo>
                      <a:lnTo>
                        <a:pt x="68" y="21"/>
                      </a:lnTo>
                      <a:lnTo>
                        <a:pt x="68" y="22"/>
                      </a:lnTo>
                      <a:lnTo>
                        <a:pt x="67" y="24"/>
                      </a:lnTo>
                      <a:lnTo>
                        <a:pt x="67" y="26"/>
                      </a:lnTo>
                      <a:lnTo>
                        <a:pt x="67" y="28"/>
                      </a:lnTo>
                      <a:lnTo>
                        <a:pt x="66" y="29"/>
                      </a:lnTo>
                      <a:lnTo>
                        <a:pt x="65" y="30"/>
                      </a:lnTo>
                      <a:lnTo>
                        <a:pt x="65" y="31"/>
                      </a:lnTo>
                      <a:lnTo>
                        <a:pt x="65" y="33"/>
                      </a:lnTo>
                      <a:lnTo>
                        <a:pt x="66" y="33"/>
                      </a:lnTo>
                      <a:lnTo>
                        <a:pt x="67" y="33"/>
                      </a:lnTo>
                      <a:lnTo>
                        <a:pt x="67" y="34"/>
                      </a:lnTo>
                      <a:lnTo>
                        <a:pt x="67" y="35"/>
                      </a:lnTo>
                      <a:lnTo>
                        <a:pt x="66" y="35"/>
                      </a:lnTo>
                      <a:lnTo>
                        <a:pt x="66" y="36"/>
                      </a:lnTo>
                      <a:lnTo>
                        <a:pt x="67" y="36"/>
                      </a:lnTo>
                      <a:lnTo>
                        <a:pt x="66" y="37"/>
                      </a:lnTo>
                      <a:lnTo>
                        <a:pt x="66" y="38"/>
                      </a:lnTo>
                      <a:lnTo>
                        <a:pt x="66" y="40"/>
                      </a:lnTo>
                      <a:lnTo>
                        <a:pt x="66" y="41"/>
                      </a:lnTo>
                      <a:lnTo>
                        <a:pt x="65" y="42"/>
                      </a:lnTo>
                      <a:lnTo>
                        <a:pt x="65" y="43"/>
                      </a:lnTo>
                      <a:lnTo>
                        <a:pt x="66" y="43"/>
                      </a:lnTo>
                      <a:lnTo>
                        <a:pt x="67" y="42"/>
                      </a:lnTo>
                      <a:lnTo>
                        <a:pt x="68" y="42"/>
                      </a:lnTo>
                      <a:lnTo>
                        <a:pt x="68" y="43"/>
                      </a:lnTo>
                      <a:lnTo>
                        <a:pt x="69" y="43"/>
                      </a:lnTo>
                      <a:lnTo>
                        <a:pt x="68" y="43"/>
                      </a:lnTo>
                      <a:lnTo>
                        <a:pt x="68" y="44"/>
                      </a:lnTo>
                      <a:lnTo>
                        <a:pt x="69" y="44"/>
                      </a:lnTo>
                      <a:lnTo>
                        <a:pt x="69" y="45"/>
                      </a:lnTo>
                      <a:lnTo>
                        <a:pt x="71" y="45"/>
                      </a:lnTo>
                      <a:lnTo>
                        <a:pt x="69" y="45"/>
                      </a:lnTo>
                      <a:lnTo>
                        <a:pt x="69" y="47"/>
                      </a:lnTo>
                      <a:lnTo>
                        <a:pt x="71" y="47"/>
                      </a:lnTo>
                      <a:lnTo>
                        <a:pt x="69" y="47"/>
                      </a:lnTo>
                      <a:lnTo>
                        <a:pt x="69" y="48"/>
                      </a:lnTo>
                      <a:lnTo>
                        <a:pt x="68" y="48"/>
                      </a:lnTo>
                      <a:lnTo>
                        <a:pt x="67" y="48"/>
                      </a:lnTo>
                      <a:lnTo>
                        <a:pt x="67" y="49"/>
                      </a:lnTo>
                      <a:lnTo>
                        <a:pt x="68" y="49"/>
                      </a:lnTo>
                      <a:lnTo>
                        <a:pt x="68" y="51"/>
                      </a:lnTo>
                      <a:lnTo>
                        <a:pt x="69" y="51"/>
                      </a:lnTo>
                      <a:lnTo>
                        <a:pt x="71" y="51"/>
                      </a:lnTo>
                      <a:lnTo>
                        <a:pt x="72" y="51"/>
                      </a:lnTo>
                      <a:lnTo>
                        <a:pt x="71" y="51"/>
                      </a:lnTo>
                      <a:lnTo>
                        <a:pt x="71" y="52"/>
                      </a:lnTo>
                      <a:lnTo>
                        <a:pt x="69" y="52"/>
                      </a:lnTo>
                      <a:lnTo>
                        <a:pt x="69" y="54"/>
                      </a:lnTo>
                      <a:lnTo>
                        <a:pt x="69" y="55"/>
                      </a:lnTo>
                      <a:lnTo>
                        <a:pt x="68" y="55"/>
                      </a:lnTo>
                      <a:lnTo>
                        <a:pt x="69" y="55"/>
                      </a:lnTo>
                      <a:lnTo>
                        <a:pt x="69" y="57"/>
                      </a:lnTo>
                      <a:lnTo>
                        <a:pt x="69" y="58"/>
                      </a:lnTo>
                      <a:lnTo>
                        <a:pt x="71" y="58"/>
                      </a:lnTo>
                      <a:lnTo>
                        <a:pt x="71" y="57"/>
                      </a:lnTo>
                      <a:lnTo>
                        <a:pt x="72" y="57"/>
                      </a:lnTo>
                      <a:lnTo>
                        <a:pt x="72" y="56"/>
                      </a:lnTo>
                      <a:lnTo>
                        <a:pt x="71" y="55"/>
                      </a:lnTo>
                      <a:lnTo>
                        <a:pt x="71" y="54"/>
                      </a:lnTo>
                      <a:lnTo>
                        <a:pt x="72" y="54"/>
                      </a:lnTo>
                      <a:lnTo>
                        <a:pt x="73" y="54"/>
                      </a:lnTo>
                      <a:lnTo>
                        <a:pt x="73" y="55"/>
                      </a:lnTo>
                      <a:lnTo>
                        <a:pt x="73" y="54"/>
                      </a:lnTo>
                      <a:lnTo>
                        <a:pt x="73" y="52"/>
                      </a:lnTo>
                      <a:lnTo>
                        <a:pt x="74" y="52"/>
                      </a:lnTo>
                      <a:lnTo>
                        <a:pt x="74" y="54"/>
                      </a:lnTo>
                      <a:lnTo>
                        <a:pt x="75" y="54"/>
                      </a:lnTo>
                      <a:lnTo>
                        <a:pt x="75" y="55"/>
                      </a:lnTo>
                      <a:lnTo>
                        <a:pt x="75" y="56"/>
                      </a:lnTo>
                      <a:lnTo>
                        <a:pt x="76" y="56"/>
                      </a:lnTo>
                      <a:lnTo>
                        <a:pt x="78" y="55"/>
                      </a:lnTo>
                      <a:lnTo>
                        <a:pt x="76" y="55"/>
                      </a:lnTo>
                      <a:lnTo>
                        <a:pt x="76" y="54"/>
                      </a:lnTo>
                      <a:lnTo>
                        <a:pt x="76" y="52"/>
                      </a:lnTo>
                      <a:lnTo>
                        <a:pt x="75" y="52"/>
                      </a:lnTo>
                      <a:lnTo>
                        <a:pt x="75" y="51"/>
                      </a:lnTo>
                      <a:lnTo>
                        <a:pt x="74" y="51"/>
                      </a:lnTo>
                      <a:lnTo>
                        <a:pt x="74" y="50"/>
                      </a:lnTo>
                      <a:lnTo>
                        <a:pt x="75" y="50"/>
                      </a:lnTo>
                      <a:lnTo>
                        <a:pt x="76" y="50"/>
                      </a:lnTo>
                      <a:lnTo>
                        <a:pt x="76" y="49"/>
                      </a:lnTo>
                      <a:lnTo>
                        <a:pt x="76" y="48"/>
                      </a:lnTo>
                      <a:lnTo>
                        <a:pt x="78" y="48"/>
                      </a:lnTo>
                      <a:lnTo>
                        <a:pt x="78" y="47"/>
                      </a:lnTo>
                      <a:lnTo>
                        <a:pt x="79" y="48"/>
                      </a:lnTo>
                      <a:lnTo>
                        <a:pt x="79" y="49"/>
                      </a:lnTo>
                      <a:lnTo>
                        <a:pt x="79" y="48"/>
                      </a:lnTo>
                      <a:lnTo>
                        <a:pt x="80" y="48"/>
                      </a:lnTo>
                      <a:lnTo>
                        <a:pt x="80" y="49"/>
                      </a:lnTo>
                      <a:lnTo>
                        <a:pt x="81" y="49"/>
                      </a:lnTo>
                      <a:lnTo>
                        <a:pt x="81" y="50"/>
                      </a:lnTo>
                      <a:lnTo>
                        <a:pt x="81" y="49"/>
                      </a:lnTo>
                      <a:lnTo>
                        <a:pt x="82" y="48"/>
                      </a:lnTo>
                      <a:lnTo>
                        <a:pt x="81" y="48"/>
                      </a:lnTo>
                      <a:lnTo>
                        <a:pt x="81" y="47"/>
                      </a:lnTo>
                      <a:lnTo>
                        <a:pt x="80" y="47"/>
                      </a:lnTo>
                      <a:lnTo>
                        <a:pt x="80" y="45"/>
                      </a:lnTo>
                      <a:lnTo>
                        <a:pt x="79" y="45"/>
                      </a:lnTo>
                      <a:lnTo>
                        <a:pt x="79" y="44"/>
                      </a:lnTo>
                      <a:lnTo>
                        <a:pt x="79" y="43"/>
                      </a:lnTo>
                      <a:lnTo>
                        <a:pt x="80" y="43"/>
                      </a:lnTo>
                      <a:lnTo>
                        <a:pt x="80" y="44"/>
                      </a:lnTo>
                      <a:lnTo>
                        <a:pt x="81" y="44"/>
                      </a:lnTo>
                      <a:lnTo>
                        <a:pt x="82" y="43"/>
                      </a:lnTo>
                      <a:lnTo>
                        <a:pt x="83" y="42"/>
                      </a:lnTo>
                      <a:lnTo>
                        <a:pt x="83" y="41"/>
                      </a:lnTo>
                      <a:lnTo>
                        <a:pt x="83" y="40"/>
                      </a:lnTo>
                      <a:lnTo>
                        <a:pt x="85" y="41"/>
                      </a:lnTo>
                      <a:lnTo>
                        <a:pt x="86" y="41"/>
                      </a:lnTo>
                      <a:lnTo>
                        <a:pt x="87" y="42"/>
                      </a:lnTo>
                      <a:lnTo>
                        <a:pt x="88" y="42"/>
                      </a:lnTo>
                      <a:lnTo>
                        <a:pt x="87" y="43"/>
                      </a:lnTo>
                      <a:lnTo>
                        <a:pt x="87" y="42"/>
                      </a:lnTo>
                      <a:lnTo>
                        <a:pt x="87" y="43"/>
                      </a:lnTo>
                      <a:lnTo>
                        <a:pt x="87" y="44"/>
                      </a:lnTo>
                      <a:lnTo>
                        <a:pt x="88" y="44"/>
                      </a:lnTo>
                      <a:lnTo>
                        <a:pt x="88" y="45"/>
                      </a:lnTo>
                      <a:lnTo>
                        <a:pt x="89" y="45"/>
                      </a:lnTo>
                      <a:lnTo>
                        <a:pt x="90" y="45"/>
                      </a:lnTo>
                      <a:lnTo>
                        <a:pt x="90" y="47"/>
                      </a:lnTo>
                      <a:lnTo>
                        <a:pt x="92" y="47"/>
                      </a:lnTo>
                      <a:lnTo>
                        <a:pt x="93" y="47"/>
                      </a:lnTo>
                      <a:lnTo>
                        <a:pt x="94" y="47"/>
                      </a:lnTo>
                      <a:lnTo>
                        <a:pt x="94" y="45"/>
                      </a:lnTo>
                      <a:lnTo>
                        <a:pt x="94" y="47"/>
                      </a:lnTo>
                      <a:lnTo>
                        <a:pt x="94" y="48"/>
                      </a:lnTo>
                      <a:lnTo>
                        <a:pt x="93" y="48"/>
                      </a:lnTo>
                      <a:lnTo>
                        <a:pt x="93" y="49"/>
                      </a:lnTo>
                      <a:lnTo>
                        <a:pt x="94" y="49"/>
                      </a:lnTo>
                      <a:lnTo>
                        <a:pt x="96" y="47"/>
                      </a:lnTo>
                      <a:lnTo>
                        <a:pt x="96" y="45"/>
                      </a:lnTo>
                      <a:lnTo>
                        <a:pt x="96" y="44"/>
                      </a:lnTo>
                      <a:lnTo>
                        <a:pt x="97" y="44"/>
                      </a:lnTo>
                      <a:lnTo>
                        <a:pt x="97" y="45"/>
                      </a:lnTo>
                      <a:lnTo>
                        <a:pt x="98" y="47"/>
                      </a:lnTo>
                      <a:lnTo>
                        <a:pt x="98" y="48"/>
                      </a:lnTo>
                      <a:lnTo>
                        <a:pt x="97" y="48"/>
                      </a:lnTo>
                      <a:lnTo>
                        <a:pt x="98" y="48"/>
                      </a:lnTo>
                      <a:lnTo>
                        <a:pt x="100" y="48"/>
                      </a:lnTo>
                      <a:lnTo>
                        <a:pt x="100" y="49"/>
                      </a:lnTo>
                      <a:lnTo>
                        <a:pt x="101" y="48"/>
                      </a:lnTo>
                      <a:lnTo>
                        <a:pt x="102" y="48"/>
                      </a:lnTo>
                      <a:lnTo>
                        <a:pt x="103" y="48"/>
                      </a:lnTo>
                      <a:lnTo>
                        <a:pt x="103" y="49"/>
                      </a:lnTo>
                      <a:lnTo>
                        <a:pt x="102" y="49"/>
                      </a:lnTo>
                      <a:lnTo>
                        <a:pt x="102" y="50"/>
                      </a:lnTo>
                      <a:lnTo>
                        <a:pt x="103" y="50"/>
                      </a:lnTo>
                      <a:lnTo>
                        <a:pt x="102" y="50"/>
                      </a:lnTo>
                      <a:lnTo>
                        <a:pt x="102" y="51"/>
                      </a:lnTo>
                      <a:lnTo>
                        <a:pt x="102" y="52"/>
                      </a:lnTo>
                      <a:lnTo>
                        <a:pt x="102" y="54"/>
                      </a:lnTo>
                      <a:lnTo>
                        <a:pt x="102" y="52"/>
                      </a:lnTo>
                      <a:lnTo>
                        <a:pt x="103" y="54"/>
                      </a:lnTo>
                      <a:lnTo>
                        <a:pt x="102" y="54"/>
                      </a:lnTo>
                      <a:lnTo>
                        <a:pt x="102" y="55"/>
                      </a:lnTo>
                      <a:lnTo>
                        <a:pt x="103" y="55"/>
                      </a:lnTo>
                      <a:lnTo>
                        <a:pt x="104" y="55"/>
                      </a:lnTo>
                      <a:lnTo>
                        <a:pt x="104" y="56"/>
                      </a:lnTo>
                      <a:lnTo>
                        <a:pt x="103" y="57"/>
                      </a:lnTo>
                      <a:lnTo>
                        <a:pt x="103" y="58"/>
                      </a:lnTo>
                      <a:lnTo>
                        <a:pt x="102" y="58"/>
                      </a:lnTo>
                      <a:lnTo>
                        <a:pt x="101" y="58"/>
                      </a:lnTo>
                      <a:lnTo>
                        <a:pt x="100" y="59"/>
                      </a:lnTo>
                      <a:lnTo>
                        <a:pt x="101" y="59"/>
                      </a:lnTo>
                      <a:lnTo>
                        <a:pt x="102" y="61"/>
                      </a:lnTo>
                      <a:lnTo>
                        <a:pt x="101" y="61"/>
                      </a:lnTo>
                      <a:lnTo>
                        <a:pt x="101" y="62"/>
                      </a:lnTo>
                      <a:lnTo>
                        <a:pt x="100" y="63"/>
                      </a:lnTo>
                      <a:lnTo>
                        <a:pt x="100" y="64"/>
                      </a:lnTo>
                      <a:lnTo>
                        <a:pt x="101" y="64"/>
                      </a:lnTo>
                      <a:lnTo>
                        <a:pt x="101" y="63"/>
                      </a:lnTo>
                      <a:lnTo>
                        <a:pt x="102" y="63"/>
                      </a:lnTo>
                      <a:lnTo>
                        <a:pt x="102" y="62"/>
                      </a:lnTo>
                      <a:lnTo>
                        <a:pt x="102" y="61"/>
                      </a:lnTo>
                      <a:lnTo>
                        <a:pt x="103" y="59"/>
                      </a:lnTo>
                      <a:lnTo>
                        <a:pt x="103" y="58"/>
                      </a:lnTo>
                      <a:lnTo>
                        <a:pt x="104" y="58"/>
                      </a:lnTo>
                      <a:lnTo>
                        <a:pt x="104" y="57"/>
                      </a:lnTo>
                      <a:lnTo>
                        <a:pt x="105" y="57"/>
                      </a:lnTo>
                      <a:lnTo>
                        <a:pt x="105" y="58"/>
                      </a:lnTo>
                      <a:lnTo>
                        <a:pt x="105" y="59"/>
                      </a:lnTo>
                      <a:lnTo>
                        <a:pt x="108" y="59"/>
                      </a:lnTo>
                      <a:lnTo>
                        <a:pt x="109" y="59"/>
                      </a:lnTo>
                      <a:lnTo>
                        <a:pt x="108" y="58"/>
                      </a:lnTo>
                      <a:lnTo>
                        <a:pt x="107" y="58"/>
                      </a:lnTo>
                      <a:lnTo>
                        <a:pt x="105" y="58"/>
                      </a:lnTo>
                      <a:lnTo>
                        <a:pt x="105" y="57"/>
                      </a:lnTo>
                      <a:lnTo>
                        <a:pt x="107" y="57"/>
                      </a:lnTo>
                      <a:lnTo>
                        <a:pt x="107" y="56"/>
                      </a:lnTo>
                      <a:lnTo>
                        <a:pt x="105" y="56"/>
                      </a:lnTo>
                      <a:lnTo>
                        <a:pt x="105" y="55"/>
                      </a:lnTo>
                      <a:lnTo>
                        <a:pt x="104" y="55"/>
                      </a:lnTo>
                      <a:lnTo>
                        <a:pt x="104" y="54"/>
                      </a:lnTo>
                      <a:lnTo>
                        <a:pt x="105" y="54"/>
                      </a:lnTo>
                      <a:lnTo>
                        <a:pt x="104" y="52"/>
                      </a:lnTo>
                      <a:lnTo>
                        <a:pt x="104" y="51"/>
                      </a:lnTo>
                      <a:lnTo>
                        <a:pt x="104" y="50"/>
                      </a:lnTo>
                      <a:lnTo>
                        <a:pt x="105" y="49"/>
                      </a:lnTo>
                      <a:lnTo>
                        <a:pt x="104" y="48"/>
                      </a:lnTo>
                      <a:lnTo>
                        <a:pt x="104" y="47"/>
                      </a:lnTo>
                      <a:lnTo>
                        <a:pt x="105" y="47"/>
                      </a:lnTo>
                      <a:lnTo>
                        <a:pt x="105" y="45"/>
                      </a:lnTo>
                      <a:lnTo>
                        <a:pt x="107" y="44"/>
                      </a:lnTo>
                      <a:lnTo>
                        <a:pt x="108" y="44"/>
                      </a:lnTo>
                      <a:lnTo>
                        <a:pt x="110" y="44"/>
                      </a:lnTo>
                      <a:lnTo>
                        <a:pt x="111" y="44"/>
                      </a:lnTo>
                      <a:lnTo>
                        <a:pt x="111" y="45"/>
                      </a:lnTo>
                      <a:lnTo>
                        <a:pt x="112" y="45"/>
                      </a:lnTo>
                      <a:lnTo>
                        <a:pt x="112" y="47"/>
                      </a:lnTo>
                      <a:lnTo>
                        <a:pt x="114" y="47"/>
                      </a:lnTo>
                      <a:lnTo>
                        <a:pt x="114" y="48"/>
                      </a:lnTo>
                      <a:lnTo>
                        <a:pt x="115" y="48"/>
                      </a:lnTo>
                      <a:lnTo>
                        <a:pt x="115" y="49"/>
                      </a:lnTo>
                      <a:lnTo>
                        <a:pt x="116" y="49"/>
                      </a:lnTo>
                      <a:lnTo>
                        <a:pt x="117" y="48"/>
                      </a:lnTo>
                      <a:lnTo>
                        <a:pt x="118" y="48"/>
                      </a:lnTo>
                      <a:lnTo>
                        <a:pt x="118" y="49"/>
                      </a:lnTo>
                      <a:lnTo>
                        <a:pt x="118" y="48"/>
                      </a:lnTo>
                      <a:lnTo>
                        <a:pt x="119" y="48"/>
                      </a:lnTo>
                      <a:lnTo>
                        <a:pt x="119" y="49"/>
                      </a:lnTo>
                      <a:lnTo>
                        <a:pt x="121" y="49"/>
                      </a:lnTo>
                      <a:lnTo>
                        <a:pt x="121" y="50"/>
                      </a:lnTo>
                      <a:lnTo>
                        <a:pt x="122" y="49"/>
                      </a:lnTo>
                      <a:lnTo>
                        <a:pt x="123" y="49"/>
                      </a:lnTo>
                      <a:lnTo>
                        <a:pt x="123" y="48"/>
                      </a:lnTo>
                      <a:lnTo>
                        <a:pt x="122" y="47"/>
                      </a:lnTo>
                      <a:lnTo>
                        <a:pt x="121" y="47"/>
                      </a:lnTo>
                      <a:lnTo>
                        <a:pt x="122" y="47"/>
                      </a:lnTo>
                      <a:lnTo>
                        <a:pt x="123" y="47"/>
                      </a:lnTo>
                      <a:lnTo>
                        <a:pt x="123" y="45"/>
                      </a:lnTo>
                      <a:lnTo>
                        <a:pt x="124" y="47"/>
                      </a:lnTo>
                      <a:lnTo>
                        <a:pt x="125" y="45"/>
                      </a:lnTo>
                      <a:lnTo>
                        <a:pt x="124" y="45"/>
                      </a:lnTo>
                      <a:lnTo>
                        <a:pt x="124" y="44"/>
                      </a:lnTo>
                      <a:lnTo>
                        <a:pt x="125" y="44"/>
                      </a:lnTo>
                      <a:lnTo>
                        <a:pt x="126" y="43"/>
                      </a:lnTo>
                      <a:lnTo>
                        <a:pt x="128" y="43"/>
                      </a:lnTo>
                      <a:lnTo>
                        <a:pt x="128" y="42"/>
                      </a:lnTo>
                      <a:lnTo>
                        <a:pt x="129" y="42"/>
                      </a:lnTo>
                      <a:lnTo>
                        <a:pt x="130" y="41"/>
                      </a:lnTo>
                      <a:lnTo>
                        <a:pt x="131" y="41"/>
                      </a:lnTo>
                      <a:lnTo>
                        <a:pt x="132" y="41"/>
                      </a:lnTo>
                      <a:lnTo>
                        <a:pt x="135" y="40"/>
                      </a:lnTo>
                      <a:lnTo>
                        <a:pt x="135" y="38"/>
                      </a:lnTo>
                      <a:lnTo>
                        <a:pt x="135" y="37"/>
                      </a:lnTo>
                      <a:lnTo>
                        <a:pt x="133" y="36"/>
                      </a:lnTo>
                      <a:lnTo>
                        <a:pt x="133" y="35"/>
                      </a:lnTo>
                      <a:lnTo>
                        <a:pt x="132" y="35"/>
                      </a:lnTo>
                      <a:lnTo>
                        <a:pt x="131" y="35"/>
                      </a:lnTo>
                      <a:lnTo>
                        <a:pt x="129" y="36"/>
                      </a:lnTo>
                      <a:lnTo>
                        <a:pt x="129" y="37"/>
                      </a:lnTo>
                      <a:lnTo>
                        <a:pt x="128" y="37"/>
                      </a:lnTo>
                      <a:lnTo>
                        <a:pt x="128" y="38"/>
                      </a:lnTo>
                      <a:lnTo>
                        <a:pt x="126" y="37"/>
                      </a:lnTo>
                      <a:lnTo>
                        <a:pt x="124" y="37"/>
                      </a:lnTo>
                      <a:lnTo>
                        <a:pt x="122" y="37"/>
                      </a:lnTo>
                      <a:lnTo>
                        <a:pt x="121" y="37"/>
                      </a:lnTo>
                      <a:lnTo>
                        <a:pt x="119" y="37"/>
                      </a:lnTo>
                      <a:lnTo>
                        <a:pt x="119" y="36"/>
                      </a:lnTo>
                      <a:lnTo>
                        <a:pt x="118" y="36"/>
                      </a:lnTo>
                      <a:lnTo>
                        <a:pt x="117" y="36"/>
                      </a:lnTo>
                      <a:lnTo>
                        <a:pt x="116" y="36"/>
                      </a:lnTo>
                      <a:lnTo>
                        <a:pt x="115" y="36"/>
                      </a:lnTo>
                      <a:lnTo>
                        <a:pt x="115" y="35"/>
                      </a:lnTo>
                      <a:lnTo>
                        <a:pt x="115" y="34"/>
                      </a:lnTo>
                      <a:lnTo>
                        <a:pt x="116" y="34"/>
                      </a:lnTo>
                      <a:lnTo>
                        <a:pt x="117" y="34"/>
                      </a:lnTo>
                      <a:lnTo>
                        <a:pt x="117" y="33"/>
                      </a:lnTo>
                      <a:lnTo>
                        <a:pt x="118" y="33"/>
                      </a:lnTo>
                      <a:lnTo>
                        <a:pt x="118" y="34"/>
                      </a:lnTo>
                      <a:lnTo>
                        <a:pt x="118" y="33"/>
                      </a:lnTo>
                      <a:lnTo>
                        <a:pt x="119" y="33"/>
                      </a:lnTo>
                      <a:lnTo>
                        <a:pt x="121" y="34"/>
                      </a:lnTo>
                      <a:lnTo>
                        <a:pt x="119" y="31"/>
                      </a:lnTo>
                      <a:lnTo>
                        <a:pt x="121" y="31"/>
                      </a:lnTo>
                      <a:lnTo>
                        <a:pt x="122" y="31"/>
                      </a:lnTo>
                      <a:lnTo>
                        <a:pt x="124" y="33"/>
                      </a:lnTo>
                      <a:lnTo>
                        <a:pt x="125" y="33"/>
                      </a:lnTo>
                      <a:lnTo>
                        <a:pt x="126" y="33"/>
                      </a:lnTo>
                      <a:lnTo>
                        <a:pt x="126" y="31"/>
                      </a:lnTo>
                      <a:lnTo>
                        <a:pt x="125" y="31"/>
                      </a:lnTo>
                      <a:lnTo>
                        <a:pt x="124" y="30"/>
                      </a:lnTo>
                      <a:lnTo>
                        <a:pt x="123" y="30"/>
                      </a:lnTo>
                      <a:lnTo>
                        <a:pt x="124" y="30"/>
                      </a:lnTo>
                      <a:lnTo>
                        <a:pt x="123" y="29"/>
                      </a:lnTo>
                      <a:lnTo>
                        <a:pt x="123" y="28"/>
                      </a:lnTo>
                      <a:lnTo>
                        <a:pt x="122" y="28"/>
                      </a:lnTo>
                      <a:lnTo>
                        <a:pt x="122" y="29"/>
                      </a:lnTo>
                      <a:lnTo>
                        <a:pt x="121" y="29"/>
                      </a:lnTo>
                      <a:lnTo>
                        <a:pt x="119" y="30"/>
                      </a:lnTo>
                      <a:lnTo>
                        <a:pt x="118" y="30"/>
                      </a:lnTo>
                      <a:lnTo>
                        <a:pt x="117" y="29"/>
                      </a:lnTo>
                      <a:lnTo>
                        <a:pt x="118" y="29"/>
                      </a:lnTo>
                      <a:lnTo>
                        <a:pt x="118" y="28"/>
                      </a:lnTo>
                      <a:lnTo>
                        <a:pt x="118" y="27"/>
                      </a:lnTo>
                      <a:lnTo>
                        <a:pt x="119" y="26"/>
                      </a:lnTo>
                      <a:lnTo>
                        <a:pt x="121" y="26"/>
                      </a:lnTo>
                      <a:lnTo>
                        <a:pt x="122" y="26"/>
                      </a:lnTo>
                      <a:lnTo>
                        <a:pt x="122" y="27"/>
                      </a:lnTo>
                      <a:lnTo>
                        <a:pt x="123" y="27"/>
                      </a:lnTo>
                      <a:lnTo>
                        <a:pt x="124" y="27"/>
                      </a:lnTo>
                      <a:lnTo>
                        <a:pt x="125" y="27"/>
                      </a:lnTo>
                      <a:lnTo>
                        <a:pt x="125" y="26"/>
                      </a:lnTo>
                      <a:lnTo>
                        <a:pt x="126" y="26"/>
                      </a:lnTo>
                      <a:lnTo>
                        <a:pt x="126" y="24"/>
                      </a:lnTo>
                      <a:lnTo>
                        <a:pt x="128" y="24"/>
                      </a:lnTo>
                      <a:lnTo>
                        <a:pt x="128" y="26"/>
                      </a:lnTo>
                      <a:lnTo>
                        <a:pt x="129" y="26"/>
                      </a:lnTo>
                      <a:lnTo>
                        <a:pt x="129" y="24"/>
                      </a:lnTo>
                      <a:lnTo>
                        <a:pt x="128" y="24"/>
                      </a:lnTo>
                      <a:lnTo>
                        <a:pt x="128" y="23"/>
                      </a:lnTo>
                      <a:lnTo>
                        <a:pt x="128" y="24"/>
                      </a:lnTo>
                      <a:lnTo>
                        <a:pt x="126" y="23"/>
                      </a:lnTo>
                      <a:lnTo>
                        <a:pt x="125" y="22"/>
                      </a:lnTo>
                      <a:lnTo>
                        <a:pt x="126" y="22"/>
                      </a:lnTo>
                      <a:lnTo>
                        <a:pt x="130" y="22"/>
                      </a:lnTo>
                      <a:lnTo>
                        <a:pt x="131" y="21"/>
                      </a:lnTo>
                      <a:lnTo>
                        <a:pt x="130" y="21"/>
                      </a:lnTo>
                      <a:lnTo>
                        <a:pt x="129" y="21"/>
                      </a:lnTo>
                      <a:lnTo>
                        <a:pt x="130" y="20"/>
                      </a:lnTo>
                      <a:lnTo>
                        <a:pt x="130" y="19"/>
                      </a:lnTo>
                      <a:lnTo>
                        <a:pt x="129" y="19"/>
                      </a:lnTo>
                      <a:lnTo>
                        <a:pt x="128" y="19"/>
                      </a:lnTo>
                      <a:lnTo>
                        <a:pt x="129" y="19"/>
                      </a:lnTo>
                      <a:lnTo>
                        <a:pt x="130" y="17"/>
                      </a:lnTo>
                      <a:lnTo>
                        <a:pt x="130" y="16"/>
                      </a:lnTo>
                      <a:lnTo>
                        <a:pt x="129" y="16"/>
                      </a:lnTo>
                      <a:lnTo>
                        <a:pt x="129" y="15"/>
                      </a:lnTo>
                      <a:lnTo>
                        <a:pt x="130" y="15"/>
                      </a:lnTo>
                      <a:lnTo>
                        <a:pt x="131" y="16"/>
                      </a:lnTo>
                      <a:lnTo>
                        <a:pt x="132" y="16"/>
                      </a:lnTo>
                      <a:lnTo>
                        <a:pt x="132" y="15"/>
                      </a:lnTo>
                      <a:lnTo>
                        <a:pt x="133" y="16"/>
                      </a:lnTo>
                      <a:lnTo>
                        <a:pt x="133" y="15"/>
                      </a:lnTo>
                      <a:lnTo>
                        <a:pt x="133" y="16"/>
                      </a:lnTo>
                      <a:lnTo>
                        <a:pt x="135" y="16"/>
                      </a:lnTo>
                      <a:lnTo>
                        <a:pt x="135" y="17"/>
                      </a:lnTo>
                      <a:lnTo>
                        <a:pt x="136" y="17"/>
                      </a:lnTo>
                      <a:lnTo>
                        <a:pt x="137" y="17"/>
                      </a:lnTo>
                      <a:lnTo>
                        <a:pt x="138" y="17"/>
                      </a:lnTo>
                      <a:lnTo>
                        <a:pt x="138" y="16"/>
                      </a:lnTo>
                      <a:lnTo>
                        <a:pt x="137" y="16"/>
                      </a:lnTo>
                      <a:lnTo>
                        <a:pt x="136" y="15"/>
                      </a:lnTo>
                      <a:lnTo>
                        <a:pt x="135" y="15"/>
                      </a:lnTo>
                      <a:lnTo>
                        <a:pt x="135" y="14"/>
                      </a:lnTo>
                      <a:lnTo>
                        <a:pt x="133" y="14"/>
                      </a:lnTo>
                      <a:lnTo>
                        <a:pt x="133" y="13"/>
                      </a:lnTo>
                      <a:lnTo>
                        <a:pt x="136" y="14"/>
                      </a:lnTo>
                      <a:lnTo>
                        <a:pt x="136" y="13"/>
                      </a:lnTo>
                      <a:lnTo>
                        <a:pt x="135" y="13"/>
                      </a:lnTo>
                      <a:lnTo>
                        <a:pt x="133" y="12"/>
                      </a:lnTo>
                      <a:lnTo>
                        <a:pt x="133" y="10"/>
                      </a:lnTo>
                      <a:lnTo>
                        <a:pt x="135" y="10"/>
                      </a:lnTo>
                      <a:lnTo>
                        <a:pt x="136" y="10"/>
                      </a:lnTo>
                      <a:lnTo>
                        <a:pt x="137" y="10"/>
                      </a:lnTo>
                      <a:lnTo>
                        <a:pt x="138" y="12"/>
                      </a:lnTo>
                      <a:lnTo>
                        <a:pt x="139" y="12"/>
                      </a:lnTo>
                      <a:lnTo>
                        <a:pt x="139" y="13"/>
                      </a:lnTo>
                      <a:lnTo>
                        <a:pt x="139" y="12"/>
                      </a:lnTo>
                      <a:lnTo>
                        <a:pt x="139" y="10"/>
                      </a:lnTo>
                      <a:lnTo>
                        <a:pt x="138" y="10"/>
                      </a:lnTo>
                      <a:lnTo>
                        <a:pt x="138" y="9"/>
                      </a:lnTo>
                      <a:lnTo>
                        <a:pt x="137" y="9"/>
                      </a:lnTo>
                      <a:lnTo>
                        <a:pt x="136" y="9"/>
                      </a:lnTo>
                      <a:lnTo>
                        <a:pt x="136" y="8"/>
                      </a:lnTo>
                      <a:lnTo>
                        <a:pt x="137" y="7"/>
                      </a:lnTo>
                      <a:lnTo>
                        <a:pt x="138" y="7"/>
                      </a:lnTo>
                      <a:lnTo>
                        <a:pt x="139" y="6"/>
                      </a:lnTo>
                      <a:lnTo>
                        <a:pt x="139" y="5"/>
                      </a:lnTo>
                      <a:lnTo>
                        <a:pt x="139" y="3"/>
                      </a:lnTo>
                      <a:lnTo>
                        <a:pt x="140" y="3"/>
                      </a:lnTo>
                      <a:lnTo>
                        <a:pt x="142" y="3"/>
                      </a:lnTo>
                      <a:lnTo>
                        <a:pt x="143" y="2"/>
                      </a:lnTo>
                      <a:lnTo>
                        <a:pt x="144" y="3"/>
                      </a:lnTo>
                      <a:lnTo>
                        <a:pt x="151" y="7"/>
                      </a:lnTo>
                      <a:lnTo>
                        <a:pt x="158" y="10"/>
                      </a:lnTo>
                      <a:lnTo>
                        <a:pt x="162" y="14"/>
                      </a:lnTo>
                      <a:lnTo>
                        <a:pt x="164" y="15"/>
                      </a:lnTo>
                      <a:lnTo>
                        <a:pt x="171" y="19"/>
                      </a:lnTo>
                      <a:lnTo>
                        <a:pt x="178" y="22"/>
                      </a:lnTo>
                      <a:lnTo>
                        <a:pt x="179" y="23"/>
                      </a:lnTo>
                      <a:lnTo>
                        <a:pt x="185" y="26"/>
                      </a:lnTo>
                      <a:lnTo>
                        <a:pt x="192" y="30"/>
                      </a:lnTo>
                      <a:lnTo>
                        <a:pt x="199" y="34"/>
                      </a:lnTo>
                      <a:lnTo>
                        <a:pt x="204" y="37"/>
                      </a:lnTo>
                      <a:lnTo>
                        <a:pt x="211" y="42"/>
                      </a:lnTo>
                      <a:lnTo>
                        <a:pt x="218" y="45"/>
                      </a:lnTo>
                      <a:lnTo>
                        <a:pt x="225" y="49"/>
                      </a:lnTo>
                      <a:lnTo>
                        <a:pt x="232" y="52"/>
                      </a:lnTo>
                      <a:lnTo>
                        <a:pt x="238" y="57"/>
                      </a:lnTo>
                      <a:lnTo>
                        <a:pt x="245" y="61"/>
                      </a:lnTo>
                      <a:lnTo>
                        <a:pt x="247" y="62"/>
                      </a:lnTo>
                      <a:lnTo>
                        <a:pt x="252" y="64"/>
                      </a:lnTo>
                      <a:lnTo>
                        <a:pt x="254" y="65"/>
                      </a:lnTo>
                      <a:lnTo>
                        <a:pt x="256" y="66"/>
                      </a:lnTo>
                      <a:lnTo>
                        <a:pt x="256" y="70"/>
                      </a:lnTo>
                      <a:lnTo>
                        <a:pt x="257" y="75"/>
                      </a:lnTo>
                      <a:lnTo>
                        <a:pt x="256" y="75"/>
                      </a:lnTo>
                      <a:lnTo>
                        <a:pt x="256" y="76"/>
                      </a:lnTo>
                      <a:lnTo>
                        <a:pt x="254" y="76"/>
                      </a:lnTo>
                      <a:lnTo>
                        <a:pt x="253" y="77"/>
                      </a:lnTo>
                      <a:lnTo>
                        <a:pt x="253" y="78"/>
                      </a:lnTo>
                      <a:lnTo>
                        <a:pt x="252" y="78"/>
                      </a:lnTo>
                      <a:lnTo>
                        <a:pt x="253" y="78"/>
                      </a:lnTo>
                      <a:lnTo>
                        <a:pt x="253" y="79"/>
                      </a:lnTo>
                      <a:lnTo>
                        <a:pt x="253" y="80"/>
                      </a:lnTo>
                      <a:lnTo>
                        <a:pt x="254" y="80"/>
                      </a:lnTo>
                      <a:lnTo>
                        <a:pt x="256" y="80"/>
                      </a:lnTo>
                      <a:lnTo>
                        <a:pt x="257" y="80"/>
                      </a:lnTo>
                      <a:lnTo>
                        <a:pt x="257" y="82"/>
                      </a:lnTo>
                      <a:lnTo>
                        <a:pt x="258" y="82"/>
                      </a:lnTo>
                      <a:lnTo>
                        <a:pt x="258" y="84"/>
                      </a:lnTo>
                      <a:lnTo>
                        <a:pt x="259" y="85"/>
                      </a:lnTo>
                      <a:lnTo>
                        <a:pt x="260" y="86"/>
                      </a:lnTo>
                      <a:lnTo>
                        <a:pt x="263" y="89"/>
                      </a:lnTo>
                      <a:lnTo>
                        <a:pt x="266" y="90"/>
                      </a:lnTo>
                      <a:lnTo>
                        <a:pt x="268" y="92"/>
                      </a:lnTo>
                      <a:lnTo>
                        <a:pt x="271" y="94"/>
                      </a:lnTo>
                      <a:lnTo>
                        <a:pt x="274" y="96"/>
                      </a:lnTo>
                      <a:lnTo>
                        <a:pt x="277" y="98"/>
                      </a:lnTo>
                      <a:lnTo>
                        <a:pt x="279" y="100"/>
                      </a:lnTo>
                      <a:lnTo>
                        <a:pt x="282" y="101"/>
                      </a:lnTo>
                      <a:lnTo>
                        <a:pt x="285" y="104"/>
                      </a:lnTo>
                      <a:lnTo>
                        <a:pt x="287" y="106"/>
                      </a:lnTo>
                      <a:lnTo>
                        <a:pt x="290" y="107"/>
                      </a:lnTo>
                      <a:lnTo>
                        <a:pt x="293" y="110"/>
                      </a:lnTo>
                      <a:lnTo>
                        <a:pt x="295" y="112"/>
                      </a:lnTo>
                      <a:lnTo>
                        <a:pt x="297" y="113"/>
                      </a:lnTo>
                      <a:lnTo>
                        <a:pt x="301" y="115"/>
                      </a:lnTo>
                      <a:lnTo>
                        <a:pt x="303" y="118"/>
                      </a:lnTo>
                      <a:lnTo>
                        <a:pt x="304" y="118"/>
                      </a:lnTo>
                      <a:lnTo>
                        <a:pt x="304" y="119"/>
                      </a:lnTo>
                      <a:lnTo>
                        <a:pt x="304" y="120"/>
                      </a:lnTo>
                      <a:lnTo>
                        <a:pt x="303" y="120"/>
                      </a:lnTo>
                      <a:lnTo>
                        <a:pt x="302" y="121"/>
                      </a:lnTo>
                      <a:lnTo>
                        <a:pt x="303" y="121"/>
                      </a:lnTo>
                      <a:lnTo>
                        <a:pt x="304" y="121"/>
                      </a:lnTo>
                      <a:lnTo>
                        <a:pt x="304" y="122"/>
                      </a:lnTo>
                      <a:lnTo>
                        <a:pt x="304" y="124"/>
                      </a:lnTo>
                      <a:lnTo>
                        <a:pt x="303" y="124"/>
                      </a:lnTo>
                      <a:lnTo>
                        <a:pt x="303" y="125"/>
                      </a:lnTo>
                      <a:lnTo>
                        <a:pt x="302" y="126"/>
                      </a:lnTo>
                      <a:lnTo>
                        <a:pt x="302" y="125"/>
                      </a:lnTo>
                      <a:lnTo>
                        <a:pt x="302" y="124"/>
                      </a:lnTo>
                      <a:lnTo>
                        <a:pt x="302" y="122"/>
                      </a:lnTo>
                      <a:lnTo>
                        <a:pt x="302" y="125"/>
                      </a:lnTo>
                      <a:lnTo>
                        <a:pt x="301" y="125"/>
                      </a:lnTo>
                      <a:lnTo>
                        <a:pt x="301" y="126"/>
                      </a:lnTo>
                      <a:lnTo>
                        <a:pt x="301" y="128"/>
                      </a:lnTo>
                      <a:lnTo>
                        <a:pt x="300" y="128"/>
                      </a:lnTo>
                      <a:lnTo>
                        <a:pt x="300" y="129"/>
                      </a:lnTo>
                      <a:lnTo>
                        <a:pt x="301" y="129"/>
                      </a:lnTo>
                      <a:lnTo>
                        <a:pt x="302" y="131"/>
                      </a:lnTo>
                      <a:lnTo>
                        <a:pt x="301" y="132"/>
                      </a:lnTo>
                      <a:lnTo>
                        <a:pt x="300" y="132"/>
                      </a:lnTo>
                      <a:lnTo>
                        <a:pt x="300" y="134"/>
                      </a:lnTo>
                      <a:lnTo>
                        <a:pt x="299" y="135"/>
                      </a:lnTo>
                      <a:lnTo>
                        <a:pt x="300" y="134"/>
                      </a:lnTo>
                      <a:lnTo>
                        <a:pt x="300" y="135"/>
                      </a:lnTo>
                      <a:lnTo>
                        <a:pt x="299" y="139"/>
                      </a:lnTo>
                      <a:lnTo>
                        <a:pt x="297" y="140"/>
                      </a:lnTo>
                      <a:lnTo>
                        <a:pt x="296" y="141"/>
                      </a:lnTo>
                      <a:lnTo>
                        <a:pt x="297" y="142"/>
                      </a:lnTo>
                      <a:lnTo>
                        <a:pt x="296" y="143"/>
                      </a:lnTo>
                      <a:lnTo>
                        <a:pt x="296" y="146"/>
                      </a:lnTo>
                      <a:lnTo>
                        <a:pt x="295" y="147"/>
                      </a:lnTo>
                      <a:lnTo>
                        <a:pt x="294" y="148"/>
                      </a:lnTo>
                      <a:lnTo>
                        <a:pt x="294" y="150"/>
                      </a:lnTo>
                      <a:lnTo>
                        <a:pt x="293" y="152"/>
                      </a:lnTo>
                      <a:lnTo>
                        <a:pt x="293" y="153"/>
                      </a:lnTo>
                      <a:lnTo>
                        <a:pt x="292" y="154"/>
                      </a:lnTo>
                      <a:lnTo>
                        <a:pt x="292" y="155"/>
                      </a:lnTo>
                      <a:lnTo>
                        <a:pt x="292" y="156"/>
                      </a:lnTo>
                      <a:lnTo>
                        <a:pt x="292" y="157"/>
                      </a:lnTo>
                      <a:lnTo>
                        <a:pt x="290" y="157"/>
                      </a:lnTo>
                      <a:lnTo>
                        <a:pt x="290" y="159"/>
                      </a:lnTo>
                      <a:lnTo>
                        <a:pt x="290" y="160"/>
                      </a:lnTo>
                      <a:lnTo>
                        <a:pt x="290" y="161"/>
                      </a:lnTo>
                      <a:lnTo>
                        <a:pt x="290" y="162"/>
                      </a:lnTo>
                      <a:lnTo>
                        <a:pt x="290" y="163"/>
                      </a:lnTo>
                      <a:lnTo>
                        <a:pt x="292" y="163"/>
                      </a:lnTo>
                      <a:lnTo>
                        <a:pt x="292" y="164"/>
                      </a:lnTo>
                      <a:lnTo>
                        <a:pt x="293" y="164"/>
                      </a:lnTo>
                      <a:lnTo>
                        <a:pt x="293" y="166"/>
                      </a:lnTo>
                      <a:lnTo>
                        <a:pt x="293" y="167"/>
                      </a:lnTo>
                      <a:lnTo>
                        <a:pt x="292" y="168"/>
                      </a:lnTo>
                      <a:lnTo>
                        <a:pt x="293" y="170"/>
                      </a:lnTo>
                      <a:lnTo>
                        <a:pt x="293" y="171"/>
                      </a:lnTo>
                      <a:lnTo>
                        <a:pt x="294" y="171"/>
                      </a:lnTo>
                      <a:lnTo>
                        <a:pt x="294" y="173"/>
                      </a:lnTo>
                      <a:lnTo>
                        <a:pt x="294" y="174"/>
                      </a:lnTo>
                      <a:lnTo>
                        <a:pt x="295" y="174"/>
                      </a:lnTo>
                      <a:lnTo>
                        <a:pt x="296" y="174"/>
                      </a:lnTo>
                      <a:lnTo>
                        <a:pt x="297" y="174"/>
                      </a:lnTo>
                      <a:lnTo>
                        <a:pt x="297" y="175"/>
                      </a:lnTo>
                      <a:lnTo>
                        <a:pt x="299" y="175"/>
                      </a:lnTo>
                      <a:lnTo>
                        <a:pt x="299" y="174"/>
                      </a:lnTo>
                      <a:lnTo>
                        <a:pt x="297" y="174"/>
                      </a:lnTo>
                      <a:lnTo>
                        <a:pt x="296" y="174"/>
                      </a:lnTo>
                      <a:lnTo>
                        <a:pt x="297" y="174"/>
                      </a:lnTo>
                      <a:lnTo>
                        <a:pt x="299" y="174"/>
                      </a:lnTo>
                      <a:lnTo>
                        <a:pt x="300" y="176"/>
                      </a:lnTo>
                      <a:lnTo>
                        <a:pt x="301" y="177"/>
                      </a:lnTo>
                      <a:lnTo>
                        <a:pt x="302" y="177"/>
                      </a:lnTo>
                      <a:lnTo>
                        <a:pt x="302" y="178"/>
                      </a:lnTo>
                      <a:lnTo>
                        <a:pt x="303" y="178"/>
                      </a:lnTo>
                      <a:lnTo>
                        <a:pt x="303" y="180"/>
                      </a:lnTo>
                      <a:lnTo>
                        <a:pt x="304" y="181"/>
                      </a:lnTo>
                      <a:lnTo>
                        <a:pt x="304" y="182"/>
                      </a:lnTo>
                      <a:lnTo>
                        <a:pt x="306" y="183"/>
                      </a:lnTo>
                      <a:lnTo>
                        <a:pt x="306" y="182"/>
                      </a:lnTo>
                      <a:lnTo>
                        <a:pt x="306" y="183"/>
                      </a:lnTo>
                      <a:lnTo>
                        <a:pt x="306" y="184"/>
                      </a:lnTo>
                      <a:lnTo>
                        <a:pt x="306" y="185"/>
                      </a:lnTo>
                      <a:lnTo>
                        <a:pt x="307" y="187"/>
                      </a:lnTo>
                      <a:lnTo>
                        <a:pt x="307" y="185"/>
                      </a:lnTo>
                      <a:lnTo>
                        <a:pt x="306" y="185"/>
                      </a:lnTo>
                      <a:lnTo>
                        <a:pt x="307" y="185"/>
                      </a:lnTo>
                      <a:lnTo>
                        <a:pt x="308" y="185"/>
                      </a:lnTo>
                      <a:lnTo>
                        <a:pt x="309" y="185"/>
                      </a:lnTo>
                      <a:lnTo>
                        <a:pt x="309" y="187"/>
                      </a:lnTo>
                      <a:lnTo>
                        <a:pt x="310" y="187"/>
                      </a:lnTo>
                      <a:lnTo>
                        <a:pt x="311" y="187"/>
                      </a:lnTo>
                      <a:lnTo>
                        <a:pt x="313" y="188"/>
                      </a:lnTo>
                      <a:lnTo>
                        <a:pt x="313" y="189"/>
                      </a:lnTo>
                      <a:lnTo>
                        <a:pt x="314" y="191"/>
                      </a:lnTo>
                      <a:lnTo>
                        <a:pt x="314" y="192"/>
                      </a:lnTo>
                      <a:lnTo>
                        <a:pt x="314" y="194"/>
                      </a:lnTo>
                      <a:lnTo>
                        <a:pt x="314" y="195"/>
                      </a:lnTo>
                      <a:lnTo>
                        <a:pt x="313" y="196"/>
                      </a:lnTo>
                      <a:lnTo>
                        <a:pt x="313" y="197"/>
                      </a:lnTo>
                      <a:lnTo>
                        <a:pt x="311" y="196"/>
                      </a:lnTo>
                      <a:lnTo>
                        <a:pt x="310" y="197"/>
                      </a:lnTo>
                      <a:lnTo>
                        <a:pt x="310" y="198"/>
                      </a:lnTo>
                      <a:lnTo>
                        <a:pt x="309" y="199"/>
                      </a:lnTo>
                      <a:lnTo>
                        <a:pt x="308" y="199"/>
                      </a:lnTo>
                      <a:lnTo>
                        <a:pt x="309" y="201"/>
                      </a:lnTo>
                      <a:lnTo>
                        <a:pt x="308" y="201"/>
                      </a:lnTo>
                      <a:lnTo>
                        <a:pt x="307" y="201"/>
                      </a:lnTo>
                      <a:lnTo>
                        <a:pt x="308" y="202"/>
                      </a:lnTo>
                      <a:lnTo>
                        <a:pt x="308" y="203"/>
                      </a:lnTo>
                      <a:lnTo>
                        <a:pt x="308" y="204"/>
                      </a:lnTo>
                      <a:lnTo>
                        <a:pt x="307" y="204"/>
                      </a:lnTo>
                      <a:lnTo>
                        <a:pt x="307" y="205"/>
                      </a:lnTo>
                      <a:lnTo>
                        <a:pt x="306" y="206"/>
                      </a:lnTo>
                      <a:lnTo>
                        <a:pt x="306" y="210"/>
                      </a:lnTo>
                      <a:lnTo>
                        <a:pt x="306" y="211"/>
                      </a:lnTo>
                      <a:lnTo>
                        <a:pt x="306" y="212"/>
                      </a:lnTo>
                      <a:lnTo>
                        <a:pt x="306" y="213"/>
                      </a:lnTo>
                      <a:lnTo>
                        <a:pt x="307" y="215"/>
                      </a:lnTo>
                      <a:lnTo>
                        <a:pt x="306" y="216"/>
                      </a:lnTo>
                      <a:lnTo>
                        <a:pt x="304" y="217"/>
                      </a:lnTo>
                      <a:lnTo>
                        <a:pt x="306" y="217"/>
                      </a:lnTo>
                      <a:lnTo>
                        <a:pt x="307" y="216"/>
                      </a:lnTo>
                      <a:lnTo>
                        <a:pt x="307" y="215"/>
                      </a:lnTo>
                      <a:lnTo>
                        <a:pt x="307" y="213"/>
                      </a:lnTo>
                      <a:lnTo>
                        <a:pt x="308" y="215"/>
                      </a:lnTo>
                      <a:lnTo>
                        <a:pt x="308" y="216"/>
                      </a:lnTo>
                      <a:lnTo>
                        <a:pt x="309" y="216"/>
                      </a:lnTo>
                      <a:lnTo>
                        <a:pt x="310" y="216"/>
                      </a:lnTo>
                      <a:lnTo>
                        <a:pt x="310" y="217"/>
                      </a:lnTo>
                      <a:lnTo>
                        <a:pt x="310" y="218"/>
                      </a:lnTo>
                      <a:lnTo>
                        <a:pt x="310" y="219"/>
                      </a:lnTo>
                      <a:lnTo>
                        <a:pt x="310" y="220"/>
                      </a:lnTo>
                      <a:lnTo>
                        <a:pt x="310" y="222"/>
                      </a:lnTo>
                      <a:lnTo>
                        <a:pt x="310" y="223"/>
                      </a:lnTo>
                      <a:lnTo>
                        <a:pt x="311" y="222"/>
                      </a:lnTo>
                      <a:lnTo>
                        <a:pt x="311" y="223"/>
                      </a:lnTo>
                      <a:lnTo>
                        <a:pt x="310" y="224"/>
                      </a:lnTo>
                      <a:lnTo>
                        <a:pt x="309" y="225"/>
                      </a:lnTo>
                      <a:lnTo>
                        <a:pt x="308" y="229"/>
                      </a:lnTo>
                      <a:lnTo>
                        <a:pt x="308" y="230"/>
                      </a:lnTo>
                      <a:lnTo>
                        <a:pt x="308" y="229"/>
                      </a:lnTo>
                      <a:lnTo>
                        <a:pt x="307" y="230"/>
                      </a:lnTo>
                      <a:lnTo>
                        <a:pt x="308" y="230"/>
                      </a:lnTo>
                      <a:lnTo>
                        <a:pt x="308" y="231"/>
                      </a:lnTo>
                      <a:lnTo>
                        <a:pt x="307" y="231"/>
                      </a:lnTo>
                      <a:lnTo>
                        <a:pt x="307" y="232"/>
                      </a:lnTo>
                      <a:lnTo>
                        <a:pt x="307" y="231"/>
                      </a:lnTo>
                      <a:lnTo>
                        <a:pt x="306" y="231"/>
                      </a:lnTo>
                      <a:lnTo>
                        <a:pt x="306" y="232"/>
                      </a:lnTo>
                      <a:lnTo>
                        <a:pt x="306" y="233"/>
                      </a:lnTo>
                      <a:lnTo>
                        <a:pt x="306" y="234"/>
                      </a:lnTo>
                      <a:lnTo>
                        <a:pt x="307" y="236"/>
                      </a:lnTo>
                      <a:lnTo>
                        <a:pt x="306" y="238"/>
                      </a:lnTo>
                      <a:lnTo>
                        <a:pt x="306" y="239"/>
                      </a:lnTo>
                      <a:lnTo>
                        <a:pt x="307" y="240"/>
                      </a:lnTo>
                      <a:lnTo>
                        <a:pt x="308" y="240"/>
                      </a:lnTo>
                      <a:lnTo>
                        <a:pt x="308" y="241"/>
                      </a:lnTo>
                      <a:lnTo>
                        <a:pt x="308" y="243"/>
                      </a:lnTo>
                      <a:lnTo>
                        <a:pt x="308" y="245"/>
                      </a:lnTo>
                      <a:lnTo>
                        <a:pt x="309" y="246"/>
                      </a:lnTo>
                      <a:lnTo>
                        <a:pt x="310" y="246"/>
                      </a:lnTo>
                      <a:lnTo>
                        <a:pt x="310" y="247"/>
                      </a:lnTo>
                      <a:lnTo>
                        <a:pt x="310" y="248"/>
                      </a:lnTo>
                      <a:lnTo>
                        <a:pt x="311" y="248"/>
                      </a:lnTo>
                      <a:lnTo>
                        <a:pt x="313" y="250"/>
                      </a:lnTo>
                      <a:lnTo>
                        <a:pt x="313" y="251"/>
                      </a:lnTo>
                      <a:lnTo>
                        <a:pt x="314" y="252"/>
                      </a:lnTo>
                      <a:lnTo>
                        <a:pt x="313" y="252"/>
                      </a:lnTo>
                      <a:lnTo>
                        <a:pt x="311" y="251"/>
                      </a:lnTo>
                      <a:lnTo>
                        <a:pt x="310" y="250"/>
                      </a:lnTo>
                      <a:lnTo>
                        <a:pt x="309" y="250"/>
                      </a:lnTo>
                      <a:lnTo>
                        <a:pt x="309" y="251"/>
                      </a:lnTo>
                      <a:lnTo>
                        <a:pt x="309" y="252"/>
                      </a:lnTo>
                      <a:lnTo>
                        <a:pt x="311" y="251"/>
                      </a:lnTo>
                      <a:lnTo>
                        <a:pt x="310" y="252"/>
                      </a:lnTo>
                      <a:lnTo>
                        <a:pt x="311" y="252"/>
                      </a:lnTo>
                      <a:lnTo>
                        <a:pt x="311" y="253"/>
                      </a:lnTo>
                      <a:lnTo>
                        <a:pt x="311" y="254"/>
                      </a:lnTo>
                      <a:lnTo>
                        <a:pt x="313" y="254"/>
                      </a:lnTo>
                      <a:lnTo>
                        <a:pt x="313" y="255"/>
                      </a:lnTo>
                      <a:lnTo>
                        <a:pt x="311" y="255"/>
                      </a:lnTo>
                      <a:lnTo>
                        <a:pt x="313" y="255"/>
                      </a:lnTo>
                      <a:lnTo>
                        <a:pt x="313" y="257"/>
                      </a:lnTo>
                      <a:lnTo>
                        <a:pt x="311" y="257"/>
                      </a:lnTo>
                      <a:lnTo>
                        <a:pt x="313" y="258"/>
                      </a:lnTo>
                      <a:lnTo>
                        <a:pt x="313" y="259"/>
                      </a:lnTo>
                      <a:lnTo>
                        <a:pt x="313" y="258"/>
                      </a:lnTo>
                      <a:lnTo>
                        <a:pt x="314" y="258"/>
                      </a:lnTo>
                      <a:lnTo>
                        <a:pt x="315" y="258"/>
                      </a:lnTo>
                      <a:lnTo>
                        <a:pt x="316" y="260"/>
                      </a:lnTo>
                      <a:lnTo>
                        <a:pt x="317" y="260"/>
                      </a:lnTo>
                      <a:lnTo>
                        <a:pt x="317" y="261"/>
                      </a:lnTo>
                      <a:lnTo>
                        <a:pt x="316" y="262"/>
                      </a:lnTo>
                      <a:lnTo>
                        <a:pt x="317" y="264"/>
                      </a:lnTo>
                      <a:lnTo>
                        <a:pt x="317" y="265"/>
                      </a:lnTo>
                      <a:lnTo>
                        <a:pt x="316" y="265"/>
                      </a:lnTo>
                      <a:lnTo>
                        <a:pt x="317" y="266"/>
                      </a:lnTo>
                      <a:lnTo>
                        <a:pt x="316" y="266"/>
                      </a:lnTo>
                      <a:lnTo>
                        <a:pt x="316" y="267"/>
                      </a:lnTo>
                      <a:lnTo>
                        <a:pt x="315" y="267"/>
                      </a:lnTo>
                      <a:lnTo>
                        <a:pt x="314" y="267"/>
                      </a:lnTo>
                      <a:lnTo>
                        <a:pt x="314" y="268"/>
                      </a:lnTo>
                      <a:lnTo>
                        <a:pt x="315" y="268"/>
                      </a:lnTo>
                      <a:lnTo>
                        <a:pt x="316" y="268"/>
                      </a:lnTo>
                      <a:lnTo>
                        <a:pt x="317" y="268"/>
                      </a:lnTo>
                      <a:lnTo>
                        <a:pt x="317" y="269"/>
                      </a:lnTo>
                      <a:lnTo>
                        <a:pt x="317" y="271"/>
                      </a:lnTo>
                      <a:lnTo>
                        <a:pt x="318" y="271"/>
                      </a:lnTo>
                      <a:lnTo>
                        <a:pt x="318" y="273"/>
                      </a:lnTo>
                      <a:lnTo>
                        <a:pt x="320" y="274"/>
                      </a:lnTo>
                      <a:lnTo>
                        <a:pt x="318" y="274"/>
                      </a:lnTo>
                      <a:lnTo>
                        <a:pt x="318" y="275"/>
                      </a:lnTo>
                      <a:lnTo>
                        <a:pt x="320" y="275"/>
                      </a:lnTo>
                      <a:lnTo>
                        <a:pt x="320" y="276"/>
                      </a:lnTo>
                      <a:lnTo>
                        <a:pt x="320" y="278"/>
                      </a:lnTo>
                      <a:lnTo>
                        <a:pt x="318" y="278"/>
                      </a:lnTo>
                      <a:lnTo>
                        <a:pt x="318" y="279"/>
                      </a:lnTo>
                      <a:lnTo>
                        <a:pt x="320" y="279"/>
                      </a:lnTo>
                      <a:lnTo>
                        <a:pt x="321" y="280"/>
                      </a:lnTo>
                      <a:lnTo>
                        <a:pt x="322" y="281"/>
                      </a:lnTo>
                      <a:lnTo>
                        <a:pt x="322" y="282"/>
                      </a:lnTo>
                      <a:lnTo>
                        <a:pt x="321" y="282"/>
                      </a:lnTo>
                      <a:lnTo>
                        <a:pt x="320" y="282"/>
                      </a:lnTo>
                      <a:lnTo>
                        <a:pt x="321" y="283"/>
                      </a:lnTo>
                      <a:lnTo>
                        <a:pt x="321" y="285"/>
                      </a:lnTo>
                      <a:lnTo>
                        <a:pt x="320" y="285"/>
                      </a:lnTo>
                      <a:lnTo>
                        <a:pt x="318" y="285"/>
                      </a:lnTo>
                      <a:lnTo>
                        <a:pt x="320" y="286"/>
                      </a:lnTo>
                      <a:lnTo>
                        <a:pt x="320" y="287"/>
                      </a:lnTo>
                      <a:lnTo>
                        <a:pt x="318" y="287"/>
                      </a:lnTo>
                      <a:lnTo>
                        <a:pt x="318" y="288"/>
                      </a:lnTo>
                      <a:lnTo>
                        <a:pt x="321" y="286"/>
                      </a:lnTo>
                      <a:lnTo>
                        <a:pt x="322" y="286"/>
                      </a:lnTo>
                      <a:lnTo>
                        <a:pt x="323" y="287"/>
                      </a:lnTo>
                      <a:lnTo>
                        <a:pt x="324" y="287"/>
                      </a:lnTo>
                      <a:lnTo>
                        <a:pt x="325" y="287"/>
                      </a:lnTo>
                      <a:lnTo>
                        <a:pt x="327" y="290"/>
                      </a:lnTo>
                      <a:lnTo>
                        <a:pt x="327" y="293"/>
                      </a:lnTo>
                      <a:lnTo>
                        <a:pt x="328" y="294"/>
                      </a:lnTo>
                      <a:lnTo>
                        <a:pt x="328" y="293"/>
                      </a:lnTo>
                      <a:lnTo>
                        <a:pt x="328" y="292"/>
                      </a:lnTo>
                      <a:lnTo>
                        <a:pt x="328" y="290"/>
                      </a:lnTo>
                      <a:lnTo>
                        <a:pt x="329" y="290"/>
                      </a:lnTo>
                      <a:lnTo>
                        <a:pt x="330" y="292"/>
                      </a:lnTo>
                      <a:lnTo>
                        <a:pt x="331" y="292"/>
                      </a:lnTo>
                      <a:lnTo>
                        <a:pt x="332" y="292"/>
                      </a:lnTo>
                      <a:lnTo>
                        <a:pt x="332" y="293"/>
                      </a:lnTo>
                      <a:lnTo>
                        <a:pt x="331" y="293"/>
                      </a:lnTo>
                      <a:lnTo>
                        <a:pt x="331" y="294"/>
                      </a:lnTo>
                      <a:lnTo>
                        <a:pt x="332" y="294"/>
                      </a:lnTo>
                      <a:lnTo>
                        <a:pt x="331" y="294"/>
                      </a:lnTo>
                      <a:lnTo>
                        <a:pt x="331" y="295"/>
                      </a:lnTo>
                      <a:lnTo>
                        <a:pt x="332" y="295"/>
                      </a:lnTo>
                      <a:lnTo>
                        <a:pt x="334" y="295"/>
                      </a:lnTo>
                      <a:lnTo>
                        <a:pt x="335" y="295"/>
                      </a:lnTo>
                      <a:lnTo>
                        <a:pt x="335" y="296"/>
                      </a:lnTo>
                      <a:lnTo>
                        <a:pt x="335" y="295"/>
                      </a:lnTo>
                      <a:lnTo>
                        <a:pt x="336" y="295"/>
                      </a:lnTo>
                      <a:lnTo>
                        <a:pt x="334" y="294"/>
                      </a:lnTo>
                      <a:lnTo>
                        <a:pt x="335" y="293"/>
                      </a:lnTo>
                      <a:lnTo>
                        <a:pt x="336" y="293"/>
                      </a:lnTo>
                      <a:lnTo>
                        <a:pt x="336" y="294"/>
                      </a:lnTo>
                      <a:lnTo>
                        <a:pt x="337" y="295"/>
                      </a:lnTo>
                      <a:lnTo>
                        <a:pt x="338" y="297"/>
                      </a:lnTo>
                      <a:lnTo>
                        <a:pt x="339" y="299"/>
                      </a:lnTo>
                      <a:lnTo>
                        <a:pt x="341" y="297"/>
                      </a:lnTo>
                      <a:lnTo>
                        <a:pt x="341" y="296"/>
                      </a:lnTo>
                      <a:lnTo>
                        <a:pt x="342" y="296"/>
                      </a:lnTo>
                      <a:lnTo>
                        <a:pt x="342" y="297"/>
                      </a:lnTo>
                      <a:lnTo>
                        <a:pt x="341" y="299"/>
                      </a:lnTo>
                      <a:lnTo>
                        <a:pt x="342" y="299"/>
                      </a:lnTo>
                      <a:lnTo>
                        <a:pt x="341" y="300"/>
                      </a:lnTo>
                      <a:lnTo>
                        <a:pt x="341" y="301"/>
                      </a:lnTo>
                      <a:lnTo>
                        <a:pt x="342" y="301"/>
                      </a:lnTo>
                      <a:lnTo>
                        <a:pt x="342" y="302"/>
                      </a:lnTo>
                      <a:lnTo>
                        <a:pt x="341" y="302"/>
                      </a:lnTo>
                      <a:lnTo>
                        <a:pt x="339" y="303"/>
                      </a:lnTo>
                      <a:lnTo>
                        <a:pt x="338" y="304"/>
                      </a:lnTo>
                      <a:lnTo>
                        <a:pt x="337" y="306"/>
                      </a:lnTo>
                      <a:lnTo>
                        <a:pt x="336" y="306"/>
                      </a:lnTo>
                      <a:lnTo>
                        <a:pt x="334" y="308"/>
                      </a:lnTo>
                      <a:lnTo>
                        <a:pt x="332" y="309"/>
                      </a:lnTo>
                      <a:lnTo>
                        <a:pt x="331" y="309"/>
                      </a:lnTo>
                      <a:lnTo>
                        <a:pt x="328" y="313"/>
                      </a:lnTo>
                      <a:lnTo>
                        <a:pt x="324" y="314"/>
                      </a:lnTo>
                      <a:lnTo>
                        <a:pt x="321" y="316"/>
                      </a:lnTo>
                      <a:lnTo>
                        <a:pt x="320" y="316"/>
                      </a:lnTo>
                      <a:lnTo>
                        <a:pt x="315" y="317"/>
                      </a:lnTo>
                      <a:lnTo>
                        <a:pt x="313" y="317"/>
                      </a:lnTo>
                      <a:lnTo>
                        <a:pt x="311" y="318"/>
                      </a:lnTo>
                      <a:lnTo>
                        <a:pt x="304" y="323"/>
                      </a:lnTo>
                      <a:lnTo>
                        <a:pt x="303" y="323"/>
                      </a:lnTo>
                      <a:lnTo>
                        <a:pt x="302" y="323"/>
                      </a:lnTo>
                      <a:lnTo>
                        <a:pt x="301" y="323"/>
                      </a:lnTo>
                      <a:lnTo>
                        <a:pt x="300" y="323"/>
                      </a:lnTo>
                      <a:lnTo>
                        <a:pt x="299" y="323"/>
                      </a:lnTo>
                      <a:lnTo>
                        <a:pt x="297" y="323"/>
                      </a:lnTo>
                      <a:lnTo>
                        <a:pt x="294" y="323"/>
                      </a:lnTo>
                      <a:lnTo>
                        <a:pt x="293" y="323"/>
                      </a:lnTo>
                      <a:lnTo>
                        <a:pt x="292" y="324"/>
                      </a:lnTo>
                      <a:lnTo>
                        <a:pt x="290" y="324"/>
                      </a:lnTo>
                      <a:lnTo>
                        <a:pt x="290" y="325"/>
                      </a:lnTo>
                      <a:lnTo>
                        <a:pt x="289" y="326"/>
                      </a:lnTo>
                      <a:lnTo>
                        <a:pt x="288" y="326"/>
                      </a:lnTo>
                      <a:lnTo>
                        <a:pt x="287" y="326"/>
                      </a:lnTo>
                      <a:lnTo>
                        <a:pt x="286" y="326"/>
                      </a:lnTo>
                      <a:lnTo>
                        <a:pt x="285" y="326"/>
                      </a:lnTo>
                      <a:lnTo>
                        <a:pt x="285" y="328"/>
                      </a:lnTo>
                      <a:lnTo>
                        <a:pt x="284" y="328"/>
                      </a:lnTo>
                      <a:lnTo>
                        <a:pt x="281" y="330"/>
                      </a:lnTo>
                      <a:lnTo>
                        <a:pt x="280" y="331"/>
                      </a:lnTo>
                      <a:lnTo>
                        <a:pt x="279" y="330"/>
                      </a:lnTo>
                      <a:lnTo>
                        <a:pt x="277" y="330"/>
                      </a:lnTo>
                      <a:lnTo>
                        <a:pt x="275" y="329"/>
                      </a:lnTo>
                      <a:lnTo>
                        <a:pt x="274" y="328"/>
                      </a:lnTo>
                      <a:lnTo>
                        <a:pt x="273" y="326"/>
                      </a:lnTo>
                      <a:lnTo>
                        <a:pt x="271" y="326"/>
                      </a:lnTo>
                      <a:lnTo>
                        <a:pt x="270" y="326"/>
                      </a:lnTo>
                      <a:lnTo>
                        <a:pt x="268" y="326"/>
                      </a:lnTo>
                      <a:lnTo>
                        <a:pt x="268" y="325"/>
                      </a:lnTo>
                      <a:lnTo>
                        <a:pt x="267" y="325"/>
                      </a:lnTo>
                      <a:lnTo>
                        <a:pt x="267" y="326"/>
                      </a:lnTo>
                      <a:lnTo>
                        <a:pt x="265" y="326"/>
                      </a:lnTo>
                      <a:lnTo>
                        <a:pt x="263" y="326"/>
                      </a:lnTo>
                      <a:lnTo>
                        <a:pt x="260" y="328"/>
                      </a:lnTo>
                      <a:lnTo>
                        <a:pt x="260" y="329"/>
                      </a:lnTo>
                      <a:lnTo>
                        <a:pt x="260" y="330"/>
                      </a:lnTo>
                      <a:lnTo>
                        <a:pt x="259" y="330"/>
                      </a:lnTo>
                      <a:lnTo>
                        <a:pt x="259" y="331"/>
                      </a:lnTo>
                      <a:lnTo>
                        <a:pt x="259" y="332"/>
                      </a:lnTo>
                      <a:lnTo>
                        <a:pt x="259" y="333"/>
                      </a:lnTo>
                      <a:lnTo>
                        <a:pt x="259" y="335"/>
                      </a:lnTo>
                      <a:lnTo>
                        <a:pt x="258" y="335"/>
                      </a:lnTo>
                      <a:lnTo>
                        <a:pt x="258" y="336"/>
                      </a:lnTo>
                      <a:lnTo>
                        <a:pt x="256" y="337"/>
                      </a:lnTo>
                      <a:lnTo>
                        <a:pt x="254" y="338"/>
                      </a:lnTo>
                      <a:lnTo>
                        <a:pt x="253" y="338"/>
                      </a:lnTo>
                      <a:lnTo>
                        <a:pt x="252" y="338"/>
                      </a:lnTo>
                      <a:lnTo>
                        <a:pt x="251" y="338"/>
                      </a:lnTo>
                      <a:lnTo>
                        <a:pt x="250" y="339"/>
                      </a:lnTo>
                      <a:lnTo>
                        <a:pt x="249" y="339"/>
                      </a:lnTo>
                      <a:lnTo>
                        <a:pt x="249" y="340"/>
                      </a:lnTo>
                      <a:lnTo>
                        <a:pt x="247" y="340"/>
                      </a:lnTo>
                      <a:lnTo>
                        <a:pt x="246" y="340"/>
                      </a:lnTo>
                      <a:lnTo>
                        <a:pt x="245" y="340"/>
                      </a:lnTo>
                      <a:lnTo>
                        <a:pt x="244" y="339"/>
                      </a:lnTo>
                      <a:lnTo>
                        <a:pt x="243" y="339"/>
                      </a:lnTo>
                      <a:lnTo>
                        <a:pt x="242" y="340"/>
                      </a:lnTo>
                      <a:lnTo>
                        <a:pt x="240" y="339"/>
                      </a:lnTo>
                      <a:lnTo>
                        <a:pt x="237" y="339"/>
                      </a:lnTo>
                      <a:lnTo>
                        <a:pt x="236" y="338"/>
                      </a:lnTo>
                      <a:lnTo>
                        <a:pt x="235" y="338"/>
                      </a:lnTo>
                      <a:lnTo>
                        <a:pt x="235" y="337"/>
                      </a:lnTo>
                      <a:lnTo>
                        <a:pt x="233" y="336"/>
                      </a:lnTo>
                      <a:lnTo>
                        <a:pt x="232" y="336"/>
                      </a:lnTo>
                      <a:lnTo>
                        <a:pt x="230" y="337"/>
                      </a:lnTo>
                      <a:lnTo>
                        <a:pt x="229" y="336"/>
                      </a:lnTo>
                      <a:lnTo>
                        <a:pt x="228" y="336"/>
                      </a:lnTo>
                      <a:lnTo>
                        <a:pt x="225" y="337"/>
                      </a:lnTo>
                      <a:lnTo>
                        <a:pt x="225" y="339"/>
                      </a:lnTo>
                      <a:lnTo>
                        <a:pt x="224" y="339"/>
                      </a:lnTo>
                      <a:lnTo>
                        <a:pt x="223" y="339"/>
                      </a:lnTo>
                      <a:lnTo>
                        <a:pt x="223" y="340"/>
                      </a:lnTo>
                      <a:lnTo>
                        <a:pt x="222" y="340"/>
                      </a:lnTo>
                      <a:lnTo>
                        <a:pt x="221" y="340"/>
                      </a:lnTo>
                      <a:lnTo>
                        <a:pt x="220" y="340"/>
                      </a:lnTo>
                      <a:lnTo>
                        <a:pt x="218" y="340"/>
                      </a:lnTo>
                      <a:lnTo>
                        <a:pt x="217" y="340"/>
                      </a:lnTo>
                      <a:lnTo>
                        <a:pt x="217" y="339"/>
                      </a:lnTo>
                      <a:lnTo>
                        <a:pt x="214" y="339"/>
                      </a:lnTo>
                      <a:lnTo>
                        <a:pt x="213" y="339"/>
                      </a:lnTo>
                      <a:lnTo>
                        <a:pt x="211" y="339"/>
                      </a:lnTo>
                      <a:lnTo>
                        <a:pt x="210" y="340"/>
                      </a:lnTo>
                      <a:lnTo>
                        <a:pt x="209" y="339"/>
                      </a:lnTo>
                      <a:lnTo>
                        <a:pt x="208" y="339"/>
                      </a:lnTo>
                      <a:lnTo>
                        <a:pt x="207" y="339"/>
                      </a:lnTo>
                      <a:lnTo>
                        <a:pt x="207" y="338"/>
                      </a:lnTo>
                      <a:lnTo>
                        <a:pt x="207" y="337"/>
                      </a:lnTo>
                      <a:lnTo>
                        <a:pt x="207" y="336"/>
                      </a:lnTo>
                      <a:lnTo>
                        <a:pt x="206" y="336"/>
                      </a:lnTo>
                      <a:lnTo>
                        <a:pt x="206" y="335"/>
                      </a:lnTo>
                      <a:lnTo>
                        <a:pt x="204" y="335"/>
                      </a:lnTo>
                      <a:lnTo>
                        <a:pt x="203" y="333"/>
                      </a:lnTo>
                      <a:lnTo>
                        <a:pt x="202" y="333"/>
                      </a:lnTo>
                      <a:lnTo>
                        <a:pt x="201" y="333"/>
                      </a:lnTo>
                      <a:lnTo>
                        <a:pt x="200" y="332"/>
                      </a:lnTo>
                      <a:lnTo>
                        <a:pt x="201" y="332"/>
                      </a:lnTo>
                      <a:lnTo>
                        <a:pt x="200" y="331"/>
                      </a:lnTo>
                      <a:lnTo>
                        <a:pt x="199" y="331"/>
                      </a:lnTo>
                      <a:lnTo>
                        <a:pt x="197" y="331"/>
                      </a:lnTo>
                      <a:lnTo>
                        <a:pt x="196" y="331"/>
                      </a:lnTo>
                      <a:lnTo>
                        <a:pt x="195" y="331"/>
                      </a:lnTo>
                      <a:lnTo>
                        <a:pt x="195" y="332"/>
                      </a:lnTo>
                      <a:lnTo>
                        <a:pt x="194" y="332"/>
                      </a:lnTo>
                      <a:lnTo>
                        <a:pt x="193" y="332"/>
                      </a:lnTo>
                      <a:lnTo>
                        <a:pt x="192" y="333"/>
                      </a:lnTo>
                      <a:lnTo>
                        <a:pt x="192" y="335"/>
                      </a:lnTo>
                      <a:lnTo>
                        <a:pt x="190" y="336"/>
                      </a:lnTo>
                      <a:lnTo>
                        <a:pt x="189" y="336"/>
                      </a:lnTo>
                      <a:lnTo>
                        <a:pt x="188" y="337"/>
                      </a:lnTo>
                      <a:lnTo>
                        <a:pt x="187" y="336"/>
                      </a:lnTo>
                      <a:lnTo>
                        <a:pt x="187" y="337"/>
                      </a:lnTo>
                      <a:lnTo>
                        <a:pt x="186" y="337"/>
                      </a:lnTo>
                      <a:lnTo>
                        <a:pt x="186" y="336"/>
                      </a:lnTo>
                      <a:lnTo>
                        <a:pt x="185" y="336"/>
                      </a:lnTo>
                      <a:lnTo>
                        <a:pt x="183" y="336"/>
                      </a:lnTo>
                      <a:lnTo>
                        <a:pt x="182" y="336"/>
                      </a:lnTo>
                      <a:lnTo>
                        <a:pt x="168" y="336"/>
                      </a:lnTo>
                      <a:lnTo>
                        <a:pt x="168" y="333"/>
                      </a:lnTo>
                      <a:lnTo>
                        <a:pt x="168" y="332"/>
                      </a:lnTo>
                      <a:lnTo>
                        <a:pt x="167" y="331"/>
                      </a:lnTo>
                      <a:lnTo>
                        <a:pt x="167" y="330"/>
                      </a:lnTo>
                      <a:lnTo>
                        <a:pt x="166" y="329"/>
                      </a:lnTo>
                      <a:lnTo>
                        <a:pt x="165" y="329"/>
                      </a:lnTo>
                      <a:lnTo>
                        <a:pt x="164" y="328"/>
                      </a:lnTo>
                      <a:lnTo>
                        <a:pt x="162" y="328"/>
                      </a:lnTo>
                      <a:lnTo>
                        <a:pt x="162" y="329"/>
                      </a:lnTo>
                      <a:lnTo>
                        <a:pt x="162" y="328"/>
                      </a:lnTo>
                      <a:lnTo>
                        <a:pt x="161" y="326"/>
                      </a:lnTo>
                      <a:lnTo>
                        <a:pt x="162" y="326"/>
                      </a:lnTo>
                      <a:lnTo>
                        <a:pt x="161" y="325"/>
                      </a:lnTo>
                      <a:lnTo>
                        <a:pt x="161" y="324"/>
                      </a:lnTo>
                      <a:lnTo>
                        <a:pt x="161" y="323"/>
                      </a:lnTo>
                      <a:lnTo>
                        <a:pt x="160" y="323"/>
                      </a:lnTo>
                      <a:lnTo>
                        <a:pt x="159" y="322"/>
                      </a:lnTo>
                      <a:lnTo>
                        <a:pt x="158" y="321"/>
                      </a:lnTo>
                      <a:lnTo>
                        <a:pt x="158" y="319"/>
                      </a:lnTo>
                      <a:lnTo>
                        <a:pt x="158" y="318"/>
                      </a:lnTo>
                      <a:lnTo>
                        <a:pt x="157" y="317"/>
                      </a:lnTo>
                      <a:lnTo>
                        <a:pt x="158" y="317"/>
                      </a:lnTo>
                      <a:lnTo>
                        <a:pt x="158" y="316"/>
                      </a:lnTo>
                      <a:lnTo>
                        <a:pt x="159" y="315"/>
                      </a:lnTo>
                      <a:lnTo>
                        <a:pt x="159" y="314"/>
                      </a:lnTo>
                      <a:lnTo>
                        <a:pt x="159" y="313"/>
                      </a:lnTo>
                      <a:lnTo>
                        <a:pt x="159" y="310"/>
                      </a:lnTo>
                      <a:lnTo>
                        <a:pt x="159" y="309"/>
                      </a:lnTo>
                      <a:lnTo>
                        <a:pt x="160" y="309"/>
                      </a:lnTo>
                      <a:lnTo>
                        <a:pt x="159" y="309"/>
                      </a:lnTo>
                      <a:lnTo>
                        <a:pt x="159" y="308"/>
                      </a:lnTo>
                      <a:lnTo>
                        <a:pt x="159" y="307"/>
                      </a:lnTo>
                      <a:lnTo>
                        <a:pt x="159" y="306"/>
                      </a:lnTo>
                      <a:lnTo>
                        <a:pt x="158" y="306"/>
                      </a:lnTo>
                      <a:lnTo>
                        <a:pt x="158" y="304"/>
                      </a:lnTo>
                      <a:lnTo>
                        <a:pt x="158" y="303"/>
                      </a:lnTo>
                      <a:lnTo>
                        <a:pt x="157" y="303"/>
                      </a:lnTo>
                      <a:lnTo>
                        <a:pt x="157" y="302"/>
                      </a:lnTo>
                      <a:lnTo>
                        <a:pt x="157" y="301"/>
                      </a:lnTo>
                      <a:lnTo>
                        <a:pt x="158" y="301"/>
                      </a:lnTo>
                      <a:lnTo>
                        <a:pt x="157" y="300"/>
                      </a:lnTo>
                      <a:lnTo>
                        <a:pt x="157" y="299"/>
                      </a:lnTo>
                      <a:lnTo>
                        <a:pt x="157" y="295"/>
                      </a:lnTo>
                      <a:lnTo>
                        <a:pt x="157" y="294"/>
                      </a:lnTo>
                      <a:lnTo>
                        <a:pt x="157" y="292"/>
                      </a:lnTo>
                      <a:lnTo>
                        <a:pt x="156" y="289"/>
                      </a:lnTo>
                      <a:lnTo>
                        <a:pt x="156" y="288"/>
                      </a:lnTo>
                      <a:lnTo>
                        <a:pt x="156" y="287"/>
                      </a:lnTo>
                      <a:lnTo>
                        <a:pt x="156" y="286"/>
                      </a:lnTo>
                      <a:lnTo>
                        <a:pt x="154" y="285"/>
                      </a:lnTo>
                      <a:lnTo>
                        <a:pt x="154" y="283"/>
                      </a:lnTo>
                      <a:lnTo>
                        <a:pt x="151" y="280"/>
                      </a:lnTo>
                      <a:lnTo>
                        <a:pt x="150" y="279"/>
                      </a:lnTo>
                      <a:lnTo>
                        <a:pt x="150" y="278"/>
                      </a:lnTo>
                      <a:lnTo>
                        <a:pt x="149" y="278"/>
                      </a:lnTo>
                      <a:lnTo>
                        <a:pt x="149" y="276"/>
                      </a:lnTo>
                      <a:lnTo>
                        <a:pt x="147" y="276"/>
                      </a:lnTo>
                      <a:lnTo>
                        <a:pt x="145" y="273"/>
                      </a:lnTo>
                      <a:lnTo>
                        <a:pt x="144" y="273"/>
                      </a:lnTo>
                      <a:lnTo>
                        <a:pt x="143" y="272"/>
                      </a:lnTo>
                      <a:lnTo>
                        <a:pt x="142" y="271"/>
                      </a:lnTo>
                      <a:lnTo>
                        <a:pt x="142" y="269"/>
                      </a:lnTo>
                      <a:lnTo>
                        <a:pt x="140" y="269"/>
                      </a:lnTo>
                      <a:lnTo>
                        <a:pt x="139" y="268"/>
                      </a:lnTo>
                      <a:lnTo>
                        <a:pt x="138" y="269"/>
                      </a:lnTo>
                      <a:lnTo>
                        <a:pt x="138" y="271"/>
                      </a:lnTo>
                      <a:lnTo>
                        <a:pt x="137" y="271"/>
                      </a:lnTo>
                      <a:lnTo>
                        <a:pt x="138" y="273"/>
                      </a:lnTo>
                      <a:lnTo>
                        <a:pt x="137" y="274"/>
                      </a:lnTo>
                      <a:lnTo>
                        <a:pt x="137" y="275"/>
                      </a:lnTo>
                      <a:lnTo>
                        <a:pt x="136" y="276"/>
                      </a:lnTo>
                      <a:lnTo>
                        <a:pt x="136" y="275"/>
                      </a:lnTo>
                      <a:lnTo>
                        <a:pt x="135" y="275"/>
                      </a:lnTo>
                      <a:lnTo>
                        <a:pt x="133" y="274"/>
                      </a:lnTo>
                      <a:lnTo>
                        <a:pt x="132" y="273"/>
                      </a:lnTo>
                      <a:lnTo>
                        <a:pt x="131" y="273"/>
                      </a:lnTo>
                      <a:lnTo>
                        <a:pt x="130" y="272"/>
                      </a:lnTo>
                      <a:lnTo>
                        <a:pt x="129" y="273"/>
                      </a:lnTo>
                      <a:lnTo>
                        <a:pt x="128" y="273"/>
                      </a:lnTo>
                      <a:lnTo>
                        <a:pt x="126" y="273"/>
                      </a:lnTo>
                      <a:lnTo>
                        <a:pt x="125" y="272"/>
                      </a:lnTo>
                      <a:lnTo>
                        <a:pt x="124" y="273"/>
                      </a:lnTo>
                      <a:lnTo>
                        <a:pt x="123" y="273"/>
                      </a:lnTo>
                      <a:lnTo>
                        <a:pt x="121" y="273"/>
                      </a:lnTo>
                      <a:lnTo>
                        <a:pt x="119" y="273"/>
                      </a:lnTo>
                      <a:lnTo>
                        <a:pt x="119" y="272"/>
                      </a:lnTo>
                      <a:lnTo>
                        <a:pt x="119" y="271"/>
                      </a:lnTo>
                      <a:lnTo>
                        <a:pt x="118" y="271"/>
                      </a:lnTo>
                      <a:lnTo>
                        <a:pt x="117" y="269"/>
                      </a:lnTo>
                      <a:lnTo>
                        <a:pt x="116" y="268"/>
                      </a:lnTo>
                      <a:lnTo>
                        <a:pt x="116" y="269"/>
                      </a:lnTo>
                      <a:lnTo>
                        <a:pt x="115" y="269"/>
                      </a:lnTo>
                      <a:lnTo>
                        <a:pt x="114" y="269"/>
                      </a:lnTo>
                      <a:lnTo>
                        <a:pt x="112" y="269"/>
                      </a:lnTo>
                      <a:lnTo>
                        <a:pt x="111" y="269"/>
                      </a:lnTo>
                      <a:lnTo>
                        <a:pt x="110" y="269"/>
                      </a:lnTo>
                      <a:lnTo>
                        <a:pt x="109" y="267"/>
                      </a:lnTo>
                      <a:lnTo>
                        <a:pt x="107" y="266"/>
                      </a:lnTo>
                      <a:lnTo>
                        <a:pt x="105" y="266"/>
                      </a:lnTo>
                      <a:lnTo>
                        <a:pt x="104" y="266"/>
                      </a:lnTo>
                      <a:lnTo>
                        <a:pt x="102" y="265"/>
                      </a:lnTo>
                      <a:lnTo>
                        <a:pt x="101" y="264"/>
                      </a:lnTo>
                      <a:lnTo>
                        <a:pt x="100" y="264"/>
                      </a:lnTo>
                      <a:lnTo>
                        <a:pt x="98" y="264"/>
                      </a:lnTo>
                      <a:lnTo>
                        <a:pt x="98" y="262"/>
                      </a:lnTo>
                      <a:lnTo>
                        <a:pt x="96" y="262"/>
                      </a:lnTo>
                      <a:lnTo>
                        <a:pt x="93" y="261"/>
                      </a:lnTo>
                      <a:lnTo>
                        <a:pt x="92" y="261"/>
                      </a:lnTo>
                      <a:lnTo>
                        <a:pt x="92" y="260"/>
                      </a:lnTo>
                      <a:lnTo>
                        <a:pt x="90" y="259"/>
                      </a:lnTo>
                      <a:lnTo>
                        <a:pt x="89" y="258"/>
                      </a:lnTo>
                      <a:lnTo>
                        <a:pt x="88" y="258"/>
                      </a:lnTo>
                      <a:lnTo>
                        <a:pt x="83" y="258"/>
                      </a:lnTo>
                      <a:lnTo>
                        <a:pt x="82" y="258"/>
                      </a:lnTo>
                      <a:lnTo>
                        <a:pt x="82" y="257"/>
                      </a:lnTo>
                      <a:lnTo>
                        <a:pt x="81" y="255"/>
                      </a:lnTo>
                      <a:lnTo>
                        <a:pt x="80" y="255"/>
                      </a:lnTo>
                      <a:lnTo>
                        <a:pt x="79" y="255"/>
                      </a:lnTo>
                      <a:lnTo>
                        <a:pt x="78" y="254"/>
                      </a:lnTo>
                      <a:lnTo>
                        <a:pt x="76" y="254"/>
                      </a:lnTo>
                      <a:lnTo>
                        <a:pt x="76" y="255"/>
                      </a:lnTo>
                      <a:lnTo>
                        <a:pt x="75" y="255"/>
                      </a:lnTo>
                      <a:lnTo>
                        <a:pt x="74" y="255"/>
                      </a:lnTo>
                      <a:lnTo>
                        <a:pt x="73" y="254"/>
                      </a:lnTo>
                      <a:lnTo>
                        <a:pt x="73" y="252"/>
                      </a:lnTo>
                      <a:lnTo>
                        <a:pt x="74" y="251"/>
                      </a:lnTo>
                      <a:lnTo>
                        <a:pt x="69" y="250"/>
                      </a:lnTo>
                      <a:lnTo>
                        <a:pt x="68" y="250"/>
                      </a:lnTo>
                      <a:lnTo>
                        <a:pt x="67" y="251"/>
                      </a:lnTo>
                      <a:lnTo>
                        <a:pt x="66" y="251"/>
                      </a:lnTo>
                      <a:lnTo>
                        <a:pt x="62" y="248"/>
                      </a:lnTo>
                      <a:lnTo>
                        <a:pt x="61" y="247"/>
                      </a:lnTo>
                      <a:lnTo>
                        <a:pt x="61" y="246"/>
                      </a:lnTo>
                      <a:lnTo>
                        <a:pt x="61" y="245"/>
                      </a:lnTo>
                      <a:lnTo>
                        <a:pt x="61" y="244"/>
                      </a:lnTo>
                      <a:lnTo>
                        <a:pt x="60" y="244"/>
                      </a:lnTo>
                      <a:lnTo>
                        <a:pt x="59" y="243"/>
                      </a:lnTo>
                      <a:lnTo>
                        <a:pt x="58" y="241"/>
                      </a:lnTo>
                      <a:lnTo>
                        <a:pt x="57" y="241"/>
                      </a:lnTo>
                      <a:lnTo>
                        <a:pt x="55" y="241"/>
                      </a:lnTo>
                      <a:lnTo>
                        <a:pt x="55" y="240"/>
                      </a:lnTo>
                      <a:lnTo>
                        <a:pt x="54" y="240"/>
                      </a:lnTo>
                      <a:lnTo>
                        <a:pt x="53" y="241"/>
                      </a:lnTo>
                      <a:lnTo>
                        <a:pt x="52" y="241"/>
                      </a:lnTo>
                      <a:lnTo>
                        <a:pt x="51" y="240"/>
                      </a:lnTo>
                      <a:lnTo>
                        <a:pt x="50" y="240"/>
                      </a:lnTo>
                      <a:lnTo>
                        <a:pt x="50" y="239"/>
                      </a:lnTo>
                      <a:lnTo>
                        <a:pt x="48" y="238"/>
                      </a:lnTo>
                      <a:lnTo>
                        <a:pt x="48" y="237"/>
                      </a:lnTo>
                      <a:lnTo>
                        <a:pt x="48" y="234"/>
                      </a:lnTo>
                      <a:lnTo>
                        <a:pt x="46" y="233"/>
                      </a:lnTo>
                      <a:lnTo>
                        <a:pt x="46" y="232"/>
                      </a:lnTo>
                      <a:lnTo>
                        <a:pt x="45" y="232"/>
                      </a:lnTo>
                      <a:lnTo>
                        <a:pt x="45" y="231"/>
                      </a:lnTo>
                      <a:lnTo>
                        <a:pt x="45" y="230"/>
                      </a:lnTo>
                      <a:lnTo>
                        <a:pt x="44" y="230"/>
                      </a:lnTo>
                      <a:lnTo>
                        <a:pt x="44" y="229"/>
                      </a:lnTo>
                      <a:lnTo>
                        <a:pt x="43" y="229"/>
                      </a:lnTo>
                      <a:lnTo>
                        <a:pt x="43" y="227"/>
                      </a:lnTo>
                      <a:lnTo>
                        <a:pt x="43" y="226"/>
                      </a:lnTo>
                      <a:lnTo>
                        <a:pt x="43" y="225"/>
                      </a:lnTo>
                      <a:lnTo>
                        <a:pt x="43" y="224"/>
                      </a:lnTo>
                      <a:lnTo>
                        <a:pt x="43" y="225"/>
                      </a:lnTo>
                      <a:lnTo>
                        <a:pt x="41" y="225"/>
                      </a:lnTo>
                      <a:lnTo>
                        <a:pt x="41" y="224"/>
                      </a:lnTo>
                      <a:lnTo>
                        <a:pt x="41" y="223"/>
                      </a:lnTo>
                      <a:lnTo>
                        <a:pt x="41" y="222"/>
                      </a:lnTo>
                      <a:lnTo>
                        <a:pt x="40" y="220"/>
                      </a:lnTo>
                      <a:lnTo>
                        <a:pt x="39" y="220"/>
                      </a:lnTo>
                      <a:lnTo>
                        <a:pt x="39" y="219"/>
                      </a:lnTo>
                      <a:lnTo>
                        <a:pt x="39" y="218"/>
                      </a:lnTo>
                      <a:lnTo>
                        <a:pt x="38" y="217"/>
                      </a:lnTo>
                      <a:lnTo>
                        <a:pt x="37" y="212"/>
                      </a:lnTo>
                      <a:lnTo>
                        <a:pt x="36" y="212"/>
                      </a:lnTo>
                      <a:lnTo>
                        <a:pt x="36" y="211"/>
                      </a:lnTo>
                      <a:lnTo>
                        <a:pt x="34" y="211"/>
                      </a:lnTo>
                      <a:lnTo>
                        <a:pt x="34" y="210"/>
                      </a:lnTo>
                      <a:lnTo>
                        <a:pt x="33" y="210"/>
                      </a:lnTo>
                      <a:lnTo>
                        <a:pt x="33" y="209"/>
                      </a:lnTo>
                      <a:lnTo>
                        <a:pt x="32" y="209"/>
                      </a:lnTo>
                      <a:lnTo>
                        <a:pt x="32" y="208"/>
                      </a:lnTo>
                      <a:lnTo>
                        <a:pt x="31" y="205"/>
                      </a:lnTo>
                      <a:lnTo>
                        <a:pt x="32" y="204"/>
                      </a:lnTo>
                      <a:lnTo>
                        <a:pt x="31" y="204"/>
                      </a:lnTo>
                      <a:lnTo>
                        <a:pt x="31" y="203"/>
                      </a:lnTo>
                      <a:lnTo>
                        <a:pt x="32" y="202"/>
                      </a:lnTo>
                      <a:lnTo>
                        <a:pt x="32" y="201"/>
                      </a:lnTo>
                      <a:lnTo>
                        <a:pt x="31" y="197"/>
                      </a:lnTo>
                      <a:lnTo>
                        <a:pt x="30" y="196"/>
                      </a:lnTo>
                      <a:lnTo>
                        <a:pt x="30" y="195"/>
                      </a:lnTo>
                      <a:lnTo>
                        <a:pt x="30" y="194"/>
                      </a:lnTo>
                      <a:lnTo>
                        <a:pt x="29" y="194"/>
                      </a:lnTo>
                      <a:lnTo>
                        <a:pt x="29" y="192"/>
                      </a:lnTo>
                      <a:lnTo>
                        <a:pt x="29" y="194"/>
                      </a:lnTo>
                      <a:lnTo>
                        <a:pt x="30" y="194"/>
                      </a:lnTo>
                      <a:lnTo>
                        <a:pt x="31" y="192"/>
                      </a:lnTo>
                      <a:lnTo>
                        <a:pt x="31" y="191"/>
                      </a:lnTo>
                      <a:lnTo>
                        <a:pt x="30" y="191"/>
                      </a:lnTo>
                      <a:lnTo>
                        <a:pt x="31" y="191"/>
                      </a:lnTo>
                      <a:lnTo>
                        <a:pt x="31" y="190"/>
                      </a:lnTo>
                      <a:lnTo>
                        <a:pt x="31" y="189"/>
                      </a:lnTo>
                      <a:lnTo>
                        <a:pt x="31" y="188"/>
                      </a:lnTo>
                      <a:lnTo>
                        <a:pt x="29" y="188"/>
                      </a:lnTo>
                      <a:lnTo>
                        <a:pt x="29" y="187"/>
                      </a:lnTo>
                      <a:lnTo>
                        <a:pt x="26" y="184"/>
                      </a:lnTo>
                      <a:lnTo>
                        <a:pt x="25" y="183"/>
                      </a:lnTo>
                      <a:lnTo>
                        <a:pt x="25" y="182"/>
                      </a:lnTo>
                      <a:lnTo>
                        <a:pt x="24" y="180"/>
                      </a:lnTo>
                      <a:lnTo>
                        <a:pt x="24" y="178"/>
                      </a:lnTo>
                      <a:lnTo>
                        <a:pt x="23" y="178"/>
                      </a:lnTo>
                      <a:lnTo>
                        <a:pt x="22" y="177"/>
                      </a:lnTo>
                      <a:lnTo>
                        <a:pt x="19" y="175"/>
                      </a:lnTo>
                      <a:lnTo>
                        <a:pt x="18" y="174"/>
                      </a:lnTo>
                      <a:lnTo>
                        <a:pt x="18" y="173"/>
                      </a:lnTo>
                      <a:lnTo>
                        <a:pt x="17" y="173"/>
                      </a:lnTo>
                      <a:lnTo>
                        <a:pt x="15" y="173"/>
                      </a:lnTo>
                      <a:lnTo>
                        <a:pt x="14" y="173"/>
                      </a:lnTo>
                      <a:lnTo>
                        <a:pt x="11" y="174"/>
                      </a:lnTo>
                      <a:lnTo>
                        <a:pt x="11" y="173"/>
                      </a:lnTo>
                      <a:lnTo>
                        <a:pt x="10" y="173"/>
                      </a:lnTo>
                      <a:lnTo>
                        <a:pt x="9" y="171"/>
                      </a:lnTo>
                      <a:lnTo>
                        <a:pt x="5" y="168"/>
                      </a:lnTo>
                      <a:lnTo>
                        <a:pt x="5" y="167"/>
                      </a:lnTo>
                      <a:lnTo>
                        <a:pt x="4" y="167"/>
                      </a:lnTo>
                      <a:lnTo>
                        <a:pt x="4" y="166"/>
                      </a:lnTo>
                      <a:lnTo>
                        <a:pt x="4" y="164"/>
                      </a:lnTo>
                      <a:lnTo>
                        <a:pt x="4" y="162"/>
                      </a:lnTo>
                      <a:lnTo>
                        <a:pt x="4" y="160"/>
                      </a:lnTo>
                      <a:lnTo>
                        <a:pt x="5" y="159"/>
                      </a:lnTo>
                      <a:lnTo>
                        <a:pt x="5" y="157"/>
                      </a:lnTo>
                      <a:lnTo>
                        <a:pt x="7" y="157"/>
                      </a:lnTo>
                      <a:lnTo>
                        <a:pt x="8" y="157"/>
                      </a:lnTo>
                      <a:lnTo>
                        <a:pt x="10" y="156"/>
                      </a:lnTo>
                      <a:lnTo>
                        <a:pt x="10" y="155"/>
                      </a:lnTo>
                      <a:lnTo>
                        <a:pt x="11" y="155"/>
                      </a:lnTo>
                      <a:lnTo>
                        <a:pt x="11" y="154"/>
                      </a:lnTo>
                      <a:lnTo>
                        <a:pt x="11" y="153"/>
                      </a:lnTo>
                      <a:lnTo>
                        <a:pt x="11" y="152"/>
                      </a:lnTo>
                      <a:lnTo>
                        <a:pt x="8" y="145"/>
                      </a:lnTo>
                      <a:lnTo>
                        <a:pt x="8" y="143"/>
                      </a:lnTo>
                      <a:lnTo>
                        <a:pt x="5" y="142"/>
                      </a:lnTo>
                      <a:lnTo>
                        <a:pt x="5" y="141"/>
                      </a:lnTo>
                      <a:lnTo>
                        <a:pt x="4" y="140"/>
                      </a:lnTo>
                      <a:lnTo>
                        <a:pt x="5" y="139"/>
                      </a:lnTo>
                      <a:lnTo>
                        <a:pt x="5" y="138"/>
                      </a:lnTo>
                      <a:lnTo>
                        <a:pt x="7" y="136"/>
                      </a:lnTo>
                      <a:lnTo>
                        <a:pt x="7" y="135"/>
                      </a:lnTo>
                      <a:lnTo>
                        <a:pt x="7" y="134"/>
                      </a:lnTo>
                      <a:lnTo>
                        <a:pt x="7" y="135"/>
                      </a:lnTo>
                      <a:lnTo>
                        <a:pt x="7" y="134"/>
                      </a:lnTo>
                      <a:lnTo>
                        <a:pt x="7" y="133"/>
                      </a:lnTo>
                      <a:lnTo>
                        <a:pt x="7" y="132"/>
                      </a:lnTo>
                      <a:lnTo>
                        <a:pt x="8" y="132"/>
                      </a:lnTo>
                      <a:lnTo>
                        <a:pt x="8" y="131"/>
                      </a:lnTo>
                      <a:lnTo>
                        <a:pt x="8" y="129"/>
                      </a:lnTo>
                      <a:lnTo>
                        <a:pt x="7" y="128"/>
                      </a:lnTo>
                      <a:lnTo>
                        <a:pt x="5" y="127"/>
                      </a:lnTo>
                      <a:lnTo>
                        <a:pt x="7" y="127"/>
                      </a:lnTo>
                      <a:lnTo>
                        <a:pt x="5" y="126"/>
                      </a:lnTo>
                      <a:lnTo>
                        <a:pt x="4" y="126"/>
                      </a:lnTo>
                      <a:lnTo>
                        <a:pt x="4" y="125"/>
                      </a:lnTo>
                      <a:lnTo>
                        <a:pt x="3" y="125"/>
                      </a:lnTo>
                      <a:lnTo>
                        <a:pt x="3" y="124"/>
                      </a:lnTo>
                      <a:lnTo>
                        <a:pt x="2" y="124"/>
                      </a:lnTo>
                      <a:lnTo>
                        <a:pt x="1" y="124"/>
                      </a:lnTo>
                      <a:lnTo>
                        <a:pt x="0" y="124"/>
                      </a:lnTo>
                      <a:lnTo>
                        <a:pt x="1" y="122"/>
                      </a:lnTo>
                      <a:lnTo>
                        <a:pt x="1" y="121"/>
                      </a:lnTo>
                      <a:lnTo>
                        <a:pt x="1" y="119"/>
                      </a:lnTo>
                      <a:lnTo>
                        <a:pt x="2" y="111"/>
                      </a:lnTo>
                      <a:lnTo>
                        <a:pt x="2" y="108"/>
                      </a:lnTo>
                      <a:lnTo>
                        <a:pt x="3" y="110"/>
                      </a:lnTo>
                      <a:lnTo>
                        <a:pt x="4" y="110"/>
                      </a:lnTo>
                      <a:lnTo>
                        <a:pt x="5" y="110"/>
                      </a:lnTo>
                      <a:lnTo>
                        <a:pt x="5" y="108"/>
                      </a:lnTo>
                      <a:lnTo>
                        <a:pt x="5" y="107"/>
                      </a:lnTo>
                      <a:lnTo>
                        <a:pt x="7" y="107"/>
                      </a:lnTo>
                      <a:lnTo>
                        <a:pt x="7" y="106"/>
                      </a:lnTo>
                      <a:lnTo>
                        <a:pt x="8" y="106"/>
                      </a:lnTo>
                      <a:lnTo>
                        <a:pt x="10" y="106"/>
                      </a:lnTo>
                      <a:lnTo>
                        <a:pt x="11" y="105"/>
                      </a:lnTo>
                      <a:lnTo>
                        <a:pt x="12" y="104"/>
                      </a:lnTo>
                      <a:lnTo>
                        <a:pt x="14" y="104"/>
                      </a:lnTo>
                      <a:lnTo>
                        <a:pt x="14" y="103"/>
                      </a:lnTo>
                      <a:lnTo>
                        <a:pt x="15" y="101"/>
                      </a:lnTo>
                      <a:lnTo>
                        <a:pt x="15" y="100"/>
                      </a:lnTo>
                      <a:lnTo>
                        <a:pt x="17" y="99"/>
                      </a:lnTo>
                      <a:lnTo>
                        <a:pt x="18" y="98"/>
                      </a:lnTo>
                      <a:lnTo>
                        <a:pt x="18" y="97"/>
                      </a:lnTo>
                      <a:lnTo>
                        <a:pt x="18" y="96"/>
                      </a:lnTo>
                      <a:lnTo>
                        <a:pt x="19" y="94"/>
                      </a:lnTo>
                      <a:lnTo>
                        <a:pt x="19" y="92"/>
                      </a:lnTo>
                      <a:lnTo>
                        <a:pt x="21" y="92"/>
                      </a:lnTo>
                      <a:lnTo>
                        <a:pt x="22" y="90"/>
                      </a:lnTo>
                      <a:lnTo>
                        <a:pt x="23" y="89"/>
                      </a:lnTo>
                      <a:lnTo>
                        <a:pt x="24" y="87"/>
                      </a:lnTo>
                      <a:lnTo>
                        <a:pt x="25" y="89"/>
                      </a:lnTo>
                      <a:lnTo>
                        <a:pt x="25" y="87"/>
                      </a:lnTo>
                      <a:lnTo>
                        <a:pt x="25" y="86"/>
                      </a:lnTo>
                      <a:lnTo>
                        <a:pt x="25" y="85"/>
                      </a:lnTo>
                      <a:lnTo>
                        <a:pt x="26" y="83"/>
                      </a:lnTo>
                      <a:lnTo>
                        <a:pt x="26" y="82"/>
                      </a:lnTo>
                      <a:lnTo>
                        <a:pt x="26" y="80"/>
                      </a:lnTo>
                      <a:lnTo>
                        <a:pt x="28" y="80"/>
                      </a:lnTo>
                      <a:lnTo>
                        <a:pt x="28" y="79"/>
                      </a:lnTo>
                      <a:lnTo>
                        <a:pt x="29" y="79"/>
                      </a:lnTo>
                      <a:lnTo>
                        <a:pt x="30" y="79"/>
                      </a:lnTo>
                      <a:lnTo>
                        <a:pt x="31" y="78"/>
                      </a:lnTo>
                      <a:lnTo>
                        <a:pt x="32" y="77"/>
                      </a:lnTo>
                      <a:lnTo>
                        <a:pt x="33" y="77"/>
                      </a:lnTo>
                      <a:lnTo>
                        <a:pt x="33" y="76"/>
                      </a:lnTo>
                      <a:lnTo>
                        <a:pt x="32" y="75"/>
                      </a:lnTo>
                      <a:lnTo>
                        <a:pt x="33" y="75"/>
                      </a:lnTo>
                      <a:lnTo>
                        <a:pt x="33" y="73"/>
                      </a:lnTo>
                      <a:lnTo>
                        <a:pt x="34" y="73"/>
                      </a:lnTo>
                      <a:lnTo>
                        <a:pt x="36" y="73"/>
                      </a:lnTo>
                      <a:lnTo>
                        <a:pt x="36" y="72"/>
                      </a:lnTo>
                      <a:lnTo>
                        <a:pt x="37" y="72"/>
                      </a:lnTo>
                      <a:lnTo>
                        <a:pt x="38" y="72"/>
                      </a:lnTo>
                      <a:lnTo>
                        <a:pt x="39" y="71"/>
                      </a:lnTo>
                      <a:lnTo>
                        <a:pt x="39" y="70"/>
                      </a:lnTo>
                      <a:lnTo>
                        <a:pt x="39" y="69"/>
                      </a:lnTo>
                      <a:lnTo>
                        <a:pt x="39" y="68"/>
                      </a:lnTo>
                      <a:lnTo>
                        <a:pt x="39" y="66"/>
                      </a:lnTo>
                      <a:lnTo>
                        <a:pt x="38" y="65"/>
                      </a:lnTo>
                      <a:lnTo>
                        <a:pt x="38" y="64"/>
                      </a:lnTo>
                      <a:lnTo>
                        <a:pt x="39" y="63"/>
                      </a:lnTo>
                      <a:lnTo>
                        <a:pt x="38" y="63"/>
                      </a:lnTo>
                      <a:lnTo>
                        <a:pt x="37" y="63"/>
                      </a:lnTo>
                      <a:lnTo>
                        <a:pt x="36" y="63"/>
                      </a:lnTo>
                      <a:lnTo>
                        <a:pt x="34" y="63"/>
                      </a:lnTo>
                      <a:lnTo>
                        <a:pt x="33" y="63"/>
                      </a:lnTo>
                      <a:lnTo>
                        <a:pt x="33" y="62"/>
                      </a:lnTo>
                      <a:lnTo>
                        <a:pt x="32" y="62"/>
                      </a:lnTo>
                      <a:lnTo>
                        <a:pt x="31" y="61"/>
                      </a:lnTo>
                      <a:lnTo>
                        <a:pt x="30" y="61"/>
                      </a:lnTo>
                      <a:lnTo>
                        <a:pt x="29" y="62"/>
                      </a:lnTo>
                      <a:lnTo>
                        <a:pt x="29" y="61"/>
                      </a:lnTo>
                      <a:lnTo>
                        <a:pt x="28" y="61"/>
                      </a:lnTo>
                      <a:lnTo>
                        <a:pt x="29" y="61"/>
                      </a:lnTo>
                      <a:lnTo>
                        <a:pt x="28" y="61"/>
                      </a:lnTo>
                      <a:lnTo>
                        <a:pt x="28" y="59"/>
                      </a:lnTo>
                      <a:lnTo>
                        <a:pt x="26" y="58"/>
                      </a:lnTo>
                      <a:lnTo>
                        <a:pt x="26" y="57"/>
                      </a:lnTo>
                      <a:lnTo>
                        <a:pt x="28" y="56"/>
                      </a:lnTo>
                      <a:lnTo>
                        <a:pt x="28" y="55"/>
                      </a:lnTo>
                      <a:lnTo>
                        <a:pt x="30" y="52"/>
                      </a:lnTo>
                      <a:lnTo>
                        <a:pt x="29" y="52"/>
                      </a:lnTo>
                      <a:lnTo>
                        <a:pt x="28" y="54"/>
                      </a:lnTo>
                      <a:lnTo>
                        <a:pt x="26" y="54"/>
                      </a:lnTo>
                      <a:lnTo>
                        <a:pt x="26" y="52"/>
                      </a:lnTo>
                      <a:lnTo>
                        <a:pt x="26" y="51"/>
                      </a:lnTo>
                      <a:lnTo>
                        <a:pt x="28" y="51"/>
                      </a:lnTo>
                      <a:lnTo>
                        <a:pt x="28" y="50"/>
                      </a:lnTo>
                      <a:lnTo>
                        <a:pt x="28" y="49"/>
                      </a:lnTo>
                      <a:lnTo>
                        <a:pt x="29" y="47"/>
                      </a:lnTo>
                      <a:lnTo>
                        <a:pt x="30" y="45"/>
                      </a:lnTo>
                      <a:lnTo>
                        <a:pt x="31" y="44"/>
                      </a:lnTo>
                      <a:lnTo>
                        <a:pt x="32" y="44"/>
                      </a:lnTo>
                      <a:lnTo>
                        <a:pt x="33" y="44"/>
                      </a:lnTo>
                      <a:lnTo>
                        <a:pt x="34" y="43"/>
                      </a:lnTo>
                      <a:lnTo>
                        <a:pt x="36" y="43"/>
                      </a:lnTo>
                      <a:lnTo>
                        <a:pt x="37" y="44"/>
                      </a:lnTo>
                      <a:lnTo>
                        <a:pt x="38" y="44"/>
                      </a:lnTo>
                      <a:lnTo>
                        <a:pt x="38" y="43"/>
                      </a:lnTo>
                      <a:lnTo>
                        <a:pt x="39" y="43"/>
                      </a:lnTo>
                      <a:lnTo>
                        <a:pt x="40" y="42"/>
                      </a:lnTo>
                      <a:lnTo>
                        <a:pt x="40" y="40"/>
                      </a:lnTo>
                      <a:lnTo>
                        <a:pt x="40" y="38"/>
                      </a:lnTo>
                      <a:lnTo>
                        <a:pt x="41" y="35"/>
                      </a:lnTo>
                      <a:lnTo>
                        <a:pt x="41" y="34"/>
                      </a:lnTo>
                      <a:lnTo>
                        <a:pt x="40" y="33"/>
                      </a:lnTo>
                      <a:lnTo>
                        <a:pt x="39" y="33"/>
                      </a:lnTo>
                      <a:lnTo>
                        <a:pt x="39" y="30"/>
                      </a:lnTo>
                      <a:lnTo>
                        <a:pt x="38" y="29"/>
                      </a:lnTo>
                      <a:lnTo>
                        <a:pt x="39" y="29"/>
                      </a:lnTo>
                      <a:lnTo>
                        <a:pt x="39" y="28"/>
                      </a:lnTo>
                      <a:lnTo>
                        <a:pt x="39" y="27"/>
                      </a:lnTo>
                      <a:lnTo>
                        <a:pt x="40" y="27"/>
                      </a:lnTo>
                      <a:lnTo>
                        <a:pt x="39" y="26"/>
                      </a:lnTo>
                      <a:lnTo>
                        <a:pt x="40" y="24"/>
                      </a:lnTo>
                      <a:lnTo>
                        <a:pt x="39" y="24"/>
                      </a:lnTo>
                      <a:lnTo>
                        <a:pt x="39" y="23"/>
                      </a:lnTo>
                      <a:lnTo>
                        <a:pt x="40" y="21"/>
                      </a:lnTo>
                      <a:lnTo>
                        <a:pt x="40" y="20"/>
                      </a:lnTo>
                      <a:lnTo>
                        <a:pt x="39" y="19"/>
                      </a:lnTo>
                      <a:lnTo>
                        <a:pt x="39" y="20"/>
                      </a:lnTo>
                      <a:lnTo>
                        <a:pt x="38" y="19"/>
                      </a:lnTo>
                      <a:lnTo>
                        <a:pt x="38" y="17"/>
                      </a:lnTo>
                      <a:lnTo>
                        <a:pt x="38" y="16"/>
                      </a:lnTo>
                      <a:lnTo>
                        <a:pt x="37" y="16"/>
                      </a:lnTo>
                      <a:lnTo>
                        <a:pt x="37" y="15"/>
                      </a:lnTo>
                      <a:lnTo>
                        <a:pt x="37" y="14"/>
                      </a:lnTo>
                      <a:lnTo>
                        <a:pt x="37" y="13"/>
                      </a:lnTo>
                      <a:lnTo>
                        <a:pt x="36" y="13"/>
                      </a:lnTo>
                      <a:lnTo>
                        <a:pt x="33" y="12"/>
                      </a:lnTo>
                      <a:lnTo>
                        <a:pt x="32" y="12"/>
                      </a:lnTo>
                      <a:lnTo>
                        <a:pt x="32" y="10"/>
                      </a:lnTo>
                      <a:lnTo>
                        <a:pt x="31" y="10"/>
                      </a:lnTo>
                      <a:lnTo>
                        <a:pt x="31" y="9"/>
                      </a:lnTo>
                      <a:lnTo>
                        <a:pt x="31" y="8"/>
                      </a:lnTo>
                      <a:lnTo>
                        <a:pt x="30" y="8"/>
                      </a:lnTo>
                      <a:lnTo>
                        <a:pt x="30" y="7"/>
                      </a:lnTo>
                      <a:lnTo>
                        <a:pt x="30" y="6"/>
                      </a:lnTo>
                      <a:lnTo>
                        <a:pt x="29" y="5"/>
                      </a:lnTo>
                      <a:lnTo>
                        <a:pt x="29" y="6"/>
                      </a:lnTo>
                      <a:lnTo>
                        <a:pt x="28" y="5"/>
                      </a:lnTo>
                      <a:lnTo>
                        <a:pt x="29" y="5"/>
                      </a:lnTo>
                      <a:lnTo>
                        <a:pt x="29" y="3"/>
                      </a:lnTo>
                      <a:lnTo>
                        <a:pt x="28" y="3"/>
                      </a:lnTo>
                      <a:lnTo>
                        <a:pt x="28" y="2"/>
                      </a:lnTo>
                      <a:lnTo>
                        <a:pt x="29" y="2"/>
                      </a:lnTo>
                      <a:lnTo>
                        <a:pt x="30" y="2"/>
                      </a:lnTo>
                      <a:lnTo>
                        <a:pt x="31" y="2"/>
                      </a:lnTo>
                      <a:lnTo>
                        <a:pt x="32" y="2"/>
                      </a:lnTo>
                      <a:lnTo>
                        <a:pt x="33" y="2"/>
                      </a:lnTo>
                      <a:lnTo>
                        <a:pt x="34" y="1"/>
                      </a:lnTo>
                      <a:lnTo>
                        <a:pt x="36" y="1"/>
                      </a:lnTo>
                      <a:lnTo>
                        <a:pt x="37" y="0"/>
                      </a:lnTo>
                      <a:lnTo>
                        <a:pt x="38" y="0"/>
                      </a:lnTo>
                      <a:lnTo>
                        <a:pt x="39" y="0"/>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solidFill>
                      <a:srgbClr val="575757"/>
                    </a:solidFill>
                    <a:latin typeface="+mj-lt"/>
                  </a:endParaRPr>
                </a:p>
              </p:txBody>
            </p:sp>
            <p:sp>
              <p:nvSpPr>
                <p:cNvPr id="102" name="Freeform 122">
                  <a:extLst>
                    <a:ext uri="{FF2B5EF4-FFF2-40B4-BE49-F238E27FC236}">
                      <a16:creationId xmlns:a16="http://schemas.microsoft.com/office/drawing/2014/main" id="{57FAE438-85DE-0A7E-D925-62986C0D18BB}"/>
                    </a:ext>
                  </a:extLst>
                </p:cNvPr>
                <p:cNvSpPr>
                  <a:spLocks noEditPoints="1"/>
                </p:cNvSpPr>
                <p:nvPr/>
              </p:nvSpPr>
              <p:spPr bwMode="auto">
                <a:xfrm>
                  <a:off x="7242683" y="3653663"/>
                  <a:ext cx="186058" cy="194711"/>
                </a:xfrm>
                <a:custGeom>
                  <a:avLst/>
                  <a:gdLst>
                    <a:gd name="T0" fmla="*/ 93 w 172"/>
                    <a:gd name="T1" fmla="*/ 147 h 180"/>
                    <a:gd name="T2" fmla="*/ 81 w 172"/>
                    <a:gd name="T3" fmla="*/ 143 h 180"/>
                    <a:gd name="T4" fmla="*/ 85 w 172"/>
                    <a:gd name="T5" fmla="*/ 149 h 180"/>
                    <a:gd name="T6" fmla="*/ 85 w 172"/>
                    <a:gd name="T7" fmla="*/ 147 h 180"/>
                    <a:gd name="T8" fmla="*/ 88 w 172"/>
                    <a:gd name="T9" fmla="*/ 143 h 180"/>
                    <a:gd name="T10" fmla="*/ 131 w 172"/>
                    <a:gd name="T11" fmla="*/ 137 h 180"/>
                    <a:gd name="T12" fmla="*/ 100 w 172"/>
                    <a:gd name="T13" fmla="*/ 136 h 180"/>
                    <a:gd name="T14" fmla="*/ 102 w 172"/>
                    <a:gd name="T15" fmla="*/ 132 h 180"/>
                    <a:gd name="T16" fmla="*/ 135 w 172"/>
                    <a:gd name="T17" fmla="*/ 132 h 180"/>
                    <a:gd name="T18" fmla="*/ 119 w 172"/>
                    <a:gd name="T19" fmla="*/ 126 h 180"/>
                    <a:gd name="T20" fmla="*/ 118 w 172"/>
                    <a:gd name="T21" fmla="*/ 130 h 180"/>
                    <a:gd name="T22" fmla="*/ 116 w 172"/>
                    <a:gd name="T23" fmla="*/ 126 h 180"/>
                    <a:gd name="T24" fmla="*/ 146 w 172"/>
                    <a:gd name="T25" fmla="*/ 11 h 180"/>
                    <a:gd name="T26" fmla="*/ 151 w 172"/>
                    <a:gd name="T27" fmla="*/ 17 h 180"/>
                    <a:gd name="T28" fmla="*/ 154 w 172"/>
                    <a:gd name="T29" fmla="*/ 30 h 180"/>
                    <a:gd name="T30" fmla="*/ 165 w 172"/>
                    <a:gd name="T31" fmla="*/ 47 h 180"/>
                    <a:gd name="T32" fmla="*/ 168 w 172"/>
                    <a:gd name="T33" fmla="*/ 60 h 180"/>
                    <a:gd name="T34" fmla="*/ 168 w 172"/>
                    <a:gd name="T35" fmla="*/ 86 h 180"/>
                    <a:gd name="T36" fmla="*/ 158 w 172"/>
                    <a:gd name="T37" fmla="*/ 100 h 180"/>
                    <a:gd name="T38" fmla="*/ 149 w 172"/>
                    <a:gd name="T39" fmla="*/ 114 h 180"/>
                    <a:gd name="T40" fmla="*/ 139 w 172"/>
                    <a:gd name="T41" fmla="*/ 126 h 180"/>
                    <a:gd name="T42" fmla="*/ 131 w 172"/>
                    <a:gd name="T43" fmla="*/ 128 h 180"/>
                    <a:gd name="T44" fmla="*/ 129 w 172"/>
                    <a:gd name="T45" fmla="*/ 126 h 180"/>
                    <a:gd name="T46" fmla="*/ 122 w 172"/>
                    <a:gd name="T47" fmla="*/ 126 h 180"/>
                    <a:gd name="T48" fmla="*/ 123 w 172"/>
                    <a:gd name="T49" fmla="*/ 123 h 180"/>
                    <a:gd name="T50" fmla="*/ 121 w 172"/>
                    <a:gd name="T51" fmla="*/ 118 h 180"/>
                    <a:gd name="T52" fmla="*/ 117 w 172"/>
                    <a:gd name="T53" fmla="*/ 123 h 180"/>
                    <a:gd name="T54" fmla="*/ 110 w 172"/>
                    <a:gd name="T55" fmla="*/ 126 h 180"/>
                    <a:gd name="T56" fmla="*/ 105 w 172"/>
                    <a:gd name="T57" fmla="*/ 129 h 180"/>
                    <a:gd name="T58" fmla="*/ 100 w 172"/>
                    <a:gd name="T59" fmla="*/ 130 h 180"/>
                    <a:gd name="T60" fmla="*/ 97 w 172"/>
                    <a:gd name="T61" fmla="*/ 126 h 180"/>
                    <a:gd name="T62" fmla="*/ 94 w 172"/>
                    <a:gd name="T63" fmla="*/ 132 h 180"/>
                    <a:gd name="T64" fmla="*/ 90 w 172"/>
                    <a:gd name="T65" fmla="*/ 131 h 180"/>
                    <a:gd name="T66" fmla="*/ 85 w 172"/>
                    <a:gd name="T67" fmla="*/ 135 h 180"/>
                    <a:gd name="T68" fmla="*/ 78 w 172"/>
                    <a:gd name="T69" fmla="*/ 137 h 180"/>
                    <a:gd name="T70" fmla="*/ 76 w 172"/>
                    <a:gd name="T71" fmla="*/ 144 h 180"/>
                    <a:gd name="T72" fmla="*/ 68 w 172"/>
                    <a:gd name="T73" fmla="*/ 158 h 180"/>
                    <a:gd name="T74" fmla="*/ 53 w 172"/>
                    <a:gd name="T75" fmla="*/ 165 h 180"/>
                    <a:gd name="T76" fmla="*/ 28 w 172"/>
                    <a:gd name="T77" fmla="*/ 167 h 180"/>
                    <a:gd name="T78" fmla="*/ 18 w 172"/>
                    <a:gd name="T79" fmla="*/ 177 h 180"/>
                    <a:gd name="T80" fmla="*/ 8 w 172"/>
                    <a:gd name="T81" fmla="*/ 175 h 180"/>
                    <a:gd name="T82" fmla="*/ 0 w 172"/>
                    <a:gd name="T83" fmla="*/ 171 h 180"/>
                    <a:gd name="T84" fmla="*/ 1 w 172"/>
                    <a:gd name="T85" fmla="*/ 153 h 180"/>
                    <a:gd name="T86" fmla="*/ 9 w 172"/>
                    <a:gd name="T87" fmla="*/ 144 h 180"/>
                    <a:gd name="T88" fmla="*/ 3 w 172"/>
                    <a:gd name="T89" fmla="*/ 137 h 180"/>
                    <a:gd name="T90" fmla="*/ 11 w 172"/>
                    <a:gd name="T91" fmla="*/ 118 h 180"/>
                    <a:gd name="T92" fmla="*/ 19 w 172"/>
                    <a:gd name="T93" fmla="*/ 103 h 180"/>
                    <a:gd name="T94" fmla="*/ 29 w 172"/>
                    <a:gd name="T95" fmla="*/ 95 h 180"/>
                    <a:gd name="T96" fmla="*/ 31 w 172"/>
                    <a:gd name="T97" fmla="*/ 101 h 180"/>
                    <a:gd name="T98" fmla="*/ 48 w 172"/>
                    <a:gd name="T99" fmla="*/ 83 h 180"/>
                    <a:gd name="T100" fmla="*/ 58 w 172"/>
                    <a:gd name="T101" fmla="*/ 70 h 180"/>
                    <a:gd name="T102" fmla="*/ 59 w 172"/>
                    <a:gd name="T103" fmla="*/ 60 h 180"/>
                    <a:gd name="T104" fmla="*/ 47 w 172"/>
                    <a:gd name="T105" fmla="*/ 61 h 180"/>
                    <a:gd name="T106" fmla="*/ 37 w 172"/>
                    <a:gd name="T107" fmla="*/ 56 h 180"/>
                    <a:gd name="T108" fmla="*/ 40 w 172"/>
                    <a:gd name="T109" fmla="*/ 41 h 180"/>
                    <a:gd name="T110" fmla="*/ 43 w 172"/>
                    <a:gd name="T111" fmla="*/ 25 h 180"/>
                    <a:gd name="T112" fmla="*/ 47 w 172"/>
                    <a:gd name="T113" fmla="*/ 16 h 180"/>
                    <a:gd name="T114" fmla="*/ 71 w 172"/>
                    <a:gd name="T115" fmla="*/ 13 h 180"/>
                    <a:gd name="T116" fmla="*/ 83 w 172"/>
                    <a:gd name="T117" fmla="*/ 19 h 180"/>
                    <a:gd name="T118" fmla="*/ 118 w 172"/>
                    <a:gd name="T119" fmla="*/ 16 h 180"/>
                    <a:gd name="T120" fmla="*/ 143 w 172"/>
                    <a:gd name="T121" fmla="*/ 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180">
                      <a:moveTo>
                        <a:pt x="72" y="165"/>
                      </a:moveTo>
                      <a:lnTo>
                        <a:pt x="71" y="165"/>
                      </a:lnTo>
                      <a:lnTo>
                        <a:pt x="72" y="165"/>
                      </a:lnTo>
                      <a:close/>
                      <a:moveTo>
                        <a:pt x="94" y="146"/>
                      </a:moveTo>
                      <a:lnTo>
                        <a:pt x="93" y="146"/>
                      </a:lnTo>
                      <a:lnTo>
                        <a:pt x="93" y="147"/>
                      </a:lnTo>
                      <a:lnTo>
                        <a:pt x="93" y="149"/>
                      </a:lnTo>
                      <a:lnTo>
                        <a:pt x="92" y="149"/>
                      </a:lnTo>
                      <a:lnTo>
                        <a:pt x="92" y="150"/>
                      </a:lnTo>
                      <a:lnTo>
                        <a:pt x="90" y="150"/>
                      </a:lnTo>
                      <a:lnTo>
                        <a:pt x="92" y="149"/>
                      </a:lnTo>
                      <a:lnTo>
                        <a:pt x="92" y="147"/>
                      </a:lnTo>
                      <a:lnTo>
                        <a:pt x="93" y="147"/>
                      </a:lnTo>
                      <a:lnTo>
                        <a:pt x="93" y="146"/>
                      </a:lnTo>
                      <a:lnTo>
                        <a:pt x="94" y="146"/>
                      </a:lnTo>
                      <a:close/>
                      <a:moveTo>
                        <a:pt x="89" y="145"/>
                      </a:moveTo>
                      <a:lnTo>
                        <a:pt x="88" y="146"/>
                      </a:lnTo>
                      <a:lnTo>
                        <a:pt x="88" y="145"/>
                      </a:lnTo>
                      <a:lnTo>
                        <a:pt x="89" y="145"/>
                      </a:lnTo>
                      <a:lnTo>
                        <a:pt x="88" y="145"/>
                      </a:lnTo>
                      <a:lnTo>
                        <a:pt x="88" y="144"/>
                      </a:lnTo>
                      <a:lnTo>
                        <a:pt x="89" y="144"/>
                      </a:lnTo>
                      <a:lnTo>
                        <a:pt x="89" y="145"/>
                      </a:lnTo>
                      <a:close/>
                      <a:moveTo>
                        <a:pt x="80" y="142"/>
                      </a:moveTo>
                      <a:lnTo>
                        <a:pt x="82" y="142"/>
                      </a:lnTo>
                      <a:lnTo>
                        <a:pt x="81" y="143"/>
                      </a:lnTo>
                      <a:lnTo>
                        <a:pt x="81" y="144"/>
                      </a:lnTo>
                      <a:lnTo>
                        <a:pt x="82" y="144"/>
                      </a:lnTo>
                      <a:lnTo>
                        <a:pt x="83" y="144"/>
                      </a:lnTo>
                      <a:lnTo>
                        <a:pt x="85" y="144"/>
                      </a:lnTo>
                      <a:lnTo>
                        <a:pt x="86" y="144"/>
                      </a:lnTo>
                      <a:lnTo>
                        <a:pt x="86" y="143"/>
                      </a:lnTo>
                      <a:lnTo>
                        <a:pt x="86" y="144"/>
                      </a:lnTo>
                      <a:lnTo>
                        <a:pt x="87" y="145"/>
                      </a:lnTo>
                      <a:lnTo>
                        <a:pt x="86" y="145"/>
                      </a:lnTo>
                      <a:lnTo>
                        <a:pt x="86" y="146"/>
                      </a:lnTo>
                      <a:lnTo>
                        <a:pt x="86" y="147"/>
                      </a:lnTo>
                      <a:lnTo>
                        <a:pt x="86" y="149"/>
                      </a:lnTo>
                      <a:lnTo>
                        <a:pt x="85" y="149"/>
                      </a:lnTo>
                      <a:lnTo>
                        <a:pt x="85" y="150"/>
                      </a:lnTo>
                      <a:lnTo>
                        <a:pt x="85" y="149"/>
                      </a:lnTo>
                      <a:lnTo>
                        <a:pt x="83" y="149"/>
                      </a:lnTo>
                      <a:lnTo>
                        <a:pt x="82" y="149"/>
                      </a:lnTo>
                      <a:lnTo>
                        <a:pt x="82" y="150"/>
                      </a:lnTo>
                      <a:lnTo>
                        <a:pt x="82" y="151"/>
                      </a:lnTo>
                      <a:lnTo>
                        <a:pt x="81" y="151"/>
                      </a:lnTo>
                      <a:lnTo>
                        <a:pt x="81" y="150"/>
                      </a:lnTo>
                      <a:lnTo>
                        <a:pt x="82" y="149"/>
                      </a:lnTo>
                      <a:lnTo>
                        <a:pt x="82" y="147"/>
                      </a:lnTo>
                      <a:lnTo>
                        <a:pt x="83" y="147"/>
                      </a:lnTo>
                      <a:lnTo>
                        <a:pt x="83" y="146"/>
                      </a:lnTo>
                      <a:lnTo>
                        <a:pt x="85" y="147"/>
                      </a:lnTo>
                      <a:lnTo>
                        <a:pt x="85" y="146"/>
                      </a:lnTo>
                      <a:lnTo>
                        <a:pt x="83" y="146"/>
                      </a:lnTo>
                      <a:lnTo>
                        <a:pt x="83" y="145"/>
                      </a:lnTo>
                      <a:lnTo>
                        <a:pt x="82" y="144"/>
                      </a:lnTo>
                      <a:lnTo>
                        <a:pt x="82" y="145"/>
                      </a:lnTo>
                      <a:lnTo>
                        <a:pt x="81" y="145"/>
                      </a:lnTo>
                      <a:lnTo>
                        <a:pt x="80" y="144"/>
                      </a:lnTo>
                      <a:lnTo>
                        <a:pt x="80" y="143"/>
                      </a:lnTo>
                      <a:lnTo>
                        <a:pt x="79" y="143"/>
                      </a:lnTo>
                      <a:lnTo>
                        <a:pt x="79" y="142"/>
                      </a:lnTo>
                      <a:lnTo>
                        <a:pt x="80" y="142"/>
                      </a:lnTo>
                      <a:close/>
                      <a:moveTo>
                        <a:pt x="88" y="142"/>
                      </a:moveTo>
                      <a:lnTo>
                        <a:pt x="88" y="143"/>
                      </a:lnTo>
                      <a:lnTo>
                        <a:pt x="88" y="142"/>
                      </a:lnTo>
                      <a:lnTo>
                        <a:pt x="87" y="142"/>
                      </a:lnTo>
                      <a:lnTo>
                        <a:pt x="87" y="140"/>
                      </a:lnTo>
                      <a:lnTo>
                        <a:pt x="86" y="140"/>
                      </a:lnTo>
                      <a:lnTo>
                        <a:pt x="87" y="140"/>
                      </a:lnTo>
                      <a:lnTo>
                        <a:pt x="88" y="142"/>
                      </a:lnTo>
                      <a:close/>
                      <a:moveTo>
                        <a:pt x="131" y="138"/>
                      </a:moveTo>
                      <a:lnTo>
                        <a:pt x="131" y="139"/>
                      </a:lnTo>
                      <a:lnTo>
                        <a:pt x="130" y="139"/>
                      </a:lnTo>
                      <a:lnTo>
                        <a:pt x="130" y="138"/>
                      </a:lnTo>
                      <a:lnTo>
                        <a:pt x="129" y="138"/>
                      </a:lnTo>
                      <a:lnTo>
                        <a:pt x="130" y="138"/>
                      </a:lnTo>
                      <a:lnTo>
                        <a:pt x="131" y="137"/>
                      </a:lnTo>
                      <a:lnTo>
                        <a:pt x="131" y="138"/>
                      </a:lnTo>
                      <a:close/>
                      <a:moveTo>
                        <a:pt x="101" y="137"/>
                      </a:moveTo>
                      <a:lnTo>
                        <a:pt x="102" y="137"/>
                      </a:lnTo>
                      <a:lnTo>
                        <a:pt x="102" y="138"/>
                      </a:lnTo>
                      <a:lnTo>
                        <a:pt x="101" y="138"/>
                      </a:lnTo>
                      <a:lnTo>
                        <a:pt x="100" y="138"/>
                      </a:lnTo>
                      <a:lnTo>
                        <a:pt x="101" y="138"/>
                      </a:lnTo>
                      <a:lnTo>
                        <a:pt x="100" y="138"/>
                      </a:lnTo>
                      <a:lnTo>
                        <a:pt x="98" y="138"/>
                      </a:lnTo>
                      <a:lnTo>
                        <a:pt x="97" y="137"/>
                      </a:lnTo>
                      <a:lnTo>
                        <a:pt x="98" y="137"/>
                      </a:lnTo>
                      <a:lnTo>
                        <a:pt x="100" y="137"/>
                      </a:lnTo>
                      <a:lnTo>
                        <a:pt x="100" y="136"/>
                      </a:lnTo>
                      <a:lnTo>
                        <a:pt x="100" y="137"/>
                      </a:lnTo>
                      <a:lnTo>
                        <a:pt x="101" y="137"/>
                      </a:lnTo>
                      <a:lnTo>
                        <a:pt x="100" y="136"/>
                      </a:lnTo>
                      <a:lnTo>
                        <a:pt x="100" y="135"/>
                      </a:lnTo>
                      <a:lnTo>
                        <a:pt x="101" y="136"/>
                      </a:lnTo>
                      <a:lnTo>
                        <a:pt x="101" y="137"/>
                      </a:lnTo>
                      <a:close/>
                      <a:moveTo>
                        <a:pt x="102" y="133"/>
                      </a:moveTo>
                      <a:lnTo>
                        <a:pt x="102" y="135"/>
                      </a:lnTo>
                      <a:lnTo>
                        <a:pt x="101" y="136"/>
                      </a:lnTo>
                      <a:lnTo>
                        <a:pt x="101" y="135"/>
                      </a:lnTo>
                      <a:lnTo>
                        <a:pt x="101" y="133"/>
                      </a:lnTo>
                      <a:lnTo>
                        <a:pt x="102" y="133"/>
                      </a:lnTo>
                      <a:lnTo>
                        <a:pt x="102" y="132"/>
                      </a:lnTo>
                      <a:lnTo>
                        <a:pt x="102" y="133"/>
                      </a:lnTo>
                      <a:close/>
                      <a:moveTo>
                        <a:pt x="117" y="132"/>
                      </a:moveTo>
                      <a:lnTo>
                        <a:pt x="118" y="132"/>
                      </a:lnTo>
                      <a:lnTo>
                        <a:pt x="118" y="133"/>
                      </a:lnTo>
                      <a:lnTo>
                        <a:pt x="117" y="133"/>
                      </a:lnTo>
                      <a:lnTo>
                        <a:pt x="116" y="133"/>
                      </a:lnTo>
                      <a:lnTo>
                        <a:pt x="116" y="132"/>
                      </a:lnTo>
                      <a:lnTo>
                        <a:pt x="117" y="132"/>
                      </a:lnTo>
                      <a:close/>
                      <a:moveTo>
                        <a:pt x="135" y="130"/>
                      </a:moveTo>
                      <a:lnTo>
                        <a:pt x="135" y="131"/>
                      </a:lnTo>
                      <a:lnTo>
                        <a:pt x="136" y="131"/>
                      </a:lnTo>
                      <a:lnTo>
                        <a:pt x="136" y="132"/>
                      </a:lnTo>
                      <a:lnTo>
                        <a:pt x="135" y="132"/>
                      </a:lnTo>
                      <a:lnTo>
                        <a:pt x="133" y="132"/>
                      </a:lnTo>
                      <a:lnTo>
                        <a:pt x="132" y="131"/>
                      </a:lnTo>
                      <a:lnTo>
                        <a:pt x="133" y="130"/>
                      </a:lnTo>
                      <a:lnTo>
                        <a:pt x="135" y="130"/>
                      </a:lnTo>
                      <a:close/>
                      <a:moveTo>
                        <a:pt x="114" y="130"/>
                      </a:moveTo>
                      <a:lnTo>
                        <a:pt x="114" y="131"/>
                      </a:lnTo>
                      <a:lnTo>
                        <a:pt x="114" y="130"/>
                      </a:lnTo>
                      <a:lnTo>
                        <a:pt x="114" y="129"/>
                      </a:lnTo>
                      <a:lnTo>
                        <a:pt x="115" y="129"/>
                      </a:lnTo>
                      <a:lnTo>
                        <a:pt x="114" y="129"/>
                      </a:lnTo>
                      <a:lnTo>
                        <a:pt x="114" y="130"/>
                      </a:lnTo>
                      <a:close/>
                      <a:moveTo>
                        <a:pt x="118" y="126"/>
                      </a:moveTo>
                      <a:lnTo>
                        <a:pt x="119" y="126"/>
                      </a:lnTo>
                      <a:lnTo>
                        <a:pt x="119" y="125"/>
                      </a:lnTo>
                      <a:lnTo>
                        <a:pt x="121" y="125"/>
                      </a:lnTo>
                      <a:lnTo>
                        <a:pt x="119" y="125"/>
                      </a:lnTo>
                      <a:lnTo>
                        <a:pt x="119" y="124"/>
                      </a:lnTo>
                      <a:lnTo>
                        <a:pt x="121" y="124"/>
                      </a:lnTo>
                      <a:lnTo>
                        <a:pt x="121" y="125"/>
                      </a:lnTo>
                      <a:lnTo>
                        <a:pt x="121" y="126"/>
                      </a:lnTo>
                      <a:lnTo>
                        <a:pt x="121" y="128"/>
                      </a:lnTo>
                      <a:lnTo>
                        <a:pt x="119" y="128"/>
                      </a:lnTo>
                      <a:lnTo>
                        <a:pt x="118" y="128"/>
                      </a:lnTo>
                      <a:lnTo>
                        <a:pt x="118" y="129"/>
                      </a:lnTo>
                      <a:lnTo>
                        <a:pt x="119" y="129"/>
                      </a:lnTo>
                      <a:lnTo>
                        <a:pt x="118" y="130"/>
                      </a:lnTo>
                      <a:lnTo>
                        <a:pt x="118" y="131"/>
                      </a:lnTo>
                      <a:lnTo>
                        <a:pt x="119" y="131"/>
                      </a:lnTo>
                      <a:lnTo>
                        <a:pt x="118" y="131"/>
                      </a:lnTo>
                      <a:lnTo>
                        <a:pt x="118" y="130"/>
                      </a:lnTo>
                      <a:lnTo>
                        <a:pt x="117" y="131"/>
                      </a:lnTo>
                      <a:lnTo>
                        <a:pt x="117" y="130"/>
                      </a:lnTo>
                      <a:lnTo>
                        <a:pt x="117" y="129"/>
                      </a:lnTo>
                      <a:lnTo>
                        <a:pt x="116" y="129"/>
                      </a:lnTo>
                      <a:lnTo>
                        <a:pt x="115" y="128"/>
                      </a:lnTo>
                      <a:lnTo>
                        <a:pt x="116" y="129"/>
                      </a:lnTo>
                      <a:lnTo>
                        <a:pt x="117" y="128"/>
                      </a:lnTo>
                      <a:lnTo>
                        <a:pt x="116" y="128"/>
                      </a:lnTo>
                      <a:lnTo>
                        <a:pt x="116" y="126"/>
                      </a:lnTo>
                      <a:lnTo>
                        <a:pt x="115" y="126"/>
                      </a:lnTo>
                      <a:lnTo>
                        <a:pt x="115" y="125"/>
                      </a:lnTo>
                      <a:lnTo>
                        <a:pt x="116" y="125"/>
                      </a:lnTo>
                      <a:lnTo>
                        <a:pt x="116" y="124"/>
                      </a:lnTo>
                      <a:lnTo>
                        <a:pt x="117" y="124"/>
                      </a:lnTo>
                      <a:lnTo>
                        <a:pt x="118" y="124"/>
                      </a:lnTo>
                      <a:lnTo>
                        <a:pt x="118" y="125"/>
                      </a:lnTo>
                      <a:lnTo>
                        <a:pt x="117" y="125"/>
                      </a:lnTo>
                      <a:lnTo>
                        <a:pt x="118" y="125"/>
                      </a:lnTo>
                      <a:lnTo>
                        <a:pt x="118" y="126"/>
                      </a:lnTo>
                      <a:close/>
                      <a:moveTo>
                        <a:pt x="143" y="12"/>
                      </a:moveTo>
                      <a:lnTo>
                        <a:pt x="144" y="12"/>
                      </a:lnTo>
                      <a:lnTo>
                        <a:pt x="146" y="11"/>
                      </a:lnTo>
                      <a:lnTo>
                        <a:pt x="147" y="12"/>
                      </a:lnTo>
                      <a:lnTo>
                        <a:pt x="146" y="12"/>
                      </a:lnTo>
                      <a:lnTo>
                        <a:pt x="145" y="13"/>
                      </a:lnTo>
                      <a:lnTo>
                        <a:pt x="146" y="13"/>
                      </a:lnTo>
                      <a:lnTo>
                        <a:pt x="146" y="14"/>
                      </a:lnTo>
                      <a:lnTo>
                        <a:pt x="145" y="14"/>
                      </a:lnTo>
                      <a:lnTo>
                        <a:pt x="146" y="16"/>
                      </a:lnTo>
                      <a:lnTo>
                        <a:pt x="146" y="14"/>
                      </a:lnTo>
                      <a:lnTo>
                        <a:pt x="147" y="14"/>
                      </a:lnTo>
                      <a:lnTo>
                        <a:pt x="149" y="14"/>
                      </a:lnTo>
                      <a:lnTo>
                        <a:pt x="149" y="16"/>
                      </a:lnTo>
                      <a:lnTo>
                        <a:pt x="150" y="17"/>
                      </a:lnTo>
                      <a:lnTo>
                        <a:pt x="151" y="17"/>
                      </a:lnTo>
                      <a:lnTo>
                        <a:pt x="152" y="17"/>
                      </a:lnTo>
                      <a:lnTo>
                        <a:pt x="153" y="18"/>
                      </a:lnTo>
                      <a:lnTo>
                        <a:pt x="154" y="18"/>
                      </a:lnTo>
                      <a:lnTo>
                        <a:pt x="154" y="19"/>
                      </a:lnTo>
                      <a:lnTo>
                        <a:pt x="154" y="21"/>
                      </a:lnTo>
                      <a:lnTo>
                        <a:pt x="154" y="23"/>
                      </a:lnTo>
                      <a:lnTo>
                        <a:pt x="153" y="24"/>
                      </a:lnTo>
                      <a:lnTo>
                        <a:pt x="152" y="25"/>
                      </a:lnTo>
                      <a:lnTo>
                        <a:pt x="153" y="25"/>
                      </a:lnTo>
                      <a:lnTo>
                        <a:pt x="153" y="26"/>
                      </a:lnTo>
                      <a:lnTo>
                        <a:pt x="153" y="27"/>
                      </a:lnTo>
                      <a:lnTo>
                        <a:pt x="153" y="28"/>
                      </a:lnTo>
                      <a:lnTo>
                        <a:pt x="154" y="30"/>
                      </a:lnTo>
                      <a:lnTo>
                        <a:pt x="154" y="34"/>
                      </a:lnTo>
                      <a:lnTo>
                        <a:pt x="156" y="35"/>
                      </a:lnTo>
                      <a:lnTo>
                        <a:pt x="157" y="35"/>
                      </a:lnTo>
                      <a:lnTo>
                        <a:pt x="158" y="35"/>
                      </a:lnTo>
                      <a:lnTo>
                        <a:pt x="158" y="37"/>
                      </a:lnTo>
                      <a:lnTo>
                        <a:pt x="159" y="41"/>
                      </a:lnTo>
                      <a:lnTo>
                        <a:pt x="160" y="42"/>
                      </a:lnTo>
                      <a:lnTo>
                        <a:pt x="160" y="44"/>
                      </a:lnTo>
                      <a:lnTo>
                        <a:pt x="161" y="44"/>
                      </a:lnTo>
                      <a:lnTo>
                        <a:pt x="162" y="44"/>
                      </a:lnTo>
                      <a:lnTo>
                        <a:pt x="164" y="44"/>
                      </a:lnTo>
                      <a:lnTo>
                        <a:pt x="164" y="45"/>
                      </a:lnTo>
                      <a:lnTo>
                        <a:pt x="165" y="47"/>
                      </a:lnTo>
                      <a:lnTo>
                        <a:pt x="165" y="49"/>
                      </a:lnTo>
                      <a:lnTo>
                        <a:pt x="166" y="52"/>
                      </a:lnTo>
                      <a:lnTo>
                        <a:pt x="167" y="53"/>
                      </a:lnTo>
                      <a:lnTo>
                        <a:pt x="167" y="52"/>
                      </a:lnTo>
                      <a:lnTo>
                        <a:pt x="168" y="52"/>
                      </a:lnTo>
                      <a:lnTo>
                        <a:pt x="168" y="53"/>
                      </a:lnTo>
                      <a:lnTo>
                        <a:pt x="168" y="54"/>
                      </a:lnTo>
                      <a:lnTo>
                        <a:pt x="169" y="55"/>
                      </a:lnTo>
                      <a:lnTo>
                        <a:pt x="169" y="56"/>
                      </a:lnTo>
                      <a:lnTo>
                        <a:pt x="169" y="58"/>
                      </a:lnTo>
                      <a:lnTo>
                        <a:pt x="168" y="58"/>
                      </a:lnTo>
                      <a:lnTo>
                        <a:pt x="167" y="59"/>
                      </a:lnTo>
                      <a:lnTo>
                        <a:pt x="168" y="60"/>
                      </a:lnTo>
                      <a:lnTo>
                        <a:pt x="169" y="63"/>
                      </a:lnTo>
                      <a:lnTo>
                        <a:pt x="169" y="65"/>
                      </a:lnTo>
                      <a:lnTo>
                        <a:pt x="171" y="68"/>
                      </a:lnTo>
                      <a:lnTo>
                        <a:pt x="171" y="70"/>
                      </a:lnTo>
                      <a:lnTo>
                        <a:pt x="171" y="72"/>
                      </a:lnTo>
                      <a:lnTo>
                        <a:pt x="171" y="73"/>
                      </a:lnTo>
                      <a:lnTo>
                        <a:pt x="172" y="73"/>
                      </a:lnTo>
                      <a:lnTo>
                        <a:pt x="172" y="74"/>
                      </a:lnTo>
                      <a:lnTo>
                        <a:pt x="172" y="75"/>
                      </a:lnTo>
                      <a:lnTo>
                        <a:pt x="172" y="81"/>
                      </a:lnTo>
                      <a:lnTo>
                        <a:pt x="171" y="82"/>
                      </a:lnTo>
                      <a:lnTo>
                        <a:pt x="169" y="84"/>
                      </a:lnTo>
                      <a:lnTo>
                        <a:pt x="168" y="86"/>
                      </a:lnTo>
                      <a:lnTo>
                        <a:pt x="167" y="87"/>
                      </a:lnTo>
                      <a:lnTo>
                        <a:pt x="167" y="89"/>
                      </a:lnTo>
                      <a:lnTo>
                        <a:pt x="165" y="90"/>
                      </a:lnTo>
                      <a:lnTo>
                        <a:pt x="165" y="91"/>
                      </a:lnTo>
                      <a:lnTo>
                        <a:pt x="166" y="93"/>
                      </a:lnTo>
                      <a:lnTo>
                        <a:pt x="166" y="94"/>
                      </a:lnTo>
                      <a:lnTo>
                        <a:pt x="166" y="95"/>
                      </a:lnTo>
                      <a:lnTo>
                        <a:pt x="165" y="96"/>
                      </a:lnTo>
                      <a:lnTo>
                        <a:pt x="161" y="96"/>
                      </a:lnTo>
                      <a:lnTo>
                        <a:pt x="160" y="97"/>
                      </a:lnTo>
                      <a:lnTo>
                        <a:pt x="159" y="97"/>
                      </a:lnTo>
                      <a:lnTo>
                        <a:pt x="158" y="98"/>
                      </a:lnTo>
                      <a:lnTo>
                        <a:pt x="158" y="100"/>
                      </a:lnTo>
                      <a:lnTo>
                        <a:pt x="157" y="100"/>
                      </a:lnTo>
                      <a:lnTo>
                        <a:pt x="156" y="100"/>
                      </a:lnTo>
                      <a:lnTo>
                        <a:pt x="156" y="101"/>
                      </a:lnTo>
                      <a:lnTo>
                        <a:pt x="154" y="102"/>
                      </a:lnTo>
                      <a:lnTo>
                        <a:pt x="154" y="103"/>
                      </a:lnTo>
                      <a:lnTo>
                        <a:pt x="154" y="104"/>
                      </a:lnTo>
                      <a:lnTo>
                        <a:pt x="154" y="105"/>
                      </a:lnTo>
                      <a:lnTo>
                        <a:pt x="153" y="107"/>
                      </a:lnTo>
                      <a:lnTo>
                        <a:pt x="152" y="109"/>
                      </a:lnTo>
                      <a:lnTo>
                        <a:pt x="150" y="110"/>
                      </a:lnTo>
                      <a:lnTo>
                        <a:pt x="150" y="111"/>
                      </a:lnTo>
                      <a:lnTo>
                        <a:pt x="149" y="112"/>
                      </a:lnTo>
                      <a:lnTo>
                        <a:pt x="149" y="114"/>
                      </a:lnTo>
                      <a:lnTo>
                        <a:pt x="147" y="114"/>
                      </a:lnTo>
                      <a:lnTo>
                        <a:pt x="146" y="115"/>
                      </a:lnTo>
                      <a:lnTo>
                        <a:pt x="145" y="115"/>
                      </a:lnTo>
                      <a:lnTo>
                        <a:pt x="144" y="116"/>
                      </a:lnTo>
                      <a:lnTo>
                        <a:pt x="144" y="119"/>
                      </a:lnTo>
                      <a:lnTo>
                        <a:pt x="143" y="119"/>
                      </a:lnTo>
                      <a:lnTo>
                        <a:pt x="143" y="121"/>
                      </a:lnTo>
                      <a:lnTo>
                        <a:pt x="143" y="122"/>
                      </a:lnTo>
                      <a:lnTo>
                        <a:pt x="143" y="123"/>
                      </a:lnTo>
                      <a:lnTo>
                        <a:pt x="143" y="124"/>
                      </a:lnTo>
                      <a:lnTo>
                        <a:pt x="142" y="124"/>
                      </a:lnTo>
                      <a:lnTo>
                        <a:pt x="140" y="126"/>
                      </a:lnTo>
                      <a:lnTo>
                        <a:pt x="139" y="126"/>
                      </a:lnTo>
                      <a:lnTo>
                        <a:pt x="139" y="125"/>
                      </a:lnTo>
                      <a:lnTo>
                        <a:pt x="139" y="126"/>
                      </a:lnTo>
                      <a:lnTo>
                        <a:pt x="138" y="128"/>
                      </a:lnTo>
                      <a:lnTo>
                        <a:pt x="137" y="128"/>
                      </a:lnTo>
                      <a:lnTo>
                        <a:pt x="137" y="129"/>
                      </a:lnTo>
                      <a:lnTo>
                        <a:pt x="136" y="128"/>
                      </a:lnTo>
                      <a:lnTo>
                        <a:pt x="135" y="128"/>
                      </a:lnTo>
                      <a:lnTo>
                        <a:pt x="135" y="129"/>
                      </a:lnTo>
                      <a:lnTo>
                        <a:pt x="133" y="128"/>
                      </a:lnTo>
                      <a:lnTo>
                        <a:pt x="133" y="126"/>
                      </a:lnTo>
                      <a:lnTo>
                        <a:pt x="133" y="128"/>
                      </a:lnTo>
                      <a:lnTo>
                        <a:pt x="132" y="128"/>
                      </a:lnTo>
                      <a:lnTo>
                        <a:pt x="131" y="128"/>
                      </a:lnTo>
                      <a:lnTo>
                        <a:pt x="131" y="126"/>
                      </a:lnTo>
                      <a:lnTo>
                        <a:pt x="132" y="126"/>
                      </a:lnTo>
                      <a:lnTo>
                        <a:pt x="132" y="125"/>
                      </a:lnTo>
                      <a:lnTo>
                        <a:pt x="131" y="125"/>
                      </a:lnTo>
                      <a:lnTo>
                        <a:pt x="130" y="125"/>
                      </a:lnTo>
                      <a:lnTo>
                        <a:pt x="131" y="125"/>
                      </a:lnTo>
                      <a:lnTo>
                        <a:pt x="131" y="124"/>
                      </a:lnTo>
                      <a:lnTo>
                        <a:pt x="132" y="124"/>
                      </a:lnTo>
                      <a:lnTo>
                        <a:pt x="131" y="124"/>
                      </a:lnTo>
                      <a:lnTo>
                        <a:pt x="130" y="124"/>
                      </a:lnTo>
                      <a:lnTo>
                        <a:pt x="129" y="124"/>
                      </a:lnTo>
                      <a:lnTo>
                        <a:pt x="128" y="124"/>
                      </a:lnTo>
                      <a:lnTo>
                        <a:pt x="129" y="126"/>
                      </a:lnTo>
                      <a:lnTo>
                        <a:pt x="128" y="126"/>
                      </a:lnTo>
                      <a:lnTo>
                        <a:pt x="128" y="128"/>
                      </a:lnTo>
                      <a:lnTo>
                        <a:pt x="126" y="128"/>
                      </a:lnTo>
                      <a:lnTo>
                        <a:pt x="126" y="129"/>
                      </a:lnTo>
                      <a:lnTo>
                        <a:pt x="125" y="129"/>
                      </a:lnTo>
                      <a:lnTo>
                        <a:pt x="125" y="128"/>
                      </a:lnTo>
                      <a:lnTo>
                        <a:pt x="125" y="129"/>
                      </a:lnTo>
                      <a:lnTo>
                        <a:pt x="125" y="128"/>
                      </a:lnTo>
                      <a:lnTo>
                        <a:pt x="124" y="128"/>
                      </a:lnTo>
                      <a:lnTo>
                        <a:pt x="124" y="126"/>
                      </a:lnTo>
                      <a:lnTo>
                        <a:pt x="124" y="128"/>
                      </a:lnTo>
                      <a:lnTo>
                        <a:pt x="123" y="128"/>
                      </a:lnTo>
                      <a:lnTo>
                        <a:pt x="122" y="126"/>
                      </a:lnTo>
                      <a:lnTo>
                        <a:pt x="123" y="126"/>
                      </a:lnTo>
                      <a:lnTo>
                        <a:pt x="122" y="126"/>
                      </a:lnTo>
                      <a:lnTo>
                        <a:pt x="122" y="125"/>
                      </a:lnTo>
                      <a:lnTo>
                        <a:pt x="121" y="124"/>
                      </a:lnTo>
                      <a:lnTo>
                        <a:pt x="122" y="124"/>
                      </a:lnTo>
                      <a:lnTo>
                        <a:pt x="122" y="125"/>
                      </a:lnTo>
                      <a:lnTo>
                        <a:pt x="123" y="125"/>
                      </a:lnTo>
                      <a:lnTo>
                        <a:pt x="124" y="125"/>
                      </a:lnTo>
                      <a:lnTo>
                        <a:pt x="123" y="125"/>
                      </a:lnTo>
                      <a:lnTo>
                        <a:pt x="124" y="125"/>
                      </a:lnTo>
                      <a:lnTo>
                        <a:pt x="124" y="124"/>
                      </a:lnTo>
                      <a:lnTo>
                        <a:pt x="123" y="124"/>
                      </a:lnTo>
                      <a:lnTo>
                        <a:pt x="123" y="123"/>
                      </a:lnTo>
                      <a:lnTo>
                        <a:pt x="122" y="123"/>
                      </a:lnTo>
                      <a:lnTo>
                        <a:pt x="122" y="124"/>
                      </a:lnTo>
                      <a:lnTo>
                        <a:pt x="122" y="123"/>
                      </a:lnTo>
                      <a:lnTo>
                        <a:pt x="121" y="123"/>
                      </a:lnTo>
                      <a:lnTo>
                        <a:pt x="119" y="123"/>
                      </a:lnTo>
                      <a:lnTo>
                        <a:pt x="121" y="123"/>
                      </a:lnTo>
                      <a:lnTo>
                        <a:pt x="119" y="122"/>
                      </a:lnTo>
                      <a:lnTo>
                        <a:pt x="118" y="123"/>
                      </a:lnTo>
                      <a:lnTo>
                        <a:pt x="118" y="122"/>
                      </a:lnTo>
                      <a:lnTo>
                        <a:pt x="119" y="122"/>
                      </a:lnTo>
                      <a:lnTo>
                        <a:pt x="119" y="121"/>
                      </a:lnTo>
                      <a:lnTo>
                        <a:pt x="121" y="119"/>
                      </a:lnTo>
                      <a:lnTo>
                        <a:pt x="121" y="118"/>
                      </a:lnTo>
                      <a:lnTo>
                        <a:pt x="119" y="118"/>
                      </a:lnTo>
                      <a:lnTo>
                        <a:pt x="119" y="119"/>
                      </a:lnTo>
                      <a:lnTo>
                        <a:pt x="118" y="121"/>
                      </a:lnTo>
                      <a:lnTo>
                        <a:pt x="117" y="121"/>
                      </a:lnTo>
                      <a:lnTo>
                        <a:pt x="117" y="118"/>
                      </a:lnTo>
                      <a:lnTo>
                        <a:pt x="117" y="119"/>
                      </a:lnTo>
                      <a:lnTo>
                        <a:pt x="116" y="119"/>
                      </a:lnTo>
                      <a:lnTo>
                        <a:pt x="116" y="121"/>
                      </a:lnTo>
                      <a:lnTo>
                        <a:pt x="115" y="121"/>
                      </a:lnTo>
                      <a:lnTo>
                        <a:pt x="115" y="122"/>
                      </a:lnTo>
                      <a:lnTo>
                        <a:pt x="116" y="122"/>
                      </a:lnTo>
                      <a:lnTo>
                        <a:pt x="117" y="122"/>
                      </a:lnTo>
                      <a:lnTo>
                        <a:pt x="117" y="123"/>
                      </a:lnTo>
                      <a:lnTo>
                        <a:pt x="116" y="123"/>
                      </a:lnTo>
                      <a:lnTo>
                        <a:pt x="115" y="123"/>
                      </a:lnTo>
                      <a:lnTo>
                        <a:pt x="115" y="124"/>
                      </a:lnTo>
                      <a:lnTo>
                        <a:pt x="114" y="124"/>
                      </a:lnTo>
                      <a:lnTo>
                        <a:pt x="114" y="125"/>
                      </a:lnTo>
                      <a:lnTo>
                        <a:pt x="114" y="126"/>
                      </a:lnTo>
                      <a:lnTo>
                        <a:pt x="112" y="126"/>
                      </a:lnTo>
                      <a:lnTo>
                        <a:pt x="112" y="128"/>
                      </a:lnTo>
                      <a:lnTo>
                        <a:pt x="112" y="126"/>
                      </a:lnTo>
                      <a:lnTo>
                        <a:pt x="111" y="126"/>
                      </a:lnTo>
                      <a:lnTo>
                        <a:pt x="111" y="125"/>
                      </a:lnTo>
                      <a:lnTo>
                        <a:pt x="110" y="125"/>
                      </a:lnTo>
                      <a:lnTo>
                        <a:pt x="110" y="126"/>
                      </a:lnTo>
                      <a:lnTo>
                        <a:pt x="111" y="126"/>
                      </a:lnTo>
                      <a:lnTo>
                        <a:pt x="110" y="126"/>
                      </a:lnTo>
                      <a:lnTo>
                        <a:pt x="111" y="126"/>
                      </a:lnTo>
                      <a:lnTo>
                        <a:pt x="111" y="128"/>
                      </a:lnTo>
                      <a:lnTo>
                        <a:pt x="111" y="129"/>
                      </a:lnTo>
                      <a:lnTo>
                        <a:pt x="109" y="130"/>
                      </a:lnTo>
                      <a:lnTo>
                        <a:pt x="108" y="131"/>
                      </a:lnTo>
                      <a:lnTo>
                        <a:pt x="105" y="131"/>
                      </a:lnTo>
                      <a:lnTo>
                        <a:pt x="104" y="131"/>
                      </a:lnTo>
                      <a:lnTo>
                        <a:pt x="104" y="130"/>
                      </a:lnTo>
                      <a:lnTo>
                        <a:pt x="105" y="129"/>
                      </a:lnTo>
                      <a:lnTo>
                        <a:pt x="104" y="129"/>
                      </a:lnTo>
                      <a:lnTo>
                        <a:pt x="105" y="129"/>
                      </a:lnTo>
                      <a:lnTo>
                        <a:pt x="104" y="129"/>
                      </a:lnTo>
                      <a:lnTo>
                        <a:pt x="104" y="128"/>
                      </a:lnTo>
                      <a:lnTo>
                        <a:pt x="105" y="128"/>
                      </a:lnTo>
                      <a:lnTo>
                        <a:pt x="104" y="128"/>
                      </a:lnTo>
                      <a:lnTo>
                        <a:pt x="104" y="129"/>
                      </a:lnTo>
                      <a:lnTo>
                        <a:pt x="103" y="129"/>
                      </a:lnTo>
                      <a:lnTo>
                        <a:pt x="104" y="129"/>
                      </a:lnTo>
                      <a:lnTo>
                        <a:pt x="103" y="129"/>
                      </a:lnTo>
                      <a:lnTo>
                        <a:pt x="102" y="129"/>
                      </a:lnTo>
                      <a:lnTo>
                        <a:pt x="102" y="130"/>
                      </a:lnTo>
                      <a:lnTo>
                        <a:pt x="102" y="131"/>
                      </a:lnTo>
                      <a:lnTo>
                        <a:pt x="101" y="130"/>
                      </a:lnTo>
                      <a:lnTo>
                        <a:pt x="100" y="130"/>
                      </a:lnTo>
                      <a:lnTo>
                        <a:pt x="100" y="131"/>
                      </a:lnTo>
                      <a:lnTo>
                        <a:pt x="98" y="131"/>
                      </a:lnTo>
                      <a:lnTo>
                        <a:pt x="97" y="131"/>
                      </a:lnTo>
                      <a:lnTo>
                        <a:pt x="97" y="130"/>
                      </a:lnTo>
                      <a:lnTo>
                        <a:pt x="98" y="130"/>
                      </a:lnTo>
                      <a:lnTo>
                        <a:pt x="100" y="130"/>
                      </a:lnTo>
                      <a:lnTo>
                        <a:pt x="100" y="129"/>
                      </a:lnTo>
                      <a:lnTo>
                        <a:pt x="100" y="128"/>
                      </a:lnTo>
                      <a:lnTo>
                        <a:pt x="98" y="129"/>
                      </a:lnTo>
                      <a:lnTo>
                        <a:pt x="97" y="129"/>
                      </a:lnTo>
                      <a:lnTo>
                        <a:pt x="97" y="128"/>
                      </a:lnTo>
                      <a:lnTo>
                        <a:pt x="98" y="126"/>
                      </a:lnTo>
                      <a:lnTo>
                        <a:pt x="97" y="126"/>
                      </a:lnTo>
                      <a:lnTo>
                        <a:pt x="97" y="125"/>
                      </a:lnTo>
                      <a:lnTo>
                        <a:pt x="96" y="126"/>
                      </a:lnTo>
                      <a:lnTo>
                        <a:pt x="96" y="128"/>
                      </a:lnTo>
                      <a:lnTo>
                        <a:pt x="95" y="128"/>
                      </a:lnTo>
                      <a:lnTo>
                        <a:pt x="95" y="129"/>
                      </a:lnTo>
                      <a:lnTo>
                        <a:pt x="96" y="129"/>
                      </a:lnTo>
                      <a:lnTo>
                        <a:pt x="96" y="130"/>
                      </a:lnTo>
                      <a:lnTo>
                        <a:pt x="95" y="130"/>
                      </a:lnTo>
                      <a:lnTo>
                        <a:pt x="95" y="131"/>
                      </a:lnTo>
                      <a:lnTo>
                        <a:pt x="94" y="130"/>
                      </a:lnTo>
                      <a:lnTo>
                        <a:pt x="94" y="131"/>
                      </a:lnTo>
                      <a:lnTo>
                        <a:pt x="95" y="132"/>
                      </a:lnTo>
                      <a:lnTo>
                        <a:pt x="94" y="132"/>
                      </a:lnTo>
                      <a:lnTo>
                        <a:pt x="94" y="131"/>
                      </a:lnTo>
                      <a:lnTo>
                        <a:pt x="93" y="132"/>
                      </a:lnTo>
                      <a:lnTo>
                        <a:pt x="93" y="131"/>
                      </a:lnTo>
                      <a:lnTo>
                        <a:pt x="92" y="131"/>
                      </a:lnTo>
                      <a:lnTo>
                        <a:pt x="92" y="132"/>
                      </a:lnTo>
                      <a:lnTo>
                        <a:pt x="92" y="133"/>
                      </a:lnTo>
                      <a:lnTo>
                        <a:pt x="90" y="133"/>
                      </a:lnTo>
                      <a:lnTo>
                        <a:pt x="90" y="132"/>
                      </a:lnTo>
                      <a:lnTo>
                        <a:pt x="90" y="131"/>
                      </a:lnTo>
                      <a:lnTo>
                        <a:pt x="92" y="131"/>
                      </a:lnTo>
                      <a:lnTo>
                        <a:pt x="92" y="130"/>
                      </a:lnTo>
                      <a:lnTo>
                        <a:pt x="90" y="130"/>
                      </a:lnTo>
                      <a:lnTo>
                        <a:pt x="90" y="131"/>
                      </a:lnTo>
                      <a:lnTo>
                        <a:pt x="89" y="131"/>
                      </a:lnTo>
                      <a:lnTo>
                        <a:pt x="88" y="131"/>
                      </a:lnTo>
                      <a:lnTo>
                        <a:pt x="88" y="132"/>
                      </a:lnTo>
                      <a:lnTo>
                        <a:pt x="88" y="135"/>
                      </a:lnTo>
                      <a:lnTo>
                        <a:pt x="89" y="135"/>
                      </a:lnTo>
                      <a:lnTo>
                        <a:pt x="88" y="135"/>
                      </a:lnTo>
                      <a:lnTo>
                        <a:pt x="88" y="133"/>
                      </a:lnTo>
                      <a:lnTo>
                        <a:pt x="87" y="133"/>
                      </a:lnTo>
                      <a:lnTo>
                        <a:pt x="86" y="132"/>
                      </a:lnTo>
                      <a:lnTo>
                        <a:pt x="85" y="132"/>
                      </a:lnTo>
                      <a:lnTo>
                        <a:pt x="86" y="133"/>
                      </a:lnTo>
                      <a:lnTo>
                        <a:pt x="86" y="135"/>
                      </a:lnTo>
                      <a:lnTo>
                        <a:pt x="85" y="135"/>
                      </a:lnTo>
                      <a:lnTo>
                        <a:pt x="83" y="133"/>
                      </a:lnTo>
                      <a:lnTo>
                        <a:pt x="83" y="132"/>
                      </a:lnTo>
                      <a:lnTo>
                        <a:pt x="83" y="133"/>
                      </a:lnTo>
                      <a:lnTo>
                        <a:pt x="83" y="135"/>
                      </a:lnTo>
                      <a:lnTo>
                        <a:pt x="83" y="136"/>
                      </a:lnTo>
                      <a:lnTo>
                        <a:pt x="82" y="136"/>
                      </a:lnTo>
                      <a:lnTo>
                        <a:pt x="81" y="136"/>
                      </a:lnTo>
                      <a:lnTo>
                        <a:pt x="80" y="136"/>
                      </a:lnTo>
                      <a:lnTo>
                        <a:pt x="79" y="135"/>
                      </a:lnTo>
                      <a:lnTo>
                        <a:pt x="78" y="136"/>
                      </a:lnTo>
                      <a:lnTo>
                        <a:pt x="79" y="136"/>
                      </a:lnTo>
                      <a:lnTo>
                        <a:pt x="79" y="137"/>
                      </a:lnTo>
                      <a:lnTo>
                        <a:pt x="78" y="137"/>
                      </a:lnTo>
                      <a:lnTo>
                        <a:pt x="76" y="137"/>
                      </a:lnTo>
                      <a:lnTo>
                        <a:pt x="75" y="138"/>
                      </a:lnTo>
                      <a:lnTo>
                        <a:pt x="74" y="138"/>
                      </a:lnTo>
                      <a:lnTo>
                        <a:pt x="75" y="138"/>
                      </a:lnTo>
                      <a:lnTo>
                        <a:pt x="74" y="139"/>
                      </a:lnTo>
                      <a:lnTo>
                        <a:pt x="74" y="140"/>
                      </a:lnTo>
                      <a:lnTo>
                        <a:pt x="75" y="139"/>
                      </a:lnTo>
                      <a:lnTo>
                        <a:pt x="76" y="140"/>
                      </a:lnTo>
                      <a:lnTo>
                        <a:pt x="76" y="142"/>
                      </a:lnTo>
                      <a:lnTo>
                        <a:pt x="78" y="142"/>
                      </a:lnTo>
                      <a:lnTo>
                        <a:pt x="78" y="143"/>
                      </a:lnTo>
                      <a:lnTo>
                        <a:pt x="78" y="144"/>
                      </a:lnTo>
                      <a:lnTo>
                        <a:pt x="76" y="144"/>
                      </a:lnTo>
                      <a:lnTo>
                        <a:pt x="76" y="145"/>
                      </a:lnTo>
                      <a:lnTo>
                        <a:pt x="75" y="145"/>
                      </a:lnTo>
                      <a:lnTo>
                        <a:pt x="75" y="146"/>
                      </a:lnTo>
                      <a:lnTo>
                        <a:pt x="74" y="147"/>
                      </a:lnTo>
                      <a:lnTo>
                        <a:pt x="73" y="149"/>
                      </a:lnTo>
                      <a:lnTo>
                        <a:pt x="72" y="149"/>
                      </a:lnTo>
                      <a:lnTo>
                        <a:pt x="72" y="150"/>
                      </a:lnTo>
                      <a:lnTo>
                        <a:pt x="71" y="152"/>
                      </a:lnTo>
                      <a:lnTo>
                        <a:pt x="69" y="153"/>
                      </a:lnTo>
                      <a:lnTo>
                        <a:pt x="71" y="154"/>
                      </a:lnTo>
                      <a:lnTo>
                        <a:pt x="69" y="154"/>
                      </a:lnTo>
                      <a:lnTo>
                        <a:pt x="69" y="157"/>
                      </a:lnTo>
                      <a:lnTo>
                        <a:pt x="68" y="158"/>
                      </a:lnTo>
                      <a:lnTo>
                        <a:pt x="67" y="158"/>
                      </a:lnTo>
                      <a:lnTo>
                        <a:pt x="67" y="159"/>
                      </a:lnTo>
                      <a:lnTo>
                        <a:pt x="67" y="160"/>
                      </a:lnTo>
                      <a:lnTo>
                        <a:pt x="68" y="160"/>
                      </a:lnTo>
                      <a:lnTo>
                        <a:pt x="69" y="160"/>
                      </a:lnTo>
                      <a:lnTo>
                        <a:pt x="69" y="161"/>
                      </a:lnTo>
                      <a:lnTo>
                        <a:pt x="69" y="163"/>
                      </a:lnTo>
                      <a:lnTo>
                        <a:pt x="69" y="164"/>
                      </a:lnTo>
                      <a:lnTo>
                        <a:pt x="69" y="165"/>
                      </a:lnTo>
                      <a:lnTo>
                        <a:pt x="65" y="165"/>
                      </a:lnTo>
                      <a:lnTo>
                        <a:pt x="59" y="165"/>
                      </a:lnTo>
                      <a:lnTo>
                        <a:pt x="54" y="165"/>
                      </a:lnTo>
                      <a:lnTo>
                        <a:pt x="53" y="165"/>
                      </a:lnTo>
                      <a:lnTo>
                        <a:pt x="47" y="165"/>
                      </a:lnTo>
                      <a:lnTo>
                        <a:pt x="41" y="165"/>
                      </a:lnTo>
                      <a:lnTo>
                        <a:pt x="39" y="165"/>
                      </a:lnTo>
                      <a:lnTo>
                        <a:pt x="38" y="165"/>
                      </a:lnTo>
                      <a:lnTo>
                        <a:pt x="37" y="165"/>
                      </a:lnTo>
                      <a:lnTo>
                        <a:pt x="36" y="166"/>
                      </a:lnTo>
                      <a:lnTo>
                        <a:pt x="34" y="166"/>
                      </a:lnTo>
                      <a:lnTo>
                        <a:pt x="33" y="167"/>
                      </a:lnTo>
                      <a:lnTo>
                        <a:pt x="32" y="167"/>
                      </a:lnTo>
                      <a:lnTo>
                        <a:pt x="31" y="167"/>
                      </a:lnTo>
                      <a:lnTo>
                        <a:pt x="30" y="167"/>
                      </a:lnTo>
                      <a:lnTo>
                        <a:pt x="29" y="167"/>
                      </a:lnTo>
                      <a:lnTo>
                        <a:pt x="28" y="167"/>
                      </a:lnTo>
                      <a:lnTo>
                        <a:pt x="26" y="167"/>
                      </a:lnTo>
                      <a:lnTo>
                        <a:pt x="25" y="167"/>
                      </a:lnTo>
                      <a:lnTo>
                        <a:pt x="24" y="167"/>
                      </a:lnTo>
                      <a:lnTo>
                        <a:pt x="24" y="170"/>
                      </a:lnTo>
                      <a:lnTo>
                        <a:pt x="23" y="170"/>
                      </a:lnTo>
                      <a:lnTo>
                        <a:pt x="23" y="171"/>
                      </a:lnTo>
                      <a:lnTo>
                        <a:pt x="22" y="171"/>
                      </a:lnTo>
                      <a:lnTo>
                        <a:pt x="22" y="172"/>
                      </a:lnTo>
                      <a:lnTo>
                        <a:pt x="21" y="173"/>
                      </a:lnTo>
                      <a:lnTo>
                        <a:pt x="19" y="174"/>
                      </a:lnTo>
                      <a:lnTo>
                        <a:pt x="18" y="174"/>
                      </a:lnTo>
                      <a:lnTo>
                        <a:pt x="18" y="175"/>
                      </a:lnTo>
                      <a:lnTo>
                        <a:pt x="18" y="177"/>
                      </a:lnTo>
                      <a:lnTo>
                        <a:pt x="17" y="177"/>
                      </a:lnTo>
                      <a:lnTo>
                        <a:pt x="16" y="177"/>
                      </a:lnTo>
                      <a:lnTo>
                        <a:pt x="16" y="178"/>
                      </a:lnTo>
                      <a:lnTo>
                        <a:pt x="15" y="178"/>
                      </a:lnTo>
                      <a:lnTo>
                        <a:pt x="15" y="179"/>
                      </a:lnTo>
                      <a:lnTo>
                        <a:pt x="12" y="180"/>
                      </a:lnTo>
                      <a:lnTo>
                        <a:pt x="11" y="180"/>
                      </a:lnTo>
                      <a:lnTo>
                        <a:pt x="10" y="180"/>
                      </a:lnTo>
                      <a:lnTo>
                        <a:pt x="10" y="179"/>
                      </a:lnTo>
                      <a:lnTo>
                        <a:pt x="9" y="179"/>
                      </a:lnTo>
                      <a:lnTo>
                        <a:pt x="9" y="178"/>
                      </a:lnTo>
                      <a:lnTo>
                        <a:pt x="9" y="177"/>
                      </a:lnTo>
                      <a:lnTo>
                        <a:pt x="8" y="175"/>
                      </a:lnTo>
                      <a:lnTo>
                        <a:pt x="7" y="175"/>
                      </a:lnTo>
                      <a:lnTo>
                        <a:pt x="7" y="177"/>
                      </a:lnTo>
                      <a:lnTo>
                        <a:pt x="5" y="177"/>
                      </a:lnTo>
                      <a:lnTo>
                        <a:pt x="4" y="177"/>
                      </a:lnTo>
                      <a:lnTo>
                        <a:pt x="3" y="177"/>
                      </a:lnTo>
                      <a:lnTo>
                        <a:pt x="2" y="178"/>
                      </a:lnTo>
                      <a:lnTo>
                        <a:pt x="1" y="178"/>
                      </a:lnTo>
                      <a:lnTo>
                        <a:pt x="0" y="178"/>
                      </a:lnTo>
                      <a:lnTo>
                        <a:pt x="1" y="175"/>
                      </a:lnTo>
                      <a:lnTo>
                        <a:pt x="0" y="174"/>
                      </a:lnTo>
                      <a:lnTo>
                        <a:pt x="0" y="173"/>
                      </a:lnTo>
                      <a:lnTo>
                        <a:pt x="0" y="172"/>
                      </a:lnTo>
                      <a:lnTo>
                        <a:pt x="0" y="171"/>
                      </a:lnTo>
                      <a:lnTo>
                        <a:pt x="0" y="170"/>
                      </a:lnTo>
                      <a:lnTo>
                        <a:pt x="0" y="168"/>
                      </a:lnTo>
                      <a:lnTo>
                        <a:pt x="0" y="167"/>
                      </a:lnTo>
                      <a:lnTo>
                        <a:pt x="0" y="166"/>
                      </a:lnTo>
                      <a:lnTo>
                        <a:pt x="0" y="165"/>
                      </a:lnTo>
                      <a:lnTo>
                        <a:pt x="0" y="164"/>
                      </a:lnTo>
                      <a:lnTo>
                        <a:pt x="0" y="163"/>
                      </a:lnTo>
                      <a:lnTo>
                        <a:pt x="1" y="161"/>
                      </a:lnTo>
                      <a:lnTo>
                        <a:pt x="1" y="159"/>
                      </a:lnTo>
                      <a:lnTo>
                        <a:pt x="1" y="158"/>
                      </a:lnTo>
                      <a:lnTo>
                        <a:pt x="1" y="157"/>
                      </a:lnTo>
                      <a:lnTo>
                        <a:pt x="1" y="154"/>
                      </a:lnTo>
                      <a:lnTo>
                        <a:pt x="1" y="153"/>
                      </a:lnTo>
                      <a:lnTo>
                        <a:pt x="2" y="153"/>
                      </a:lnTo>
                      <a:lnTo>
                        <a:pt x="1" y="153"/>
                      </a:lnTo>
                      <a:lnTo>
                        <a:pt x="1" y="152"/>
                      </a:lnTo>
                      <a:lnTo>
                        <a:pt x="2" y="152"/>
                      </a:lnTo>
                      <a:lnTo>
                        <a:pt x="2" y="151"/>
                      </a:lnTo>
                      <a:lnTo>
                        <a:pt x="2" y="150"/>
                      </a:lnTo>
                      <a:lnTo>
                        <a:pt x="2" y="149"/>
                      </a:lnTo>
                      <a:lnTo>
                        <a:pt x="3" y="147"/>
                      </a:lnTo>
                      <a:lnTo>
                        <a:pt x="4" y="147"/>
                      </a:lnTo>
                      <a:lnTo>
                        <a:pt x="5" y="147"/>
                      </a:lnTo>
                      <a:lnTo>
                        <a:pt x="7" y="146"/>
                      </a:lnTo>
                      <a:lnTo>
                        <a:pt x="8" y="145"/>
                      </a:lnTo>
                      <a:lnTo>
                        <a:pt x="9" y="144"/>
                      </a:lnTo>
                      <a:lnTo>
                        <a:pt x="9" y="143"/>
                      </a:lnTo>
                      <a:lnTo>
                        <a:pt x="10" y="142"/>
                      </a:lnTo>
                      <a:lnTo>
                        <a:pt x="10" y="139"/>
                      </a:lnTo>
                      <a:lnTo>
                        <a:pt x="10" y="138"/>
                      </a:lnTo>
                      <a:lnTo>
                        <a:pt x="9" y="138"/>
                      </a:lnTo>
                      <a:lnTo>
                        <a:pt x="9" y="139"/>
                      </a:lnTo>
                      <a:lnTo>
                        <a:pt x="8" y="139"/>
                      </a:lnTo>
                      <a:lnTo>
                        <a:pt x="8" y="138"/>
                      </a:lnTo>
                      <a:lnTo>
                        <a:pt x="7" y="138"/>
                      </a:lnTo>
                      <a:lnTo>
                        <a:pt x="7" y="137"/>
                      </a:lnTo>
                      <a:lnTo>
                        <a:pt x="5" y="136"/>
                      </a:lnTo>
                      <a:lnTo>
                        <a:pt x="4" y="136"/>
                      </a:lnTo>
                      <a:lnTo>
                        <a:pt x="3" y="137"/>
                      </a:lnTo>
                      <a:lnTo>
                        <a:pt x="4" y="136"/>
                      </a:lnTo>
                      <a:lnTo>
                        <a:pt x="4" y="135"/>
                      </a:lnTo>
                      <a:lnTo>
                        <a:pt x="4" y="133"/>
                      </a:lnTo>
                      <a:lnTo>
                        <a:pt x="4" y="132"/>
                      </a:lnTo>
                      <a:lnTo>
                        <a:pt x="4" y="131"/>
                      </a:lnTo>
                      <a:lnTo>
                        <a:pt x="5" y="129"/>
                      </a:lnTo>
                      <a:lnTo>
                        <a:pt x="7" y="129"/>
                      </a:lnTo>
                      <a:lnTo>
                        <a:pt x="8" y="123"/>
                      </a:lnTo>
                      <a:lnTo>
                        <a:pt x="9" y="123"/>
                      </a:lnTo>
                      <a:lnTo>
                        <a:pt x="9" y="122"/>
                      </a:lnTo>
                      <a:lnTo>
                        <a:pt x="10" y="119"/>
                      </a:lnTo>
                      <a:lnTo>
                        <a:pt x="11" y="119"/>
                      </a:lnTo>
                      <a:lnTo>
                        <a:pt x="11" y="118"/>
                      </a:lnTo>
                      <a:lnTo>
                        <a:pt x="11" y="117"/>
                      </a:lnTo>
                      <a:lnTo>
                        <a:pt x="11" y="115"/>
                      </a:lnTo>
                      <a:lnTo>
                        <a:pt x="11" y="114"/>
                      </a:lnTo>
                      <a:lnTo>
                        <a:pt x="11" y="111"/>
                      </a:lnTo>
                      <a:lnTo>
                        <a:pt x="11" y="109"/>
                      </a:lnTo>
                      <a:lnTo>
                        <a:pt x="11" y="108"/>
                      </a:lnTo>
                      <a:lnTo>
                        <a:pt x="12" y="108"/>
                      </a:lnTo>
                      <a:lnTo>
                        <a:pt x="12" y="107"/>
                      </a:lnTo>
                      <a:lnTo>
                        <a:pt x="14" y="107"/>
                      </a:lnTo>
                      <a:lnTo>
                        <a:pt x="15" y="105"/>
                      </a:lnTo>
                      <a:lnTo>
                        <a:pt x="18" y="105"/>
                      </a:lnTo>
                      <a:lnTo>
                        <a:pt x="18" y="104"/>
                      </a:lnTo>
                      <a:lnTo>
                        <a:pt x="19" y="103"/>
                      </a:lnTo>
                      <a:lnTo>
                        <a:pt x="21" y="102"/>
                      </a:lnTo>
                      <a:lnTo>
                        <a:pt x="21" y="101"/>
                      </a:lnTo>
                      <a:lnTo>
                        <a:pt x="21" y="100"/>
                      </a:lnTo>
                      <a:lnTo>
                        <a:pt x="21" y="98"/>
                      </a:lnTo>
                      <a:lnTo>
                        <a:pt x="22" y="97"/>
                      </a:lnTo>
                      <a:lnTo>
                        <a:pt x="23" y="97"/>
                      </a:lnTo>
                      <a:lnTo>
                        <a:pt x="24" y="97"/>
                      </a:lnTo>
                      <a:lnTo>
                        <a:pt x="24" y="96"/>
                      </a:lnTo>
                      <a:lnTo>
                        <a:pt x="25" y="96"/>
                      </a:lnTo>
                      <a:lnTo>
                        <a:pt x="26" y="96"/>
                      </a:lnTo>
                      <a:lnTo>
                        <a:pt x="28" y="96"/>
                      </a:lnTo>
                      <a:lnTo>
                        <a:pt x="28" y="95"/>
                      </a:lnTo>
                      <a:lnTo>
                        <a:pt x="29" y="95"/>
                      </a:lnTo>
                      <a:lnTo>
                        <a:pt x="30" y="95"/>
                      </a:lnTo>
                      <a:lnTo>
                        <a:pt x="30" y="96"/>
                      </a:lnTo>
                      <a:lnTo>
                        <a:pt x="29" y="96"/>
                      </a:lnTo>
                      <a:lnTo>
                        <a:pt x="29" y="97"/>
                      </a:lnTo>
                      <a:lnTo>
                        <a:pt x="29" y="98"/>
                      </a:lnTo>
                      <a:lnTo>
                        <a:pt x="30" y="98"/>
                      </a:lnTo>
                      <a:lnTo>
                        <a:pt x="30" y="100"/>
                      </a:lnTo>
                      <a:lnTo>
                        <a:pt x="30" y="101"/>
                      </a:lnTo>
                      <a:lnTo>
                        <a:pt x="29" y="101"/>
                      </a:lnTo>
                      <a:lnTo>
                        <a:pt x="30" y="101"/>
                      </a:lnTo>
                      <a:lnTo>
                        <a:pt x="30" y="102"/>
                      </a:lnTo>
                      <a:lnTo>
                        <a:pt x="31" y="102"/>
                      </a:lnTo>
                      <a:lnTo>
                        <a:pt x="31" y="101"/>
                      </a:lnTo>
                      <a:lnTo>
                        <a:pt x="32" y="101"/>
                      </a:lnTo>
                      <a:lnTo>
                        <a:pt x="36" y="97"/>
                      </a:lnTo>
                      <a:lnTo>
                        <a:pt x="36" y="96"/>
                      </a:lnTo>
                      <a:lnTo>
                        <a:pt x="37" y="95"/>
                      </a:lnTo>
                      <a:lnTo>
                        <a:pt x="41" y="89"/>
                      </a:lnTo>
                      <a:lnTo>
                        <a:pt x="43" y="87"/>
                      </a:lnTo>
                      <a:lnTo>
                        <a:pt x="44" y="86"/>
                      </a:lnTo>
                      <a:lnTo>
                        <a:pt x="45" y="86"/>
                      </a:lnTo>
                      <a:lnTo>
                        <a:pt x="46" y="84"/>
                      </a:lnTo>
                      <a:lnTo>
                        <a:pt x="47" y="83"/>
                      </a:lnTo>
                      <a:lnTo>
                        <a:pt x="47" y="84"/>
                      </a:lnTo>
                      <a:lnTo>
                        <a:pt x="47" y="83"/>
                      </a:lnTo>
                      <a:lnTo>
                        <a:pt x="48" y="83"/>
                      </a:lnTo>
                      <a:lnTo>
                        <a:pt x="48" y="84"/>
                      </a:lnTo>
                      <a:lnTo>
                        <a:pt x="50" y="84"/>
                      </a:lnTo>
                      <a:lnTo>
                        <a:pt x="51" y="83"/>
                      </a:lnTo>
                      <a:lnTo>
                        <a:pt x="53" y="81"/>
                      </a:lnTo>
                      <a:lnTo>
                        <a:pt x="54" y="80"/>
                      </a:lnTo>
                      <a:lnTo>
                        <a:pt x="55" y="79"/>
                      </a:lnTo>
                      <a:lnTo>
                        <a:pt x="55" y="76"/>
                      </a:lnTo>
                      <a:lnTo>
                        <a:pt x="57" y="76"/>
                      </a:lnTo>
                      <a:lnTo>
                        <a:pt x="58" y="76"/>
                      </a:lnTo>
                      <a:lnTo>
                        <a:pt x="58" y="75"/>
                      </a:lnTo>
                      <a:lnTo>
                        <a:pt x="58" y="74"/>
                      </a:lnTo>
                      <a:lnTo>
                        <a:pt x="58" y="73"/>
                      </a:lnTo>
                      <a:lnTo>
                        <a:pt x="58" y="70"/>
                      </a:lnTo>
                      <a:lnTo>
                        <a:pt x="58" y="69"/>
                      </a:lnTo>
                      <a:lnTo>
                        <a:pt x="58" y="67"/>
                      </a:lnTo>
                      <a:lnTo>
                        <a:pt x="58" y="66"/>
                      </a:lnTo>
                      <a:lnTo>
                        <a:pt x="57" y="65"/>
                      </a:lnTo>
                      <a:lnTo>
                        <a:pt x="57" y="62"/>
                      </a:lnTo>
                      <a:lnTo>
                        <a:pt x="58" y="62"/>
                      </a:lnTo>
                      <a:lnTo>
                        <a:pt x="58" y="61"/>
                      </a:lnTo>
                      <a:lnTo>
                        <a:pt x="59" y="61"/>
                      </a:lnTo>
                      <a:lnTo>
                        <a:pt x="60" y="60"/>
                      </a:lnTo>
                      <a:lnTo>
                        <a:pt x="60" y="58"/>
                      </a:lnTo>
                      <a:lnTo>
                        <a:pt x="60" y="59"/>
                      </a:lnTo>
                      <a:lnTo>
                        <a:pt x="60" y="60"/>
                      </a:lnTo>
                      <a:lnTo>
                        <a:pt x="59" y="60"/>
                      </a:lnTo>
                      <a:lnTo>
                        <a:pt x="58" y="61"/>
                      </a:lnTo>
                      <a:lnTo>
                        <a:pt x="57" y="61"/>
                      </a:lnTo>
                      <a:lnTo>
                        <a:pt x="55" y="62"/>
                      </a:lnTo>
                      <a:lnTo>
                        <a:pt x="55" y="63"/>
                      </a:lnTo>
                      <a:lnTo>
                        <a:pt x="54" y="65"/>
                      </a:lnTo>
                      <a:lnTo>
                        <a:pt x="54" y="66"/>
                      </a:lnTo>
                      <a:lnTo>
                        <a:pt x="52" y="65"/>
                      </a:lnTo>
                      <a:lnTo>
                        <a:pt x="51" y="63"/>
                      </a:lnTo>
                      <a:lnTo>
                        <a:pt x="51" y="62"/>
                      </a:lnTo>
                      <a:lnTo>
                        <a:pt x="51" y="61"/>
                      </a:lnTo>
                      <a:lnTo>
                        <a:pt x="50" y="62"/>
                      </a:lnTo>
                      <a:lnTo>
                        <a:pt x="48" y="62"/>
                      </a:lnTo>
                      <a:lnTo>
                        <a:pt x="47" y="61"/>
                      </a:lnTo>
                      <a:lnTo>
                        <a:pt x="46" y="61"/>
                      </a:lnTo>
                      <a:lnTo>
                        <a:pt x="46" y="60"/>
                      </a:lnTo>
                      <a:lnTo>
                        <a:pt x="45" y="59"/>
                      </a:lnTo>
                      <a:lnTo>
                        <a:pt x="44" y="58"/>
                      </a:lnTo>
                      <a:lnTo>
                        <a:pt x="43" y="58"/>
                      </a:lnTo>
                      <a:lnTo>
                        <a:pt x="43" y="59"/>
                      </a:lnTo>
                      <a:lnTo>
                        <a:pt x="43" y="60"/>
                      </a:lnTo>
                      <a:lnTo>
                        <a:pt x="41" y="60"/>
                      </a:lnTo>
                      <a:lnTo>
                        <a:pt x="40" y="60"/>
                      </a:lnTo>
                      <a:lnTo>
                        <a:pt x="39" y="59"/>
                      </a:lnTo>
                      <a:lnTo>
                        <a:pt x="39" y="58"/>
                      </a:lnTo>
                      <a:lnTo>
                        <a:pt x="39" y="56"/>
                      </a:lnTo>
                      <a:lnTo>
                        <a:pt x="37" y="56"/>
                      </a:lnTo>
                      <a:lnTo>
                        <a:pt x="36" y="56"/>
                      </a:lnTo>
                      <a:lnTo>
                        <a:pt x="37" y="55"/>
                      </a:lnTo>
                      <a:lnTo>
                        <a:pt x="37" y="54"/>
                      </a:lnTo>
                      <a:lnTo>
                        <a:pt x="37" y="53"/>
                      </a:lnTo>
                      <a:lnTo>
                        <a:pt x="37" y="52"/>
                      </a:lnTo>
                      <a:lnTo>
                        <a:pt x="38" y="51"/>
                      </a:lnTo>
                      <a:lnTo>
                        <a:pt x="38" y="49"/>
                      </a:lnTo>
                      <a:lnTo>
                        <a:pt x="39" y="47"/>
                      </a:lnTo>
                      <a:lnTo>
                        <a:pt x="39" y="46"/>
                      </a:lnTo>
                      <a:lnTo>
                        <a:pt x="40" y="46"/>
                      </a:lnTo>
                      <a:lnTo>
                        <a:pt x="40" y="44"/>
                      </a:lnTo>
                      <a:lnTo>
                        <a:pt x="40" y="42"/>
                      </a:lnTo>
                      <a:lnTo>
                        <a:pt x="40" y="41"/>
                      </a:lnTo>
                      <a:lnTo>
                        <a:pt x="39" y="40"/>
                      </a:lnTo>
                      <a:lnTo>
                        <a:pt x="39" y="39"/>
                      </a:lnTo>
                      <a:lnTo>
                        <a:pt x="38" y="39"/>
                      </a:lnTo>
                      <a:lnTo>
                        <a:pt x="37" y="38"/>
                      </a:lnTo>
                      <a:lnTo>
                        <a:pt x="37" y="37"/>
                      </a:lnTo>
                      <a:lnTo>
                        <a:pt x="38" y="35"/>
                      </a:lnTo>
                      <a:lnTo>
                        <a:pt x="39" y="31"/>
                      </a:lnTo>
                      <a:lnTo>
                        <a:pt x="39" y="30"/>
                      </a:lnTo>
                      <a:lnTo>
                        <a:pt x="40" y="30"/>
                      </a:lnTo>
                      <a:lnTo>
                        <a:pt x="41" y="28"/>
                      </a:lnTo>
                      <a:lnTo>
                        <a:pt x="43" y="27"/>
                      </a:lnTo>
                      <a:lnTo>
                        <a:pt x="43" y="26"/>
                      </a:lnTo>
                      <a:lnTo>
                        <a:pt x="43" y="25"/>
                      </a:lnTo>
                      <a:lnTo>
                        <a:pt x="43" y="24"/>
                      </a:lnTo>
                      <a:lnTo>
                        <a:pt x="41" y="23"/>
                      </a:lnTo>
                      <a:lnTo>
                        <a:pt x="41" y="24"/>
                      </a:lnTo>
                      <a:lnTo>
                        <a:pt x="40" y="24"/>
                      </a:lnTo>
                      <a:lnTo>
                        <a:pt x="40" y="23"/>
                      </a:lnTo>
                      <a:lnTo>
                        <a:pt x="41" y="21"/>
                      </a:lnTo>
                      <a:lnTo>
                        <a:pt x="43" y="19"/>
                      </a:lnTo>
                      <a:lnTo>
                        <a:pt x="44" y="18"/>
                      </a:lnTo>
                      <a:lnTo>
                        <a:pt x="44" y="17"/>
                      </a:lnTo>
                      <a:lnTo>
                        <a:pt x="45" y="17"/>
                      </a:lnTo>
                      <a:lnTo>
                        <a:pt x="46" y="17"/>
                      </a:lnTo>
                      <a:lnTo>
                        <a:pt x="46" y="16"/>
                      </a:lnTo>
                      <a:lnTo>
                        <a:pt x="47" y="16"/>
                      </a:lnTo>
                      <a:lnTo>
                        <a:pt x="48" y="16"/>
                      </a:lnTo>
                      <a:lnTo>
                        <a:pt x="50" y="14"/>
                      </a:lnTo>
                      <a:lnTo>
                        <a:pt x="51" y="14"/>
                      </a:lnTo>
                      <a:lnTo>
                        <a:pt x="52" y="14"/>
                      </a:lnTo>
                      <a:lnTo>
                        <a:pt x="53" y="14"/>
                      </a:lnTo>
                      <a:lnTo>
                        <a:pt x="54" y="14"/>
                      </a:lnTo>
                      <a:lnTo>
                        <a:pt x="58" y="16"/>
                      </a:lnTo>
                      <a:lnTo>
                        <a:pt x="61" y="18"/>
                      </a:lnTo>
                      <a:lnTo>
                        <a:pt x="62" y="18"/>
                      </a:lnTo>
                      <a:lnTo>
                        <a:pt x="64" y="17"/>
                      </a:lnTo>
                      <a:lnTo>
                        <a:pt x="67" y="17"/>
                      </a:lnTo>
                      <a:lnTo>
                        <a:pt x="69" y="13"/>
                      </a:lnTo>
                      <a:lnTo>
                        <a:pt x="71" y="13"/>
                      </a:lnTo>
                      <a:lnTo>
                        <a:pt x="72" y="14"/>
                      </a:lnTo>
                      <a:lnTo>
                        <a:pt x="74" y="17"/>
                      </a:lnTo>
                      <a:lnTo>
                        <a:pt x="74" y="18"/>
                      </a:lnTo>
                      <a:lnTo>
                        <a:pt x="74" y="20"/>
                      </a:lnTo>
                      <a:lnTo>
                        <a:pt x="75" y="20"/>
                      </a:lnTo>
                      <a:lnTo>
                        <a:pt x="78" y="20"/>
                      </a:lnTo>
                      <a:lnTo>
                        <a:pt x="79" y="20"/>
                      </a:lnTo>
                      <a:lnTo>
                        <a:pt x="79" y="21"/>
                      </a:lnTo>
                      <a:lnTo>
                        <a:pt x="80" y="23"/>
                      </a:lnTo>
                      <a:lnTo>
                        <a:pt x="82" y="23"/>
                      </a:lnTo>
                      <a:lnTo>
                        <a:pt x="82" y="21"/>
                      </a:lnTo>
                      <a:lnTo>
                        <a:pt x="82" y="20"/>
                      </a:lnTo>
                      <a:lnTo>
                        <a:pt x="83" y="19"/>
                      </a:lnTo>
                      <a:lnTo>
                        <a:pt x="89" y="16"/>
                      </a:lnTo>
                      <a:lnTo>
                        <a:pt x="90" y="16"/>
                      </a:lnTo>
                      <a:lnTo>
                        <a:pt x="96" y="16"/>
                      </a:lnTo>
                      <a:lnTo>
                        <a:pt x="101" y="14"/>
                      </a:lnTo>
                      <a:lnTo>
                        <a:pt x="104" y="14"/>
                      </a:lnTo>
                      <a:lnTo>
                        <a:pt x="107" y="13"/>
                      </a:lnTo>
                      <a:lnTo>
                        <a:pt x="108" y="11"/>
                      </a:lnTo>
                      <a:lnTo>
                        <a:pt x="109" y="11"/>
                      </a:lnTo>
                      <a:lnTo>
                        <a:pt x="109" y="12"/>
                      </a:lnTo>
                      <a:lnTo>
                        <a:pt x="114" y="14"/>
                      </a:lnTo>
                      <a:lnTo>
                        <a:pt x="114" y="16"/>
                      </a:lnTo>
                      <a:lnTo>
                        <a:pt x="115" y="16"/>
                      </a:lnTo>
                      <a:lnTo>
                        <a:pt x="118" y="16"/>
                      </a:lnTo>
                      <a:lnTo>
                        <a:pt x="123" y="16"/>
                      </a:lnTo>
                      <a:lnTo>
                        <a:pt x="124" y="16"/>
                      </a:lnTo>
                      <a:lnTo>
                        <a:pt x="125" y="14"/>
                      </a:lnTo>
                      <a:lnTo>
                        <a:pt x="128" y="12"/>
                      </a:lnTo>
                      <a:lnTo>
                        <a:pt x="131" y="10"/>
                      </a:lnTo>
                      <a:lnTo>
                        <a:pt x="135" y="6"/>
                      </a:lnTo>
                      <a:lnTo>
                        <a:pt x="137" y="4"/>
                      </a:lnTo>
                      <a:lnTo>
                        <a:pt x="140" y="0"/>
                      </a:lnTo>
                      <a:lnTo>
                        <a:pt x="140" y="2"/>
                      </a:lnTo>
                      <a:lnTo>
                        <a:pt x="142" y="2"/>
                      </a:lnTo>
                      <a:lnTo>
                        <a:pt x="142" y="3"/>
                      </a:lnTo>
                      <a:lnTo>
                        <a:pt x="142" y="4"/>
                      </a:lnTo>
                      <a:lnTo>
                        <a:pt x="143" y="5"/>
                      </a:lnTo>
                      <a:lnTo>
                        <a:pt x="143" y="6"/>
                      </a:lnTo>
                      <a:lnTo>
                        <a:pt x="143" y="7"/>
                      </a:lnTo>
                      <a:lnTo>
                        <a:pt x="143" y="9"/>
                      </a:lnTo>
                      <a:lnTo>
                        <a:pt x="144" y="9"/>
                      </a:lnTo>
                      <a:lnTo>
                        <a:pt x="144" y="10"/>
                      </a:lnTo>
                      <a:lnTo>
                        <a:pt x="144" y="11"/>
                      </a:lnTo>
                      <a:lnTo>
                        <a:pt x="143" y="11"/>
                      </a:lnTo>
                      <a:lnTo>
                        <a:pt x="143" y="12"/>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3" name="Freeform 123">
                  <a:extLst>
                    <a:ext uri="{FF2B5EF4-FFF2-40B4-BE49-F238E27FC236}">
                      <a16:creationId xmlns:a16="http://schemas.microsoft.com/office/drawing/2014/main" id="{392FB82A-A341-D7A7-7EA5-103E9FDA4B74}"/>
                    </a:ext>
                  </a:extLst>
                </p:cNvPr>
                <p:cNvSpPr>
                  <a:spLocks noEditPoints="1"/>
                </p:cNvSpPr>
                <p:nvPr/>
              </p:nvSpPr>
              <p:spPr bwMode="auto">
                <a:xfrm>
                  <a:off x="6798091" y="4568808"/>
                  <a:ext cx="554929" cy="486779"/>
                </a:xfrm>
                <a:custGeom>
                  <a:avLst/>
                  <a:gdLst>
                    <a:gd name="T0" fmla="*/ 439 w 513"/>
                    <a:gd name="T1" fmla="*/ 6 h 450"/>
                    <a:gd name="T2" fmla="*/ 468 w 513"/>
                    <a:gd name="T3" fmla="*/ 23 h 450"/>
                    <a:gd name="T4" fmla="*/ 485 w 513"/>
                    <a:gd name="T5" fmla="*/ 98 h 450"/>
                    <a:gd name="T6" fmla="*/ 466 w 513"/>
                    <a:gd name="T7" fmla="*/ 123 h 450"/>
                    <a:gd name="T8" fmla="*/ 452 w 513"/>
                    <a:gd name="T9" fmla="*/ 163 h 450"/>
                    <a:gd name="T10" fmla="*/ 484 w 513"/>
                    <a:gd name="T11" fmla="*/ 165 h 450"/>
                    <a:gd name="T12" fmla="*/ 509 w 513"/>
                    <a:gd name="T13" fmla="*/ 175 h 450"/>
                    <a:gd name="T14" fmla="*/ 492 w 513"/>
                    <a:gd name="T15" fmla="*/ 226 h 450"/>
                    <a:gd name="T16" fmla="*/ 466 w 513"/>
                    <a:gd name="T17" fmla="*/ 249 h 450"/>
                    <a:gd name="T18" fmla="*/ 440 w 513"/>
                    <a:gd name="T19" fmla="*/ 294 h 450"/>
                    <a:gd name="T20" fmla="*/ 405 w 513"/>
                    <a:gd name="T21" fmla="*/ 334 h 450"/>
                    <a:gd name="T22" fmla="*/ 377 w 513"/>
                    <a:gd name="T23" fmla="*/ 365 h 450"/>
                    <a:gd name="T24" fmla="*/ 349 w 513"/>
                    <a:gd name="T25" fmla="*/ 390 h 450"/>
                    <a:gd name="T26" fmla="*/ 326 w 513"/>
                    <a:gd name="T27" fmla="*/ 404 h 450"/>
                    <a:gd name="T28" fmla="*/ 285 w 513"/>
                    <a:gd name="T29" fmla="*/ 417 h 450"/>
                    <a:gd name="T30" fmla="*/ 264 w 513"/>
                    <a:gd name="T31" fmla="*/ 420 h 450"/>
                    <a:gd name="T32" fmla="*/ 242 w 513"/>
                    <a:gd name="T33" fmla="*/ 422 h 450"/>
                    <a:gd name="T34" fmla="*/ 199 w 513"/>
                    <a:gd name="T35" fmla="*/ 421 h 450"/>
                    <a:gd name="T36" fmla="*/ 177 w 513"/>
                    <a:gd name="T37" fmla="*/ 425 h 450"/>
                    <a:gd name="T38" fmla="*/ 144 w 513"/>
                    <a:gd name="T39" fmla="*/ 434 h 450"/>
                    <a:gd name="T40" fmla="*/ 117 w 513"/>
                    <a:gd name="T41" fmla="*/ 446 h 450"/>
                    <a:gd name="T42" fmla="*/ 89 w 513"/>
                    <a:gd name="T43" fmla="*/ 443 h 450"/>
                    <a:gd name="T44" fmla="*/ 73 w 513"/>
                    <a:gd name="T45" fmla="*/ 432 h 450"/>
                    <a:gd name="T46" fmla="*/ 64 w 513"/>
                    <a:gd name="T47" fmla="*/ 433 h 450"/>
                    <a:gd name="T48" fmla="*/ 63 w 513"/>
                    <a:gd name="T49" fmla="*/ 414 h 450"/>
                    <a:gd name="T50" fmla="*/ 48 w 513"/>
                    <a:gd name="T51" fmla="*/ 386 h 450"/>
                    <a:gd name="T52" fmla="*/ 44 w 513"/>
                    <a:gd name="T53" fmla="*/ 382 h 450"/>
                    <a:gd name="T54" fmla="*/ 58 w 513"/>
                    <a:gd name="T55" fmla="*/ 358 h 450"/>
                    <a:gd name="T56" fmla="*/ 44 w 513"/>
                    <a:gd name="T57" fmla="*/ 322 h 450"/>
                    <a:gd name="T58" fmla="*/ 23 w 513"/>
                    <a:gd name="T59" fmla="*/ 279 h 450"/>
                    <a:gd name="T60" fmla="*/ 11 w 513"/>
                    <a:gd name="T61" fmla="*/ 244 h 450"/>
                    <a:gd name="T62" fmla="*/ 8 w 513"/>
                    <a:gd name="T63" fmla="*/ 219 h 450"/>
                    <a:gd name="T64" fmla="*/ 17 w 513"/>
                    <a:gd name="T65" fmla="*/ 203 h 450"/>
                    <a:gd name="T66" fmla="*/ 27 w 513"/>
                    <a:gd name="T67" fmla="*/ 219 h 450"/>
                    <a:gd name="T68" fmla="*/ 50 w 513"/>
                    <a:gd name="T69" fmla="*/ 233 h 450"/>
                    <a:gd name="T70" fmla="*/ 87 w 513"/>
                    <a:gd name="T71" fmla="*/ 233 h 450"/>
                    <a:gd name="T72" fmla="*/ 107 w 513"/>
                    <a:gd name="T73" fmla="*/ 217 h 450"/>
                    <a:gd name="T74" fmla="*/ 109 w 513"/>
                    <a:gd name="T75" fmla="*/ 177 h 450"/>
                    <a:gd name="T76" fmla="*/ 109 w 513"/>
                    <a:gd name="T77" fmla="*/ 132 h 450"/>
                    <a:gd name="T78" fmla="*/ 109 w 513"/>
                    <a:gd name="T79" fmla="*/ 90 h 450"/>
                    <a:gd name="T80" fmla="*/ 127 w 513"/>
                    <a:gd name="T81" fmla="*/ 111 h 450"/>
                    <a:gd name="T82" fmla="*/ 135 w 513"/>
                    <a:gd name="T83" fmla="*/ 139 h 450"/>
                    <a:gd name="T84" fmla="*/ 138 w 513"/>
                    <a:gd name="T85" fmla="*/ 160 h 450"/>
                    <a:gd name="T86" fmla="*/ 174 w 513"/>
                    <a:gd name="T87" fmla="*/ 153 h 450"/>
                    <a:gd name="T88" fmla="*/ 195 w 513"/>
                    <a:gd name="T89" fmla="*/ 131 h 450"/>
                    <a:gd name="T90" fmla="*/ 202 w 513"/>
                    <a:gd name="T91" fmla="*/ 111 h 450"/>
                    <a:gd name="T92" fmla="*/ 230 w 513"/>
                    <a:gd name="T93" fmla="*/ 117 h 450"/>
                    <a:gd name="T94" fmla="*/ 263 w 513"/>
                    <a:gd name="T95" fmla="*/ 125 h 450"/>
                    <a:gd name="T96" fmla="*/ 294 w 513"/>
                    <a:gd name="T97" fmla="*/ 89 h 450"/>
                    <a:gd name="T98" fmla="*/ 327 w 513"/>
                    <a:gd name="T99" fmla="*/ 58 h 450"/>
                    <a:gd name="T100" fmla="*/ 340 w 513"/>
                    <a:gd name="T101" fmla="*/ 43 h 450"/>
                    <a:gd name="T102" fmla="*/ 354 w 513"/>
                    <a:gd name="T103" fmla="*/ 34 h 450"/>
                    <a:gd name="T104" fmla="*/ 366 w 513"/>
                    <a:gd name="T105" fmla="*/ 18 h 450"/>
                    <a:gd name="T106" fmla="*/ 392 w 513"/>
                    <a:gd name="T107" fmla="*/ 4 h 450"/>
                    <a:gd name="T108" fmla="*/ 364 w 513"/>
                    <a:gd name="T109" fmla="*/ 228 h 450"/>
                    <a:gd name="T110" fmla="*/ 349 w 513"/>
                    <a:gd name="T111" fmla="*/ 240 h 450"/>
                    <a:gd name="T112" fmla="*/ 335 w 513"/>
                    <a:gd name="T113" fmla="*/ 257 h 450"/>
                    <a:gd name="T114" fmla="*/ 340 w 513"/>
                    <a:gd name="T115" fmla="*/ 281 h 450"/>
                    <a:gd name="T116" fmla="*/ 362 w 513"/>
                    <a:gd name="T117" fmla="*/ 294 h 450"/>
                    <a:gd name="T118" fmla="*/ 377 w 513"/>
                    <a:gd name="T119" fmla="*/ 278 h 450"/>
                    <a:gd name="T120" fmla="*/ 400 w 513"/>
                    <a:gd name="T121" fmla="*/ 257 h 450"/>
                    <a:gd name="T122" fmla="*/ 392 w 513"/>
                    <a:gd name="T123" fmla="*/ 235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3" h="450">
                      <a:moveTo>
                        <a:pt x="412" y="0"/>
                      </a:moveTo>
                      <a:lnTo>
                        <a:pt x="413" y="0"/>
                      </a:lnTo>
                      <a:lnTo>
                        <a:pt x="415" y="0"/>
                      </a:lnTo>
                      <a:lnTo>
                        <a:pt x="418" y="1"/>
                      </a:lnTo>
                      <a:lnTo>
                        <a:pt x="419" y="1"/>
                      </a:lnTo>
                      <a:lnTo>
                        <a:pt x="420" y="1"/>
                      </a:lnTo>
                      <a:lnTo>
                        <a:pt x="421" y="2"/>
                      </a:lnTo>
                      <a:lnTo>
                        <a:pt x="422" y="2"/>
                      </a:lnTo>
                      <a:lnTo>
                        <a:pt x="423" y="2"/>
                      </a:lnTo>
                      <a:lnTo>
                        <a:pt x="423" y="4"/>
                      </a:lnTo>
                      <a:lnTo>
                        <a:pt x="425" y="4"/>
                      </a:lnTo>
                      <a:lnTo>
                        <a:pt x="426" y="5"/>
                      </a:lnTo>
                      <a:lnTo>
                        <a:pt x="427" y="5"/>
                      </a:lnTo>
                      <a:lnTo>
                        <a:pt x="428" y="5"/>
                      </a:lnTo>
                      <a:lnTo>
                        <a:pt x="429" y="5"/>
                      </a:lnTo>
                      <a:lnTo>
                        <a:pt x="430" y="6"/>
                      </a:lnTo>
                      <a:lnTo>
                        <a:pt x="432" y="6"/>
                      </a:lnTo>
                      <a:lnTo>
                        <a:pt x="432" y="7"/>
                      </a:lnTo>
                      <a:lnTo>
                        <a:pt x="433" y="7"/>
                      </a:lnTo>
                      <a:lnTo>
                        <a:pt x="434" y="7"/>
                      </a:lnTo>
                      <a:lnTo>
                        <a:pt x="436" y="7"/>
                      </a:lnTo>
                      <a:lnTo>
                        <a:pt x="437" y="6"/>
                      </a:lnTo>
                      <a:lnTo>
                        <a:pt x="439" y="6"/>
                      </a:lnTo>
                      <a:lnTo>
                        <a:pt x="441" y="6"/>
                      </a:lnTo>
                      <a:lnTo>
                        <a:pt x="442" y="6"/>
                      </a:lnTo>
                      <a:lnTo>
                        <a:pt x="442" y="7"/>
                      </a:lnTo>
                      <a:lnTo>
                        <a:pt x="443" y="6"/>
                      </a:lnTo>
                      <a:lnTo>
                        <a:pt x="444" y="6"/>
                      </a:lnTo>
                      <a:lnTo>
                        <a:pt x="448" y="6"/>
                      </a:lnTo>
                      <a:lnTo>
                        <a:pt x="449" y="5"/>
                      </a:lnTo>
                      <a:lnTo>
                        <a:pt x="450" y="5"/>
                      </a:lnTo>
                      <a:lnTo>
                        <a:pt x="451" y="6"/>
                      </a:lnTo>
                      <a:lnTo>
                        <a:pt x="455" y="6"/>
                      </a:lnTo>
                      <a:lnTo>
                        <a:pt x="456" y="7"/>
                      </a:lnTo>
                      <a:lnTo>
                        <a:pt x="457" y="7"/>
                      </a:lnTo>
                      <a:lnTo>
                        <a:pt x="458" y="6"/>
                      </a:lnTo>
                      <a:lnTo>
                        <a:pt x="459" y="6"/>
                      </a:lnTo>
                      <a:lnTo>
                        <a:pt x="459" y="7"/>
                      </a:lnTo>
                      <a:lnTo>
                        <a:pt x="461" y="7"/>
                      </a:lnTo>
                      <a:lnTo>
                        <a:pt x="461" y="8"/>
                      </a:lnTo>
                      <a:lnTo>
                        <a:pt x="462" y="7"/>
                      </a:lnTo>
                      <a:lnTo>
                        <a:pt x="462" y="8"/>
                      </a:lnTo>
                      <a:lnTo>
                        <a:pt x="463" y="9"/>
                      </a:lnTo>
                      <a:lnTo>
                        <a:pt x="464" y="14"/>
                      </a:lnTo>
                      <a:lnTo>
                        <a:pt x="465" y="19"/>
                      </a:lnTo>
                      <a:lnTo>
                        <a:pt x="468" y="23"/>
                      </a:lnTo>
                      <a:lnTo>
                        <a:pt x="469" y="28"/>
                      </a:lnTo>
                      <a:lnTo>
                        <a:pt x="471" y="35"/>
                      </a:lnTo>
                      <a:lnTo>
                        <a:pt x="470" y="43"/>
                      </a:lnTo>
                      <a:lnTo>
                        <a:pt x="470" y="44"/>
                      </a:lnTo>
                      <a:lnTo>
                        <a:pt x="471" y="46"/>
                      </a:lnTo>
                      <a:lnTo>
                        <a:pt x="473" y="49"/>
                      </a:lnTo>
                      <a:lnTo>
                        <a:pt x="475" y="50"/>
                      </a:lnTo>
                      <a:lnTo>
                        <a:pt x="476" y="55"/>
                      </a:lnTo>
                      <a:lnTo>
                        <a:pt x="477" y="57"/>
                      </a:lnTo>
                      <a:lnTo>
                        <a:pt x="478" y="58"/>
                      </a:lnTo>
                      <a:lnTo>
                        <a:pt x="478" y="60"/>
                      </a:lnTo>
                      <a:lnTo>
                        <a:pt x="480" y="61"/>
                      </a:lnTo>
                      <a:lnTo>
                        <a:pt x="480" y="62"/>
                      </a:lnTo>
                      <a:lnTo>
                        <a:pt x="480" y="68"/>
                      </a:lnTo>
                      <a:lnTo>
                        <a:pt x="482" y="69"/>
                      </a:lnTo>
                      <a:lnTo>
                        <a:pt x="483" y="72"/>
                      </a:lnTo>
                      <a:lnTo>
                        <a:pt x="484" y="75"/>
                      </a:lnTo>
                      <a:lnTo>
                        <a:pt x="485" y="78"/>
                      </a:lnTo>
                      <a:lnTo>
                        <a:pt x="485" y="81"/>
                      </a:lnTo>
                      <a:lnTo>
                        <a:pt x="485" y="83"/>
                      </a:lnTo>
                      <a:lnTo>
                        <a:pt x="485" y="88"/>
                      </a:lnTo>
                      <a:lnTo>
                        <a:pt x="485" y="93"/>
                      </a:lnTo>
                      <a:lnTo>
                        <a:pt x="485" y="98"/>
                      </a:lnTo>
                      <a:lnTo>
                        <a:pt x="485" y="103"/>
                      </a:lnTo>
                      <a:lnTo>
                        <a:pt x="485" y="111"/>
                      </a:lnTo>
                      <a:lnTo>
                        <a:pt x="484" y="112"/>
                      </a:lnTo>
                      <a:lnTo>
                        <a:pt x="484" y="113"/>
                      </a:lnTo>
                      <a:lnTo>
                        <a:pt x="484" y="114"/>
                      </a:lnTo>
                      <a:lnTo>
                        <a:pt x="484" y="116"/>
                      </a:lnTo>
                      <a:lnTo>
                        <a:pt x="485" y="117"/>
                      </a:lnTo>
                      <a:lnTo>
                        <a:pt x="485" y="119"/>
                      </a:lnTo>
                      <a:lnTo>
                        <a:pt x="485" y="120"/>
                      </a:lnTo>
                      <a:lnTo>
                        <a:pt x="484" y="120"/>
                      </a:lnTo>
                      <a:lnTo>
                        <a:pt x="484" y="121"/>
                      </a:lnTo>
                      <a:lnTo>
                        <a:pt x="483" y="125"/>
                      </a:lnTo>
                      <a:lnTo>
                        <a:pt x="482" y="126"/>
                      </a:lnTo>
                      <a:lnTo>
                        <a:pt x="482" y="127"/>
                      </a:lnTo>
                      <a:lnTo>
                        <a:pt x="484" y="131"/>
                      </a:lnTo>
                      <a:lnTo>
                        <a:pt x="482" y="132"/>
                      </a:lnTo>
                      <a:lnTo>
                        <a:pt x="480" y="132"/>
                      </a:lnTo>
                      <a:lnTo>
                        <a:pt x="479" y="132"/>
                      </a:lnTo>
                      <a:lnTo>
                        <a:pt x="477" y="130"/>
                      </a:lnTo>
                      <a:lnTo>
                        <a:pt x="473" y="127"/>
                      </a:lnTo>
                      <a:lnTo>
                        <a:pt x="470" y="125"/>
                      </a:lnTo>
                      <a:lnTo>
                        <a:pt x="468" y="124"/>
                      </a:lnTo>
                      <a:lnTo>
                        <a:pt x="466" y="123"/>
                      </a:lnTo>
                      <a:lnTo>
                        <a:pt x="465" y="123"/>
                      </a:lnTo>
                      <a:lnTo>
                        <a:pt x="464" y="124"/>
                      </a:lnTo>
                      <a:lnTo>
                        <a:pt x="463" y="124"/>
                      </a:lnTo>
                      <a:lnTo>
                        <a:pt x="461" y="126"/>
                      </a:lnTo>
                      <a:lnTo>
                        <a:pt x="457" y="128"/>
                      </a:lnTo>
                      <a:lnTo>
                        <a:pt x="457" y="130"/>
                      </a:lnTo>
                      <a:lnTo>
                        <a:pt x="456" y="132"/>
                      </a:lnTo>
                      <a:lnTo>
                        <a:pt x="455" y="135"/>
                      </a:lnTo>
                      <a:lnTo>
                        <a:pt x="452" y="139"/>
                      </a:lnTo>
                      <a:lnTo>
                        <a:pt x="450" y="142"/>
                      </a:lnTo>
                      <a:lnTo>
                        <a:pt x="448" y="146"/>
                      </a:lnTo>
                      <a:lnTo>
                        <a:pt x="447" y="148"/>
                      </a:lnTo>
                      <a:lnTo>
                        <a:pt x="447" y="152"/>
                      </a:lnTo>
                      <a:lnTo>
                        <a:pt x="447" y="158"/>
                      </a:lnTo>
                      <a:lnTo>
                        <a:pt x="447" y="160"/>
                      </a:lnTo>
                      <a:lnTo>
                        <a:pt x="448" y="160"/>
                      </a:lnTo>
                      <a:lnTo>
                        <a:pt x="449" y="160"/>
                      </a:lnTo>
                      <a:lnTo>
                        <a:pt x="450" y="159"/>
                      </a:lnTo>
                      <a:lnTo>
                        <a:pt x="450" y="160"/>
                      </a:lnTo>
                      <a:lnTo>
                        <a:pt x="450" y="161"/>
                      </a:lnTo>
                      <a:lnTo>
                        <a:pt x="451" y="161"/>
                      </a:lnTo>
                      <a:lnTo>
                        <a:pt x="451" y="162"/>
                      </a:lnTo>
                      <a:lnTo>
                        <a:pt x="452" y="163"/>
                      </a:lnTo>
                      <a:lnTo>
                        <a:pt x="452" y="165"/>
                      </a:lnTo>
                      <a:lnTo>
                        <a:pt x="452" y="166"/>
                      </a:lnTo>
                      <a:lnTo>
                        <a:pt x="452" y="167"/>
                      </a:lnTo>
                      <a:lnTo>
                        <a:pt x="452" y="168"/>
                      </a:lnTo>
                      <a:lnTo>
                        <a:pt x="456" y="172"/>
                      </a:lnTo>
                      <a:lnTo>
                        <a:pt x="457" y="173"/>
                      </a:lnTo>
                      <a:lnTo>
                        <a:pt x="458" y="174"/>
                      </a:lnTo>
                      <a:lnTo>
                        <a:pt x="461" y="175"/>
                      </a:lnTo>
                      <a:lnTo>
                        <a:pt x="462" y="175"/>
                      </a:lnTo>
                      <a:lnTo>
                        <a:pt x="464" y="176"/>
                      </a:lnTo>
                      <a:lnTo>
                        <a:pt x="468" y="177"/>
                      </a:lnTo>
                      <a:lnTo>
                        <a:pt x="470" y="177"/>
                      </a:lnTo>
                      <a:lnTo>
                        <a:pt x="473" y="177"/>
                      </a:lnTo>
                      <a:lnTo>
                        <a:pt x="478" y="177"/>
                      </a:lnTo>
                      <a:lnTo>
                        <a:pt x="480" y="179"/>
                      </a:lnTo>
                      <a:lnTo>
                        <a:pt x="484" y="179"/>
                      </a:lnTo>
                      <a:lnTo>
                        <a:pt x="484" y="177"/>
                      </a:lnTo>
                      <a:lnTo>
                        <a:pt x="483" y="176"/>
                      </a:lnTo>
                      <a:lnTo>
                        <a:pt x="483" y="174"/>
                      </a:lnTo>
                      <a:lnTo>
                        <a:pt x="483" y="173"/>
                      </a:lnTo>
                      <a:lnTo>
                        <a:pt x="483" y="170"/>
                      </a:lnTo>
                      <a:lnTo>
                        <a:pt x="484" y="167"/>
                      </a:lnTo>
                      <a:lnTo>
                        <a:pt x="484" y="165"/>
                      </a:lnTo>
                      <a:lnTo>
                        <a:pt x="485" y="161"/>
                      </a:lnTo>
                      <a:lnTo>
                        <a:pt x="485" y="160"/>
                      </a:lnTo>
                      <a:lnTo>
                        <a:pt x="486" y="160"/>
                      </a:lnTo>
                      <a:lnTo>
                        <a:pt x="487" y="160"/>
                      </a:lnTo>
                      <a:lnTo>
                        <a:pt x="487" y="161"/>
                      </a:lnTo>
                      <a:lnTo>
                        <a:pt x="489" y="161"/>
                      </a:lnTo>
                      <a:lnTo>
                        <a:pt x="490" y="161"/>
                      </a:lnTo>
                      <a:lnTo>
                        <a:pt x="491" y="161"/>
                      </a:lnTo>
                      <a:lnTo>
                        <a:pt x="492" y="161"/>
                      </a:lnTo>
                      <a:lnTo>
                        <a:pt x="494" y="162"/>
                      </a:lnTo>
                      <a:lnTo>
                        <a:pt x="496" y="162"/>
                      </a:lnTo>
                      <a:lnTo>
                        <a:pt x="499" y="162"/>
                      </a:lnTo>
                      <a:lnTo>
                        <a:pt x="504" y="162"/>
                      </a:lnTo>
                      <a:lnTo>
                        <a:pt x="508" y="162"/>
                      </a:lnTo>
                      <a:lnTo>
                        <a:pt x="513" y="162"/>
                      </a:lnTo>
                      <a:lnTo>
                        <a:pt x="512" y="163"/>
                      </a:lnTo>
                      <a:lnTo>
                        <a:pt x="512" y="168"/>
                      </a:lnTo>
                      <a:lnTo>
                        <a:pt x="512" y="170"/>
                      </a:lnTo>
                      <a:lnTo>
                        <a:pt x="511" y="170"/>
                      </a:lnTo>
                      <a:lnTo>
                        <a:pt x="511" y="172"/>
                      </a:lnTo>
                      <a:lnTo>
                        <a:pt x="509" y="173"/>
                      </a:lnTo>
                      <a:lnTo>
                        <a:pt x="509" y="174"/>
                      </a:lnTo>
                      <a:lnTo>
                        <a:pt x="509" y="175"/>
                      </a:lnTo>
                      <a:lnTo>
                        <a:pt x="509" y="176"/>
                      </a:lnTo>
                      <a:lnTo>
                        <a:pt x="506" y="186"/>
                      </a:lnTo>
                      <a:lnTo>
                        <a:pt x="504" y="196"/>
                      </a:lnTo>
                      <a:lnTo>
                        <a:pt x="504" y="197"/>
                      </a:lnTo>
                      <a:lnTo>
                        <a:pt x="504" y="198"/>
                      </a:lnTo>
                      <a:lnTo>
                        <a:pt x="504" y="200"/>
                      </a:lnTo>
                      <a:lnTo>
                        <a:pt x="501" y="208"/>
                      </a:lnTo>
                      <a:lnTo>
                        <a:pt x="501" y="209"/>
                      </a:lnTo>
                      <a:lnTo>
                        <a:pt x="499" y="214"/>
                      </a:lnTo>
                      <a:lnTo>
                        <a:pt x="499" y="215"/>
                      </a:lnTo>
                      <a:lnTo>
                        <a:pt x="498" y="215"/>
                      </a:lnTo>
                      <a:lnTo>
                        <a:pt x="498" y="216"/>
                      </a:lnTo>
                      <a:lnTo>
                        <a:pt x="497" y="216"/>
                      </a:lnTo>
                      <a:lnTo>
                        <a:pt x="498" y="216"/>
                      </a:lnTo>
                      <a:lnTo>
                        <a:pt x="498" y="217"/>
                      </a:lnTo>
                      <a:lnTo>
                        <a:pt x="498" y="218"/>
                      </a:lnTo>
                      <a:lnTo>
                        <a:pt x="497" y="219"/>
                      </a:lnTo>
                      <a:lnTo>
                        <a:pt x="497" y="221"/>
                      </a:lnTo>
                      <a:lnTo>
                        <a:pt x="497" y="222"/>
                      </a:lnTo>
                      <a:lnTo>
                        <a:pt x="493" y="224"/>
                      </a:lnTo>
                      <a:lnTo>
                        <a:pt x="493" y="225"/>
                      </a:lnTo>
                      <a:lnTo>
                        <a:pt x="492" y="225"/>
                      </a:lnTo>
                      <a:lnTo>
                        <a:pt x="492" y="226"/>
                      </a:lnTo>
                      <a:lnTo>
                        <a:pt x="491" y="226"/>
                      </a:lnTo>
                      <a:lnTo>
                        <a:pt x="491" y="228"/>
                      </a:lnTo>
                      <a:lnTo>
                        <a:pt x="487" y="230"/>
                      </a:lnTo>
                      <a:lnTo>
                        <a:pt x="486" y="230"/>
                      </a:lnTo>
                      <a:lnTo>
                        <a:pt x="485" y="230"/>
                      </a:lnTo>
                      <a:lnTo>
                        <a:pt x="484" y="231"/>
                      </a:lnTo>
                      <a:lnTo>
                        <a:pt x="485" y="231"/>
                      </a:lnTo>
                      <a:lnTo>
                        <a:pt x="486" y="231"/>
                      </a:lnTo>
                      <a:lnTo>
                        <a:pt x="486" y="232"/>
                      </a:lnTo>
                      <a:lnTo>
                        <a:pt x="485" y="232"/>
                      </a:lnTo>
                      <a:lnTo>
                        <a:pt x="482" y="235"/>
                      </a:lnTo>
                      <a:lnTo>
                        <a:pt x="480" y="235"/>
                      </a:lnTo>
                      <a:lnTo>
                        <a:pt x="479" y="235"/>
                      </a:lnTo>
                      <a:lnTo>
                        <a:pt x="477" y="235"/>
                      </a:lnTo>
                      <a:lnTo>
                        <a:pt x="477" y="236"/>
                      </a:lnTo>
                      <a:lnTo>
                        <a:pt x="478" y="236"/>
                      </a:lnTo>
                      <a:lnTo>
                        <a:pt x="477" y="237"/>
                      </a:lnTo>
                      <a:lnTo>
                        <a:pt x="471" y="243"/>
                      </a:lnTo>
                      <a:lnTo>
                        <a:pt x="469" y="245"/>
                      </a:lnTo>
                      <a:lnTo>
                        <a:pt x="469" y="246"/>
                      </a:lnTo>
                      <a:lnTo>
                        <a:pt x="468" y="246"/>
                      </a:lnTo>
                      <a:lnTo>
                        <a:pt x="466" y="247"/>
                      </a:lnTo>
                      <a:lnTo>
                        <a:pt x="466" y="249"/>
                      </a:lnTo>
                      <a:lnTo>
                        <a:pt x="465" y="249"/>
                      </a:lnTo>
                      <a:lnTo>
                        <a:pt x="465" y="250"/>
                      </a:lnTo>
                      <a:lnTo>
                        <a:pt x="464" y="250"/>
                      </a:lnTo>
                      <a:lnTo>
                        <a:pt x="464" y="251"/>
                      </a:lnTo>
                      <a:lnTo>
                        <a:pt x="463" y="251"/>
                      </a:lnTo>
                      <a:lnTo>
                        <a:pt x="463" y="252"/>
                      </a:lnTo>
                      <a:lnTo>
                        <a:pt x="459" y="258"/>
                      </a:lnTo>
                      <a:lnTo>
                        <a:pt x="455" y="266"/>
                      </a:lnTo>
                      <a:lnTo>
                        <a:pt x="455" y="267"/>
                      </a:lnTo>
                      <a:lnTo>
                        <a:pt x="455" y="268"/>
                      </a:lnTo>
                      <a:lnTo>
                        <a:pt x="454" y="268"/>
                      </a:lnTo>
                      <a:lnTo>
                        <a:pt x="454" y="270"/>
                      </a:lnTo>
                      <a:lnTo>
                        <a:pt x="455" y="270"/>
                      </a:lnTo>
                      <a:lnTo>
                        <a:pt x="455" y="268"/>
                      </a:lnTo>
                      <a:lnTo>
                        <a:pt x="455" y="270"/>
                      </a:lnTo>
                      <a:lnTo>
                        <a:pt x="454" y="271"/>
                      </a:lnTo>
                      <a:lnTo>
                        <a:pt x="451" y="274"/>
                      </a:lnTo>
                      <a:lnTo>
                        <a:pt x="450" y="275"/>
                      </a:lnTo>
                      <a:lnTo>
                        <a:pt x="448" y="278"/>
                      </a:lnTo>
                      <a:lnTo>
                        <a:pt x="447" y="281"/>
                      </a:lnTo>
                      <a:lnTo>
                        <a:pt x="442" y="289"/>
                      </a:lnTo>
                      <a:lnTo>
                        <a:pt x="441" y="292"/>
                      </a:lnTo>
                      <a:lnTo>
                        <a:pt x="440" y="294"/>
                      </a:lnTo>
                      <a:lnTo>
                        <a:pt x="434" y="303"/>
                      </a:lnTo>
                      <a:lnTo>
                        <a:pt x="434" y="305"/>
                      </a:lnTo>
                      <a:lnTo>
                        <a:pt x="433" y="306"/>
                      </a:lnTo>
                      <a:lnTo>
                        <a:pt x="432" y="306"/>
                      </a:lnTo>
                      <a:lnTo>
                        <a:pt x="432" y="308"/>
                      </a:lnTo>
                      <a:lnTo>
                        <a:pt x="428" y="312"/>
                      </a:lnTo>
                      <a:lnTo>
                        <a:pt x="426" y="315"/>
                      </a:lnTo>
                      <a:lnTo>
                        <a:pt x="425" y="316"/>
                      </a:lnTo>
                      <a:lnTo>
                        <a:pt x="423" y="317"/>
                      </a:lnTo>
                      <a:lnTo>
                        <a:pt x="422" y="320"/>
                      </a:lnTo>
                      <a:lnTo>
                        <a:pt x="418" y="324"/>
                      </a:lnTo>
                      <a:lnTo>
                        <a:pt x="415" y="326"/>
                      </a:lnTo>
                      <a:lnTo>
                        <a:pt x="414" y="326"/>
                      </a:lnTo>
                      <a:lnTo>
                        <a:pt x="414" y="327"/>
                      </a:lnTo>
                      <a:lnTo>
                        <a:pt x="412" y="329"/>
                      </a:lnTo>
                      <a:lnTo>
                        <a:pt x="411" y="329"/>
                      </a:lnTo>
                      <a:lnTo>
                        <a:pt x="411" y="330"/>
                      </a:lnTo>
                      <a:lnTo>
                        <a:pt x="409" y="330"/>
                      </a:lnTo>
                      <a:lnTo>
                        <a:pt x="409" y="331"/>
                      </a:lnTo>
                      <a:lnTo>
                        <a:pt x="408" y="331"/>
                      </a:lnTo>
                      <a:lnTo>
                        <a:pt x="407" y="333"/>
                      </a:lnTo>
                      <a:lnTo>
                        <a:pt x="406" y="333"/>
                      </a:lnTo>
                      <a:lnTo>
                        <a:pt x="405" y="334"/>
                      </a:lnTo>
                      <a:lnTo>
                        <a:pt x="404" y="334"/>
                      </a:lnTo>
                      <a:lnTo>
                        <a:pt x="404" y="335"/>
                      </a:lnTo>
                      <a:lnTo>
                        <a:pt x="402" y="336"/>
                      </a:lnTo>
                      <a:lnTo>
                        <a:pt x="402" y="337"/>
                      </a:lnTo>
                      <a:lnTo>
                        <a:pt x="401" y="337"/>
                      </a:lnTo>
                      <a:lnTo>
                        <a:pt x="401" y="338"/>
                      </a:lnTo>
                      <a:lnTo>
                        <a:pt x="400" y="338"/>
                      </a:lnTo>
                      <a:lnTo>
                        <a:pt x="399" y="340"/>
                      </a:lnTo>
                      <a:lnTo>
                        <a:pt x="399" y="341"/>
                      </a:lnTo>
                      <a:lnTo>
                        <a:pt x="399" y="342"/>
                      </a:lnTo>
                      <a:lnTo>
                        <a:pt x="398" y="343"/>
                      </a:lnTo>
                      <a:lnTo>
                        <a:pt x="395" y="344"/>
                      </a:lnTo>
                      <a:lnTo>
                        <a:pt x="395" y="345"/>
                      </a:lnTo>
                      <a:lnTo>
                        <a:pt x="394" y="347"/>
                      </a:lnTo>
                      <a:lnTo>
                        <a:pt x="394" y="348"/>
                      </a:lnTo>
                      <a:lnTo>
                        <a:pt x="390" y="351"/>
                      </a:lnTo>
                      <a:lnTo>
                        <a:pt x="386" y="356"/>
                      </a:lnTo>
                      <a:lnTo>
                        <a:pt x="385" y="357"/>
                      </a:lnTo>
                      <a:lnTo>
                        <a:pt x="380" y="362"/>
                      </a:lnTo>
                      <a:lnTo>
                        <a:pt x="380" y="363"/>
                      </a:lnTo>
                      <a:lnTo>
                        <a:pt x="379" y="363"/>
                      </a:lnTo>
                      <a:lnTo>
                        <a:pt x="378" y="364"/>
                      </a:lnTo>
                      <a:lnTo>
                        <a:pt x="377" y="365"/>
                      </a:lnTo>
                      <a:lnTo>
                        <a:pt x="377" y="366"/>
                      </a:lnTo>
                      <a:lnTo>
                        <a:pt x="373" y="369"/>
                      </a:lnTo>
                      <a:lnTo>
                        <a:pt x="372" y="370"/>
                      </a:lnTo>
                      <a:lnTo>
                        <a:pt x="371" y="370"/>
                      </a:lnTo>
                      <a:lnTo>
                        <a:pt x="371" y="371"/>
                      </a:lnTo>
                      <a:lnTo>
                        <a:pt x="370" y="372"/>
                      </a:lnTo>
                      <a:lnTo>
                        <a:pt x="369" y="372"/>
                      </a:lnTo>
                      <a:lnTo>
                        <a:pt x="368" y="373"/>
                      </a:lnTo>
                      <a:lnTo>
                        <a:pt x="366" y="375"/>
                      </a:lnTo>
                      <a:lnTo>
                        <a:pt x="364" y="375"/>
                      </a:lnTo>
                      <a:lnTo>
                        <a:pt x="364" y="376"/>
                      </a:lnTo>
                      <a:lnTo>
                        <a:pt x="363" y="377"/>
                      </a:lnTo>
                      <a:lnTo>
                        <a:pt x="363" y="378"/>
                      </a:lnTo>
                      <a:lnTo>
                        <a:pt x="362" y="379"/>
                      </a:lnTo>
                      <a:lnTo>
                        <a:pt x="358" y="382"/>
                      </a:lnTo>
                      <a:lnTo>
                        <a:pt x="357" y="382"/>
                      </a:lnTo>
                      <a:lnTo>
                        <a:pt x="357" y="383"/>
                      </a:lnTo>
                      <a:lnTo>
                        <a:pt x="357" y="384"/>
                      </a:lnTo>
                      <a:lnTo>
                        <a:pt x="356" y="384"/>
                      </a:lnTo>
                      <a:lnTo>
                        <a:pt x="355" y="385"/>
                      </a:lnTo>
                      <a:lnTo>
                        <a:pt x="354" y="385"/>
                      </a:lnTo>
                      <a:lnTo>
                        <a:pt x="351" y="386"/>
                      </a:lnTo>
                      <a:lnTo>
                        <a:pt x="349" y="390"/>
                      </a:lnTo>
                      <a:lnTo>
                        <a:pt x="348" y="391"/>
                      </a:lnTo>
                      <a:lnTo>
                        <a:pt x="345" y="391"/>
                      </a:lnTo>
                      <a:lnTo>
                        <a:pt x="344" y="391"/>
                      </a:lnTo>
                      <a:lnTo>
                        <a:pt x="344" y="392"/>
                      </a:lnTo>
                      <a:lnTo>
                        <a:pt x="344" y="393"/>
                      </a:lnTo>
                      <a:lnTo>
                        <a:pt x="343" y="393"/>
                      </a:lnTo>
                      <a:lnTo>
                        <a:pt x="343" y="392"/>
                      </a:lnTo>
                      <a:lnTo>
                        <a:pt x="343" y="393"/>
                      </a:lnTo>
                      <a:lnTo>
                        <a:pt x="342" y="394"/>
                      </a:lnTo>
                      <a:lnTo>
                        <a:pt x="341" y="396"/>
                      </a:lnTo>
                      <a:lnTo>
                        <a:pt x="340" y="397"/>
                      </a:lnTo>
                      <a:lnTo>
                        <a:pt x="340" y="396"/>
                      </a:lnTo>
                      <a:lnTo>
                        <a:pt x="338" y="396"/>
                      </a:lnTo>
                      <a:lnTo>
                        <a:pt x="338" y="397"/>
                      </a:lnTo>
                      <a:lnTo>
                        <a:pt x="335" y="399"/>
                      </a:lnTo>
                      <a:lnTo>
                        <a:pt x="333" y="400"/>
                      </a:lnTo>
                      <a:lnTo>
                        <a:pt x="333" y="401"/>
                      </a:lnTo>
                      <a:lnTo>
                        <a:pt x="331" y="401"/>
                      </a:lnTo>
                      <a:lnTo>
                        <a:pt x="331" y="403"/>
                      </a:lnTo>
                      <a:lnTo>
                        <a:pt x="330" y="403"/>
                      </a:lnTo>
                      <a:lnTo>
                        <a:pt x="328" y="404"/>
                      </a:lnTo>
                      <a:lnTo>
                        <a:pt x="327" y="404"/>
                      </a:lnTo>
                      <a:lnTo>
                        <a:pt x="326" y="404"/>
                      </a:lnTo>
                      <a:lnTo>
                        <a:pt x="324" y="406"/>
                      </a:lnTo>
                      <a:lnTo>
                        <a:pt x="323" y="406"/>
                      </a:lnTo>
                      <a:lnTo>
                        <a:pt x="322" y="406"/>
                      </a:lnTo>
                      <a:lnTo>
                        <a:pt x="321" y="406"/>
                      </a:lnTo>
                      <a:lnTo>
                        <a:pt x="317" y="408"/>
                      </a:lnTo>
                      <a:lnTo>
                        <a:pt x="316" y="408"/>
                      </a:lnTo>
                      <a:lnTo>
                        <a:pt x="316" y="410"/>
                      </a:lnTo>
                      <a:lnTo>
                        <a:pt x="313" y="411"/>
                      </a:lnTo>
                      <a:lnTo>
                        <a:pt x="312" y="411"/>
                      </a:lnTo>
                      <a:lnTo>
                        <a:pt x="311" y="411"/>
                      </a:lnTo>
                      <a:lnTo>
                        <a:pt x="308" y="411"/>
                      </a:lnTo>
                      <a:lnTo>
                        <a:pt x="307" y="411"/>
                      </a:lnTo>
                      <a:lnTo>
                        <a:pt x="306" y="411"/>
                      </a:lnTo>
                      <a:lnTo>
                        <a:pt x="305" y="410"/>
                      </a:lnTo>
                      <a:lnTo>
                        <a:pt x="300" y="410"/>
                      </a:lnTo>
                      <a:lnTo>
                        <a:pt x="295" y="408"/>
                      </a:lnTo>
                      <a:lnTo>
                        <a:pt x="293" y="410"/>
                      </a:lnTo>
                      <a:lnTo>
                        <a:pt x="291" y="410"/>
                      </a:lnTo>
                      <a:lnTo>
                        <a:pt x="288" y="411"/>
                      </a:lnTo>
                      <a:lnTo>
                        <a:pt x="287" y="412"/>
                      </a:lnTo>
                      <a:lnTo>
                        <a:pt x="286" y="413"/>
                      </a:lnTo>
                      <a:lnTo>
                        <a:pt x="286" y="414"/>
                      </a:lnTo>
                      <a:lnTo>
                        <a:pt x="285" y="417"/>
                      </a:lnTo>
                      <a:lnTo>
                        <a:pt x="285" y="418"/>
                      </a:lnTo>
                      <a:lnTo>
                        <a:pt x="286" y="418"/>
                      </a:lnTo>
                      <a:lnTo>
                        <a:pt x="286" y="419"/>
                      </a:lnTo>
                      <a:lnTo>
                        <a:pt x="287" y="419"/>
                      </a:lnTo>
                      <a:lnTo>
                        <a:pt x="287" y="420"/>
                      </a:lnTo>
                      <a:lnTo>
                        <a:pt x="288" y="420"/>
                      </a:lnTo>
                      <a:lnTo>
                        <a:pt x="288" y="421"/>
                      </a:lnTo>
                      <a:lnTo>
                        <a:pt x="287" y="421"/>
                      </a:lnTo>
                      <a:lnTo>
                        <a:pt x="286" y="421"/>
                      </a:lnTo>
                      <a:lnTo>
                        <a:pt x="285" y="421"/>
                      </a:lnTo>
                      <a:lnTo>
                        <a:pt x="284" y="421"/>
                      </a:lnTo>
                      <a:lnTo>
                        <a:pt x="283" y="421"/>
                      </a:lnTo>
                      <a:lnTo>
                        <a:pt x="281" y="421"/>
                      </a:lnTo>
                      <a:lnTo>
                        <a:pt x="279" y="421"/>
                      </a:lnTo>
                      <a:lnTo>
                        <a:pt x="278" y="420"/>
                      </a:lnTo>
                      <a:lnTo>
                        <a:pt x="277" y="420"/>
                      </a:lnTo>
                      <a:lnTo>
                        <a:pt x="276" y="419"/>
                      </a:lnTo>
                      <a:lnTo>
                        <a:pt x="274" y="419"/>
                      </a:lnTo>
                      <a:lnTo>
                        <a:pt x="272" y="418"/>
                      </a:lnTo>
                      <a:lnTo>
                        <a:pt x="270" y="418"/>
                      </a:lnTo>
                      <a:lnTo>
                        <a:pt x="266" y="419"/>
                      </a:lnTo>
                      <a:lnTo>
                        <a:pt x="265" y="419"/>
                      </a:lnTo>
                      <a:lnTo>
                        <a:pt x="264" y="420"/>
                      </a:lnTo>
                      <a:lnTo>
                        <a:pt x="263" y="420"/>
                      </a:lnTo>
                      <a:lnTo>
                        <a:pt x="264" y="421"/>
                      </a:lnTo>
                      <a:lnTo>
                        <a:pt x="264" y="422"/>
                      </a:lnTo>
                      <a:lnTo>
                        <a:pt x="263" y="424"/>
                      </a:lnTo>
                      <a:lnTo>
                        <a:pt x="262" y="425"/>
                      </a:lnTo>
                      <a:lnTo>
                        <a:pt x="260" y="425"/>
                      </a:lnTo>
                      <a:lnTo>
                        <a:pt x="260" y="426"/>
                      </a:lnTo>
                      <a:lnTo>
                        <a:pt x="262" y="426"/>
                      </a:lnTo>
                      <a:lnTo>
                        <a:pt x="262" y="427"/>
                      </a:lnTo>
                      <a:lnTo>
                        <a:pt x="260" y="427"/>
                      </a:lnTo>
                      <a:lnTo>
                        <a:pt x="259" y="427"/>
                      </a:lnTo>
                      <a:lnTo>
                        <a:pt x="257" y="427"/>
                      </a:lnTo>
                      <a:lnTo>
                        <a:pt x="256" y="426"/>
                      </a:lnTo>
                      <a:lnTo>
                        <a:pt x="255" y="426"/>
                      </a:lnTo>
                      <a:lnTo>
                        <a:pt x="253" y="426"/>
                      </a:lnTo>
                      <a:lnTo>
                        <a:pt x="252" y="426"/>
                      </a:lnTo>
                      <a:lnTo>
                        <a:pt x="250" y="426"/>
                      </a:lnTo>
                      <a:lnTo>
                        <a:pt x="249" y="425"/>
                      </a:lnTo>
                      <a:lnTo>
                        <a:pt x="248" y="424"/>
                      </a:lnTo>
                      <a:lnTo>
                        <a:pt x="247" y="424"/>
                      </a:lnTo>
                      <a:lnTo>
                        <a:pt x="243" y="424"/>
                      </a:lnTo>
                      <a:lnTo>
                        <a:pt x="243" y="422"/>
                      </a:lnTo>
                      <a:lnTo>
                        <a:pt x="242" y="422"/>
                      </a:lnTo>
                      <a:lnTo>
                        <a:pt x="240" y="421"/>
                      </a:lnTo>
                      <a:lnTo>
                        <a:pt x="235" y="421"/>
                      </a:lnTo>
                      <a:lnTo>
                        <a:pt x="234" y="421"/>
                      </a:lnTo>
                      <a:lnTo>
                        <a:pt x="233" y="420"/>
                      </a:lnTo>
                      <a:lnTo>
                        <a:pt x="229" y="420"/>
                      </a:lnTo>
                      <a:lnTo>
                        <a:pt x="223" y="419"/>
                      </a:lnTo>
                      <a:lnTo>
                        <a:pt x="222" y="419"/>
                      </a:lnTo>
                      <a:lnTo>
                        <a:pt x="217" y="420"/>
                      </a:lnTo>
                      <a:lnTo>
                        <a:pt x="216" y="420"/>
                      </a:lnTo>
                      <a:lnTo>
                        <a:pt x="216" y="421"/>
                      </a:lnTo>
                      <a:lnTo>
                        <a:pt x="215" y="421"/>
                      </a:lnTo>
                      <a:lnTo>
                        <a:pt x="215" y="422"/>
                      </a:lnTo>
                      <a:lnTo>
                        <a:pt x="216" y="424"/>
                      </a:lnTo>
                      <a:lnTo>
                        <a:pt x="206" y="422"/>
                      </a:lnTo>
                      <a:lnTo>
                        <a:pt x="206" y="421"/>
                      </a:lnTo>
                      <a:lnTo>
                        <a:pt x="205" y="421"/>
                      </a:lnTo>
                      <a:lnTo>
                        <a:pt x="203" y="421"/>
                      </a:lnTo>
                      <a:lnTo>
                        <a:pt x="205" y="421"/>
                      </a:lnTo>
                      <a:lnTo>
                        <a:pt x="205" y="422"/>
                      </a:lnTo>
                      <a:lnTo>
                        <a:pt x="203" y="422"/>
                      </a:lnTo>
                      <a:lnTo>
                        <a:pt x="202" y="422"/>
                      </a:lnTo>
                      <a:lnTo>
                        <a:pt x="199" y="422"/>
                      </a:lnTo>
                      <a:lnTo>
                        <a:pt x="199" y="421"/>
                      </a:lnTo>
                      <a:lnTo>
                        <a:pt x="198" y="421"/>
                      </a:lnTo>
                      <a:lnTo>
                        <a:pt x="198" y="420"/>
                      </a:lnTo>
                      <a:lnTo>
                        <a:pt x="198" y="419"/>
                      </a:lnTo>
                      <a:lnTo>
                        <a:pt x="196" y="419"/>
                      </a:lnTo>
                      <a:lnTo>
                        <a:pt x="195" y="419"/>
                      </a:lnTo>
                      <a:lnTo>
                        <a:pt x="195" y="420"/>
                      </a:lnTo>
                      <a:lnTo>
                        <a:pt x="196" y="420"/>
                      </a:lnTo>
                      <a:lnTo>
                        <a:pt x="198" y="421"/>
                      </a:lnTo>
                      <a:lnTo>
                        <a:pt x="196" y="421"/>
                      </a:lnTo>
                      <a:lnTo>
                        <a:pt x="195" y="421"/>
                      </a:lnTo>
                      <a:lnTo>
                        <a:pt x="192" y="420"/>
                      </a:lnTo>
                      <a:lnTo>
                        <a:pt x="192" y="419"/>
                      </a:lnTo>
                      <a:lnTo>
                        <a:pt x="191" y="420"/>
                      </a:lnTo>
                      <a:lnTo>
                        <a:pt x="189" y="420"/>
                      </a:lnTo>
                      <a:lnTo>
                        <a:pt x="188" y="421"/>
                      </a:lnTo>
                      <a:lnTo>
                        <a:pt x="187" y="422"/>
                      </a:lnTo>
                      <a:lnTo>
                        <a:pt x="186" y="422"/>
                      </a:lnTo>
                      <a:lnTo>
                        <a:pt x="183" y="422"/>
                      </a:lnTo>
                      <a:lnTo>
                        <a:pt x="181" y="422"/>
                      </a:lnTo>
                      <a:lnTo>
                        <a:pt x="179" y="422"/>
                      </a:lnTo>
                      <a:lnTo>
                        <a:pt x="178" y="422"/>
                      </a:lnTo>
                      <a:lnTo>
                        <a:pt x="178" y="424"/>
                      </a:lnTo>
                      <a:lnTo>
                        <a:pt x="177" y="425"/>
                      </a:lnTo>
                      <a:lnTo>
                        <a:pt x="177" y="426"/>
                      </a:lnTo>
                      <a:lnTo>
                        <a:pt x="178" y="426"/>
                      </a:lnTo>
                      <a:lnTo>
                        <a:pt x="177" y="427"/>
                      </a:lnTo>
                      <a:lnTo>
                        <a:pt x="172" y="427"/>
                      </a:lnTo>
                      <a:lnTo>
                        <a:pt x="171" y="428"/>
                      </a:lnTo>
                      <a:lnTo>
                        <a:pt x="170" y="429"/>
                      </a:lnTo>
                      <a:lnTo>
                        <a:pt x="171" y="431"/>
                      </a:lnTo>
                      <a:lnTo>
                        <a:pt x="170" y="432"/>
                      </a:lnTo>
                      <a:lnTo>
                        <a:pt x="170" y="433"/>
                      </a:lnTo>
                      <a:lnTo>
                        <a:pt x="167" y="434"/>
                      </a:lnTo>
                      <a:lnTo>
                        <a:pt x="166" y="434"/>
                      </a:lnTo>
                      <a:lnTo>
                        <a:pt x="165" y="434"/>
                      </a:lnTo>
                      <a:lnTo>
                        <a:pt x="164" y="434"/>
                      </a:lnTo>
                      <a:lnTo>
                        <a:pt x="160" y="434"/>
                      </a:lnTo>
                      <a:lnTo>
                        <a:pt x="159" y="433"/>
                      </a:lnTo>
                      <a:lnTo>
                        <a:pt x="158" y="433"/>
                      </a:lnTo>
                      <a:lnTo>
                        <a:pt x="157" y="434"/>
                      </a:lnTo>
                      <a:lnTo>
                        <a:pt x="156" y="434"/>
                      </a:lnTo>
                      <a:lnTo>
                        <a:pt x="155" y="434"/>
                      </a:lnTo>
                      <a:lnTo>
                        <a:pt x="152" y="435"/>
                      </a:lnTo>
                      <a:lnTo>
                        <a:pt x="151" y="435"/>
                      </a:lnTo>
                      <a:lnTo>
                        <a:pt x="150" y="435"/>
                      </a:lnTo>
                      <a:lnTo>
                        <a:pt x="144" y="434"/>
                      </a:lnTo>
                      <a:lnTo>
                        <a:pt x="143" y="433"/>
                      </a:lnTo>
                      <a:lnTo>
                        <a:pt x="141" y="433"/>
                      </a:lnTo>
                      <a:lnTo>
                        <a:pt x="139" y="433"/>
                      </a:lnTo>
                      <a:lnTo>
                        <a:pt x="137" y="434"/>
                      </a:lnTo>
                      <a:lnTo>
                        <a:pt x="138" y="434"/>
                      </a:lnTo>
                      <a:lnTo>
                        <a:pt x="136" y="434"/>
                      </a:lnTo>
                      <a:lnTo>
                        <a:pt x="136" y="435"/>
                      </a:lnTo>
                      <a:lnTo>
                        <a:pt x="137" y="435"/>
                      </a:lnTo>
                      <a:lnTo>
                        <a:pt x="137" y="436"/>
                      </a:lnTo>
                      <a:lnTo>
                        <a:pt x="137" y="438"/>
                      </a:lnTo>
                      <a:lnTo>
                        <a:pt x="131" y="436"/>
                      </a:lnTo>
                      <a:lnTo>
                        <a:pt x="127" y="436"/>
                      </a:lnTo>
                      <a:lnTo>
                        <a:pt x="125" y="438"/>
                      </a:lnTo>
                      <a:lnTo>
                        <a:pt x="124" y="439"/>
                      </a:lnTo>
                      <a:lnTo>
                        <a:pt x="123" y="441"/>
                      </a:lnTo>
                      <a:lnTo>
                        <a:pt x="122" y="441"/>
                      </a:lnTo>
                      <a:lnTo>
                        <a:pt x="121" y="441"/>
                      </a:lnTo>
                      <a:lnTo>
                        <a:pt x="121" y="442"/>
                      </a:lnTo>
                      <a:lnTo>
                        <a:pt x="120" y="442"/>
                      </a:lnTo>
                      <a:lnTo>
                        <a:pt x="120" y="443"/>
                      </a:lnTo>
                      <a:lnTo>
                        <a:pt x="119" y="443"/>
                      </a:lnTo>
                      <a:lnTo>
                        <a:pt x="117" y="445"/>
                      </a:lnTo>
                      <a:lnTo>
                        <a:pt x="117" y="446"/>
                      </a:lnTo>
                      <a:lnTo>
                        <a:pt x="117" y="445"/>
                      </a:lnTo>
                      <a:lnTo>
                        <a:pt x="116" y="446"/>
                      </a:lnTo>
                      <a:lnTo>
                        <a:pt x="115" y="446"/>
                      </a:lnTo>
                      <a:lnTo>
                        <a:pt x="113" y="448"/>
                      </a:lnTo>
                      <a:lnTo>
                        <a:pt x="112" y="449"/>
                      </a:lnTo>
                      <a:lnTo>
                        <a:pt x="113" y="449"/>
                      </a:lnTo>
                      <a:lnTo>
                        <a:pt x="113" y="450"/>
                      </a:lnTo>
                      <a:lnTo>
                        <a:pt x="112" y="450"/>
                      </a:lnTo>
                      <a:lnTo>
                        <a:pt x="110" y="450"/>
                      </a:lnTo>
                      <a:lnTo>
                        <a:pt x="109" y="450"/>
                      </a:lnTo>
                      <a:lnTo>
                        <a:pt x="107" y="449"/>
                      </a:lnTo>
                      <a:lnTo>
                        <a:pt x="107" y="448"/>
                      </a:lnTo>
                      <a:lnTo>
                        <a:pt x="106" y="448"/>
                      </a:lnTo>
                      <a:lnTo>
                        <a:pt x="101" y="448"/>
                      </a:lnTo>
                      <a:lnTo>
                        <a:pt x="100" y="449"/>
                      </a:lnTo>
                      <a:lnTo>
                        <a:pt x="99" y="449"/>
                      </a:lnTo>
                      <a:lnTo>
                        <a:pt x="99" y="448"/>
                      </a:lnTo>
                      <a:lnTo>
                        <a:pt x="98" y="447"/>
                      </a:lnTo>
                      <a:lnTo>
                        <a:pt x="95" y="445"/>
                      </a:lnTo>
                      <a:lnTo>
                        <a:pt x="93" y="443"/>
                      </a:lnTo>
                      <a:lnTo>
                        <a:pt x="92" y="442"/>
                      </a:lnTo>
                      <a:lnTo>
                        <a:pt x="91" y="442"/>
                      </a:lnTo>
                      <a:lnTo>
                        <a:pt x="89" y="443"/>
                      </a:lnTo>
                      <a:lnTo>
                        <a:pt x="88" y="443"/>
                      </a:lnTo>
                      <a:lnTo>
                        <a:pt x="88" y="442"/>
                      </a:lnTo>
                      <a:lnTo>
                        <a:pt x="91" y="440"/>
                      </a:lnTo>
                      <a:lnTo>
                        <a:pt x="91" y="439"/>
                      </a:lnTo>
                      <a:lnTo>
                        <a:pt x="91" y="438"/>
                      </a:lnTo>
                      <a:lnTo>
                        <a:pt x="89" y="436"/>
                      </a:lnTo>
                      <a:lnTo>
                        <a:pt x="88" y="435"/>
                      </a:lnTo>
                      <a:lnTo>
                        <a:pt x="86" y="435"/>
                      </a:lnTo>
                      <a:lnTo>
                        <a:pt x="84" y="435"/>
                      </a:lnTo>
                      <a:lnTo>
                        <a:pt x="82" y="434"/>
                      </a:lnTo>
                      <a:lnTo>
                        <a:pt x="82" y="433"/>
                      </a:lnTo>
                      <a:lnTo>
                        <a:pt x="84" y="433"/>
                      </a:lnTo>
                      <a:lnTo>
                        <a:pt x="84" y="432"/>
                      </a:lnTo>
                      <a:lnTo>
                        <a:pt x="84" y="431"/>
                      </a:lnTo>
                      <a:lnTo>
                        <a:pt x="84" y="432"/>
                      </a:lnTo>
                      <a:lnTo>
                        <a:pt x="82" y="433"/>
                      </a:lnTo>
                      <a:lnTo>
                        <a:pt x="80" y="433"/>
                      </a:lnTo>
                      <a:lnTo>
                        <a:pt x="79" y="433"/>
                      </a:lnTo>
                      <a:lnTo>
                        <a:pt x="75" y="434"/>
                      </a:lnTo>
                      <a:lnTo>
                        <a:pt x="74" y="434"/>
                      </a:lnTo>
                      <a:lnTo>
                        <a:pt x="73" y="434"/>
                      </a:lnTo>
                      <a:lnTo>
                        <a:pt x="73" y="433"/>
                      </a:lnTo>
                      <a:lnTo>
                        <a:pt x="73" y="432"/>
                      </a:lnTo>
                      <a:lnTo>
                        <a:pt x="73" y="431"/>
                      </a:lnTo>
                      <a:lnTo>
                        <a:pt x="74" y="431"/>
                      </a:lnTo>
                      <a:lnTo>
                        <a:pt x="74" y="429"/>
                      </a:lnTo>
                      <a:lnTo>
                        <a:pt x="74" y="428"/>
                      </a:lnTo>
                      <a:lnTo>
                        <a:pt x="74" y="427"/>
                      </a:lnTo>
                      <a:lnTo>
                        <a:pt x="74" y="426"/>
                      </a:lnTo>
                      <a:lnTo>
                        <a:pt x="75" y="426"/>
                      </a:lnTo>
                      <a:lnTo>
                        <a:pt x="73" y="424"/>
                      </a:lnTo>
                      <a:lnTo>
                        <a:pt x="71" y="422"/>
                      </a:lnTo>
                      <a:lnTo>
                        <a:pt x="68" y="422"/>
                      </a:lnTo>
                      <a:lnTo>
                        <a:pt x="65" y="422"/>
                      </a:lnTo>
                      <a:lnTo>
                        <a:pt x="65" y="424"/>
                      </a:lnTo>
                      <a:lnTo>
                        <a:pt x="64" y="424"/>
                      </a:lnTo>
                      <a:lnTo>
                        <a:pt x="63" y="424"/>
                      </a:lnTo>
                      <a:lnTo>
                        <a:pt x="63" y="425"/>
                      </a:lnTo>
                      <a:lnTo>
                        <a:pt x="61" y="425"/>
                      </a:lnTo>
                      <a:lnTo>
                        <a:pt x="61" y="426"/>
                      </a:lnTo>
                      <a:lnTo>
                        <a:pt x="63" y="427"/>
                      </a:lnTo>
                      <a:lnTo>
                        <a:pt x="63" y="428"/>
                      </a:lnTo>
                      <a:lnTo>
                        <a:pt x="63" y="429"/>
                      </a:lnTo>
                      <a:lnTo>
                        <a:pt x="63" y="432"/>
                      </a:lnTo>
                      <a:lnTo>
                        <a:pt x="63" y="433"/>
                      </a:lnTo>
                      <a:lnTo>
                        <a:pt x="64" y="433"/>
                      </a:lnTo>
                      <a:lnTo>
                        <a:pt x="63" y="433"/>
                      </a:lnTo>
                      <a:lnTo>
                        <a:pt x="61" y="433"/>
                      </a:lnTo>
                      <a:lnTo>
                        <a:pt x="61" y="432"/>
                      </a:lnTo>
                      <a:lnTo>
                        <a:pt x="60" y="432"/>
                      </a:lnTo>
                      <a:lnTo>
                        <a:pt x="60" y="429"/>
                      </a:lnTo>
                      <a:lnTo>
                        <a:pt x="60" y="428"/>
                      </a:lnTo>
                      <a:lnTo>
                        <a:pt x="59" y="427"/>
                      </a:lnTo>
                      <a:lnTo>
                        <a:pt x="58" y="426"/>
                      </a:lnTo>
                      <a:lnTo>
                        <a:pt x="58" y="425"/>
                      </a:lnTo>
                      <a:lnTo>
                        <a:pt x="59" y="425"/>
                      </a:lnTo>
                      <a:lnTo>
                        <a:pt x="59" y="424"/>
                      </a:lnTo>
                      <a:lnTo>
                        <a:pt x="59" y="422"/>
                      </a:lnTo>
                      <a:lnTo>
                        <a:pt x="58" y="422"/>
                      </a:lnTo>
                      <a:lnTo>
                        <a:pt x="58" y="421"/>
                      </a:lnTo>
                      <a:lnTo>
                        <a:pt x="58" y="420"/>
                      </a:lnTo>
                      <a:lnTo>
                        <a:pt x="59" y="420"/>
                      </a:lnTo>
                      <a:lnTo>
                        <a:pt x="59" y="419"/>
                      </a:lnTo>
                      <a:lnTo>
                        <a:pt x="59" y="418"/>
                      </a:lnTo>
                      <a:lnTo>
                        <a:pt x="60" y="417"/>
                      </a:lnTo>
                      <a:lnTo>
                        <a:pt x="61" y="417"/>
                      </a:lnTo>
                      <a:lnTo>
                        <a:pt x="63" y="417"/>
                      </a:lnTo>
                      <a:lnTo>
                        <a:pt x="64" y="415"/>
                      </a:lnTo>
                      <a:lnTo>
                        <a:pt x="63" y="414"/>
                      </a:lnTo>
                      <a:lnTo>
                        <a:pt x="63" y="413"/>
                      </a:lnTo>
                      <a:lnTo>
                        <a:pt x="63" y="412"/>
                      </a:lnTo>
                      <a:lnTo>
                        <a:pt x="61" y="408"/>
                      </a:lnTo>
                      <a:lnTo>
                        <a:pt x="60" y="407"/>
                      </a:lnTo>
                      <a:lnTo>
                        <a:pt x="60" y="406"/>
                      </a:lnTo>
                      <a:lnTo>
                        <a:pt x="59" y="405"/>
                      </a:lnTo>
                      <a:lnTo>
                        <a:pt x="58" y="404"/>
                      </a:lnTo>
                      <a:lnTo>
                        <a:pt x="58" y="401"/>
                      </a:lnTo>
                      <a:lnTo>
                        <a:pt x="58" y="400"/>
                      </a:lnTo>
                      <a:lnTo>
                        <a:pt x="57" y="399"/>
                      </a:lnTo>
                      <a:lnTo>
                        <a:pt x="56" y="398"/>
                      </a:lnTo>
                      <a:lnTo>
                        <a:pt x="52" y="396"/>
                      </a:lnTo>
                      <a:lnTo>
                        <a:pt x="53" y="396"/>
                      </a:lnTo>
                      <a:lnTo>
                        <a:pt x="52" y="394"/>
                      </a:lnTo>
                      <a:lnTo>
                        <a:pt x="52" y="393"/>
                      </a:lnTo>
                      <a:lnTo>
                        <a:pt x="51" y="392"/>
                      </a:lnTo>
                      <a:lnTo>
                        <a:pt x="51" y="391"/>
                      </a:lnTo>
                      <a:lnTo>
                        <a:pt x="50" y="390"/>
                      </a:lnTo>
                      <a:lnTo>
                        <a:pt x="49" y="389"/>
                      </a:lnTo>
                      <a:lnTo>
                        <a:pt x="48" y="389"/>
                      </a:lnTo>
                      <a:lnTo>
                        <a:pt x="48" y="387"/>
                      </a:lnTo>
                      <a:lnTo>
                        <a:pt x="46" y="386"/>
                      </a:lnTo>
                      <a:lnTo>
                        <a:pt x="48" y="386"/>
                      </a:lnTo>
                      <a:lnTo>
                        <a:pt x="49" y="386"/>
                      </a:lnTo>
                      <a:lnTo>
                        <a:pt x="49" y="387"/>
                      </a:lnTo>
                      <a:lnTo>
                        <a:pt x="49" y="389"/>
                      </a:lnTo>
                      <a:lnTo>
                        <a:pt x="50" y="389"/>
                      </a:lnTo>
                      <a:lnTo>
                        <a:pt x="51" y="390"/>
                      </a:lnTo>
                      <a:lnTo>
                        <a:pt x="51" y="391"/>
                      </a:lnTo>
                      <a:lnTo>
                        <a:pt x="52" y="390"/>
                      </a:lnTo>
                      <a:lnTo>
                        <a:pt x="51" y="389"/>
                      </a:lnTo>
                      <a:lnTo>
                        <a:pt x="51" y="387"/>
                      </a:lnTo>
                      <a:lnTo>
                        <a:pt x="50" y="387"/>
                      </a:lnTo>
                      <a:lnTo>
                        <a:pt x="50" y="386"/>
                      </a:lnTo>
                      <a:lnTo>
                        <a:pt x="49" y="386"/>
                      </a:lnTo>
                      <a:lnTo>
                        <a:pt x="50" y="385"/>
                      </a:lnTo>
                      <a:lnTo>
                        <a:pt x="49" y="384"/>
                      </a:lnTo>
                      <a:lnTo>
                        <a:pt x="49" y="383"/>
                      </a:lnTo>
                      <a:lnTo>
                        <a:pt x="48" y="383"/>
                      </a:lnTo>
                      <a:lnTo>
                        <a:pt x="46" y="383"/>
                      </a:lnTo>
                      <a:lnTo>
                        <a:pt x="46" y="384"/>
                      </a:lnTo>
                      <a:lnTo>
                        <a:pt x="45" y="385"/>
                      </a:lnTo>
                      <a:lnTo>
                        <a:pt x="45" y="384"/>
                      </a:lnTo>
                      <a:lnTo>
                        <a:pt x="45" y="383"/>
                      </a:lnTo>
                      <a:lnTo>
                        <a:pt x="44" y="383"/>
                      </a:lnTo>
                      <a:lnTo>
                        <a:pt x="44" y="382"/>
                      </a:lnTo>
                      <a:lnTo>
                        <a:pt x="44" y="380"/>
                      </a:lnTo>
                      <a:lnTo>
                        <a:pt x="44" y="379"/>
                      </a:lnTo>
                      <a:lnTo>
                        <a:pt x="44" y="378"/>
                      </a:lnTo>
                      <a:lnTo>
                        <a:pt x="44" y="377"/>
                      </a:lnTo>
                      <a:lnTo>
                        <a:pt x="43" y="377"/>
                      </a:lnTo>
                      <a:lnTo>
                        <a:pt x="43" y="376"/>
                      </a:lnTo>
                      <a:lnTo>
                        <a:pt x="44" y="376"/>
                      </a:lnTo>
                      <a:lnTo>
                        <a:pt x="45" y="375"/>
                      </a:lnTo>
                      <a:lnTo>
                        <a:pt x="45" y="373"/>
                      </a:lnTo>
                      <a:lnTo>
                        <a:pt x="45" y="372"/>
                      </a:lnTo>
                      <a:lnTo>
                        <a:pt x="46" y="372"/>
                      </a:lnTo>
                      <a:lnTo>
                        <a:pt x="48" y="372"/>
                      </a:lnTo>
                      <a:lnTo>
                        <a:pt x="49" y="375"/>
                      </a:lnTo>
                      <a:lnTo>
                        <a:pt x="51" y="375"/>
                      </a:lnTo>
                      <a:lnTo>
                        <a:pt x="52" y="375"/>
                      </a:lnTo>
                      <a:lnTo>
                        <a:pt x="52" y="373"/>
                      </a:lnTo>
                      <a:lnTo>
                        <a:pt x="57" y="370"/>
                      </a:lnTo>
                      <a:lnTo>
                        <a:pt x="57" y="369"/>
                      </a:lnTo>
                      <a:lnTo>
                        <a:pt x="58" y="366"/>
                      </a:lnTo>
                      <a:lnTo>
                        <a:pt x="58" y="364"/>
                      </a:lnTo>
                      <a:lnTo>
                        <a:pt x="58" y="363"/>
                      </a:lnTo>
                      <a:lnTo>
                        <a:pt x="58" y="359"/>
                      </a:lnTo>
                      <a:lnTo>
                        <a:pt x="58" y="358"/>
                      </a:lnTo>
                      <a:lnTo>
                        <a:pt x="59" y="357"/>
                      </a:lnTo>
                      <a:lnTo>
                        <a:pt x="59" y="356"/>
                      </a:lnTo>
                      <a:lnTo>
                        <a:pt x="58" y="350"/>
                      </a:lnTo>
                      <a:lnTo>
                        <a:pt x="57" y="347"/>
                      </a:lnTo>
                      <a:lnTo>
                        <a:pt x="57" y="345"/>
                      </a:lnTo>
                      <a:lnTo>
                        <a:pt x="57" y="344"/>
                      </a:lnTo>
                      <a:lnTo>
                        <a:pt x="57" y="343"/>
                      </a:lnTo>
                      <a:lnTo>
                        <a:pt x="57" y="342"/>
                      </a:lnTo>
                      <a:lnTo>
                        <a:pt x="56" y="341"/>
                      </a:lnTo>
                      <a:lnTo>
                        <a:pt x="56" y="340"/>
                      </a:lnTo>
                      <a:lnTo>
                        <a:pt x="56" y="338"/>
                      </a:lnTo>
                      <a:lnTo>
                        <a:pt x="55" y="336"/>
                      </a:lnTo>
                      <a:lnTo>
                        <a:pt x="55" y="335"/>
                      </a:lnTo>
                      <a:lnTo>
                        <a:pt x="53" y="334"/>
                      </a:lnTo>
                      <a:lnTo>
                        <a:pt x="52" y="331"/>
                      </a:lnTo>
                      <a:lnTo>
                        <a:pt x="51" y="331"/>
                      </a:lnTo>
                      <a:lnTo>
                        <a:pt x="50" y="329"/>
                      </a:lnTo>
                      <a:lnTo>
                        <a:pt x="49" y="327"/>
                      </a:lnTo>
                      <a:lnTo>
                        <a:pt x="49" y="326"/>
                      </a:lnTo>
                      <a:lnTo>
                        <a:pt x="48" y="326"/>
                      </a:lnTo>
                      <a:lnTo>
                        <a:pt x="46" y="324"/>
                      </a:lnTo>
                      <a:lnTo>
                        <a:pt x="45" y="323"/>
                      </a:lnTo>
                      <a:lnTo>
                        <a:pt x="44" y="322"/>
                      </a:lnTo>
                      <a:lnTo>
                        <a:pt x="44" y="321"/>
                      </a:lnTo>
                      <a:lnTo>
                        <a:pt x="44" y="320"/>
                      </a:lnTo>
                      <a:lnTo>
                        <a:pt x="44" y="319"/>
                      </a:lnTo>
                      <a:lnTo>
                        <a:pt x="42" y="317"/>
                      </a:lnTo>
                      <a:lnTo>
                        <a:pt x="41" y="314"/>
                      </a:lnTo>
                      <a:lnTo>
                        <a:pt x="39" y="314"/>
                      </a:lnTo>
                      <a:lnTo>
                        <a:pt x="39" y="313"/>
                      </a:lnTo>
                      <a:lnTo>
                        <a:pt x="38" y="310"/>
                      </a:lnTo>
                      <a:lnTo>
                        <a:pt x="36" y="307"/>
                      </a:lnTo>
                      <a:lnTo>
                        <a:pt x="34" y="303"/>
                      </a:lnTo>
                      <a:lnTo>
                        <a:pt x="34" y="302"/>
                      </a:lnTo>
                      <a:lnTo>
                        <a:pt x="34" y="301"/>
                      </a:lnTo>
                      <a:lnTo>
                        <a:pt x="31" y="298"/>
                      </a:lnTo>
                      <a:lnTo>
                        <a:pt x="30" y="296"/>
                      </a:lnTo>
                      <a:lnTo>
                        <a:pt x="31" y="295"/>
                      </a:lnTo>
                      <a:lnTo>
                        <a:pt x="30" y="294"/>
                      </a:lnTo>
                      <a:lnTo>
                        <a:pt x="28" y="291"/>
                      </a:lnTo>
                      <a:lnTo>
                        <a:pt x="28" y="289"/>
                      </a:lnTo>
                      <a:lnTo>
                        <a:pt x="25" y="286"/>
                      </a:lnTo>
                      <a:lnTo>
                        <a:pt x="25" y="285"/>
                      </a:lnTo>
                      <a:lnTo>
                        <a:pt x="24" y="284"/>
                      </a:lnTo>
                      <a:lnTo>
                        <a:pt x="24" y="282"/>
                      </a:lnTo>
                      <a:lnTo>
                        <a:pt x="23" y="279"/>
                      </a:lnTo>
                      <a:lnTo>
                        <a:pt x="23" y="278"/>
                      </a:lnTo>
                      <a:lnTo>
                        <a:pt x="22" y="277"/>
                      </a:lnTo>
                      <a:lnTo>
                        <a:pt x="22" y="274"/>
                      </a:lnTo>
                      <a:lnTo>
                        <a:pt x="20" y="270"/>
                      </a:lnTo>
                      <a:lnTo>
                        <a:pt x="20" y="268"/>
                      </a:lnTo>
                      <a:lnTo>
                        <a:pt x="20" y="267"/>
                      </a:lnTo>
                      <a:lnTo>
                        <a:pt x="18" y="264"/>
                      </a:lnTo>
                      <a:lnTo>
                        <a:pt x="18" y="263"/>
                      </a:lnTo>
                      <a:lnTo>
                        <a:pt x="18" y="261"/>
                      </a:lnTo>
                      <a:lnTo>
                        <a:pt x="17" y="260"/>
                      </a:lnTo>
                      <a:lnTo>
                        <a:pt x="17" y="259"/>
                      </a:lnTo>
                      <a:lnTo>
                        <a:pt x="17" y="258"/>
                      </a:lnTo>
                      <a:lnTo>
                        <a:pt x="16" y="257"/>
                      </a:lnTo>
                      <a:lnTo>
                        <a:pt x="16" y="254"/>
                      </a:lnTo>
                      <a:lnTo>
                        <a:pt x="15" y="254"/>
                      </a:lnTo>
                      <a:lnTo>
                        <a:pt x="14" y="251"/>
                      </a:lnTo>
                      <a:lnTo>
                        <a:pt x="14" y="250"/>
                      </a:lnTo>
                      <a:lnTo>
                        <a:pt x="14" y="249"/>
                      </a:lnTo>
                      <a:lnTo>
                        <a:pt x="13" y="249"/>
                      </a:lnTo>
                      <a:lnTo>
                        <a:pt x="13" y="246"/>
                      </a:lnTo>
                      <a:lnTo>
                        <a:pt x="11" y="246"/>
                      </a:lnTo>
                      <a:lnTo>
                        <a:pt x="11" y="245"/>
                      </a:lnTo>
                      <a:lnTo>
                        <a:pt x="11" y="244"/>
                      </a:lnTo>
                      <a:lnTo>
                        <a:pt x="10" y="243"/>
                      </a:lnTo>
                      <a:lnTo>
                        <a:pt x="10" y="242"/>
                      </a:lnTo>
                      <a:lnTo>
                        <a:pt x="11" y="242"/>
                      </a:lnTo>
                      <a:lnTo>
                        <a:pt x="10" y="240"/>
                      </a:lnTo>
                      <a:lnTo>
                        <a:pt x="8" y="239"/>
                      </a:lnTo>
                      <a:lnTo>
                        <a:pt x="8" y="238"/>
                      </a:lnTo>
                      <a:lnTo>
                        <a:pt x="8" y="237"/>
                      </a:lnTo>
                      <a:lnTo>
                        <a:pt x="6" y="235"/>
                      </a:lnTo>
                      <a:lnTo>
                        <a:pt x="3" y="232"/>
                      </a:lnTo>
                      <a:lnTo>
                        <a:pt x="3" y="231"/>
                      </a:lnTo>
                      <a:lnTo>
                        <a:pt x="3" y="230"/>
                      </a:lnTo>
                      <a:lnTo>
                        <a:pt x="3" y="229"/>
                      </a:lnTo>
                      <a:lnTo>
                        <a:pt x="2" y="228"/>
                      </a:lnTo>
                      <a:lnTo>
                        <a:pt x="1" y="225"/>
                      </a:lnTo>
                      <a:lnTo>
                        <a:pt x="0" y="224"/>
                      </a:lnTo>
                      <a:lnTo>
                        <a:pt x="0" y="223"/>
                      </a:lnTo>
                      <a:lnTo>
                        <a:pt x="1" y="222"/>
                      </a:lnTo>
                      <a:lnTo>
                        <a:pt x="2" y="222"/>
                      </a:lnTo>
                      <a:lnTo>
                        <a:pt x="3" y="221"/>
                      </a:lnTo>
                      <a:lnTo>
                        <a:pt x="6" y="218"/>
                      </a:lnTo>
                      <a:lnTo>
                        <a:pt x="7" y="218"/>
                      </a:lnTo>
                      <a:lnTo>
                        <a:pt x="7" y="219"/>
                      </a:lnTo>
                      <a:lnTo>
                        <a:pt x="8" y="219"/>
                      </a:lnTo>
                      <a:lnTo>
                        <a:pt x="9" y="218"/>
                      </a:lnTo>
                      <a:lnTo>
                        <a:pt x="9" y="217"/>
                      </a:lnTo>
                      <a:lnTo>
                        <a:pt x="9" y="216"/>
                      </a:lnTo>
                      <a:lnTo>
                        <a:pt x="10" y="216"/>
                      </a:lnTo>
                      <a:lnTo>
                        <a:pt x="10" y="215"/>
                      </a:lnTo>
                      <a:lnTo>
                        <a:pt x="9" y="214"/>
                      </a:lnTo>
                      <a:lnTo>
                        <a:pt x="9" y="212"/>
                      </a:lnTo>
                      <a:lnTo>
                        <a:pt x="9" y="211"/>
                      </a:lnTo>
                      <a:lnTo>
                        <a:pt x="10" y="211"/>
                      </a:lnTo>
                      <a:lnTo>
                        <a:pt x="10" y="212"/>
                      </a:lnTo>
                      <a:lnTo>
                        <a:pt x="10" y="211"/>
                      </a:lnTo>
                      <a:lnTo>
                        <a:pt x="10" y="210"/>
                      </a:lnTo>
                      <a:lnTo>
                        <a:pt x="11" y="210"/>
                      </a:lnTo>
                      <a:lnTo>
                        <a:pt x="11" y="209"/>
                      </a:lnTo>
                      <a:lnTo>
                        <a:pt x="11" y="208"/>
                      </a:lnTo>
                      <a:lnTo>
                        <a:pt x="13" y="208"/>
                      </a:lnTo>
                      <a:lnTo>
                        <a:pt x="13" y="209"/>
                      </a:lnTo>
                      <a:lnTo>
                        <a:pt x="13" y="208"/>
                      </a:lnTo>
                      <a:lnTo>
                        <a:pt x="13" y="205"/>
                      </a:lnTo>
                      <a:lnTo>
                        <a:pt x="14" y="204"/>
                      </a:lnTo>
                      <a:lnTo>
                        <a:pt x="15" y="204"/>
                      </a:lnTo>
                      <a:lnTo>
                        <a:pt x="16" y="204"/>
                      </a:lnTo>
                      <a:lnTo>
                        <a:pt x="17" y="203"/>
                      </a:lnTo>
                      <a:lnTo>
                        <a:pt x="18" y="203"/>
                      </a:lnTo>
                      <a:lnTo>
                        <a:pt x="20" y="203"/>
                      </a:lnTo>
                      <a:lnTo>
                        <a:pt x="20" y="204"/>
                      </a:lnTo>
                      <a:lnTo>
                        <a:pt x="21" y="205"/>
                      </a:lnTo>
                      <a:lnTo>
                        <a:pt x="22" y="205"/>
                      </a:lnTo>
                      <a:lnTo>
                        <a:pt x="22" y="207"/>
                      </a:lnTo>
                      <a:lnTo>
                        <a:pt x="22" y="208"/>
                      </a:lnTo>
                      <a:lnTo>
                        <a:pt x="22" y="210"/>
                      </a:lnTo>
                      <a:lnTo>
                        <a:pt x="23" y="210"/>
                      </a:lnTo>
                      <a:lnTo>
                        <a:pt x="24" y="210"/>
                      </a:lnTo>
                      <a:lnTo>
                        <a:pt x="25" y="210"/>
                      </a:lnTo>
                      <a:lnTo>
                        <a:pt x="27" y="210"/>
                      </a:lnTo>
                      <a:lnTo>
                        <a:pt x="28" y="210"/>
                      </a:lnTo>
                      <a:lnTo>
                        <a:pt x="28" y="211"/>
                      </a:lnTo>
                      <a:lnTo>
                        <a:pt x="28" y="212"/>
                      </a:lnTo>
                      <a:lnTo>
                        <a:pt x="28" y="214"/>
                      </a:lnTo>
                      <a:lnTo>
                        <a:pt x="29" y="214"/>
                      </a:lnTo>
                      <a:lnTo>
                        <a:pt x="29" y="215"/>
                      </a:lnTo>
                      <a:lnTo>
                        <a:pt x="29" y="216"/>
                      </a:lnTo>
                      <a:lnTo>
                        <a:pt x="29" y="217"/>
                      </a:lnTo>
                      <a:lnTo>
                        <a:pt x="28" y="217"/>
                      </a:lnTo>
                      <a:lnTo>
                        <a:pt x="27" y="218"/>
                      </a:lnTo>
                      <a:lnTo>
                        <a:pt x="27" y="219"/>
                      </a:lnTo>
                      <a:lnTo>
                        <a:pt x="28" y="221"/>
                      </a:lnTo>
                      <a:lnTo>
                        <a:pt x="28" y="222"/>
                      </a:lnTo>
                      <a:lnTo>
                        <a:pt x="29" y="223"/>
                      </a:lnTo>
                      <a:lnTo>
                        <a:pt x="29" y="224"/>
                      </a:lnTo>
                      <a:lnTo>
                        <a:pt x="29" y="226"/>
                      </a:lnTo>
                      <a:lnTo>
                        <a:pt x="29" y="228"/>
                      </a:lnTo>
                      <a:lnTo>
                        <a:pt x="30" y="228"/>
                      </a:lnTo>
                      <a:lnTo>
                        <a:pt x="31" y="226"/>
                      </a:lnTo>
                      <a:lnTo>
                        <a:pt x="32" y="226"/>
                      </a:lnTo>
                      <a:lnTo>
                        <a:pt x="34" y="226"/>
                      </a:lnTo>
                      <a:lnTo>
                        <a:pt x="35" y="226"/>
                      </a:lnTo>
                      <a:lnTo>
                        <a:pt x="35" y="228"/>
                      </a:lnTo>
                      <a:lnTo>
                        <a:pt x="35" y="229"/>
                      </a:lnTo>
                      <a:lnTo>
                        <a:pt x="36" y="229"/>
                      </a:lnTo>
                      <a:lnTo>
                        <a:pt x="37" y="230"/>
                      </a:lnTo>
                      <a:lnTo>
                        <a:pt x="38" y="230"/>
                      </a:lnTo>
                      <a:lnTo>
                        <a:pt x="38" y="229"/>
                      </a:lnTo>
                      <a:lnTo>
                        <a:pt x="39" y="229"/>
                      </a:lnTo>
                      <a:lnTo>
                        <a:pt x="45" y="230"/>
                      </a:lnTo>
                      <a:lnTo>
                        <a:pt x="46" y="230"/>
                      </a:lnTo>
                      <a:lnTo>
                        <a:pt x="48" y="231"/>
                      </a:lnTo>
                      <a:lnTo>
                        <a:pt x="49" y="232"/>
                      </a:lnTo>
                      <a:lnTo>
                        <a:pt x="50" y="233"/>
                      </a:lnTo>
                      <a:lnTo>
                        <a:pt x="52" y="235"/>
                      </a:lnTo>
                      <a:lnTo>
                        <a:pt x="53" y="235"/>
                      </a:lnTo>
                      <a:lnTo>
                        <a:pt x="55" y="233"/>
                      </a:lnTo>
                      <a:lnTo>
                        <a:pt x="57" y="233"/>
                      </a:lnTo>
                      <a:lnTo>
                        <a:pt x="58" y="233"/>
                      </a:lnTo>
                      <a:lnTo>
                        <a:pt x="59" y="233"/>
                      </a:lnTo>
                      <a:lnTo>
                        <a:pt x="60" y="233"/>
                      </a:lnTo>
                      <a:lnTo>
                        <a:pt x="61" y="233"/>
                      </a:lnTo>
                      <a:lnTo>
                        <a:pt x="63" y="233"/>
                      </a:lnTo>
                      <a:lnTo>
                        <a:pt x="64" y="233"/>
                      </a:lnTo>
                      <a:lnTo>
                        <a:pt x="65" y="232"/>
                      </a:lnTo>
                      <a:lnTo>
                        <a:pt x="71" y="232"/>
                      </a:lnTo>
                      <a:lnTo>
                        <a:pt x="78" y="232"/>
                      </a:lnTo>
                      <a:lnTo>
                        <a:pt x="78" y="233"/>
                      </a:lnTo>
                      <a:lnTo>
                        <a:pt x="79" y="235"/>
                      </a:lnTo>
                      <a:lnTo>
                        <a:pt x="80" y="235"/>
                      </a:lnTo>
                      <a:lnTo>
                        <a:pt x="80" y="236"/>
                      </a:lnTo>
                      <a:lnTo>
                        <a:pt x="81" y="236"/>
                      </a:lnTo>
                      <a:lnTo>
                        <a:pt x="82" y="236"/>
                      </a:lnTo>
                      <a:lnTo>
                        <a:pt x="84" y="236"/>
                      </a:lnTo>
                      <a:lnTo>
                        <a:pt x="86" y="235"/>
                      </a:lnTo>
                      <a:lnTo>
                        <a:pt x="86" y="233"/>
                      </a:lnTo>
                      <a:lnTo>
                        <a:pt x="87" y="233"/>
                      </a:lnTo>
                      <a:lnTo>
                        <a:pt x="88" y="233"/>
                      </a:lnTo>
                      <a:lnTo>
                        <a:pt x="87" y="231"/>
                      </a:lnTo>
                      <a:lnTo>
                        <a:pt x="86" y="230"/>
                      </a:lnTo>
                      <a:lnTo>
                        <a:pt x="87" y="230"/>
                      </a:lnTo>
                      <a:lnTo>
                        <a:pt x="87" y="229"/>
                      </a:lnTo>
                      <a:lnTo>
                        <a:pt x="87" y="228"/>
                      </a:lnTo>
                      <a:lnTo>
                        <a:pt x="88" y="228"/>
                      </a:lnTo>
                      <a:lnTo>
                        <a:pt x="89" y="228"/>
                      </a:lnTo>
                      <a:lnTo>
                        <a:pt x="93" y="228"/>
                      </a:lnTo>
                      <a:lnTo>
                        <a:pt x="93" y="226"/>
                      </a:lnTo>
                      <a:lnTo>
                        <a:pt x="94" y="226"/>
                      </a:lnTo>
                      <a:lnTo>
                        <a:pt x="95" y="223"/>
                      </a:lnTo>
                      <a:lnTo>
                        <a:pt x="95" y="222"/>
                      </a:lnTo>
                      <a:lnTo>
                        <a:pt x="96" y="222"/>
                      </a:lnTo>
                      <a:lnTo>
                        <a:pt x="96" y="221"/>
                      </a:lnTo>
                      <a:lnTo>
                        <a:pt x="98" y="221"/>
                      </a:lnTo>
                      <a:lnTo>
                        <a:pt x="100" y="221"/>
                      </a:lnTo>
                      <a:lnTo>
                        <a:pt x="101" y="219"/>
                      </a:lnTo>
                      <a:lnTo>
                        <a:pt x="102" y="219"/>
                      </a:lnTo>
                      <a:lnTo>
                        <a:pt x="103" y="219"/>
                      </a:lnTo>
                      <a:lnTo>
                        <a:pt x="105" y="218"/>
                      </a:lnTo>
                      <a:lnTo>
                        <a:pt x="106" y="217"/>
                      </a:lnTo>
                      <a:lnTo>
                        <a:pt x="107" y="217"/>
                      </a:lnTo>
                      <a:lnTo>
                        <a:pt x="108" y="217"/>
                      </a:lnTo>
                      <a:lnTo>
                        <a:pt x="109" y="217"/>
                      </a:lnTo>
                      <a:lnTo>
                        <a:pt x="109" y="216"/>
                      </a:lnTo>
                      <a:lnTo>
                        <a:pt x="109" y="215"/>
                      </a:lnTo>
                      <a:lnTo>
                        <a:pt x="109" y="212"/>
                      </a:lnTo>
                      <a:lnTo>
                        <a:pt x="109" y="210"/>
                      </a:lnTo>
                      <a:lnTo>
                        <a:pt x="109" y="209"/>
                      </a:lnTo>
                      <a:lnTo>
                        <a:pt x="109" y="207"/>
                      </a:lnTo>
                      <a:lnTo>
                        <a:pt x="109" y="204"/>
                      </a:lnTo>
                      <a:lnTo>
                        <a:pt x="109" y="203"/>
                      </a:lnTo>
                      <a:lnTo>
                        <a:pt x="109" y="201"/>
                      </a:lnTo>
                      <a:lnTo>
                        <a:pt x="109" y="198"/>
                      </a:lnTo>
                      <a:lnTo>
                        <a:pt x="109" y="196"/>
                      </a:lnTo>
                      <a:lnTo>
                        <a:pt x="109" y="195"/>
                      </a:lnTo>
                      <a:lnTo>
                        <a:pt x="109" y="193"/>
                      </a:lnTo>
                      <a:lnTo>
                        <a:pt x="109" y="190"/>
                      </a:lnTo>
                      <a:lnTo>
                        <a:pt x="109" y="189"/>
                      </a:lnTo>
                      <a:lnTo>
                        <a:pt x="109" y="187"/>
                      </a:lnTo>
                      <a:lnTo>
                        <a:pt x="109" y="184"/>
                      </a:lnTo>
                      <a:lnTo>
                        <a:pt x="109" y="183"/>
                      </a:lnTo>
                      <a:lnTo>
                        <a:pt x="109" y="181"/>
                      </a:lnTo>
                      <a:lnTo>
                        <a:pt x="109" y="179"/>
                      </a:lnTo>
                      <a:lnTo>
                        <a:pt x="109" y="177"/>
                      </a:lnTo>
                      <a:lnTo>
                        <a:pt x="109" y="175"/>
                      </a:lnTo>
                      <a:lnTo>
                        <a:pt x="109" y="173"/>
                      </a:lnTo>
                      <a:lnTo>
                        <a:pt x="109" y="172"/>
                      </a:lnTo>
                      <a:lnTo>
                        <a:pt x="109" y="169"/>
                      </a:lnTo>
                      <a:lnTo>
                        <a:pt x="109" y="167"/>
                      </a:lnTo>
                      <a:lnTo>
                        <a:pt x="109" y="165"/>
                      </a:lnTo>
                      <a:lnTo>
                        <a:pt x="109" y="163"/>
                      </a:lnTo>
                      <a:lnTo>
                        <a:pt x="109" y="161"/>
                      </a:lnTo>
                      <a:lnTo>
                        <a:pt x="109" y="159"/>
                      </a:lnTo>
                      <a:lnTo>
                        <a:pt x="109" y="158"/>
                      </a:lnTo>
                      <a:lnTo>
                        <a:pt x="109" y="155"/>
                      </a:lnTo>
                      <a:lnTo>
                        <a:pt x="109" y="153"/>
                      </a:lnTo>
                      <a:lnTo>
                        <a:pt x="109" y="152"/>
                      </a:lnTo>
                      <a:lnTo>
                        <a:pt x="109" y="149"/>
                      </a:lnTo>
                      <a:lnTo>
                        <a:pt x="109" y="147"/>
                      </a:lnTo>
                      <a:lnTo>
                        <a:pt x="109" y="146"/>
                      </a:lnTo>
                      <a:lnTo>
                        <a:pt x="109" y="144"/>
                      </a:lnTo>
                      <a:lnTo>
                        <a:pt x="109" y="141"/>
                      </a:lnTo>
                      <a:lnTo>
                        <a:pt x="109" y="140"/>
                      </a:lnTo>
                      <a:lnTo>
                        <a:pt x="109" y="138"/>
                      </a:lnTo>
                      <a:lnTo>
                        <a:pt x="109" y="135"/>
                      </a:lnTo>
                      <a:lnTo>
                        <a:pt x="109" y="134"/>
                      </a:lnTo>
                      <a:lnTo>
                        <a:pt x="109" y="132"/>
                      </a:lnTo>
                      <a:lnTo>
                        <a:pt x="109" y="130"/>
                      </a:lnTo>
                      <a:lnTo>
                        <a:pt x="109" y="128"/>
                      </a:lnTo>
                      <a:lnTo>
                        <a:pt x="109" y="126"/>
                      </a:lnTo>
                      <a:lnTo>
                        <a:pt x="109" y="124"/>
                      </a:lnTo>
                      <a:lnTo>
                        <a:pt x="109" y="123"/>
                      </a:lnTo>
                      <a:lnTo>
                        <a:pt x="109" y="120"/>
                      </a:lnTo>
                      <a:lnTo>
                        <a:pt x="109" y="119"/>
                      </a:lnTo>
                      <a:lnTo>
                        <a:pt x="109" y="118"/>
                      </a:lnTo>
                      <a:lnTo>
                        <a:pt x="109" y="117"/>
                      </a:lnTo>
                      <a:lnTo>
                        <a:pt x="109" y="114"/>
                      </a:lnTo>
                      <a:lnTo>
                        <a:pt x="109" y="112"/>
                      </a:lnTo>
                      <a:lnTo>
                        <a:pt x="109" y="111"/>
                      </a:lnTo>
                      <a:lnTo>
                        <a:pt x="109" y="109"/>
                      </a:lnTo>
                      <a:lnTo>
                        <a:pt x="109" y="106"/>
                      </a:lnTo>
                      <a:lnTo>
                        <a:pt x="109" y="105"/>
                      </a:lnTo>
                      <a:lnTo>
                        <a:pt x="109" y="103"/>
                      </a:lnTo>
                      <a:lnTo>
                        <a:pt x="109" y="100"/>
                      </a:lnTo>
                      <a:lnTo>
                        <a:pt x="109" y="99"/>
                      </a:lnTo>
                      <a:lnTo>
                        <a:pt x="109" y="97"/>
                      </a:lnTo>
                      <a:lnTo>
                        <a:pt x="109" y="95"/>
                      </a:lnTo>
                      <a:lnTo>
                        <a:pt x="109" y="93"/>
                      </a:lnTo>
                      <a:lnTo>
                        <a:pt x="109" y="91"/>
                      </a:lnTo>
                      <a:lnTo>
                        <a:pt x="109" y="90"/>
                      </a:lnTo>
                      <a:lnTo>
                        <a:pt x="109" y="89"/>
                      </a:lnTo>
                      <a:lnTo>
                        <a:pt x="109" y="90"/>
                      </a:lnTo>
                      <a:lnTo>
                        <a:pt x="110" y="90"/>
                      </a:lnTo>
                      <a:lnTo>
                        <a:pt x="110" y="91"/>
                      </a:lnTo>
                      <a:lnTo>
                        <a:pt x="113" y="92"/>
                      </a:lnTo>
                      <a:lnTo>
                        <a:pt x="113" y="93"/>
                      </a:lnTo>
                      <a:lnTo>
                        <a:pt x="114" y="93"/>
                      </a:lnTo>
                      <a:lnTo>
                        <a:pt x="115" y="93"/>
                      </a:lnTo>
                      <a:lnTo>
                        <a:pt x="117" y="96"/>
                      </a:lnTo>
                      <a:lnTo>
                        <a:pt x="121" y="98"/>
                      </a:lnTo>
                      <a:lnTo>
                        <a:pt x="122" y="99"/>
                      </a:lnTo>
                      <a:lnTo>
                        <a:pt x="122" y="102"/>
                      </a:lnTo>
                      <a:lnTo>
                        <a:pt x="123" y="103"/>
                      </a:lnTo>
                      <a:lnTo>
                        <a:pt x="123" y="104"/>
                      </a:lnTo>
                      <a:lnTo>
                        <a:pt x="123" y="105"/>
                      </a:lnTo>
                      <a:lnTo>
                        <a:pt x="124" y="105"/>
                      </a:lnTo>
                      <a:lnTo>
                        <a:pt x="124" y="106"/>
                      </a:lnTo>
                      <a:lnTo>
                        <a:pt x="125" y="106"/>
                      </a:lnTo>
                      <a:lnTo>
                        <a:pt x="125" y="107"/>
                      </a:lnTo>
                      <a:lnTo>
                        <a:pt x="125" y="109"/>
                      </a:lnTo>
                      <a:lnTo>
                        <a:pt x="127" y="109"/>
                      </a:lnTo>
                      <a:lnTo>
                        <a:pt x="127" y="110"/>
                      </a:lnTo>
                      <a:lnTo>
                        <a:pt x="127" y="111"/>
                      </a:lnTo>
                      <a:lnTo>
                        <a:pt x="128" y="111"/>
                      </a:lnTo>
                      <a:lnTo>
                        <a:pt x="128" y="112"/>
                      </a:lnTo>
                      <a:lnTo>
                        <a:pt x="129" y="112"/>
                      </a:lnTo>
                      <a:lnTo>
                        <a:pt x="129" y="113"/>
                      </a:lnTo>
                      <a:lnTo>
                        <a:pt x="130" y="113"/>
                      </a:lnTo>
                      <a:lnTo>
                        <a:pt x="129" y="114"/>
                      </a:lnTo>
                      <a:lnTo>
                        <a:pt x="129" y="116"/>
                      </a:lnTo>
                      <a:lnTo>
                        <a:pt x="130" y="117"/>
                      </a:lnTo>
                      <a:lnTo>
                        <a:pt x="130" y="118"/>
                      </a:lnTo>
                      <a:lnTo>
                        <a:pt x="130" y="119"/>
                      </a:lnTo>
                      <a:lnTo>
                        <a:pt x="130" y="120"/>
                      </a:lnTo>
                      <a:lnTo>
                        <a:pt x="130" y="121"/>
                      </a:lnTo>
                      <a:lnTo>
                        <a:pt x="131" y="121"/>
                      </a:lnTo>
                      <a:lnTo>
                        <a:pt x="131" y="123"/>
                      </a:lnTo>
                      <a:lnTo>
                        <a:pt x="132" y="123"/>
                      </a:lnTo>
                      <a:lnTo>
                        <a:pt x="132" y="125"/>
                      </a:lnTo>
                      <a:lnTo>
                        <a:pt x="132" y="126"/>
                      </a:lnTo>
                      <a:lnTo>
                        <a:pt x="134" y="126"/>
                      </a:lnTo>
                      <a:lnTo>
                        <a:pt x="135" y="128"/>
                      </a:lnTo>
                      <a:lnTo>
                        <a:pt x="135" y="131"/>
                      </a:lnTo>
                      <a:lnTo>
                        <a:pt x="135" y="134"/>
                      </a:lnTo>
                      <a:lnTo>
                        <a:pt x="136" y="137"/>
                      </a:lnTo>
                      <a:lnTo>
                        <a:pt x="135" y="139"/>
                      </a:lnTo>
                      <a:lnTo>
                        <a:pt x="134" y="140"/>
                      </a:lnTo>
                      <a:lnTo>
                        <a:pt x="134" y="141"/>
                      </a:lnTo>
                      <a:lnTo>
                        <a:pt x="131" y="144"/>
                      </a:lnTo>
                      <a:lnTo>
                        <a:pt x="130" y="146"/>
                      </a:lnTo>
                      <a:lnTo>
                        <a:pt x="129" y="147"/>
                      </a:lnTo>
                      <a:lnTo>
                        <a:pt x="129" y="149"/>
                      </a:lnTo>
                      <a:lnTo>
                        <a:pt x="129" y="151"/>
                      </a:lnTo>
                      <a:lnTo>
                        <a:pt x="129" y="152"/>
                      </a:lnTo>
                      <a:lnTo>
                        <a:pt x="130" y="153"/>
                      </a:lnTo>
                      <a:lnTo>
                        <a:pt x="129" y="153"/>
                      </a:lnTo>
                      <a:lnTo>
                        <a:pt x="129" y="155"/>
                      </a:lnTo>
                      <a:lnTo>
                        <a:pt x="129" y="156"/>
                      </a:lnTo>
                      <a:lnTo>
                        <a:pt x="129" y="159"/>
                      </a:lnTo>
                      <a:lnTo>
                        <a:pt x="129" y="160"/>
                      </a:lnTo>
                      <a:lnTo>
                        <a:pt x="130" y="160"/>
                      </a:lnTo>
                      <a:lnTo>
                        <a:pt x="130" y="161"/>
                      </a:lnTo>
                      <a:lnTo>
                        <a:pt x="131" y="161"/>
                      </a:lnTo>
                      <a:lnTo>
                        <a:pt x="131" y="162"/>
                      </a:lnTo>
                      <a:lnTo>
                        <a:pt x="131" y="163"/>
                      </a:lnTo>
                      <a:lnTo>
                        <a:pt x="132" y="162"/>
                      </a:lnTo>
                      <a:lnTo>
                        <a:pt x="134" y="161"/>
                      </a:lnTo>
                      <a:lnTo>
                        <a:pt x="136" y="160"/>
                      </a:lnTo>
                      <a:lnTo>
                        <a:pt x="138" y="160"/>
                      </a:lnTo>
                      <a:lnTo>
                        <a:pt x="139" y="160"/>
                      </a:lnTo>
                      <a:lnTo>
                        <a:pt x="141" y="161"/>
                      </a:lnTo>
                      <a:lnTo>
                        <a:pt x="145" y="162"/>
                      </a:lnTo>
                      <a:lnTo>
                        <a:pt x="146" y="162"/>
                      </a:lnTo>
                      <a:lnTo>
                        <a:pt x="149" y="161"/>
                      </a:lnTo>
                      <a:lnTo>
                        <a:pt x="150" y="161"/>
                      </a:lnTo>
                      <a:lnTo>
                        <a:pt x="153" y="161"/>
                      </a:lnTo>
                      <a:lnTo>
                        <a:pt x="155" y="161"/>
                      </a:lnTo>
                      <a:lnTo>
                        <a:pt x="157" y="161"/>
                      </a:lnTo>
                      <a:lnTo>
                        <a:pt x="159" y="161"/>
                      </a:lnTo>
                      <a:lnTo>
                        <a:pt x="162" y="162"/>
                      </a:lnTo>
                      <a:lnTo>
                        <a:pt x="163" y="162"/>
                      </a:lnTo>
                      <a:lnTo>
                        <a:pt x="164" y="160"/>
                      </a:lnTo>
                      <a:lnTo>
                        <a:pt x="165" y="160"/>
                      </a:lnTo>
                      <a:lnTo>
                        <a:pt x="165" y="159"/>
                      </a:lnTo>
                      <a:lnTo>
                        <a:pt x="165" y="158"/>
                      </a:lnTo>
                      <a:lnTo>
                        <a:pt x="165" y="156"/>
                      </a:lnTo>
                      <a:lnTo>
                        <a:pt x="165" y="155"/>
                      </a:lnTo>
                      <a:lnTo>
                        <a:pt x="166" y="155"/>
                      </a:lnTo>
                      <a:lnTo>
                        <a:pt x="167" y="155"/>
                      </a:lnTo>
                      <a:lnTo>
                        <a:pt x="171" y="155"/>
                      </a:lnTo>
                      <a:lnTo>
                        <a:pt x="172" y="154"/>
                      </a:lnTo>
                      <a:lnTo>
                        <a:pt x="174" y="153"/>
                      </a:lnTo>
                      <a:lnTo>
                        <a:pt x="176" y="152"/>
                      </a:lnTo>
                      <a:lnTo>
                        <a:pt x="177" y="149"/>
                      </a:lnTo>
                      <a:lnTo>
                        <a:pt x="178" y="147"/>
                      </a:lnTo>
                      <a:lnTo>
                        <a:pt x="179" y="146"/>
                      </a:lnTo>
                      <a:lnTo>
                        <a:pt x="180" y="145"/>
                      </a:lnTo>
                      <a:lnTo>
                        <a:pt x="180" y="144"/>
                      </a:lnTo>
                      <a:lnTo>
                        <a:pt x="181" y="144"/>
                      </a:lnTo>
                      <a:lnTo>
                        <a:pt x="183" y="144"/>
                      </a:lnTo>
                      <a:lnTo>
                        <a:pt x="183" y="142"/>
                      </a:lnTo>
                      <a:lnTo>
                        <a:pt x="185" y="141"/>
                      </a:lnTo>
                      <a:lnTo>
                        <a:pt x="186" y="140"/>
                      </a:lnTo>
                      <a:lnTo>
                        <a:pt x="186" y="139"/>
                      </a:lnTo>
                      <a:lnTo>
                        <a:pt x="187" y="139"/>
                      </a:lnTo>
                      <a:lnTo>
                        <a:pt x="188" y="139"/>
                      </a:lnTo>
                      <a:lnTo>
                        <a:pt x="189" y="139"/>
                      </a:lnTo>
                      <a:lnTo>
                        <a:pt x="189" y="138"/>
                      </a:lnTo>
                      <a:lnTo>
                        <a:pt x="191" y="137"/>
                      </a:lnTo>
                      <a:lnTo>
                        <a:pt x="192" y="137"/>
                      </a:lnTo>
                      <a:lnTo>
                        <a:pt x="192" y="135"/>
                      </a:lnTo>
                      <a:lnTo>
                        <a:pt x="193" y="133"/>
                      </a:lnTo>
                      <a:lnTo>
                        <a:pt x="193" y="132"/>
                      </a:lnTo>
                      <a:lnTo>
                        <a:pt x="194" y="132"/>
                      </a:lnTo>
                      <a:lnTo>
                        <a:pt x="195" y="131"/>
                      </a:lnTo>
                      <a:lnTo>
                        <a:pt x="195" y="130"/>
                      </a:lnTo>
                      <a:lnTo>
                        <a:pt x="195" y="128"/>
                      </a:lnTo>
                      <a:lnTo>
                        <a:pt x="194" y="128"/>
                      </a:lnTo>
                      <a:lnTo>
                        <a:pt x="195" y="127"/>
                      </a:lnTo>
                      <a:lnTo>
                        <a:pt x="195" y="126"/>
                      </a:lnTo>
                      <a:lnTo>
                        <a:pt x="196" y="126"/>
                      </a:lnTo>
                      <a:lnTo>
                        <a:pt x="196" y="125"/>
                      </a:lnTo>
                      <a:lnTo>
                        <a:pt x="195" y="125"/>
                      </a:lnTo>
                      <a:lnTo>
                        <a:pt x="195" y="124"/>
                      </a:lnTo>
                      <a:lnTo>
                        <a:pt x="196" y="123"/>
                      </a:lnTo>
                      <a:lnTo>
                        <a:pt x="198" y="121"/>
                      </a:lnTo>
                      <a:lnTo>
                        <a:pt x="198" y="120"/>
                      </a:lnTo>
                      <a:lnTo>
                        <a:pt x="198" y="119"/>
                      </a:lnTo>
                      <a:lnTo>
                        <a:pt x="199" y="118"/>
                      </a:lnTo>
                      <a:lnTo>
                        <a:pt x="198" y="118"/>
                      </a:lnTo>
                      <a:lnTo>
                        <a:pt x="198" y="117"/>
                      </a:lnTo>
                      <a:lnTo>
                        <a:pt x="198" y="116"/>
                      </a:lnTo>
                      <a:lnTo>
                        <a:pt x="199" y="114"/>
                      </a:lnTo>
                      <a:lnTo>
                        <a:pt x="199" y="113"/>
                      </a:lnTo>
                      <a:lnTo>
                        <a:pt x="200" y="113"/>
                      </a:lnTo>
                      <a:lnTo>
                        <a:pt x="200" y="111"/>
                      </a:lnTo>
                      <a:lnTo>
                        <a:pt x="201" y="111"/>
                      </a:lnTo>
                      <a:lnTo>
                        <a:pt x="202" y="111"/>
                      </a:lnTo>
                      <a:lnTo>
                        <a:pt x="202" y="110"/>
                      </a:lnTo>
                      <a:lnTo>
                        <a:pt x="203" y="109"/>
                      </a:lnTo>
                      <a:lnTo>
                        <a:pt x="205" y="107"/>
                      </a:lnTo>
                      <a:lnTo>
                        <a:pt x="206" y="107"/>
                      </a:lnTo>
                      <a:lnTo>
                        <a:pt x="206" y="109"/>
                      </a:lnTo>
                      <a:lnTo>
                        <a:pt x="207" y="109"/>
                      </a:lnTo>
                      <a:lnTo>
                        <a:pt x="209" y="107"/>
                      </a:lnTo>
                      <a:lnTo>
                        <a:pt x="210" y="106"/>
                      </a:lnTo>
                      <a:lnTo>
                        <a:pt x="212" y="106"/>
                      </a:lnTo>
                      <a:lnTo>
                        <a:pt x="214" y="106"/>
                      </a:lnTo>
                      <a:lnTo>
                        <a:pt x="215" y="107"/>
                      </a:lnTo>
                      <a:lnTo>
                        <a:pt x="216" y="107"/>
                      </a:lnTo>
                      <a:lnTo>
                        <a:pt x="217" y="107"/>
                      </a:lnTo>
                      <a:lnTo>
                        <a:pt x="219" y="107"/>
                      </a:lnTo>
                      <a:lnTo>
                        <a:pt x="219" y="109"/>
                      </a:lnTo>
                      <a:lnTo>
                        <a:pt x="220" y="109"/>
                      </a:lnTo>
                      <a:lnTo>
                        <a:pt x="221" y="110"/>
                      </a:lnTo>
                      <a:lnTo>
                        <a:pt x="224" y="112"/>
                      </a:lnTo>
                      <a:lnTo>
                        <a:pt x="226" y="113"/>
                      </a:lnTo>
                      <a:lnTo>
                        <a:pt x="227" y="113"/>
                      </a:lnTo>
                      <a:lnTo>
                        <a:pt x="228" y="114"/>
                      </a:lnTo>
                      <a:lnTo>
                        <a:pt x="229" y="116"/>
                      </a:lnTo>
                      <a:lnTo>
                        <a:pt x="230" y="117"/>
                      </a:lnTo>
                      <a:lnTo>
                        <a:pt x="231" y="118"/>
                      </a:lnTo>
                      <a:lnTo>
                        <a:pt x="231" y="119"/>
                      </a:lnTo>
                      <a:lnTo>
                        <a:pt x="233" y="119"/>
                      </a:lnTo>
                      <a:lnTo>
                        <a:pt x="234" y="119"/>
                      </a:lnTo>
                      <a:lnTo>
                        <a:pt x="235" y="119"/>
                      </a:lnTo>
                      <a:lnTo>
                        <a:pt x="235" y="120"/>
                      </a:lnTo>
                      <a:lnTo>
                        <a:pt x="236" y="120"/>
                      </a:lnTo>
                      <a:lnTo>
                        <a:pt x="238" y="119"/>
                      </a:lnTo>
                      <a:lnTo>
                        <a:pt x="241" y="119"/>
                      </a:lnTo>
                      <a:lnTo>
                        <a:pt x="242" y="120"/>
                      </a:lnTo>
                      <a:lnTo>
                        <a:pt x="244" y="123"/>
                      </a:lnTo>
                      <a:lnTo>
                        <a:pt x="245" y="124"/>
                      </a:lnTo>
                      <a:lnTo>
                        <a:pt x="247" y="124"/>
                      </a:lnTo>
                      <a:lnTo>
                        <a:pt x="248" y="124"/>
                      </a:lnTo>
                      <a:lnTo>
                        <a:pt x="249" y="123"/>
                      </a:lnTo>
                      <a:lnTo>
                        <a:pt x="250" y="124"/>
                      </a:lnTo>
                      <a:lnTo>
                        <a:pt x="252" y="124"/>
                      </a:lnTo>
                      <a:lnTo>
                        <a:pt x="255" y="125"/>
                      </a:lnTo>
                      <a:lnTo>
                        <a:pt x="256" y="126"/>
                      </a:lnTo>
                      <a:lnTo>
                        <a:pt x="258" y="125"/>
                      </a:lnTo>
                      <a:lnTo>
                        <a:pt x="259" y="126"/>
                      </a:lnTo>
                      <a:lnTo>
                        <a:pt x="260" y="126"/>
                      </a:lnTo>
                      <a:lnTo>
                        <a:pt x="263" y="125"/>
                      </a:lnTo>
                      <a:lnTo>
                        <a:pt x="265" y="124"/>
                      </a:lnTo>
                      <a:lnTo>
                        <a:pt x="266" y="123"/>
                      </a:lnTo>
                      <a:lnTo>
                        <a:pt x="267" y="123"/>
                      </a:lnTo>
                      <a:lnTo>
                        <a:pt x="269" y="123"/>
                      </a:lnTo>
                      <a:lnTo>
                        <a:pt x="270" y="124"/>
                      </a:lnTo>
                      <a:lnTo>
                        <a:pt x="272" y="124"/>
                      </a:lnTo>
                      <a:lnTo>
                        <a:pt x="278" y="123"/>
                      </a:lnTo>
                      <a:lnTo>
                        <a:pt x="280" y="121"/>
                      </a:lnTo>
                      <a:lnTo>
                        <a:pt x="285" y="119"/>
                      </a:lnTo>
                      <a:lnTo>
                        <a:pt x="285" y="117"/>
                      </a:lnTo>
                      <a:lnTo>
                        <a:pt x="286" y="113"/>
                      </a:lnTo>
                      <a:lnTo>
                        <a:pt x="287" y="112"/>
                      </a:lnTo>
                      <a:lnTo>
                        <a:pt x="288" y="107"/>
                      </a:lnTo>
                      <a:lnTo>
                        <a:pt x="291" y="102"/>
                      </a:lnTo>
                      <a:lnTo>
                        <a:pt x="291" y="99"/>
                      </a:lnTo>
                      <a:lnTo>
                        <a:pt x="292" y="98"/>
                      </a:lnTo>
                      <a:lnTo>
                        <a:pt x="292" y="97"/>
                      </a:lnTo>
                      <a:lnTo>
                        <a:pt x="293" y="95"/>
                      </a:lnTo>
                      <a:lnTo>
                        <a:pt x="293" y="93"/>
                      </a:lnTo>
                      <a:lnTo>
                        <a:pt x="293" y="92"/>
                      </a:lnTo>
                      <a:lnTo>
                        <a:pt x="293" y="90"/>
                      </a:lnTo>
                      <a:lnTo>
                        <a:pt x="293" y="89"/>
                      </a:lnTo>
                      <a:lnTo>
                        <a:pt x="294" y="89"/>
                      </a:lnTo>
                      <a:lnTo>
                        <a:pt x="294" y="88"/>
                      </a:lnTo>
                      <a:lnTo>
                        <a:pt x="297" y="88"/>
                      </a:lnTo>
                      <a:lnTo>
                        <a:pt x="298" y="88"/>
                      </a:lnTo>
                      <a:lnTo>
                        <a:pt x="302" y="85"/>
                      </a:lnTo>
                      <a:lnTo>
                        <a:pt x="306" y="84"/>
                      </a:lnTo>
                      <a:lnTo>
                        <a:pt x="307" y="84"/>
                      </a:lnTo>
                      <a:lnTo>
                        <a:pt x="308" y="84"/>
                      </a:lnTo>
                      <a:lnTo>
                        <a:pt x="309" y="84"/>
                      </a:lnTo>
                      <a:lnTo>
                        <a:pt x="311" y="85"/>
                      </a:lnTo>
                      <a:lnTo>
                        <a:pt x="312" y="83"/>
                      </a:lnTo>
                      <a:lnTo>
                        <a:pt x="313" y="82"/>
                      </a:lnTo>
                      <a:lnTo>
                        <a:pt x="313" y="79"/>
                      </a:lnTo>
                      <a:lnTo>
                        <a:pt x="314" y="78"/>
                      </a:lnTo>
                      <a:lnTo>
                        <a:pt x="315" y="78"/>
                      </a:lnTo>
                      <a:lnTo>
                        <a:pt x="316" y="77"/>
                      </a:lnTo>
                      <a:lnTo>
                        <a:pt x="319" y="75"/>
                      </a:lnTo>
                      <a:lnTo>
                        <a:pt x="320" y="74"/>
                      </a:lnTo>
                      <a:lnTo>
                        <a:pt x="322" y="72"/>
                      </a:lnTo>
                      <a:lnTo>
                        <a:pt x="323" y="72"/>
                      </a:lnTo>
                      <a:lnTo>
                        <a:pt x="324" y="71"/>
                      </a:lnTo>
                      <a:lnTo>
                        <a:pt x="324" y="69"/>
                      </a:lnTo>
                      <a:lnTo>
                        <a:pt x="324" y="67"/>
                      </a:lnTo>
                      <a:lnTo>
                        <a:pt x="327" y="58"/>
                      </a:lnTo>
                      <a:lnTo>
                        <a:pt x="327" y="57"/>
                      </a:lnTo>
                      <a:lnTo>
                        <a:pt x="327" y="56"/>
                      </a:lnTo>
                      <a:lnTo>
                        <a:pt x="328" y="55"/>
                      </a:lnTo>
                      <a:lnTo>
                        <a:pt x="328" y="54"/>
                      </a:lnTo>
                      <a:lnTo>
                        <a:pt x="328" y="53"/>
                      </a:lnTo>
                      <a:lnTo>
                        <a:pt x="329" y="51"/>
                      </a:lnTo>
                      <a:lnTo>
                        <a:pt x="329" y="50"/>
                      </a:lnTo>
                      <a:lnTo>
                        <a:pt x="329" y="51"/>
                      </a:lnTo>
                      <a:lnTo>
                        <a:pt x="330" y="51"/>
                      </a:lnTo>
                      <a:lnTo>
                        <a:pt x="330" y="50"/>
                      </a:lnTo>
                      <a:lnTo>
                        <a:pt x="330" y="49"/>
                      </a:lnTo>
                      <a:lnTo>
                        <a:pt x="331" y="50"/>
                      </a:lnTo>
                      <a:lnTo>
                        <a:pt x="331" y="49"/>
                      </a:lnTo>
                      <a:lnTo>
                        <a:pt x="331" y="48"/>
                      </a:lnTo>
                      <a:lnTo>
                        <a:pt x="333" y="48"/>
                      </a:lnTo>
                      <a:lnTo>
                        <a:pt x="333" y="47"/>
                      </a:lnTo>
                      <a:lnTo>
                        <a:pt x="334" y="47"/>
                      </a:lnTo>
                      <a:lnTo>
                        <a:pt x="335" y="47"/>
                      </a:lnTo>
                      <a:lnTo>
                        <a:pt x="335" y="46"/>
                      </a:lnTo>
                      <a:lnTo>
                        <a:pt x="336" y="46"/>
                      </a:lnTo>
                      <a:lnTo>
                        <a:pt x="337" y="44"/>
                      </a:lnTo>
                      <a:lnTo>
                        <a:pt x="338" y="44"/>
                      </a:lnTo>
                      <a:lnTo>
                        <a:pt x="340" y="43"/>
                      </a:lnTo>
                      <a:lnTo>
                        <a:pt x="340" y="42"/>
                      </a:lnTo>
                      <a:lnTo>
                        <a:pt x="340" y="43"/>
                      </a:lnTo>
                      <a:lnTo>
                        <a:pt x="341" y="43"/>
                      </a:lnTo>
                      <a:lnTo>
                        <a:pt x="341" y="42"/>
                      </a:lnTo>
                      <a:lnTo>
                        <a:pt x="342" y="42"/>
                      </a:lnTo>
                      <a:lnTo>
                        <a:pt x="342" y="43"/>
                      </a:lnTo>
                      <a:lnTo>
                        <a:pt x="343" y="42"/>
                      </a:lnTo>
                      <a:lnTo>
                        <a:pt x="344" y="42"/>
                      </a:lnTo>
                      <a:lnTo>
                        <a:pt x="345" y="42"/>
                      </a:lnTo>
                      <a:lnTo>
                        <a:pt x="345" y="41"/>
                      </a:lnTo>
                      <a:lnTo>
                        <a:pt x="347" y="41"/>
                      </a:lnTo>
                      <a:lnTo>
                        <a:pt x="347" y="40"/>
                      </a:lnTo>
                      <a:lnTo>
                        <a:pt x="347" y="39"/>
                      </a:lnTo>
                      <a:lnTo>
                        <a:pt x="347" y="37"/>
                      </a:lnTo>
                      <a:lnTo>
                        <a:pt x="348" y="37"/>
                      </a:lnTo>
                      <a:lnTo>
                        <a:pt x="348" y="36"/>
                      </a:lnTo>
                      <a:lnTo>
                        <a:pt x="349" y="36"/>
                      </a:lnTo>
                      <a:lnTo>
                        <a:pt x="350" y="35"/>
                      </a:lnTo>
                      <a:lnTo>
                        <a:pt x="351" y="36"/>
                      </a:lnTo>
                      <a:lnTo>
                        <a:pt x="352" y="36"/>
                      </a:lnTo>
                      <a:lnTo>
                        <a:pt x="352" y="35"/>
                      </a:lnTo>
                      <a:lnTo>
                        <a:pt x="354" y="35"/>
                      </a:lnTo>
                      <a:lnTo>
                        <a:pt x="354" y="34"/>
                      </a:lnTo>
                      <a:lnTo>
                        <a:pt x="352" y="34"/>
                      </a:lnTo>
                      <a:lnTo>
                        <a:pt x="352" y="33"/>
                      </a:lnTo>
                      <a:lnTo>
                        <a:pt x="354" y="33"/>
                      </a:lnTo>
                      <a:lnTo>
                        <a:pt x="354" y="34"/>
                      </a:lnTo>
                      <a:lnTo>
                        <a:pt x="355" y="33"/>
                      </a:lnTo>
                      <a:lnTo>
                        <a:pt x="356" y="33"/>
                      </a:lnTo>
                      <a:lnTo>
                        <a:pt x="357" y="32"/>
                      </a:lnTo>
                      <a:lnTo>
                        <a:pt x="358" y="30"/>
                      </a:lnTo>
                      <a:lnTo>
                        <a:pt x="358" y="28"/>
                      </a:lnTo>
                      <a:lnTo>
                        <a:pt x="358" y="27"/>
                      </a:lnTo>
                      <a:lnTo>
                        <a:pt x="359" y="27"/>
                      </a:lnTo>
                      <a:lnTo>
                        <a:pt x="361" y="27"/>
                      </a:lnTo>
                      <a:lnTo>
                        <a:pt x="362" y="26"/>
                      </a:lnTo>
                      <a:lnTo>
                        <a:pt x="362" y="25"/>
                      </a:lnTo>
                      <a:lnTo>
                        <a:pt x="362" y="23"/>
                      </a:lnTo>
                      <a:lnTo>
                        <a:pt x="363" y="23"/>
                      </a:lnTo>
                      <a:lnTo>
                        <a:pt x="363" y="22"/>
                      </a:lnTo>
                      <a:lnTo>
                        <a:pt x="364" y="22"/>
                      </a:lnTo>
                      <a:lnTo>
                        <a:pt x="364" y="21"/>
                      </a:lnTo>
                      <a:lnTo>
                        <a:pt x="365" y="21"/>
                      </a:lnTo>
                      <a:lnTo>
                        <a:pt x="365" y="20"/>
                      </a:lnTo>
                      <a:lnTo>
                        <a:pt x="365" y="19"/>
                      </a:lnTo>
                      <a:lnTo>
                        <a:pt x="366" y="18"/>
                      </a:lnTo>
                      <a:lnTo>
                        <a:pt x="368" y="18"/>
                      </a:lnTo>
                      <a:lnTo>
                        <a:pt x="369" y="16"/>
                      </a:lnTo>
                      <a:lnTo>
                        <a:pt x="370" y="15"/>
                      </a:lnTo>
                      <a:lnTo>
                        <a:pt x="371" y="15"/>
                      </a:lnTo>
                      <a:lnTo>
                        <a:pt x="372" y="14"/>
                      </a:lnTo>
                      <a:lnTo>
                        <a:pt x="375" y="14"/>
                      </a:lnTo>
                      <a:lnTo>
                        <a:pt x="377" y="15"/>
                      </a:lnTo>
                      <a:lnTo>
                        <a:pt x="378" y="14"/>
                      </a:lnTo>
                      <a:lnTo>
                        <a:pt x="379" y="14"/>
                      </a:lnTo>
                      <a:lnTo>
                        <a:pt x="380" y="14"/>
                      </a:lnTo>
                      <a:lnTo>
                        <a:pt x="383" y="13"/>
                      </a:lnTo>
                      <a:lnTo>
                        <a:pt x="384" y="12"/>
                      </a:lnTo>
                      <a:lnTo>
                        <a:pt x="385" y="12"/>
                      </a:lnTo>
                      <a:lnTo>
                        <a:pt x="386" y="12"/>
                      </a:lnTo>
                      <a:lnTo>
                        <a:pt x="386" y="11"/>
                      </a:lnTo>
                      <a:lnTo>
                        <a:pt x="387" y="11"/>
                      </a:lnTo>
                      <a:lnTo>
                        <a:pt x="388" y="11"/>
                      </a:lnTo>
                      <a:lnTo>
                        <a:pt x="390" y="11"/>
                      </a:lnTo>
                      <a:lnTo>
                        <a:pt x="390" y="8"/>
                      </a:lnTo>
                      <a:lnTo>
                        <a:pt x="391" y="8"/>
                      </a:lnTo>
                      <a:lnTo>
                        <a:pt x="390" y="6"/>
                      </a:lnTo>
                      <a:lnTo>
                        <a:pt x="391" y="5"/>
                      </a:lnTo>
                      <a:lnTo>
                        <a:pt x="392" y="4"/>
                      </a:lnTo>
                      <a:lnTo>
                        <a:pt x="393" y="2"/>
                      </a:lnTo>
                      <a:lnTo>
                        <a:pt x="397" y="2"/>
                      </a:lnTo>
                      <a:lnTo>
                        <a:pt x="398" y="2"/>
                      </a:lnTo>
                      <a:lnTo>
                        <a:pt x="398" y="1"/>
                      </a:lnTo>
                      <a:lnTo>
                        <a:pt x="399" y="1"/>
                      </a:lnTo>
                      <a:lnTo>
                        <a:pt x="401" y="1"/>
                      </a:lnTo>
                      <a:lnTo>
                        <a:pt x="402" y="1"/>
                      </a:lnTo>
                      <a:lnTo>
                        <a:pt x="404" y="1"/>
                      </a:lnTo>
                      <a:lnTo>
                        <a:pt x="405" y="1"/>
                      </a:lnTo>
                      <a:lnTo>
                        <a:pt x="406" y="0"/>
                      </a:lnTo>
                      <a:lnTo>
                        <a:pt x="407" y="1"/>
                      </a:lnTo>
                      <a:lnTo>
                        <a:pt x="408" y="1"/>
                      </a:lnTo>
                      <a:lnTo>
                        <a:pt x="408" y="0"/>
                      </a:lnTo>
                      <a:lnTo>
                        <a:pt x="409" y="0"/>
                      </a:lnTo>
                      <a:lnTo>
                        <a:pt x="411" y="0"/>
                      </a:lnTo>
                      <a:lnTo>
                        <a:pt x="412" y="0"/>
                      </a:lnTo>
                      <a:close/>
                      <a:moveTo>
                        <a:pt x="370" y="226"/>
                      </a:moveTo>
                      <a:lnTo>
                        <a:pt x="369" y="226"/>
                      </a:lnTo>
                      <a:lnTo>
                        <a:pt x="368" y="226"/>
                      </a:lnTo>
                      <a:lnTo>
                        <a:pt x="366" y="226"/>
                      </a:lnTo>
                      <a:lnTo>
                        <a:pt x="365" y="226"/>
                      </a:lnTo>
                      <a:lnTo>
                        <a:pt x="364" y="226"/>
                      </a:lnTo>
                      <a:lnTo>
                        <a:pt x="364" y="228"/>
                      </a:lnTo>
                      <a:lnTo>
                        <a:pt x="363" y="229"/>
                      </a:lnTo>
                      <a:lnTo>
                        <a:pt x="362" y="231"/>
                      </a:lnTo>
                      <a:lnTo>
                        <a:pt x="361" y="232"/>
                      </a:lnTo>
                      <a:lnTo>
                        <a:pt x="361" y="233"/>
                      </a:lnTo>
                      <a:lnTo>
                        <a:pt x="359" y="233"/>
                      </a:lnTo>
                      <a:lnTo>
                        <a:pt x="358" y="233"/>
                      </a:lnTo>
                      <a:lnTo>
                        <a:pt x="358" y="232"/>
                      </a:lnTo>
                      <a:lnTo>
                        <a:pt x="357" y="232"/>
                      </a:lnTo>
                      <a:lnTo>
                        <a:pt x="357" y="233"/>
                      </a:lnTo>
                      <a:lnTo>
                        <a:pt x="356" y="233"/>
                      </a:lnTo>
                      <a:lnTo>
                        <a:pt x="356" y="235"/>
                      </a:lnTo>
                      <a:lnTo>
                        <a:pt x="352" y="235"/>
                      </a:lnTo>
                      <a:lnTo>
                        <a:pt x="351" y="235"/>
                      </a:lnTo>
                      <a:lnTo>
                        <a:pt x="351" y="236"/>
                      </a:lnTo>
                      <a:lnTo>
                        <a:pt x="351" y="237"/>
                      </a:lnTo>
                      <a:lnTo>
                        <a:pt x="350" y="237"/>
                      </a:lnTo>
                      <a:lnTo>
                        <a:pt x="350" y="238"/>
                      </a:lnTo>
                      <a:lnTo>
                        <a:pt x="349" y="238"/>
                      </a:lnTo>
                      <a:lnTo>
                        <a:pt x="349" y="239"/>
                      </a:lnTo>
                      <a:lnTo>
                        <a:pt x="349" y="240"/>
                      </a:lnTo>
                      <a:lnTo>
                        <a:pt x="349" y="239"/>
                      </a:lnTo>
                      <a:lnTo>
                        <a:pt x="348" y="240"/>
                      </a:lnTo>
                      <a:lnTo>
                        <a:pt x="349" y="240"/>
                      </a:lnTo>
                      <a:lnTo>
                        <a:pt x="348" y="242"/>
                      </a:lnTo>
                      <a:lnTo>
                        <a:pt x="345" y="244"/>
                      </a:lnTo>
                      <a:lnTo>
                        <a:pt x="345" y="245"/>
                      </a:lnTo>
                      <a:lnTo>
                        <a:pt x="344" y="245"/>
                      </a:lnTo>
                      <a:lnTo>
                        <a:pt x="345" y="246"/>
                      </a:lnTo>
                      <a:lnTo>
                        <a:pt x="344" y="246"/>
                      </a:lnTo>
                      <a:lnTo>
                        <a:pt x="344" y="247"/>
                      </a:lnTo>
                      <a:lnTo>
                        <a:pt x="343" y="247"/>
                      </a:lnTo>
                      <a:lnTo>
                        <a:pt x="342" y="249"/>
                      </a:lnTo>
                      <a:lnTo>
                        <a:pt x="342" y="250"/>
                      </a:lnTo>
                      <a:lnTo>
                        <a:pt x="341" y="250"/>
                      </a:lnTo>
                      <a:lnTo>
                        <a:pt x="341" y="251"/>
                      </a:lnTo>
                      <a:lnTo>
                        <a:pt x="342" y="251"/>
                      </a:lnTo>
                      <a:lnTo>
                        <a:pt x="342" y="252"/>
                      </a:lnTo>
                      <a:lnTo>
                        <a:pt x="341" y="252"/>
                      </a:lnTo>
                      <a:lnTo>
                        <a:pt x="340" y="253"/>
                      </a:lnTo>
                      <a:lnTo>
                        <a:pt x="340" y="254"/>
                      </a:lnTo>
                      <a:lnTo>
                        <a:pt x="338" y="254"/>
                      </a:lnTo>
                      <a:lnTo>
                        <a:pt x="338" y="256"/>
                      </a:lnTo>
                      <a:lnTo>
                        <a:pt x="337" y="256"/>
                      </a:lnTo>
                      <a:lnTo>
                        <a:pt x="337" y="257"/>
                      </a:lnTo>
                      <a:lnTo>
                        <a:pt x="336" y="257"/>
                      </a:lnTo>
                      <a:lnTo>
                        <a:pt x="335" y="257"/>
                      </a:lnTo>
                      <a:lnTo>
                        <a:pt x="335" y="258"/>
                      </a:lnTo>
                      <a:lnTo>
                        <a:pt x="334" y="258"/>
                      </a:lnTo>
                      <a:lnTo>
                        <a:pt x="333" y="258"/>
                      </a:lnTo>
                      <a:lnTo>
                        <a:pt x="331" y="259"/>
                      </a:lnTo>
                      <a:lnTo>
                        <a:pt x="330" y="259"/>
                      </a:lnTo>
                      <a:lnTo>
                        <a:pt x="330" y="260"/>
                      </a:lnTo>
                      <a:lnTo>
                        <a:pt x="329" y="259"/>
                      </a:lnTo>
                      <a:lnTo>
                        <a:pt x="329" y="260"/>
                      </a:lnTo>
                      <a:lnTo>
                        <a:pt x="329" y="261"/>
                      </a:lnTo>
                      <a:lnTo>
                        <a:pt x="330" y="263"/>
                      </a:lnTo>
                      <a:lnTo>
                        <a:pt x="331" y="264"/>
                      </a:lnTo>
                      <a:lnTo>
                        <a:pt x="334" y="271"/>
                      </a:lnTo>
                      <a:lnTo>
                        <a:pt x="335" y="272"/>
                      </a:lnTo>
                      <a:lnTo>
                        <a:pt x="335" y="273"/>
                      </a:lnTo>
                      <a:lnTo>
                        <a:pt x="337" y="274"/>
                      </a:lnTo>
                      <a:lnTo>
                        <a:pt x="337" y="275"/>
                      </a:lnTo>
                      <a:lnTo>
                        <a:pt x="337" y="277"/>
                      </a:lnTo>
                      <a:lnTo>
                        <a:pt x="338" y="278"/>
                      </a:lnTo>
                      <a:lnTo>
                        <a:pt x="340" y="278"/>
                      </a:lnTo>
                      <a:lnTo>
                        <a:pt x="341" y="278"/>
                      </a:lnTo>
                      <a:lnTo>
                        <a:pt x="341" y="279"/>
                      </a:lnTo>
                      <a:lnTo>
                        <a:pt x="340" y="279"/>
                      </a:lnTo>
                      <a:lnTo>
                        <a:pt x="340" y="281"/>
                      </a:lnTo>
                      <a:lnTo>
                        <a:pt x="340" y="284"/>
                      </a:lnTo>
                      <a:lnTo>
                        <a:pt x="340" y="285"/>
                      </a:lnTo>
                      <a:lnTo>
                        <a:pt x="341" y="285"/>
                      </a:lnTo>
                      <a:lnTo>
                        <a:pt x="342" y="285"/>
                      </a:lnTo>
                      <a:lnTo>
                        <a:pt x="343" y="285"/>
                      </a:lnTo>
                      <a:lnTo>
                        <a:pt x="343" y="286"/>
                      </a:lnTo>
                      <a:lnTo>
                        <a:pt x="344" y="286"/>
                      </a:lnTo>
                      <a:lnTo>
                        <a:pt x="345" y="287"/>
                      </a:lnTo>
                      <a:lnTo>
                        <a:pt x="347" y="288"/>
                      </a:lnTo>
                      <a:lnTo>
                        <a:pt x="347" y="289"/>
                      </a:lnTo>
                      <a:lnTo>
                        <a:pt x="347" y="291"/>
                      </a:lnTo>
                      <a:lnTo>
                        <a:pt x="349" y="292"/>
                      </a:lnTo>
                      <a:lnTo>
                        <a:pt x="351" y="294"/>
                      </a:lnTo>
                      <a:lnTo>
                        <a:pt x="351" y="295"/>
                      </a:lnTo>
                      <a:lnTo>
                        <a:pt x="352" y="295"/>
                      </a:lnTo>
                      <a:lnTo>
                        <a:pt x="354" y="295"/>
                      </a:lnTo>
                      <a:lnTo>
                        <a:pt x="355" y="295"/>
                      </a:lnTo>
                      <a:lnTo>
                        <a:pt x="356" y="295"/>
                      </a:lnTo>
                      <a:lnTo>
                        <a:pt x="357" y="296"/>
                      </a:lnTo>
                      <a:lnTo>
                        <a:pt x="358" y="296"/>
                      </a:lnTo>
                      <a:lnTo>
                        <a:pt x="362" y="296"/>
                      </a:lnTo>
                      <a:lnTo>
                        <a:pt x="362" y="295"/>
                      </a:lnTo>
                      <a:lnTo>
                        <a:pt x="362" y="294"/>
                      </a:lnTo>
                      <a:lnTo>
                        <a:pt x="363" y="294"/>
                      </a:lnTo>
                      <a:lnTo>
                        <a:pt x="363" y="293"/>
                      </a:lnTo>
                      <a:lnTo>
                        <a:pt x="364" y="293"/>
                      </a:lnTo>
                      <a:lnTo>
                        <a:pt x="364" y="291"/>
                      </a:lnTo>
                      <a:lnTo>
                        <a:pt x="364" y="289"/>
                      </a:lnTo>
                      <a:lnTo>
                        <a:pt x="366" y="287"/>
                      </a:lnTo>
                      <a:lnTo>
                        <a:pt x="368" y="286"/>
                      </a:lnTo>
                      <a:lnTo>
                        <a:pt x="368" y="285"/>
                      </a:lnTo>
                      <a:lnTo>
                        <a:pt x="366" y="285"/>
                      </a:lnTo>
                      <a:lnTo>
                        <a:pt x="366" y="284"/>
                      </a:lnTo>
                      <a:lnTo>
                        <a:pt x="366" y="282"/>
                      </a:lnTo>
                      <a:lnTo>
                        <a:pt x="368" y="282"/>
                      </a:lnTo>
                      <a:lnTo>
                        <a:pt x="369" y="282"/>
                      </a:lnTo>
                      <a:lnTo>
                        <a:pt x="369" y="281"/>
                      </a:lnTo>
                      <a:lnTo>
                        <a:pt x="370" y="281"/>
                      </a:lnTo>
                      <a:lnTo>
                        <a:pt x="370" y="280"/>
                      </a:lnTo>
                      <a:lnTo>
                        <a:pt x="371" y="279"/>
                      </a:lnTo>
                      <a:lnTo>
                        <a:pt x="372" y="278"/>
                      </a:lnTo>
                      <a:lnTo>
                        <a:pt x="373" y="279"/>
                      </a:lnTo>
                      <a:lnTo>
                        <a:pt x="375" y="278"/>
                      </a:lnTo>
                      <a:lnTo>
                        <a:pt x="376" y="278"/>
                      </a:lnTo>
                      <a:lnTo>
                        <a:pt x="377" y="277"/>
                      </a:lnTo>
                      <a:lnTo>
                        <a:pt x="377" y="278"/>
                      </a:lnTo>
                      <a:lnTo>
                        <a:pt x="378" y="278"/>
                      </a:lnTo>
                      <a:lnTo>
                        <a:pt x="379" y="278"/>
                      </a:lnTo>
                      <a:lnTo>
                        <a:pt x="383" y="277"/>
                      </a:lnTo>
                      <a:lnTo>
                        <a:pt x="385" y="277"/>
                      </a:lnTo>
                      <a:lnTo>
                        <a:pt x="386" y="275"/>
                      </a:lnTo>
                      <a:lnTo>
                        <a:pt x="390" y="273"/>
                      </a:lnTo>
                      <a:lnTo>
                        <a:pt x="391" y="272"/>
                      </a:lnTo>
                      <a:lnTo>
                        <a:pt x="394" y="271"/>
                      </a:lnTo>
                      <a:lnTo>
                        <a:pt x="395" y="271"/>
                      </a:lnTo>
                      <a:lnTo>
                        <a:pt x="395" y="270"/>
                      </a:lnTo>
                      <a:lnTo>
                        <a:pt x="395" y="268"/>
                      </a:lnTo>
                      <a:lnTo>
                        <a:pt x="395" y="267"/>
                      </a:lnTo>
                      <a:lnTo>
                        <a:pt x="394" y="267"/>
                      </a:lnTo>
                      <a:lnTo>
                        <a:pt x="394" y="266"/>
                      </a:lnTo>
                      <a:lnTo>
                        <a:pt x="394" y="265"/>
                      </a:lnTo>
                      <a:lnTo>
                        <a:pt x="394" y="264"/>
                      </a:lnTo>
                      <a:lnTo>
                        <a:pt x="395" y="263"/>
                      </a:lnTo>
                      <a:lnTo>
                        <a:pt x="395" y="261"/>
                      </a:lnTo>
                      <a:lnTo>
                        <a:pt x="397" y="260"/>
                      </a:lnTo>
                      <a:lnTo>
                        <a:pt x="399" y="260"/>
                      </a:lnTo>
                      <a:lnTo>
                        <a:pt x="400" y="259"/>
                      </a:lnTo>
                      <a:lnTo>
                        <a:pt x="400" y="258"/>
                      </a:lnTo>
                      <a:lnTo>
                        <a:pt x="400" y="257"/>
                      </a:lnTo>
                      <a:lnTo>
                        <a:pt x="399" y="257"/>
                      </a:lnTo>
                      <a:lnTo>
                        <a:pt x="399" y="256"/>
                      </a:lnTo>
                      <a:lnTo>
                        <a:pt x="400" y="254"/>
                      </a:lnTo>
                      <a:lnTo>
                        <a:pt x="401" y="253"/>
                      </a:lnTo>
                      <a:lnTo>
                        <a:pt x="402" y="253"/>
                      </a:lnTo>
                      <a:lnTo>
                        <a:pt x="404" y="253"/>
                      </a:lnTo>
                      <a:lnTo>
                        <a:pt x="404" y="252"/>
                      </a:lnTo>
                      <a:lnTo>
                        <a:pt x="404" y="251"/>
                      </a:lnTo>
                      <a:lnTo>
                        <a:pt x="405" y="250"/>
                      </a:lnTo>
                      <a:lnTo>
                        <a:pt x="404" y="249"/>
                      </a:lnTo>
                      <a:lnTo>
                        <a:pt x="404" y="247"/>
                      </a:lnTo>
                      <a:lnTo>
                        <a:pt x="402" y="246"/>
                      </a:lnTo>
                      <a:lnTo>
                        <a:pt x="402" y="244"/>
                      </a:lnTo>
                      <a:lnTo>
                        <a:pt x="401" y="244"/>
                      </a:lnTo>
                      <a:lnTo>
                        <a:pt x="401" y="243"/>
                      </a:lnTo>
                      <a:lnTo>
                        <a:pt x="400" y="240"/>
                      </a:lnTo>
                      <a:lnTo>
                        <a:pt x="399" y="240"/>
                      </a:lnTo>
                      <a:lnTo>
                        <a:pt x="398" y="239"/>
                      </a:lnTo>
                      <a:lnTo>
                        <a:pt x="394" y="237"/>
                      </a:lnTo>
                      <a:lnTo>
                        <a:pt x="393" y="237"/>
                      </a:lnTo>
                      <a:lnTo>
                        <a:pt x="393" y="236"/>
                      </a:lnTo>
                      <a:lnTo>
                        <a:pt x="392" y="236"/>
                      </a:lnTo>
                      <a:lnTo>
                        <a:pt x="392" y="235"/>
                      </a:lnTo>
                      <a:lnTo>
                        <a:pt x="391" y="235"/>
                      </a:lnTo>
                      <a:lnTo>
                        <a:pt x="388" y="232"/>
                      </a:lnTo>
                      <a:lnTo>
                        <a:pt x="387" y="230"/>
                      </a:lnTo>
                      <a:lnTo>
                        <a:pt x="386" y="229"/>
                      </a:lnTo>
                      <a:lnTo>
                        <a:pt x="385" y="229"/>
                      </a:lnTo>
                      <a:lnTo>
                        <a:pt x="384" y="229"/>
                      </a:lnTo>
                      <a:lnTo>
                        <a:pt x="384" y="226"/>
                      </a:lnTo>
                      <a:lnTo>
                        <a:pt x="383" y="226"/>
                      </a:lnTo>
                      <a:lnTo>
                        <a:pt x="381" y="226"/>
                      </a:lnTo>
                      <a:lnTo>
                        <a:pt x="381" y="225"/>
                      </a:lnTo>
                      <a:lnTo>
                        <a:pt x="381" y="224"/>
                      </a:lnTo>
                      <a:lnTo>
                        <a:pt x="380" y="224"/>
                      </a:lnTo>
                      <a:lnTo>
                        <a:pt x="380" y="223"/>
                      </a:lnTo>
                      <a:lnTo>
                        <a:pt x="379" y="222"/>
                      </a:lnTo>
                      <a:lnTo>
                        <a:pt x="377" y="223"/>
                      </a:lnTo>
                      <a:lnTo>
                        <a:pt x="372" y="224"/>
                      </a:lnTo>
                      <a:lnTo>
                        <a:pt x="371" y="224"/>
                      </a:lnTo>
                      <a:lnTo>
                        <a:pt x="370" y="226"/>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4" name="Freeform 120">
                  <a:extLst>
                    <a:ext uri="{FF2B5EF4-FFF2-40B4-BE49-F238E27FC236}">
                      <a16:creationId xmlns:a16="http://schemas.microsoft.com/office/drawing/2014/main" id="{10D732FB-1757-61EF-1E9D-9BEA1850F333}"/>
                    </a:ext>
                  </a:extLst>
                </p:cNvPr>
                <p:cNvSpPr>
                  <a:spLocks noEditPoints="1"/>
                </p:cNvSpPr>
                <p:nvPr/>
              </p:nvSpPr>
              <p:spPr bwMode="auto">
                <a:xfrm>
                  <a:off x="6475734" y="2410755"/>
                  <a:ext cx="141707" cy="298557"/>
                </a:xfrm>
                <a:custGeom>
                  <a:avLst/>
                  <a:gdLst>
                    <a:gd name="T0" fmla="*/ 112 w 131"/>
                    <a:gd name="T1" fmla="*/ 143 h 276"/>
                    <a:gd name="T2" fmla="*/ 107 w 131"/>
                    <a:gd name="T3" fmla="*/ 143 h 276"/>
                    <a:gd name="T4" fmla="*/ 105 w 131"/>
                    <a:gd name="T5" fmla="*/ 137 h 276"/>
                    <a:gd name="T6" fmla="*/ 112 w 131"/>
                    <a:gd name="T7" fmla="*/ 107 h 276"/>
                    <a:gd name="T8" fmla="*/ 117 w 131"/>
                    <a:gd name="T9" fmla="*/ 105 h 276"/>
                    <a:gd name="T10" fmla="*/ 123 w 131"/>
                    <a:gd name="T11" fmla="*/ 101 h 276"/>
                    <a:gd name="T12" fmla="*/ 74 w 131"/>
                    <a:gd name="T13" fmla="*/ 7 h 276"/>
                    <a:gd name="T14" fmla="*/ 74 w 131"/>
                    <a:gd name="T15" fmla="*/ 5 h 276"/>
                    <a:gd name="T16" fmla="*/ 88 w 131"/>
                    <a:gd name="T17" fmla="*/ 6 h 276"/>
                    <a:gd name="T18" fmla="*/ 87 w 131"/>
                    <a:gd name="T19" fmla="*/ 10 h 276"/>
                    <a:gd name="T20" fmla="*/ 91 w 131"/>
                    <a:gd name="T21" fmla="*/ 21 h 276"/>
                    <a:gd name="T22" fmla="*/ 88 w 131"/>
                    <a:gd name="T23" fmla="*/ 23 h 276"/>
                    <a:gd name="T24" fmla="*/ 98 w 131"/>
                    <a:gd name="T25" fmla="*/ 23 h 276"/>
                    <a:gd name="T26" fmla="*/ 109 w 131"/>
                    <a:gd name="T27" fmla="*/ 13 h 276"/>
                    <a:gd name="T28" fmla="*/ 115 w 131"/>
                    <a:gd name="T29" fmla="*/ 14 h 276"/>
                    <a:gd name="T30" fmla="*/ 113 w 131"/>
                    <a:gd name="T31" fmla="*/ 24 h 276"/>
                    <a:gd name="T32" fmla="*/ 98 w 131"/>
                    <a:gd name="T33" fmla="*/ 41 h 276"/>
                    <a:gd name="T34" fmla="*/ 97 w 131"/>
                    <a:gd name="T35" fmla="*/ 54 h 276"/>
                    <a:gd name="T36" fmla="*/ 103 w 131"/>
                    <a:gd name="T37" fmla="*/ 63 h 276"/>
                    <a:gd name="T38" fmla="*/ 112 w 131"/>
                    <a:gd name="T39" fmla="*/ 68 h 276"/>
                    <a:gd name="T40" fmla="*/ 115 w 131"/>
                    <a:gd name="T41" fmla="*/ 74 h 276"/>
                    <a:gd name="T42" fmla="*/ 117 w 131"/>
                    <a:gd name="T43" fmla="*/ 84 h 276"/>
                    <a:gd name="T44" fmla="*/ 114 w 131"/>
                    <a:gd name="T45" fmla="*/ 93 h 276"/>
                    <a:gd name="T46" fmla="*/ 108 w 131"/>
                    <a:gd name="T47" fmla="*/ 101 h 276"/>
                    <a:gd name="T48" fmla="*/ 101 w 131"/>
                    <a:gd name="T49" fmla="*/ 108 h 276"/>
                    <a:gd name="T50" fmla="*/ 92 w 131"/>
                    <a:gd name="T51" fmla="*/ 117 h 276"/>
                    <a:gd name="T52" fmla="*/ 84 w 131"/>
                    <a:gd name="T53" fmla="*/ 122 h 276"/>
                    <a:gd name="T54" fmla="*/ 83 w 131"/>
                    <a:gd name="T55" fmla="*/ 132 h 276"/>
                    <a:gd name="T56" fmla="*/ 99 w 131"/>
                    <a:gd name="T57" fmla="*/ 146 h 276"/>
                    <a:gd name="T58" fmla="*/ 103 w 131"/>
                    <a:gd name="T59" fmla="*/ 152 h 276"/>
                    <a:gd name="T60" fmla="*/ 112 w 131"/>
                    <a:gd name="T61" fmla="*/ 146 h 276"/>
                    <a:gd name="T62" fmla="*/ 117 w 131"/>
                    <a:gd name="T63" fmla="*/ 156 h 276"/>
                    <a:gd name="T64" fmla="*/ 120 w 131"/>
                    <a:gd name="T65" fmla="*/ 159 h 276"/>
                    <a:gd name="T66" fmla="*/ 127 w 131"/>
                    <a:gd name="T67" fmla="*/ 164 h 276"/>
                    <a:gd name="T68" fmla="*/ 130 w 131"/>
                    <a:gd name="T69" fmla="*/ 166 h 276"/>
                    <a:gd name="T70" fmla="*/ 131 w 131"/>
                    <a:gd name="T71" fmla="*/ 189 h 276"/>
                    <a:gd name="T72" fmla="*/ 108 w 131"/>
                    <a:gd name="T73" fmla="*/ 208 h 276"/>
                    <a:gd name="T74" fmla="*/ 99 w 131"/>
                    <a:gd name="T75" fmla="*/ 216 h 276"/>
                    <a:gd name="T76" fmla="*/ 85 w 131"/>
                    <a:gd name="T77" fmla="*/ 231 h 276"/>
                    <a:gd name="T78" fmla="*/ 88 w 131"/>
                    <a:gd name="T79" fmla="*/ 257 h 276"/>
                    <a:gd name="T80" fmla="*/ 64 w 131"/>
                    <a:gd name="T81" fmla="*/ 264 h 276"/>
                    <a:gd name="T82" fmla="*/ 56 w 131"/>
                    <a:gd name="T83" fmla="*/ 227 h 276"/>
                    <a:gd name="T84" fmla="*/ 44 w 131"/>
                    <a:gd name="T85" fmla="*/ 202 h 276"/>
                    <a:gd name="T86" fmla="*/ 23 w 131"/>
                    <a:gd name="T87" fmla="*/ 173 h 276"/>
                    <a:gd name="T88" fmla="*/ 9 w 131"/>
                    <a:gd name="T89" fmla="*/ 164 h 276"/>
                    <a:gd name="T90" fmla="*/ 1 w 131"/>
                    <a:gd name="T91" fmla="*/ 142 h 276"/>
                    <a:gd name="T92" fmla="*/ 5 w 131"/>
                    <a:gd name="T93" fmla="*/ 125 h 276"/>
                    <a:gd name="T94" fmla="*/ 16 w 131"/>
                    <a:gd name="T95" fmla="*/ 114 h 276"/>
                    <a:gd name="T96" fmla="*/ 23 w 131"/>
                    <a:gd name="T97" fmla="*/ 107 h 276"/>
                    <a:gd name="T98" fmla="*/ 26 w 131"/>
                    <a:gd name="T99" fmla="*/ 91 h 276"/>
                    <a:gd name="T100" fmla="*/ 26 w 131"/>
                    <a:gd name="T101" fmla="*/ 80 h 276"/>
                    <a:gd name="T102" fmla="*/ 24 w 131"/>
                    <a:gd name="T103" fmla="*/ 63 h 276"/>
                    <a:gd name="T104" fmla="*/ 27 w 131"/>
                    <a:gd name="T105" fmla="*/ 48 h 276"/>
                    <a:gd name="T106" fmla="*/ 21 w 131"/>
                    <a:gd name="T107" fmla="*/ 34 h 276"/>
                    <a:gd name="T108" fmla="*/ 29 w 131"/>
                    <a:gd name="T109" fmla="*/ 24 h 276"/>
                    <a:gd name="T110" fmla="*/ 35 w 131"/>
                    <a:gd name="T111" fmla="*/ 18 h 276"/>
                    <a:gd name="T112" fmla="*/ 46 w 131"/>
                    <a:gd name="T113" fmla="*/ 12 h 276"/>
                    <a:gd name="T114" fmla="*/ 60 w 131"/>
                    <a:gd name="T115" fmla="*/ 4 h 276"/>
                    <a:gd name="T116" fmla="*/ 66 w 131"/>
                    <a:gd name="T117" fmla="*/ 3 h 276"/>
                    <a:gd name="T118" fmla="*/ 76 w 131"/>
                    <a:gd name="T119" fmla="*/ 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1" h="276">
                      <a:moveTo>
                        <a:pt x="112" y="137"/>
                      </a:moveTo>
                      <a:lnTo>
                        <a:pt x="112" y="138"/>
                      </a:lnTo>
                      <a:lnTo>
                        <a:pt x="113" y="138"/>
                      </a:lnTo>
                      <a:lnTo>
                        <a:pt x="114" y="139"/>
                      </a:lnTo>
                      <a:lnTo>
                        <a:pt x="115" y="139"/>
                      </a:lnTo>
                      <a:lnTo>
                        <a:pt x="115" y="140"/>
                      </a:lnTo>
                      <a:lnTo>
                        <a:pt x="113" y="143"/>
                      </a:lnTo>
                      <a:lnTo>
                        <a:pt x="112" y="144"/>
                      </a:lnTo>
                      <a:lnTo>
                        <a:pt x="112" y="143"/>
                      </a:lnTo>
                      <a:lnTo>
                        <a:pt x="112" y="144"/>
                      </a:lnTo>
                      <a:lnTo>
                        <a:pt x="110" y="145"/>
                      </a:lnTo>
                      <a:lnTo>
                        <a:pt x="110" y="146"/>
                      </a:lnTo>
                      <a:lnTo>
                        <a:pt x="109" y="146"/>
                      </a:lnTo>
                      <a:lnTo>
                        <a:pt x="109" y="145"/>
                      </a:lnTo>
                      <a:lnTo>
                        <a:pt x="109" y="144"/>
                      </a:lnTo>
                      <a:lnTo>
                        <a:pt x="108" y="144"/>
                      </a:lnTo>
                      <a:lnTo>
                        <a:pt x="108" y="143"/>
                      </a:lnTo>
                      <a:lnTo>
                        <a:pt x="107" y="143"/>
                      </a:lnTo>
                      <a:lnTo>
                        <a:pt x="107" y="144"/>
                      </a:lnTo>
                      <a:lnTo>
                        <a:pt x="106" y="144"/>
                      </a:lnTo>
                      <a:lnTo>
                        <a:pt x="105" y="144"/>
                      </a:lnTo>
                      <a:lnTo>
                        <a:pt x="105" y="143"/>
                      </a:lnTo>
                      <a:lnTo>
                        <a:pt x="105" y="142"/>
                      </a:lnTo>
                      <a:lnTo>
                        <a:pt x="105" y="140"/>
                      </a:lnTo>
                      <a:lnTo>
                        <a:pt x="106" y="140"/>
                      </a:lnTo>
                      <a:lnTo>
                        <a:pt x="105" y="138"/>
                      </a:lnTo>
                      <a:lnTo>
                        <a:pt x="105" y="137"/>
                      </a:lnTo>
                      <a:lnTo>
                        <a:pt x="106" y="137"/>
                      </a:lnTo>
                      <a:lnTo>
                        <a:pt x="108" y="137"/>
                      </a:lnTo>
                      <a:lnTo>
                        <a:pt x="110" y="137"/>
                      </a:lnTo>
                      <a:lnTo>
                        <a:pt x="112" y="137"/>
                      </a:lnTo>
                      <a:close/>
                      <a:moveTo>
                        <a:pt x="116" y="108"/>
                      </a:moveTo>
                      <a:lnTo>
                        <a:pt x="115" y="109"/>
                      </a:lnTo>
                      <a:lnTo>
                        <a:pt x="114" y="108"/>
                      </a:lnTo>
                      <a:lnTo>
                        <a:pt x="113" y="108"/>
                      </a:lnTo>
                      <a:lnTo>
                        <a:pt x="112" y="107"/>
                      </a:lnTo>
                      <a:lnTo>
                        <a:pt x="113" y="107"/>
                      </a:lnTo>
                      <a:lnTo>
                        <a:pt x="116" y="107"/>
                      </a:lnTo>
                      <a:lnTo>
                        <a:pt x="116" y="108"/>
                      </a:lnTo>
                      <a:close/>
                      <a:moveTo>
                        <a:pt x="122" y="103"/>
                      </a:moveTo>
                      <a:lnTo>
                        <a:pt x="123" y="103"/>
                      </a:lnTo>
                      <a:lnTo>
                        <a:pt x="123" y="104"/>
                      </a:lnTo>
                      <a:lnTo>
                        <a:pt x="120" y="105"/>
                      </a:lnTo>
                      <a:lnTo>
                        <a:pt x="117" y="107"/>
                      </a:lnTo>
                      <a:lnTo>
                        <a:pt x="117" y="105"/>
                      </a:lnTo>
                      <a:lnTo>
                        <a:pt x="119" y="105"/>
                      </a:lnTo>
                      <a:lnTo>
                        <a:pt x="119" y="104"/>
                      </a:lnTo>
                      <a:lnTo>
                        <a:pt x="119" y="103"/>
                      </a:lnTo>
                      <a:lnTo>
                        <a:pt x="120" y="103"/>
                      </a:lnTo>
                      <a:lnTo>
                        <a:pt x="120" y="102"/>
                      </a:lnTo>
                      <a:lnTo>
                        <a:pt x="121" y="102"/>
                      </a:lnTo>
                      <a:lnTo>
                        <a:pt x="121" y="101"/>
                      </a:lnTo>
                      <a:lnTo>
                        <a:pt x="122" y="101"/>
                      </a:lnTo>
                      <a:lnTo>
                        <a:pt x="123" y="101"/>
                      </a:lnTo>
                      <a:lnTo>
                        <a:pt x="122" y="102"/>
                      </a:lnTo>
                      <a:lnTo>
                        <a:pt x="122" y="103"/>
                      </a:lnTo>
                      <a:close/>
                      <a:moveTo>
                        <a:pt x="76" y="2"/>
                      </a:moveTo>
                      <a:lnTo>
                        <a:pt x="76" y="3"/>
                      </a:lnTo>
                      <a:lnTo>
                        <a:pt x="74" y="4"/>
                      </a:lnTo>
                      <a:lnTo>
                        <a:pt x="73" y="5"/>
                      </a:lnTo>
                      <a:lnTo>
                        <a:pt x="73" y="6"/>
                      </a:lnTo>
                      <a:lnTo>
                        <a:pt x="73" y="7"/>
                      </a:lnTo>
                      <a:lnTo>
                        <a:pt x="74" y="7"/>
                      </a:lnTo>
                      <a:lnTo>
                        <a:pt x="74" y="9"/>
                      </a:lnTo>
                      <a:lnTo>
                        <a:pt x="76" y="9"/>
                      </a:lnTo>
                      <a:lnTo>
                        <a:pt x="77" y="9"/>
                      </a:lnTo>
                      <a:lnTo>
                        <a:pt x="77" y="7"/>
                      </a:lnTo>
                      <a:lnTo>
                        <a:pt x="78" y="7"/>
                      </a:lnTo>
                      <a:lnTo>
                        <a:pt x="78" y="6"/>
                      </a:lnTo>
                      <a:lnTo>
                        <a:pt x="78" y="5"/>
                      </a:lnTo>
                      <a:lnTo>
                        <a:pt x="76" y="5"/>
                      </a:lnTo>
                      <a:lnTo>
                        <a:pt x="74" y="5"/>
                      </a:lnTo>
                      <a:lnTo>
                        <a:pt x="76" y="4"/>
                      </a:lnTo>
                      <a:lnTo>
                        <a:pt x="77" y="4"/>
                      </a:lnTo>
                      <a:lnTo>
                        <a:pt x="79" y="4"/>
                      </a:lnTo>
                      <a:lnTo>
                        <a:pt x="80" y="4"/>
                      </a:lnTo>
                      <a:lnTo>
                        <a:pt x="81" y="4"/>
                      </a:lnTo>
                      <a:lnTo>
                        <a:pt x="83" y="4"/>
                      </a:lnTo>
                      <a:lnTo>
                        <a:pt x="85" y="5"/>
                      </a:lnTo>
                      <a:lnTo>
                        <a:pt x="86" y="5"/>
                      </a:lnTo>
                      <a:lnTo>
                        <a:pt x="88" y="6"/>
                      </a:lnTo>
                      <a:lnTo>
                        <a:pt x="90" y="7"/>
                      </a:lnTo>
                      <a:lnTo>
                        <a:pt x="88" y="7"/>
                      </a:lnTo>
                      <a:lnTo>
                        <a:pt x="87" y="7"/>
                      </a:lnTo>
                      <a:lnTo>
                        <a:pt x="86" y="7"/>
                      </a:lnTo>
                      <a:lnTo>
                        <a:pt x="85" y="7"/>
                      </a:lnTo>
                      <a:lnTo>
                        <a:pt x="85" y="9"/>
                      </a:lnTo>
                      <a:lnTo>
                        <a:pt x="86" y="9"/>
                      </a:lnTo>
                      <a:lnTo>
                        <a:pt x="87" y="9"/>
                      </a:lnTo>
                      <a:lnTo>
                        <a:pt x="87" y="10"/>
                      </a:lnTo>
                      <a:lnTo>
                        <a:pt x="86" y="11"/>
                      </a:lnTo>
                      <a:lnTo>
                        <a:pt x="86" y="13"/>
                      </a:lnTo>
                      <a:lnTo>
                        <a:pt x="87" y="16"/>
                      </a:lnTo>
                      <a:lnTo>
                        <a:pt x="88" y="17"/>
                      </a:lnTo>
                      <a:lnTo>
                        <a:pt x="90" y="17"/>
                      </a:lnTo>
                      <a:lnTo>
                        <a:pt x="91" y="18"/>
                      </a:lnTo>
                      <a:lnTo>
                        <a:pt x="92" y="19"/>
                      </a:lnTo>
                      <a:lnTo>
                        <a:pt x="91" y="20"/>
                      </a:lnTo>
                      <a:lnTo>
                        <a:pt x="91" y="21"/>
                      </a:lnTo>
                      <a:lnTo>
                        <a:pt x="90" y="21"/>
                      </a:lnTo>
                      <a:lnTo>
                        <a:pt x="90" y="20"/>
                      </a:lnTo>
                      <a:lnTo>
                        <a:pt x="88" y="20"/>
                      </a:lnTo>
                      <a:lnTo>
                        <a:pt x="87" y="20"/>
                      </a:lnTo>
                      <a:lnTo>
                        <a:pt x="87" y="21"/>
                      </a:lnTo>
                      <a:lnTo>
                        <a:pt x="86" y="21"/>
                      </a:lnTo>
                      <a:lnTo>
                        <a:pt x="86" y="23"/>
                      </a:lnTo>
                      <a:lnTo>
                        <a:pt x="87" y="23"/>
                      </a:lnTo>
                      <a:lnTo>
                        <a:pt x="88" y="23"/>
                      </a:lnTo>
                      <a:lnTo>
                        <a:pt x="90" y="21"/>
                      </a:lnTo>
                      <a:lnTo>
                        <a:pt x="90" y="23"/>
                      </a:lnTo>
                      <a:lnTo>
                        <a:pt x="91" y="24"/>
                      </a:lnTo>
                      <a:lnTo>
                        <a:pt x="92" y="25"/>
                      </a:lnTo>
                      <a:lnTo>
                        <a:pt x="93" y="25"/>
                      </a:lnTo>
                      <a:lnTo>
                        <a:pt x="94" y="25"/>
                      </a:lnTo>
                      <a:lnTo>
                        <a:pt x="97" y="24"/>
                      </a:lnTo>
                      <a:lnTo>
                        <a:pt x="98" y="24"/>
                      </a:lnTo>
                      <a:lnTo>
                        <a:pt x="98" y="23"/>
                      </a:lnTo>
                      <a:lnTo>
                        <a:pt x="98" y="21"/>
                      </a:lnTo>
                      <a:lnTo>
                        <a:pt x="99" y="19"/>
                      </a:lnTo>
                      <a:lnTo>
                        <a:pt x="100" y="19"/>
                      </a:lnTo>
                      <a:lnTo>
                        <a:pt x="101" y="19"/>
                      </a:lnTo>
                      <a:lnTo>
                        <a:pt x="102" y="19"/>
                      </a:lnTo>
                      <a:lnTo>
                        <a:pt x="103" y="18"/>
                      </a:lnTo>
                      <a:lnTo>
                        <a:pt x="106" y="17"/>
                      </a:lnTo>
                      <a:lnTo>
                        <a:pt x="107" y="16"/>
                      </a:lnTo>
                      <a:lnTo>
                        <a:pt x="109" y="13"/>
                      </a:lnTo>
                      <a:lnTo>
                        <a:pt x="109" y="12"/>
                      </a:lnTo>
                      <a:lnTo>
                        <a:pt x="110" y="12"/>
                      </a:lnTo>
                      <a:lnTo>
                        <a:pt x="112" y="12"/>
                      </a:lnTo>
                      <a:lnTo>
                        <a:pt x="113" y="11"/>
                      </a:lnTo>
                      <a:lnTo>
                        <a:pt x="114" y="11"/>
                      </a:lnTo>
                      <a:lnTo>
                        <a:pt x="114" y="12"/>
                      </a:lnTo>
                      <a:lnTo>
                        <a:pt x="114" y="13"/>
                      </a:lnTo>
                      <a:lnTo>
                        <a:pt x="114" y="14"/>
                      </a:lnTo>
                      <a:lnTo>
                        <a:pt x="115" y="14"/>
                      </a:lnTo>
                      <a:lnTo>
                        <a:pt x="115" y="16"/>
                      </a:lnTo>
                      <a:lnTo>
                        <a:pt x="115" y="17"/>
                      </a:lnTo>
                      <a:lnTo>
                        <a:pt x="116" y="18"/>
                      </a:lnTo>
                      <a:lnTo>
                        <a:pt x="116" y="19"/>
                      </a:lnTo>
                      <a:lnTo>
                        <a:pt x="117" y="19"/>
                      </a:lnTo>
                      <a:lnTo>
                        <a:pt x="116" y="20"/>
                      </a:lnTo>
                      <a:lnTo>
                        <a:pt x="115" y="21"/>
                      </a:lnTo>
                      <a:lnTo>
                        <a:pt x="113" y="23"/>
                      </a:lnTo>
                      <a:lnTo>
                        <a:pt x="113" y="24"/>
                      </a:lnTo>
                      <a:lnTo>
                        <a:pt x="110" y="26"/>
                      </a:lnTo>
                      <a:lnTo>
                        <a:pt x="109" y="31"/>
                      </a:lnTo>
                      <a:lnTo>
                        <a:pt x="107" y="35"/>
                      </a:lnTo>
                      <a:lnTo>
                        <a:pt x="106" y="37"/>
                      </a:lnTo>
                      <a:lnTo>
                        <a:pt x="103" y="37"/>
                      </a:lnTo>
                      <a:lnTo>
                        <a:pt x="100" y="39"/>
                      </a:lnTo>
                      <a:lnTo>
                        <a:pt x="99" y="38"/>
                      </a:lnTo>
                      <a:lnTo>
                        <a:pt x="98" y="39"/>
                      </a:lnTo>
                      <a:lnTo>
                        <a:pt x="98" y="41"/>
                      </a:lnTo>
                      <a:lnTo>
                        <a:pt x="97" y="42"/>
                      </a:lnTo>
                      <a:lnTo>
                        <a:pt x="97" y="44"/>
                      </a:lnTo>
                      <a:lnTo>
                        <a:pt x="97" y="46"/>
                      </a:lnTo>
                      <a:lnTo>
                        <a:pt x="95" y="47"/>
                      </a:lnTo>
                      <a:lnTo>
                        <a:pt x="95" y="49"/>
                      </a:lnTo>
                      <a:lnTo>
                        <a:pt x="97" y="51"/>
                      </a:lnTo>
                      <a:lnTo>
                        <a:pt x="97" y="52"/>
                      </a:lnTo>
                      <a:lnTo>
                        <a:pt x="97" y="53"/>
                      </a:lnTo>
                      <a:lnTo>
                        <a:pt x="97" y="54"/>
                      </a:lnTo>
                      <a:lnTo>
                        <a:pt x="98" y="54"/>
                      </a:lnTo>
                      <a:lnTo>
                        <a:pt x="98" y="55"/>
                      </a:lnTo>
                      <a:lnTo>
                        <a:pt x="98" y="56"/>
                      </a:lnTo>
                      <a:lnTo>
                        <a:pt x="99" y="56"/>
                      </a:lnTo>
                      <a:lnTo>
                        <a:pt x="99" y="58"/>
                      </a:lnTo>
                      <a:lnTo>
                        <a:pt x="100" y="60"/>
                      </a:lnTo>
                      <a:lnTo>
                        <a:pt x="101" y="60"/>
                      </a:lnTo>
                      <a:lnTo>
                        <a:pt x="103" y="62"/>
                      </a:lnTo>
                      <a:lnTo>
                        <a:pt x="103" y="63"/>
                      </a:lnTo>
                      <a:lnTo>
                        <a:pt x="105" y="63"/>
                      </a:lnTo>
                      <a:lnTo>
                        <a:pt x="107" y="62"/>
                      </a:lnTo>
                      <a:lnTo>
                        <a:pt x="108" y="63"/>
                      </a:lnTo>
                      <a:lnTo>
                        <a:pt x="107" y="63"/>
                      </a:lnTo>
                      <a:lnTo>
                        <a:pt x="107" y="65"/>
                      </a:lnTo>
                      <a:lnTo>
                        <a:pt x="107" y="66"/>
                      </a:lnTo>
                      <a:lnTo>
                        <a:pt x="108" y="66"/>
                      </a:lnTo>
                      <a:lnTo>
                        <a:pt x="109" y="67"/>
                      </a:lnTo>
                      <a:lnTo>
                        <a:pt x="112" y="68"/>
                      </a:lnTo>
                      <a:lnTo>
                        <a:pt x="113" y="68"/>
                      </a:lnTo>
                      <a:lnTo>
                        <a:pt x="114" y="68"/>
                      </a:lnTo>
                      <a:lnTo>
                        <a:pt x="115" y="69"/>
                      </a:lnTo>
                      <a:lnTo>
                        <a:pt x="114" y="69"/>
                      </a:lnTo>
                      <a:lnTo>
                        <a:pt x="113" y="70"/>
                      </a:lnTo>
                      <a:lnTo>
                        <a:pt x="113" y="72"/>
                      </a:lnTo>
                      <a:lnTo>
                        <a:pt x="114" y="72"/>
                      </a:lnTo>
                      <a:lnTo>
                        <a:pt x="114" y="73"/>
                      </a:lnTo>
                      <a:lnTo>
                        <a:pt x="115" y="74"/>
                      </a:lnTo>
                      <a:lnTo>
                        <a:pt x="115" y="75"/>
                      </a:lnTo>
                      <a:lnTo>
                        <a:pt x="114" y="76"/>
                      </a:lnTo>
                      <a:lnTo>
                        <a:pt x="115" y="79"/>
                      </a:lnTo>
                      <a:lnTo>
                        <a:pt x="114" y="79"/>
                      </a:lnTo>
                      <a:lnTo>
                        <a:pt x="114" y="81"/>
                      </a:lnTo>
                      <a:lnTo>
                        <a:pt x="115" y="82"/>
                      </a:lnTo>
                      <a:lnTo>
                        <a:pt x="116" y="83"/>
                      </a:lnTo>
                      <a:lnTo>
                        <a:pt x="117" y="83"/>
                      </a:lnTo>
                      <a:lnTo>
                        <a:pt x="117" y="84"/>
                      </a:lnTo>
                      <a:lnTo>
                        <a:pt x="119" y="84"/>
                      </a:lnTo>
                      <a:lnTo>
                        <a:pt x="117" y="84"/>
                      </a:lnTo>
                      <a:lnTo>
                        <a:pt x="116" y="86"/>
                      </a:lnTo>
                      <a:lnTo>
                        <a:pt x="116" y="87"/>
                      </a:lnTo>
                      <a:lnTo>
                        <a:pt x="115" y="88"/>
                      </a:lnTo>
                      <a:lnTo>
                        <a:pt x="114" y="89"/>
                      </a:lnTo>
                      <a:lnTo>
                        <a:pt x="114" y="90"/>
                      </a:lnTo>
                      <a:lnTo>
                        <a:pt x="114" y="91"/>
                      </a:lnTo>
                      <a:lnTo>
                        <a:pt x="114" y="93"/>
                      </a:lnTo>
                      <a:lnTo>
                        <a:pt x="113" y="94"/>
                      </a:lnTo>
                      <a:lnTo>
                        <a:pt x="112" y="94"/>
                      </a:lnTo>
                      <a:lnTo>
                        <a:pt x="110" y="95"/>
                      </a:lnTo>
                      <a:lnTo>
                        <a:pt x="110" y="96"/>
                      </a:lnTo>
                      <a:lnTo>
                        <a:pt x="110" y="97"/>
                      </a:lnTo>
                      <a:lnTo>
                        <a:pt x="110" y="98"/>
                      </a:lnTo>
                      <a:lnTo>
                        <a:pt x="109" y="100"/>
                      </a:lnTo>
                      <a:lnTo>
                        <a:pt x="108" y="100"/>
                      </a:lnTo>
                      <a:lnTo>
                        <a:pt x="108" y="101"/>
                      </a:lnTo>
                      <a:lnTo>
                        <a:pt x="109" y="101"/>
                      </a:lnTo>
                      <a:lnTo>
                        <a:pt x="109" y="102"/>
                      </a:lnTo>
                      <a:lnTo>
                        <a:pt x="108" y="102"/>
                      </a:lnTo>
                      <a:lnTo>
                        <a:pt x="107" y="103"/>
                      </a:lnTo>
                      <a:lnTo>
                        <a:pt x="106" y="104"/>
                      </a:lnTo>
                      <a:lnTo>
                        <a:pt x="105" y="105"/>
                      </a:lnTo>
                      <a:lnTo>
                        <a:pt x="105" y="107"/>
                      </a:lnTo>
                      <a:lnTo>
                        <a:pt x="103" y="107"/>
                      </a:lnTo>
                      <a:lnTo>
                        <a:pt x="101" y="108"/>
                      </a:lnTo>
                      <a:lnTo>
                        <a:pt x="101" y="109"/>
                      </a:lnTo>
                      <a:lnTo>
                        <a:pt x="100" y="110"/>
                      </a:lnTo>
                      <a:lnTo>
                        <a:pt x="100" y="111"/>
                      </a:lnTo>
                      <a:lnTo>
                        <a:pt x="100" y="112"/>
                      </a:lnTo>
                      <a:lnTo>
                        <a:pt x="99" y="112"/>
                      </a:lnTo>
                      <a:lnTo>
                        <a:pt x="97" y="112"/>
                      </a:lnTo>
                      <a:lnTo>
                        <a:pt x="95" y="114"/>
                      </a:lnTo>
                      <a:lnTo>
                        <a:pt x="93" y="116"/>
                      </a:lnTo>
                      <a:lnTo>
                        <a:pt x="92" y="117"/>
                      </a:lnTo>
                      <a:lnTo>
                        <a:pt x="91" y="116"/>
                      </a:lnTo>
                      <a:lnTo>
                        <a:pt x="91" y="117"/>
                      </a:lnTo>
                      <a:lnTo>
                        <a:pt x="90" y="117"/>
                      </a:lnTo>
                      <a:lnTo>
                        <a:pt x="90" y="118"/>
                      </a:lnTo>
                      <a:lnTo>
                        <a:pt x="88" y="118"/>
                      </a:lnTo>
                      <a:lnTo>
                        <a:pt x="87" y="119"/>
                      </a:lnTo>
                      <a:lnTo>
                        <a:pt x="86" y="119"/>
                      </a:lnTo>
                      <a:lnTo>
                        <a:pt x="85" y="121"/>
                      </a:lnTo>
                      <a:lnTo>
                        <a:pt x="84" y="122"/>
                      </a:lnTo>
                      <a:lnTo>
                        <a:pt x="83" y="124"/>
                      </a:lnTo>
                      <a:lnTo>
                        <a:pt x="83" y="125"/>
                      </a:lnTo>
                      <a:lnTo>
                        <a:pt x="81" y="125"/>
                      </a:lnTo>
                      <a:lnTo>
                        <a:pt x="81" y="126"/>
                      </a:lnTo>
                      <a:lnTo>
                        <a:pt x="81" y="128"/>
                      </a:lnTo>
                      <a:lnTo>
                        <a:pt x="81" y="129"/>
                      </a:lnTo>
                      <a:lnTo>
                        <a:pt x="81" y="130"/>
                      </a:lnTo>
                      <a:lnTo>
                        <a:pt x="83" y="131"/>
                      </a:lnTo>
                      <a:lnTo>
                        <a:pt x="83" y="132"/>
                      </a:lnTo>
                      <a:lnTo>
                        <a:pt x="83" y="133"/>
                      </a:lnTo>
                      <a:lnTo>
                        <a:pt x="84" y="135"/>
                      </a:lnTo>
                      <a:lnTo>
                        <a:pt x="86" y="139"/>
                      </a:lnTo>
                      <a:lnTo>
                        <a:pt x="87" y="139"/>
                      </a:lnTo>
                      <a:lnTo>
                        <a:pt x="92" y="144"/>
                      </a:lnTo>
                      <a:lnTo>
                        <a:pt x="93" y="145"/>
                      </a:lnTo>
                      <a:lnTo>
                        <a:pt x="95" y="146"/>
                      </a:lnTo>
                      <a:lnTo>
                        <a:pt x="97" y="146"/>
                      </a:lnTo>
                      <a:lnTo>
                        <a:pt x="99" y="146"/>
                      </a:lnTo>
                      <a:lnTo>
                        <a:pt x="101" y="145"/>
                      </a:lnTo>
                      <a:lnTo>
                        <a:pt x="103" y="144"/>
                      </a:lnTo>
                      <a:lnTo>
                        <a:pt x="105" y="144"/>
                      </a:lnTo>
                      <a:lnTo>
                        <a:pt x="105" y="145"/>
                      </a:lnTo>
                      <a:lnTo>
                        <a:pt x="105" y="147"/>
                      </a:lnTo>
                      <a:lnTo>
                        <a:pt x="103" y="149"/>
                      </a:lnTo>
                      <a:lnTo>
                        <a:pt x="103" y="150"/>
                      </a:lnTo>
                      <a:lnTo>
                        <a:pt x="103" y="151"/>
                      </a:lnTo>
                      <a:lnTo>
                        <a:pt x="103" y="152"/>
                      </a:lnTo>
                      <a:lnTo>
                        <a:pt x="105" y="152"/>
                      </a:lnTo>
                      <a:lnTo>
                        <a:pt x="105" y="153"/>
                      </a:lnTo>
                      <a:lnTo>
                        <a:pt x="106" y="152"/>
                      </a:lnTo>
                      <a:lnTo>
                        <a:pt x="109" y="151"/>
                      </a:lnTo>
                      <a:lnTo>
                        <a:pt x="110" y="151"/>
                      </a:lnTo>
                      <a:lnTo>
                        <a:pt x="110" y="150"/>
                      </a:lnTo>
                      <a:lnTo>
                        <a:pt x="112" y="149"/>
                      </a:lnTo>
                      <a:lnTo>
                        <a:pt x="110" y="147"/>
                      </a:lnTo>
                      <a:lnTo>
                        <a:pt x="112" y="146"/>
                      </a:lnTo>
                      <a:lnTo>
                        <a:pt x="112" y="147"/>
                      </a:lnTo>
                      <a:lnTo>
                        <a:pt x="113" y="146"/>
                      </a:lnTo>
                      <a:lnTo>
                        <a:pt x="114" y="146"/>
                      </a:lnTo>
                      <a:lnTo>
                        <a:pt x="115" y="147"/>
                      </a:lnTo>
                      <a:lnTo>
                        <a:pt x="116" y="149"/>
                      </a:lnTo>
                      <a:lnTo>
                        <a:pt x="117" y="150"/>
                      </a:lnTo>
                      <a:lnTo>
                        <a:pt x="117" y="152"/>
                      </a:lnTo>
                      <a:lnTo>
                        <a:pt x="116" y="153"/>
                      </a:lnTo>
                      <a:lnTo>
                        <a:pt x="117" y="156"/>
                      </a:lnTo>
                      <a:lnTo>
                        <a:pt x="116" y="157"/>
                      </a:lnTo>
                      <a:lnTo>
                        <a:pt x="117" y="157"/>
                      </a:lnTo>
                      <a:lnTo>
                        <a:pt x="119" y="158"/>
                      </a:lnTo>
                      <a:lnTo>
                        <a:pt x="120" y="159"/>
                      </a:lnTo>
                      <a:lnTo>
                        <a:pt x="121" y="159"/>
                      </a:lnTo>
                      <a:lnTo>
                        <a:pt x="122" y="160"/>
                      </a:lnTo>
                      <a:lnTo>
                        <a:pt x="123" y="160"/>
                      </a:lnTo>
                      <a:lnTo>
                        <a:pt x="122" y="160"/>
                      </a:lnTo>
                      <a:lnTo>
                        <a:pt x="120" y="159"/>
                      </a:lnTo>
                      <a:lnTo>
                        <a:pt x="117" y="159"/>
                      </a:lnTo>
                      <a:lnTo>
                        <a:pt x="117" y="160"/>
                      </a:lnTo>
                      <a:lnTo>
                        <a:pt x="119" y="161"/>
                      </a:lnTo>
                      <a:lnTo>
                        <a:pt x="119" y="163"/>
                      </a:lnTo>
                      <a:lnTo>
                        <a:pt x="120" y="163"/>
                      </a:lnTo>
                      <a:lnTo>
                        <a:pt x="121" y="163"/>
                      </a:lnTo>
                      <a:lnTo>
                        <a:pt x="123" y="163"/>
                      </a:lnTo>
                      <a:lnTo>
                        <a:pt x="126" y="164"/>
                      </a:lnTo>
                      <a:lnTo>
                        <a:pt x="127" y="164"/>
                      </a:lnTo>
                      <a:lnTo>
                        <a:pt x="128" y="164"/>
                      </a:lnTo>
                      <a:lnTo>
                        <a:pt x="127" y="163"/>
                      </a:lnTo>
                      <a:lnTo>
                        <a:pt x="126" y="163"/>
                      </a:lnTo>
                      <a:lnTo>
                        <a:pt x="126" y="161"/>
                      </a:lnTo>
                      <a:lnTo>
                        <a:pt x="124" y="161"/>
                      </a:lnTo>
                      <a:lnTo>
                        <a:pt x="128" y="163"/>
                      </a:lnTo>
                      <a:lnTo>
                        <a:pt x="129" y="164"/>
                      </a:lnTo>
                      <a:lnTo>
                        <a:pt x="130" y="164"/>
                      </a:lnTo>
                      <a:lnTo>
                        <a:pt x="130" y="166"/>
                      </a:lnTo>
                      <a:lnTo>
                        <a:pt x="129" y="170"/>
                      </a:lnTo>
                      <a:lnTo>
                        <a:pt x="129" y="172"/>
                      </a:lnTo>
                      <a:lnTo>
                        <a:pt x="128" y="174"/>
                      </a:lnTo>
                      <a:lnTo>
                        <a:pt x="129" y="179"/>
                      </a:lnTo>
                      <a:lnTo>
                        <a:pt x="128" y="182"/>
                      </a:lnTo>
                      <a:lnTo>
                        <a:pt x="128" y="185"/>
                      </a:lnTo>
                      <a:lnTo>
                        <a:pt x="129" y="186"/>
                      </a:lnTo>
                      <a:lnTo>
                        <a:pt x="131" y="188"/>
                      </a:lnTo>
                      <a:lnTo>
                        <a:pt x="131" y="189"/>
                      </a:lnTo>
                      <a:lnTo>
                        <a:pt x="131" y="192"/>
                      </a:lnTo>
                      <a:lnTo>
                        <a:pt x="131" y="193"/>
                      </a:lnTo>
                      <a:lnTo>
                        <a:pt x="130" y="193"/>
                      </a:lnTo>
                      <a:lnTo>
                        <a:pt x="130" y="194"/>
                      </a:lnTo>
                      <a:lnTo>
                        <a:pt x="128" y="195"/>
                      </a:lnTo>
                      <a:lnTo>
                        <a:pt x="120" y="199"/>
                      </a:lnTo>
                      <a:lnTo>
                        <a:pt x="109" y="203"/>
                      </a:lnTo>
                      <a:lnTo>
                        <a:pt x="109" y="205"/>
                      </a:lnTo>
                      <a:lnTo>
                        <a:pt x="108" y="208"/>
                      </a:lnTo>
                      <a:lnTo>
                        <a:pt x="107" y="209"/>
                      </a:lnTo>
                      <a:lnTo>
                        <a:pt x="106" y="209"/>
                      </a:lnTo>
                      <a:lnTo>
                        <a:pt x="105" y="210"/>
                      </a:lnTo>
                      <a:lnTo>
                        <a:pt x="103" y="210"/>
                      </a:lnTo>
                      <a:lnTo>
                        <a:pt x="102" y="210"/>
                      </a:lnTo>
                      <a:lnTo>
                        <a:pt x="101" y="210"/>
                      </a:lnTo>
                      <a:lnTo>
                        <a:pt x="101" y="214"/>
                      </a:lnTo>
                      <a:lnTo>
                        <a:pt x="100" y="215"/>
                      </a:lnTo>
                      <a:lnTo>
                        <a:pt x="99" y="216"/>
                      </a:lnTo>
                      <a:lnTo>
                        <a:pt x="99" y="217"/>
                      </a:lnTo>
                      <a:lnTo>
                        <a:pt x="98" y="219"/>
                      </a:lnTo>
                      <a:lnTo>
                        <a:pt x="98" y="220"/>
                      </a:lnTo>
                      <a:lnTo>
                        <a:pt x="95" y="220"/>
                      </a:lnTo>
                      <a:lnTo>
                        <a:pt x="92" y="220"/>
                      </a:lnTo>
                      <a:lnTo>
                        <a:pt x="91" y="221"/>
                      </a:lnTo>
                      <a:lnTo>
                        <a:pt x="88" y="226"/>
                      </a:lnTo>
                      <a:lnTo>
                        <a:pt x="86" y="228"/>
                      </a:lnTo>
                      <a:lnTo>
                        <a:pt x="85" y="231"/>
                      </a:lnTo>
                      <a:lnTo>
                        <a:pt x="87" y="238"/>
                      </a:lnTo>
                      <a:lnTo>
                        <a:pt x="88" y="242"/>
                      </a:lnTo>
                      <a:lnTo>
                        <a:pt x="90" y="244"/>
                      </a:lnTo>
                      <a:lnTo>
                        <a:pt x="90" y="247"/>
                      </a:lnTo>
                      <a:lnTo>
                        <a:pt x="90" y="248"/>
                      </a:lnTo>
                      <a:lnTo>
                        <a:pt x="91" y="250"/>
                      </a:lnTo>
                      <a:lnTo>
                        <a:pt x="91" y="251"/>
                      </a:lnTo>
                      <a:lnTo>
                        <a:pt x="91" y="252"/>
                      </a:lnTo>
                      <a:lnTo>
                        <a:pt x="88" y="257"/>
                      </a:lnTo>
                      <a:lnTo>
                        <a:pt x="85" y="261"/>
                      </a:lnTo>
                      <a:lnTo>
                        <a:pt x="81" y="265"/>
                      </a:lnTo>
                      <a:lnTo>
                        <a:pt x="78" y="271"/>
                      </a:lnTo>
                      <a:lnTo>
                        <a:pt x="77" y="271"/>
                      </a:lnTo>
                      <a:lnTo>
                        <a:pt x="74" y="272"/>
                      </a:lnTo>
                      <a:lnTo>
                        <a:pt x="66" y="276"/>
                      </a:lnTo>
                      <a:lnTo>
                        <a:pt x="66" y="272"/>
                      </a:lnTo>
                      <a:lnTo>
                        <a:pt x="65" y="268"/>
                      </a:lnTo>
                      <a:lnTo>
                        <a:pt x="64" y="264"/>
                      </a:lnTo>
                      <a:lnTo>
                        <a:pt x="63" y="259"/>
                      </a:lnTo>
                      <a:lnTo>
                        <a:pt x="62" y="256"/>
                      </a:lnTo>
                      <a:lnTo>
                        <a:pt x="62" y="251"/>
                      </a:lnTo>
                      <a:lnTo>
                        <a:pt x="60" y="247"/>
                      </a:lnTo>
                      <a:lnTo>
                        <a:pt x="59" y="243"/>
                      </a:lnTo>
                      <a:lnTo>
                        <a:pt x="58" y="238"/>
                      </a:lnTo>
                      <a:lnTo>
                        <a:pt x="57" y="235"/>
                      </a:lnTo>
                      <a:lnTo>
                        <a:pt x="56" y="230"/>
                      </a:lnTo>
                      <a:lnTo>
                        <a:pt x="56" y="227"/>
                      </a:lnTo>
                      <a:lnTo>
                        <a:pt x="55" y="222"/>
                      </a:lnTo>
                      <a:lnTo>
                        <a:pt x="53" y="219"/>
                      </a:lnTo>
                      <a:lnTo>
                        <a:pt x="52" y="214"/>
                      </a:lnTo>
                      <a:lnTo>
                        <a:pt x="51" y="210"/>
                      </a:lnTo>
                      <a:lnTo>
                        <a:pt x="51" y="209"/>
                      </a:lnTo>
                      <a:lnTo>
                        <a:pt x="51" y="207"/>
                      </a:lnTo>
                      <a:lnTo>
                        <a:pt x="51" y="206"/>
                      </a:lnTo>
                      <a:lnTo>
                        <a:pt x="50" y="206"/>
                      </a:lnTo>
                      <a:lnTo>
                        <a:pt x="44" y="202"/>
                      </a:lnTo>
                      <a:lnTo>
                        <a:pt x="38" y="196"/>
                      </a:lnTo>
                      <a:lnTo>
                        <a:pt x="32" y="193"/>
                      </a:lnTo>
                      <a:lnTo>
                        <a:pt x="29" y="191"/>
                      </a:lnTo>
                      <a:lnTo>
                        <a:pt x="28" y="189"/>
                      </a:lnTo>
                      <a:lnTo>
                        <a:pt x="28" y="188"/>
                      </a:lnTo>
                      <a:lnTo>
                        <a:pt x="27" y="185"/>
                      </a:lnTo>
                      <a:lnTo>
                        <a:pt x="27" y="179"/>
                      </a:lnTo>
                      <a:lnTo>
                        <a:pt x="27" y="178"/>
                      </a:lnTo>
                      <a:lnTo>
                        <a:pt x="23" y="173"/>
                      </a:lnTo>
                      <a:lnTo>
                        <a:pt x="20" y="168"/>
                      </a:lnTo>
                      <a:lnTo>
                        <a:pt x="19" y="167"/>
                      </a:lnTo>
                      <a:lnTo>
                        <a:pt x="19" y="168"/>
                      </a:lnTo>
                      <a:lnTo>
                        <a:pt x="17" y="167"/>
                      </a:lnTo>
                      <a:lnTo>
                        <a:pt x="16" y="167"/>
                      </a:lnTo>
                      <a:lnTo>
                        <a:pt x="13" y="165"/>
                      </a:lnTo>
                      <a:lnTo>
                        <a:pt x="12" y="165"/>
                      </a:lnTo>
                      <a:lnTo>
                        <a:pt x="10" y="164"/>
                      </a:lnTo>
                      <a:lnTo>
                        <a:pt x="9" y="164"/>
                      </a:lnTo>
                      <a:lnTo>
                        <a:pt x="8" y="163"/>
                      </a:lnTo>
                      <a:lnTo>
                        <a:pt x="8" y="161"/>
                      </a:lnTo>
                      <a:lnTo>
                        <a:pt x="8" y="156"/>
                      </a:lnTo>
                      <a:lnTo>
                        <a:pt x="7" y="154"/>
                      </a:lnTo>
                      <a:lnTo>
                        <a:pt x="5" y="150"/>
                      </a:lnTo>
                      <a:lnTo>
                        <a:pt x="2" y="146"/>
                      </a:lnTo>
                      <a:lnTo>
                        <a:pt x="2" y="145"/>
                      </a:lnTo>
                      <a:lnTo>
                        <a:pt x="2" y="144"/>
                      </a:lnTo>
                      <a:lnTo>
                        <a:pt x="1" y="142"/>
                      </a:lnTo>
                      <a:lnTo>
                        <a:pt x="0" y="139"/>
                      </a:lnTo>
                      <a:lnTo>
                        <a:pt x="0" y="137"/>
                      </a:lnTo>
                      <a:lnTo>
                        <a:pt x="1" y="133"/>
                      </a:lnTo>
                      <a:lnTo>
                        <a:pt x="1" y="131"/>
                      </a:lnTo>
                      <a:lnTo>
                        <a:pt x="1" y="130"/>
                      </a:lnTo>
                      <a:lnTo>
                        <a:pt x="2" y="129"/>
                      </a:lnTo>
                      <a:lnTo>
                        <a:pt x="3" y="128"/>
                      </a:lnTo>
                      <a:lnTo>
                        <a:pt x="3" y="126"/>
                      </a:lnTo>
                      <a:lnTo>
                        <a:pt x="5" y="125"/>
                      </a:lnTo>
                      <a:lnTo>
                        <a:pt x="6" y="125"/>
                      </a:lnTo>
                      <a:lnTo>
                        <a:pt x="8" y="124"/>
                      </a:lnTo>
                      <a:lnTo>
                        <a:pt x="9" y="124"/>
                      </a:lnTo>
                      <a:lnTo>
                        <a:pt x="9" y="123"/>
                      </a:lnTo>
                      <a:lnTo>
                        <a:pt x="10" y="118"/>
                      </a:lnTo>
                      <a:lnTo>
                        <a:pt x="12" y="117"/>
                      </a:lnTo>
                      <a:lnTo>
                        <a:pt x="13" y="116"/>
                      </a:lnTo>
                      <a:lnTo>
                        <a:pt x="15" y="115"/>
                      </a:lnTo>
                      <a:lnTo>
                        <a:pt x="16" y="114"/>
                      </a:lnTo>
                      <a:lnTo>
                        <a:pt x="20" y="112"/>
                      </a:lnTo>
                      <a:lnTo>
                        <a:pt x="21" y="111"/>
                      </a:lnTo>
                      <a:lnTo>
                        <a:pt x="22" y="111"/>
                      </a:lnTo>
                      <a:lnTo>
                        <a:pt x="22" y="110"/>
                      </a:lnTo>
                      <a:lnTo>
                        <a:pt x="22" y="109"/>
                      </a:lnTo>
                      <a:lnTo>
                        <a:pt x="23" y="109"/>
                      </a:lnTo>
                      <a:lnTo>
                        <a:pt x="24" y="109"/>
                      </a:lnTo>
                      <a:lnTo>
                        <a:pt x="24" y="108"/>
                      </a:lnTo>
                      <a:lnTo>
                        <a:pt x="23" y="107"/>
                      </a:lnTo>
                      <a:lnTo>
                        <a:pt x="23" y="105"/>
                      </a:lnTo>
                      <a:lnTo>
                        <a:pt x="24" y="104"/>
                      </a:lnTo>
                      <a:lnTo>
                        <a:pt x="26" y="104"/>
                      </a:lnTo>
                      <a:lnTo>
                        <a:pt x="26" y="103"/>
                      </a:lnTo>
                      <a:lnTo>
                        <a:pt x="24" y="100"/>
                      </a:lnTo>
                      <a:lnTo>
                        <a:pt x="24" y="98"/>
                      </a:lnTo>
                      <a:lnTo>
                        <a:pt x="24" y="96"/>
                      </a:lnTo>
                      <a:lnTo>
                        <a:pt x="26" y="95"/>
                      </a:lnTo>
                      <a:lnTo>
                        <a:pt x="26" y="91"/>
                      </a:lnTo>
                      <a:lnTo>
                        <a:pt x="27" y="90"/>
                      </a:lnTo>
                      <a:lnTo>
                        <a:pt x="28" y="88"/>
                      </a:lnTo>
                      <a:lnTo>
                        <a:pt x="30" y="86"/>
                      </a:lnTo>
                      <a:lnTo>
                        <a:pt x="30" y="84"/>
                      </a:lnTo>
                      <a:lnTo>
                        <a:pt x="29" y="83"/>
                      </a:lnTo>
                      <a:lnTo>
                        <a:pt x="28" y="83"/>
                      </a:lnTo>
                      <a:lnTo>
                        <a:pt x="27" y="83"/>
                      </a:lnTo>
                      <a:lnTo>
                        <a:pt x="26" y="81"/>
                      </a:lnTo>
                      <a:lnTo>
                        <a:pt x="26" y="80"/>
                      </a:lnTo>
                      <a:lnTo>
                        <a:pt x="26" y="79"/>
                      </a:lnTo>
                      <a:lnTo>
                        <a:pt x="26" y="77"/>
                      </a:lnTo>
                      <a:lnTo>
                        <a:pt x="27" y="74"/>
                      </a:lnTo>
                      <a:lnTo>
                        <a:pt x="27" y="73"/>
                      </a:lnTo>
                      <a:lnTo>
                        <a:pt x="27" y="69"/>
                      </a:lnTo>
                      <a:lnTo>
                        <a:pt x="27" y="68"/>
                      </a:lnTo>
                      <a:lnTo>
                        <a:pt x="26" y="67"/>
                      </a:lnTo>
                      <a:lnTo>
                        <a:pt x="24" y="65"/>
                      </a:lnTo>
                      <a:lnTo>
                        <a:pt x="24" y="63"/>
                      </a:lnTo>
                      <a:lnTo>
                        <a:pt x="24" y="61"/>
                      </a:lnTo>
                      <a:lnTo>
                        <a:pt x="24" y="59"/>
                      </a:lnTo>
                      <a:lnTo>
                        <a:pt x="24" y="56"/>
                      </a:lnTo>
                      <a:lnTo>
                        <a:pt x="24" y="55"/>
                      </a:lnTo>
                      <a:lnTo>
                        <a:pt x="26" y="53"/>
                      </a:lnTo>
                      <a:lnTo>
                        <a:pt x="26" y="51"/>
                      </a:lnTo>
                      <a:lnTo>
                        <a:pt x="26" y="49"/>
                      </a:lnTo>
                      <a:lnTo>
                        <a:pt x="27" y="49"/>
                      </a:lnTo>
                      <a:lnTo>
                        <a:pt x="27" y="48"/>
                      </a:lnTo>
                      <a:lnTo>
                        <a:pt x="26" y="47"/>
                      </a:lnTo>
                      <a:lnTo>
                        <a:pt x="26" y="45"/>
                      </a:lnTo>
                      <a:lnTo>
                        <a:pt x="28" y="40"/>
                      </a:lnTo>
                      <a:lnTo>
                        <a:pt x="28" y="38"/>
                      </a:lnTo>
                      <a:lnTo>
                        <a:pt x="27" y="37"/>
                      </a:lnTo>
                      <a:lnTo>
                        <a:pt x="26" y="35"/>
                      </a:lnTo>
                      <a:lnTo>
                        <a:pt x="23" y="35"/>
                      </a:lnTo>
                      <a:lnTo>
                        <a:pt x="21" y="35"/>
                      </a:lnTo>
                      <a:lnTo>
                        <a:pt x="21" y="34"/>
                      </a:lnTo>
                      <a:lnTo>
                        <a:pt x="22" y="33"/>
                      </a:lnTo>
                      <a:lnTo>
                        <a:pt x="23" y="32"/>
                      </a:lnTo>
                      <a:lnTo>
                        <a:pt x="26" y="32"/>
                      </a:lnTo>
                      <a:lnTo>
                        <a:pt x="29" y="28"/>
                      </a:lnTo>
                      <a:lnTo>
                        <a:pt x="30" y="28"/>
                      </a:lnTo>
                      <a:lnTo>
                        <a:pt x="30" y="27"/>
                      </a:lnTo>
                      <a:lnTo>
                        <a:pt x="31" y="25"/>
                      </a:lnTo>
                      <a:lnTo>
                        <a:pt x="30" y="25"/>
                      </a:lnTo>
                      <a:lnTo>
                        <a:pt x="29" y="24"/>
                      </a:lnTo>
                      <a:lnTo>
                        <a:pt x="30" y="23"/>
                      </a:lnTo>
                      <a:lnTo>
                        <a:pt x="31" y="23"/>
                      </a:lnTo>
                      <a:lnTo>
                        <a:pt x="32" y="23"/>
                      </a:lnTo>
                      <a:lnTo>
                        <a:pt x="34" y="23"/>
                      </a:lnTo>
                      <a:lnTo>
                        <a:pt x="36" y="21"/>
                      </a:lnTo>
                      <a:lnTo>
                        <a:pt x="36" y="20"/>
                      </a:lnTo>
                      <a:lnTo>
                        <a:pt x="36" y="19"/>
                      </a:lnTo>
                      <a:lnTo>
                        <a:pt x="35" y="19"/>
                      </a:lnTo>
                      <a:lnTo>
                        <a:pt x="35" y="18"/>
                      </a:lnTo>
                      <a:lnTo>
                        <a:pt x="35" y="17"/>
                      </a:lnTo>
                      <a:lnTo>
                        <a:pt x="36" y="17"/>
                      </a:lnTo>
                      <a:lnTo>
                        <a:pt x="38" y="16"/>
                      </a:lnTo>
                      <a:lnTo>
                        <a:pt x="39" y="16"/>
                      </a:lnTo>
                      <a:lnTo>
                        <a:pt x="42" y="16"/>
                      </a:lnTo>
                      <a:lnTo>
                        <a:pt x="44" y="14"/>
                      </a:lnTo>
                      <a:lnTo>
                        <a:pt x="44" y="13"/>
                      </a:lnTo>
                      <a:lnTo>
                        <a:pt x="45" y="13"/>
                      </a:lnTo>
                      <a:lnTo>
                        <a:pt x="46" y="12"/>
                      </a:lnTo>
                      <a:lnTo>
                        <a:pt x="48" y="10"/>
                      </a:lnTo>
                      <a:lnTo>
                        <a:pt x="49" y="10"/>
                      </a:lnTo>
                      <a:lnTo>
                        <a:pt x="49" y="9"/>
                      </a:lnTo>
                      <a:lnTo>
                        <a:pt x="50" y="9"/>
                      </a:lnTo>
                      <a:lnTo>
                        <a:pt x="51" y="7"/>
                      </a:lnTo>
                      <a:lnTo>
                        <a:pt x="53" y="6"/>
                      </a:lnTo>
                      <a:lnTo>
                        <a:pt x="55" y="5"/>
                      </a:lnTo>
                      <a:lnTo>
                        <a:pt x="59" y="5"/>
                      </a:lnTo>
                      <a:lnTo>
                        <a:pt x="60" y="4"/>
                      </a:lnTo>
                      <a:lnTo>
                        <a:pt x="62" y="4"/>
                      </a:lnTo>
                      <a:lnTo>
                        <a:pt x="62" y="3"/>
                      </a:lnTo>
                      <a:lnTo>
                        <a:pt x="62" y="4"/>
                      </a:lnTo>
                      <a:lnTo>
                        <a:pt x="63" y="4"/>
                      </a:lnTo>
                      <a:lnTo>
                        <a:pt x="63" y="3"/>
                      </a:lnTo>
                      <a:lnTo>
                        <a:pt x="64" y="3"/>
                      </a:lnTo>
                      <a:lnTo>
                        <a:pt x="65" y="3"/>
                      </a:lnTo>
                      <a:lnTo>
                        <a:pt x="66" y="2"/>
                      </a:lnTo>
                      <a:lnTo>
                        <a:pt x="66" y="3"/>
                      </a:lnTo>
                      <a:lnTo>
                        <a:pt x="67" y="2"/>
                      </a:lnTo>
                      <a:lnTo>
                        <a:pt x="69" y="2"/>
                      </a:lnTo>
                      <a:lnTo>
                        <a:pt x="69" y="0"/>
                      </a:lnTo>
                      <a:lnTo>
                        <a:pt x="70" y="0"/>
                      </a:lnTo>
                      <a:lnTo>
                        <a:pt x="71" y="0"/>
                      </a:lnTo>
                      <a:lnTo>
                        <a:pt x="72" y="0"/>
                      </a:lnTo>
                      <a:lnTo>
                        <a:pt x="73" y="0"/>
                      </a:lnTo>
                      <a:lnTo>
                        <a:pt x="76" y="0"/>
                      </a:lnTo>
                      <a:lnTo>
                        <a:pt x="76" y="2"/>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solidFill>
                      <a:srgbClr val="575757"/>
                    </a:solidFill>
                    <a:latin typeface="+mj-lt"/>
                  </a:endParaRPr>
                </a:p>
              </p:txBody>
            </p:sp>
          </p:grpSp>
        </p:grpSp>
        <p:sp>
          <p:nvSpPr>
            <p:cNvPr id="87" name="Rectangle 86">
              <a:extLst>
                <a:ext uri="{FF2B5EF4-FFF2-40B4-BE49-F238E27FC236}">
                  <a16:creationId xmlns:a16="http://schemas.microsoft.com/office/drawing/2014/main" id="{95411093-07E9-F8DC-5280-1B86275C3DAB}"/>
                </a:ext>
              </a:extLst>
            </p:cNvPr>
            <p:cNvSpPr/>
            <p:nvPr/>
          </p:nvSpPr>
          <p:spPr>
            <a:xfrm>
              <a:off x="5990736" y="4931632"/>
              <a:ext cx="1111703" cy="4603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err="1">
                  <a:ln>
                    <a:noFill/>
                  </a:ln>
                  <a:solidFill>
                    <a:schemeClr val="tx1"/>
                  </a:solidFill>
                  <a:effectLst/>
                  <a:uLnTx/>
                  <a:uFillTx/>
                  <a:latin typeface="Raleway" pitchFamily="2" charset="0"/>
                </a:rPr>
                <a:t>Biovac</a:t>
              </a:r>
              <a:endParaRPr kumimoji="0" lang="en-US" sz="1100" b="1" u="none" strike="noStrike" kern="1200" cap="none" spc="0" normalizeH="0" baseline="0" noProof="0">
                <a:ln>
                  <a:noFill/>
                </a:ln>
                <a:solidFill>
                  <a:schemeClr val="tx1"/>
                </a:solidFill>
                <a:effectLst/>
                <a:uLnTx/>
                <a:uFillTx/>
                <a:latin typeface="Ralew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chemeClr val="accent2"/>
                  </a:solidFill>
                  <a:effectLst/>
                  <a:uLnTx/>
                  <a:uFillTx/>
                  <a:latin typeface="Raleway" pitchFamily="2" charset="0"/>
                </a:rPr>
                <a:t>South African Hu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chemeClr val="accent2"/>
                  </a:solidFill>
                  <a:effectLst/>
                  <a:uLnTx/>
                  <a:uFillTx/>
                  <a:latin typeface="Raleway" pitchFamily="2" charset="0"/>
                </a:rPr>
                <a:t>(Afrigen, </a:t>
              </a:r>
              <a:r>
                <a:rPr kumimoji="0" lang="en-US" sz="1100" b="1" i="1" u="none" strike="noStrike" kern="1200" cap="none" spc="0" normalizeH="0" baseline="0" noProof="0" err="1">
                  <a:ln>
                    <a:noFill/>
                  </a:ln>
                  <a:solidFill>
                    <a:schemeClr val="accent2"/>
                  </a:solidFill>
                  <a:effectLst/>
                  <a:uLnTx/>
                  <a:uFillTx/>
                  <a:latin typeface="Raleway" pitchFamily="2" charset="0"/>
                </a:rPr>
                <a:t>Biovac</a:t>
              </a:r>
              <a:r>
                <a:rPr kumimoji="0" lang="en-US" sz="1100" b="1" i="1" u="none" strike="noStrike" kern="1200" cap="none" spc="0" normalizeH="0" baseline="0" noProof="0">
                  <a:ln>
                    <a:noFill/>
                  </a:ln>
                  <a:solidFill>
                    <a:schemeClr val="accent2"/>
                  </a:solidFill>
                  <a:effectLst/>
                  <a:uLnTx/>
                  <a:uFillTx/>
                  <a:latin typeface="Raleway" pitchFamily="2" charset="0"/>
                </a:rPr>
                <a:t> and SAMRC)</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Raleway" pitchFamily="2" charset="0"/>
                </a:rPr>
                <a:t>South Africa</a:t>
              </a:r>
              <a:endParaRPr kumimoji="0" lang="en-US" sz="1050" b="1" u="none" strike="noStrike" kern="1200" cap="none" spc="0" normalizeH="0" baseline="0" noProof="0">
                <a:ln>
                  <a:noFill/>
                </a:ln>
                <a:solidFill>
                  <a:schemeClr val="tx1"/>
                </a:solidFill>
                <a:effectLst/>
                <a:uLnTx/>
                <a:uFillTx/>
                <a:latin typeface="Raleway" pitchFamily="2" charset="0"/>
              </a:endParaRPr>
            </a:p>
          </p:txBody>
        </p:sp>
      </p:grpSp>
      <p:sp>
        <p:nvSpPr>
          <p:cNvPr id="70" name="Rectangle 69">
            <a:extLst>
              <a:ext uri="{FF2B5EF4-FFF2-40B4-BE49-F238E27FC236}">
                <a16:creationId xmlns:a16="http://schemas.microsoft.com/office/drawing/2014/main" id="{71A4DD97-4541-4F63-BCAF-7F1588941B14}"/>
              </a:ext>
            </a:extLst>
          </p:cNvPr>
          <p:cNvSpPr/>
          <p:nvPr/>
        </p:nvSpPr>
        <p:spPr>
          <a:xfrm>
            <a:off x="927099" y="1046991"/>
            <a:ext cx="1846085" cy="43088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1">
                <a:solidFill>
                  <a:schemeClr val="accent2"/>
                </a:solidFill>
                <a:latin typeface="Raleway" pitchFamily="2" charset="0"/>
              </a:rPr>
              <a:t>Institute Pasteur Tunis </a:t>
            </a:r>
            <a:r>
              <a:rPr lang="en-US" sz="1100" b="1">
                <a:solidFill>
                  <a:schemeClr val="tx1"/>
                </a:solidFill>
                <a:latin typeface="Raleway" pitchFamily="2" charset="0"/>
              </a:rPr>
              <a:t>Tunisia</a:t>
            </a:r>
            <a:endParaRPr kumimoji="0" lang="en-US" sz="1100" b="1" u="none" strike="noStrike" kern="1200" cap="none" spc="0" normalizeH="0" baseline="0" noProof="0">
              <a:ln>
                <a:noFill/>
              </a:ln>
              <a:solidFill>
                <a:schemeClr val="tx1"/>
              </a:solidFill>
              <a:effectLst/>
              <a:uLnTx/>
              <a:uFillTx/>
              <a:latin typeface="Raleway" pitchFamily="2" charset="0"/>
            </a:endParaRPr>
          </a:p>
        </p:txBody>
      </p:sp>
      <p:sp>
        <p:nvSpPr>
          <p:cNvPr id="75" name="Rectangle 74">
            <a:extLst>
              <a:ext uri="{FF2B5EF4-FFF2-40B4-BE49-F238E27FC236}">
                <a16:creationId xmlns:a16="http://schemas.microsoft.com/office/drawing/2014/main" id="{81DD4AC1-BEEC-4933-B3BB-30D6F1A3C4D8}"/>
              </a:ext>
            </a:extLst>
          </p:cNvPr>
          <p:cNvSpPr/>
          <p:nvPr/>
        </p:nvSpPr>
        <p:spPr>
          <a:xfrm>
            <a:off x="2510623" y="1424427"/>
            <a:ext cx="1928382" cy="43088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err="1">
                <a:ln>
                  <a:noFill/>
                </a:ln>
                <a:solidFill>
                  <a:schemeClr val="accent2"/>
                </a:solidFill>
                <a:effectLst/>
                <a:uLnTx/>
                <a:uFillTx/>
                <a:latin typeface="Raleway" pitchFamily="2" charset="0"/>
              </a:rPr>
              <a:t>BioGeneric</a:t>
            </a:r>
            <a:r>
              <a:rPr kumimoji="0" lang="en-US" sz="1100" b="1" i="1" u="none" strike="noStrike" kern="1200" cap="none" spc="0" normalizeH="0" baseline="0" noProof="0">
                <a:ln>
                  <a:noFill/>
                </a:ln>
                <a:solidFill>
                  <a:schemeClr val="accent2"/>
                </a:solidFill>
                <a:effectLst/>
                <a:uLnTx/>
                <a:uFillTx/>
                <a:latin typeface="Raleway" pitchFamily="2" charset="0"/>
              </a:rPr>
              <a:t> Pharm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chemeClr val="accent2"/>
                </a:solidFill>
                <a:effectLst/>
                <a:uLnTx/>
                <a:uFillTx/>
                <a:latin typeface="Raleway" pitchFamily="2" charset="0"/>
              </a:rPr>
              <a:t> </a:t>
            </a:r>
            <a:r>
              <a:rPr kumimoji="0" lang="en-US" sz="1100" b="1" u="none" strike="noStrike" kern="1200" cap="none" spc="0" normalizeH="0" baseline="0" noProof="0">
                <a:ln>
                  <a:noFill/>
                </a:ln>
                <a:solidFill>
                  <a:schemeClr val="tx1"/>
                </a:solidFill>
                <a:effectLst/>
                <a:uLnTx/>
                <a:uFillTx/>
                <a:latin typeface="Raleway" pitchFamily="2" charset="0"/>
              </a:rPr>
              <a:t>Egypt</a:t>
            </a:r>
          </a:p>
        </p:txBody>
      </p:sp>
      <p:sp>
        <p:nvSpPr>
          <p:cNvPr id="78" name="Rectangle 77">
            <a:extLst>
              <a:ext uri="{FF2B5EF4-FFF2-40B4-BE49-F238E27FC236}">
                <a16:creationId xmlns:a16="http://schemas.microsoft.com/office/drawing/2014/main" id="{55BEA601-F601-4B11-9B6F-1E736C6D82D6}"/>
              </a:ext>
            </a:extLst>
          </p:cNvPr>
          <p:cNvSpPr/>
          <p:nvPr/>
        </p:nvSpPr>
        <p:spPr>
          <a:xfrm>
            <a:off x="3793183" y="3691542"/>
            <a:ext cx="735546" cy="60016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0">
                <a:solidFill>
                  <a:schemeClr val="tx1"/>
                </a:solidFill>
                <a:effectLst/>
                <a:latin typeface="Raleway" pitchFamily="2" charset="0"/>
              </a:rPr>
              <a:t>TB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1" err="1">
                <a:solidFill>
                  <a:schemeClr val="accent2"/>
                </a:solidFill>
                <a:effectLst/>
                <a:latin typeface="Raleway" pitchFamily="2" charset="0"/>
              </a:rPr>
              <a:t>Biovax</a:t>
            </a:r>
            <a:endParaRPr lang="en-US" sz="1100" b="1" i="1">
              <a:solidFill>
                <a:schemeClr val="accent2"/>
              </a:solidFill>
              <a:effectLst/>
              <a:latin typeface="Ralew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Raleway" pitchFamily="2" charset="0"/>
              </a:rPr>
              <a:t>K</a:t>
            </a:r>
            <a:r>
              <a:rPr lang="en-US" sz="1100" b="1" i="0">
                <a:solidFill>
                  <a:schemeClr val="tx1"/>
                </a:solidFill>
                <a:effectLst/>
                <a:latin typeface="Raleway" pitchFamily="2" charset="0"/>
              </a:rPr>
              <a:t>enya</a:t>
            </a:r>
            <a:endParaRPr lang="en-US" sz="1100" b="1" i="1">
              <a:solidFill>
                <a:schemeClr val="tx1"/>
              </a:solidFill>
              <a:latin typeface="Raleway" pitchFamily="2" charset="0"/>
            </a:endParaRPr>
          </a:p>
        </p:txBody>
      </p:sp>
      <p:sp>
        <p:nvSpPr>
          <p:cNvPr id="148" name="Rectangle 147">
            <a:extLst>
              <a:ext uri="{FF2B5EF4-FFF2-40B4-BE49-F238E27FC236}">
                <a16:creationId xmlns:a16="http://schemas.microsoft.com/office/drawing/2014/main" id="{AB98686B-A169-4CA0-889B-B058C6AE97E9}"/>
              </a:ext>
            </a:extLst>
          </p:cNvPr>
          <p:cNvSpPr/>
          <p:nvPr/>
        </p:nvSpPr>
        <p:spPr>
          <a:xfrm>
            <a:off x="195194" y="1623446"/>
            <a:ext cx="1399269" cy="93871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chemeClr val="tx1"/>
                </a:solidFill>
                <a:uLnTx/>
                <a:uFillTx/>
                <a:latin typeface="Raleway" pitchFamily="2" charset="0"/>
              </a:rPr>
              <a:t>Institute Pasteur Dakar (BioNTe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chemeClr val="accent2"/>
                </a:solidFill>
                <a:uLnTx/>
                <a:uFillTx/>
                <a:latin typeface="Raleway" pitchFamily="2" charset="0"/>
              </a:rPr>
              <a:t>Institute Pasteur Daka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chemeClr val="tx1"/>
                </a:solidFill>
                <a:uLnTx/>
                <a:uFillTx/>
                <a:latin typeface="Raleway" pitchFamily="2" charset="0"/>
              </a:rPr>
              <a:t>Senegal</a:t>
            </a:r>
            <a:endParaRPr kumimoji="0" lang="en-US" sz="1100" b="1" i="1" u="none" strike="noStrike" kern="1200" cap="none" spc="0" normalizeH="0" baseline="0" noProof="0">
              <a:ln>
                <a:noFill/>
              </a:ln>
              <a:solidFill>
                <a:schemeClr val="tx1"/>
              </a:solidFill>
              <a:effectLst/>
              <a:uLnTx/>
              <a:uFillTx/>
              <a:latin typeface="Raleway" pitchFamily="2" charset="0"/>
            </a:endParaRPr>
          </a:p>
        </p:txBody>
      </p:sp>
      <p:sp>
        <p:nvSpPr>
          <p:cNvPr id="152" name="Rectangle 151">
            <a:extLst>
              <a:ext uri="{FF2B5EF4-FFF2-40B4-BE49-F238E27FC236}">
                <a16:creationId xmlns:a16="http://schemas.microsoft.com/office/drawing/2014/main" id="{DC9BA1A5-B691-41EE-B0F7-A117EFD3DF11}"/>
              </a:ext>
            </a:extLst>
          </p:cNvPr>
          <p:cNvSpPr/>
          <p:nvPr/>
        </p:nvSpPr>
        <p:spPr>
          <a:xfrm>
            <a:off x="1097943" y="3486428"/>
            <a:ext cx="1067110" cy="60016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1" err="1">
                <a:solidFill>
                  <a:schemeClr val="accent2"/>
                </a:solidFill>
                <a:effectLst/>
                <a:latin typeface="Raleway" pitchFamily="2" charset="0"/>
              </a:rPr>
              <a:t>Biovaccines</a:t>
            </a:r>
            <a:r>
              <a:rPr lang="en-US" sz="1100" b="1" err="1">
                <a:solidFill>
                  <a:schemeClr val="tx1"/>
                </a:solidFill>
                <a:effectLst/>
                <a:latin typeface="Raleway" pitchFamily="2" charset="0"/>
              </a:rPr>
              <a:t>Nigeria</a:t>
            </a:r>
            <a:endParaRPr lang="en-US" sz="1100" b="1">
              <a:solidFill>
                <a:schemeClr val="tx1"/>
              </a:solidFill>
              <a:latin typeface="Ralew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1" u="none" strike="noStrike" kern="1200" cap="none" spc="0" normalizeH="0" baseline="0" noProof="0">
              <a:ln>
                <a:noFill/>
              </a:ln>
              <a:solidFill>
                <a:schemeClr val="tx1"/>
              </a:solidFill>
              <a:effectLst/>
              <a:uLnTx/>
              <a:uFillTx/>
              <a:latin typeface="Raleway" pitchFamily="2" charset="0"/>
            </a:endParaRPr>
          </a:p>
        </p:txBody>
      </p:sp>
      <p:sp>
        <p:nvSpPr>
          <p:cNvPr id="162" name="ZoneTexte 161">
            <a:extLst>
              <a:ext uri="{FF2B5EF4-FFF2-40B4-BE49-F238E27FC236}">
                <a16:creationId xmlns:a16="http://schemas.microsoft.com/office/drawing/2014/main" id="{E3522DF1-F809-46D4-A6D7-5E590F2BB744}"/>
              </a:ext>
            </a:extLst>
          </p:cNvPr>
          <p:cNvSpPr txBox="1"/>
          <p:nvPr/>
        </p:nvSpPr>
        <p:spPr>
          <a:xfrm>
            <a:off x="8015766" y="6129159"/>
            <a:ext cx="1373378"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End-to-End</a:t>
            </a:r>
          </a:p>
        </p:txBody>
      </p:sp>
      <p:sp>
        <p:nvSpPr>
          <p:cNvPr id="165" name="Triangle isocèle 164">
            <a:extLst>
              <a:ext uri="{FF2B5EF4-FFF2-40B4-BE49-F238E27FC236}">
                <a16:creationId xmlns:a16="http://schemas.microsoft.com/office/drawing/2014/main" id="{72E1E8C8-849A-49AB-93E9-3CF3F9BE1146}"/>
              </a:ext>
            </a:extLst>
          </p:cNvPr>
          <p:cNvSpPr/>
          <p:nvPr/>
        </p:nvSpPr>
        <p:spPr>
          <a:xfrm flipH="1">
            <a:off x="6698346" y="6067678"/>
            <a:ext cx="243448" cy="205479"/>
          </a:xfrm>
          <a:prstGeom prst="triangle">
            <a:avLst/>
          </a:prstGeom>
          <a:solidFill>
            <a:srgbClr val="00B050"/>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194" name="Titre 193">
            <a:extLst>
              <a:ext uri="{FF2B5EF4-FFF2-40B4-BE49-F238E27FC236}">
                <a16:creationId xmlns:a16="http://schemas.microsoft.com/office/drawing/2014/main" id="{A35AE360-4740-42AB-85EA-F72768085219}"/>
              </a:ext>
            </a:extLst>
          </p:cNvPr>
          <p:cNvSpPr>
            <a:spLocks noGrp="1"/>
          </p:cNvSpPr>
          <p:nvPr>
            <p:ph type="title"/>
          </p:nvPr>
        </p:nvSpPr>
        <p:spPr>
          <a:xfrm>
            <a:off x="933469" y="351795"/>
            <a:ext cx="10515600" cy="630298"/>
          </a:xfrm>
        </p:spPr>
        <p:txBody>
          <a:bodyPr vert="horz" lIns="91440" tIns="45720" rIns="91440" bIns="45720" rtlCol="0" anchor="t">
            <a:noAutofit/>
          </a:bodyPr>
          <a:lstStyle/>
          <a:p>
            <a:r>
              <a:rPr lang="en-US" sz="3600">
                <a:solidFill>
                  <a:srgbClr val="0070C0"/>
                </a:solidFill>
              </a:rPr>
              <a:t>Africa</a:t>
            </a:r>
          </a:p>
        </p:txBody>
      </p:sp>
      <p:sp>
        <p:nvSpPr>
          <p:cNvPr id="201" name="ZoneTexte 200">
            <a:extLst>
              <a:ext uri="{FF2B5EF4-FFF2-40B4-BE49-F238E27FC236}">
                <a16:creationId xmlns:a16="http://schemas.microsoft.com/office/drawing/2014/main" id="{C034D6B0-D275-45F8-AB05-E04A5B6EC0DE}"/>
              </a:ext>
            </a:extLst>
          </p:cNvPr>
          <p:cNvSpPr txBox="1"/>
          <p:nvPr/>
        </p:nvSpPr>
        <p:spPr>
          <a:xfrm>
            <a:off x="6978878" y="6153088"/>
            <a:ext cx="860204" cy="15703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Fill &amp; Finish</a:t>
            </a:r>
          </a:p>
        </p:txBody>
      </p:sp>
      <p:sp>
        <p:nvSpPr>
          <p:cNvPr id="204" name="Triangle isocèle 203">
            <a:extLst>
              <a:ext uri="{FF2B5EF4-FFF2-40B4-BE49-F238E27FC236}">
                <a16:creationId xmlns:a16="http://schemas.microsoft.com/office/drawing/2014/main" id="{D8ABEC08-BE9B-468D-8979-121B05D9B10C}"/>
              </a:ext>
            </a:extLst>
          </p:cNvPr>
          <p:cNvSpPr/>
          <p:nvPr/>
        </p:nvSpPr>
        <p:spPr>
          <a:xfrm flipH="1">
            <a:off x="249604" y="2822815"/>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Raleway" pitchFamily="2" charset="0"/>
            </a:endParaRPr>
          </a:p>
        </p:txBody>
      </p:sp>
      <p:sp>
        <p:nvSpPr>
          <p:cNvPr id="2" name="Rectangle 1">
            <a:extLst>
              <a:ext uri="{FF2B5EF4-FFF2-40B4-BE49-F238E27FC236}">
                <a16:creationId xmlns:a16="http://schemas.microsoft.com/office/drawing/2014/main" id="{AAF72A3F-F438-4E2E-ADDB-8AF9CA69E121}"/>
              </a:ext>
            </a:extLst>
          </p:cNvPr>
          <p:cNvSpPr/>
          <p:nvPr/>
        </p:nvSpPr>
        <p:spPr>
          <a:xfrm>
            <a:off x="4565400" y="6143343"/>
            <a:ext cx="299221" cy="131853"/>
          </a:xfrm>
          <a:prstGeom prst="rect">
            <a:avLst/>
          </a:prstGeom>
          <a:solidFill>
            <a:schemeClr val="accent2"/>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err="1">
              <a:solidFill>
                <a:schemeClr val="bg1"/>
              </a:solidFill>
              <a:latin typeface="Raleway" pitchFamily="2" charset="0"/>
            </a:endParaRPr>
          </a:p>
        </p:txBody>
      </p:sp>
      <p:sp>
        <p:nvSpPr>
          <p:cNvPr id="3" name="ZoneTexte 2">
            <a:extLst>
              <a:ext uri="{FF2B5EF4-FFF2-40B4-BE49-F238E27FC236}">
                <a16:creationId xmlns:a16="http://schemas.microsoft.com/office/drawing/2014/main" id="{FBA2E874-0570-4DD5-9392-33EC960D4A1F}"/>
              </a:ext>
            </a:extLst>
          </p:cNvPr>
          <p:cNvSpPr txBox="1"/>
          <p:nvPr/>
        </p:nvSpPr>
        <p:spPr>
          <a:xfrm>
            <a:off x="4948256" y="6129159"/>
            <a:ext cx="2110733" cy="18526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i="1">
                <a:solidFill>
                  <a:srgbClr val="E86A28"/>
                </a:solidFill>
                <a:latin typeface="Raleway" pitchFamily="2" charset="0"/>
              </a:rPr>
              <a:t>mRNA </a:t>
            </a:r>
            <a:r>
              <a:rPr lang="en-US" sz="1050" b="1" i="1" err="1">
                <a:solidFill>
                  <a:srgbClr val="E86A28"/>
                </a:solidFill>
                <a:latin typeface="Raleway" pitchFamily="2" charset="0"/>
              </a:rPr>
              <a:t>programme</a:t>
            </a:r>
            <a:r>
              <a:rPr lang="en-US" sz="1050" b="1" i="1">
                <a:solidFill>
                  <a:srgbClr val="E86A28"/>
                </a:solidFill>
                <a:latin typeface="Raleway" pitchFamily="2" charset="0"/>
              </a:rPr>
              <a:t> partner</a:t>
            </a:r>
          </a:p>
        </p:txBody>
      </p:sp>
      <p:sp>
        <p:nvSpPr>
          <p:cNvPr id="120" name="Rectangle 119">
            <a:extLst>
              <a:ext uri="{FF2B5EF4-FFF2-40B4-BE49-F238E27FC236}">
                <a16:creationId xmlns:a16="http://schemas.microsoft.com/office/drawing/2014/main" id="{286F4C4C-CD4D-4BC8-8F42-BA0BA25CFE37}"/>
              </a:ext>
            </a:extLst>
          </p:cNvPr>
          <p:cNvSpPr/>
          <p:nvPr/>
        </p:nvSpPr>
        <p:spPr>
          <a:xfrm>
            <a:off x="452322" y="3611761"/>
            <a:ext cx="915695" cy="76944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chemeClr val="tx1"/>
                </a:solidFill>
                <a:effectLst/>
                <a:uLnTx/>
                <a:uFillTx/>
                <a:latin typeface="Raleway" pitchFamily="2" charset="0"/>
              </a:rPr>
              <a:t>DEKS Vaccines Ltd</a:t>
            </a:r>
            <a:r>
              <a:rPr kumimoji="0" lang="en-US" sz="1100" b="1" u="none" strike="noStrike" kern="1200" cap="none" spc="0" normalizeH="0" baseline="0" noProof="0">
                <a:ln>
                  <a:noFill/>
                </a:ln>
                <a:solidFill>
                  <a:srgbClr val="E86A28"/>
                </a:solidFill>
                <a:effectLst/>
                <a:uLnTx/>
                <a:uFillTx/>
                <a:latin typeface="Raleway" pitchFamily="2"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082F3B"/>
                </a:solidFill>
                <a:effectLst/>
                <a:uLnTx/>
                <a:uFillTx/>
                <a:latin typeface="Raleway" pitchFamily="2" charset="0"/>
              </a:rPr>
              <a:t>Ghana</a:t>
            </a:r>
          </a:p>
        </p:txBody>
      </p:sp>
      <p:sp>
        <p:nvSpPr>
          <p:cNvPr id="124" name="Rectangle 123">
            <a:extLst>
              <a:ext uri="{FF2B5EF4-FFF2-40B4-BE49-F238E27FC236}">
                <a16:creationId xmlns:a16="http://schemas.microsoft.com/office/drawing/2014/main" id="{20A96C38-1250-42F2-ADA3-4FF20CBC3363}"/>
              </a:ext>
            </a:extLst>
          </p:cNvPr>
          <p:cNvSpPr/>
          <p:nvPr/>
        </p:nvSpPr>
        <p:spPr>
          <a:xfrm>
            <a:off x="2480898" y="3143393"/>
            <a:ext cx="1076001" cy="76944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Raleway" pitchFamily="2" charset="0"/>
              </a:rPr>
              <a:t>Rwanda Biomedical Centr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Raleway" pitchFamily="2" charset="0"/>
              </a:rPr>
              <a:t>Rwanda</a:t>
            </a:r>
            <a:endParaRPr kumimoji="0" lang="en-US" sz="1100" b="1" u="none" strike="noStrike" kern="1200" cap="none" spc="0" normalizeH="0" baseline="0" noProof="0">
              <a:ln>
                <a:noFill/>
              </a:ln>
              <a:solidFill>
                <a:schemeClr val="tx1"/>
              </a:solidFill>
              <a:effectLst/>
              <a:uLnTx/>
              <a:uFillTx/>
              <a:latin typeface="Raleway" pitchFamily="2" charset="0"/>
            </a:endParaRPr>
          </a:p>
        </p:txBody>
      </p:sp>
      <p:sp>
        <p:nvSpPr>
          <p:cNvPr id="93" name="Triangle isocèle 92">
            <a:extLst>
              <a:ext uri="{FF2B5EF4-FFF2-40B4-BE49-F238E27FC236}">
                <a16:creationId xmlns:a16="http://schemas.microsoft.com/office/drawing/2014/main" id="{4869CFBF-DA7D-1C1F-7573-129CB0E8A366}"/>
              </a:ext>
            </a:extLst>
          </p:cNvPr>
          <p:cNvSpPr/>
          <p:nvPr/>
        </p:nvSpPr>
        <p:spPr>
          <a:xfrm flipH="1">
            <a:off x="3729431" y="3694209"/>
            <a:ext cx="108000" cy="144000"/>
          </a:xfrm>
          <a:prstGeom prst="triangle">
            <a:avLst/>
          </a:prstGeom>
          <a:solidFill>
            <a:srgbClr val="00B050"/>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Raleway" pitchFamily="2" charset="0"/>
            </a:endParaRPr>
          </a:p>
        </p:txBody>
      </p:sp>
      <p:sp>
        <p:nvSpPr>
          <p:cNvPr id="125" name="Triangle isocèle 124">
            <a:extLst>
              <a:ext uri="{FF2B5EF4-FFF2-40B4-BE49-F238E27FC236}">
                <a16:creationId xmlns:a16="http://schemas.microsoft.com/office/drawing/2014/main" id="{43B483B2-91F7-3210-FEDA-9D37ACE63D5A}"/>
              </a:ext>
            </a:extLst>
          </p:cNvPr>
          <p:cNvSpPr/>
          <p:nvPr/>
        </p:nvSpPr>
        <p:spPr>
          <a:xfrm flipH="1">
            <a:off x="2534899" y="5620763"/>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Raleway" pitchFamily="2" charset="0"/>
            </a:endParaRPr>
          </a:p>
        </p:txBody>
      </p:sp>
      <p:graphicFrame>
        <p:nvGraphicFramePr>
          <p:cNvPr id="73" name="Tableau 72">
            <a:extLst>
              <a:ext uri="{FF2B5EF4-FFF2-40B4-BE49-F238E27FC236}">
                <a16:creationId xmlns:a16="http://schemas.microsoft.com/office/drawing/2014/main" id="{14D15905-0AAE-856A-B706-31AF1A7C2FDE}"/>
              </a:ext>
            </a:extLst>
          </p:cNvPr>
          <p:cNvGraphicFramePr>
            <a:graphicFrameLocks noGrp="1"/>
          </p:cNvGraphicFramePr>
          <p:nvPr>
            <p:extLst>
              <p:ext uri="{D42A27DB-BD31-4B8C-83A1-F6EECF244321}">
                <p14:modId xmlns:p14="http://schemas.microsoft.com/office/powerpoint/2010/main" val="990099165"/>
              </p:ext>
            </p:extLst>
          </p:nvPr>
        </p:nvGraphicFramePr>
        <p:xfrm>
          <a:off x="4545496" y="3419061"/>
          <a:ext cx="208280" cy="365760"/>
        </p:xfrm>
        <a:graphic>
          <a:graphicData uri="http://schemas.openxmlformats.org/drawingml/2006/table">
            <a:tbl>
              <a:tblPr/>
              <a:tblGrid>
                <a:gridCol w="208280">
                  <a:extLst>
                    <a:ext uri="{9D8B030D-6E8A-4147-A177-3AD203B41FA5}">
                      <a16:colId xmlns:a16="http://schemas.microsoft.com/office/drawing/2014/main" val="610337790"/>
                    </a:ext>
                  </a:extLst>
                </a:gridCol>
              </a:tblGrid>
              <a:tr h="0">
                <a:tc>
                  <a:txBody>
                    <a:bodyPr/>
                    <a:lstStyle/>
                    <a:p>
                      <a:endParaRPr lang="en-GB"/>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603619069"/>
                  </a:ext>
                </a:extLst>
              </a:tr>
            </a:tbl>
          </a:graphicData>
        </a:graphic>
      </p:graphicFrame>
      <p:sp>
        <p:nvSpPr>
          <p:cNvPr id="71" name="Triangle isocèle 203">
            <a:extLst>
              <a:ext uri="{FF2B5EF4-FFF2-40B4-BE49-F238E27FC236}">
                <a16:creationId xmlns:a16="http://schemas.microsoft.com/office/drawing/2014/main" id="{DC1ED4EE-6142-4DAB-0925-1ED35DF038C3}"/>
              </a:ext>
            </a:extLst>
          </p:cNvPr>
          <p:cNvSpPr/>
          <p:nvPr/>
        </p:nvSpPr>
        <p:spPr>
          <a:xfrm flipH="1">
            <a:off x="1145057" y="3204609"/>
            <a:ext cx="108000" cy="144000"/>
          </a:xfrm>
          <a:prstGeom prst="triangle">
            <a:avLst/>
          </a:prstGeom>
          <a:solidFill>
            <a:srgbClr val="00B050"/>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80" name="Triangle isocèle 203">
            <a:extLst>
              <a:ext uri="{FF2B5EF4-FFF2-40B4-BE49-F238E27FC236}">
                <a16:creationId xmlns:a16="http://schemas.microsoft.com/office/drawing/2014/main" id="{B42A249E-64F5-7C6D-D043-4762EDF58ADB}"/>
              </a:ext>
            </a:extLst>
          </p:cNvPr>
          <p:cNvSpPr/>
          <p:nvPr/>
        </p:nvSpPr>
        <p:spPr>
          <a:xfrm flipH="1">
            <a:off x="3302018" y="3563857"/>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Raleway" pitchFamily="2" charset="0"/>
            </a:endParaRPr>
          </a:p>
        </p:txBody>
      </p:sp>
      <p:graphicFrame>
        <p:nvGraphicFramePr>
          <p:cNvPr id="81" name="Table 5">
            <a:extLst>
              <a:ext uri="{FF2B5EF4-FFF2-40B4-BE49-F238E27FC236}">
                <a16:creationId xmlns:a16="http://schemas.microsoft.com/office/drawing/2014/main" id="{FBC8E954-FAF6-C1D7-0CA0-646E48C586A2}"/>
              </a:ext>
            </a:extLst>
          </p:cNvPr>
          <p:cNvGraphicFramePr>
            <a:graphicFrameLocks noGrp="1"/>
          </p:cNvGraphicFramePr>
          <p:nvPr>
            <p:extLst>
              <p:ext uri="{D42A27DB-BD31-4B8C-83A1-F6EECF244321}">
                <p14:modId xmlns:p14="http://schemas.microsoft.com/office/powerpoint/2010/main" val="1784268668"/>
              </p:ext>
            </p:extLst>
          </p:nvPr>
        </p:nvGraphicFramePr>
        <p:xfrm>
          <a:off x="5055745" y="819319"/>
          <a:ext cx="6964291" cy="4439085"/>
        </p:xfrm>
        <a:graphic>
          <a:graphicData uri="http://schemas.openxmlformats.org/drawingml/2006/table">
            <a:tbl>
              <a:tblPr firstRow="1" bandRow="1">
                <a:tableStyleId>{9D7B26C5-4107-4FEC-AEDC-1716B250A1EF}</a:tableStyleId>
              </a:tblPr>
              <a:tblGrid>
                <a:gridCol w="836723">
                  <a:extLst>
                    <a:ext uri="{9D8B030D-6E8A-4147-A177-3AD203B41FA5}">
                      <a16:colId xmlns:a16="http://schemas.microsoft.com/office/drawing/2014/main" val="1971178031"/>
                    </a:ext>
                  </a:extLst>
                </a:gridCol>
                <a:gridCol w="945817">
                  <a:extLst>
                    <a:ext uri="{9D8B030D-6E8A-4147-A177-3AD203B41FA5}">
                      <a16:colId xmlns:a16="http://schemas.microsoft.com/office/drawing/2014/main" val="4106639385"/>
                    </a:ext>
                  </a:extLst>
                </a:gridCol>
                <a:gridCol w="969630">
                  <a:extLst>
                    <a:ext uri="{9D8B030D-6E8A-4147-A177-3AD203B41FA5}">
                      <a16:colId xmlns:a16="http://schemas.microsoft.com/office/drawing/2014/main" val="1505498681"/>
                    </a:ext>
                  </a:extLst>
                </a:gridCol>
                <a:gridCol w="1142190">
                  <a:extLst>
                    <a:ext uri="{9D8B030D-6E8A-4147-A177-3AD203B41FA5}">
                      <a16:colId xmlns:a16="http://schemas.microsoft.com/office/drawing/2014/main" val="845154092"/>
                    </a:ext>
                  </a:extLst>
                </a:gridCol>
                <a:gridCol w="3069931">
                  <a:extLst>
                    <a:ext uri="{9D8B030D-6E8A-4147-A177-3AD203B41FA5}">
                      <a16:colId xmlns:a16="http://schemas.microsoft.com/office/drawing/2014/main" val="4158918225"/>
                    </a:ext>
                  </a:extLst>
                </a:gridCol>
              </a:tblGrid>
              <a:tr h="380345">
                <a:tc>
                  <a:txBody>
                    <a:bodyPr/>
                    <a:lstStyle/>
                    <a:p>
                      <a:r>
                        <a:rPr lang="en-US" sz="1200">
                          <a:solidFill>
                            <a:schemeClr val="bg1"/>
                          </a:solidFill>
                          <a:latin typeface="Raleway" pitchFamily="2" charset="0"/>
                        </a:rPr>
                        <a:t>Country</a:t>
                      </a:r>
                    </a:p>
                  </a:txBody>
                  <a:tcPr>
                    <a:solidFill>
                      <a:schemeClr val="tx1"/>
                    </a:solidFill>
                  </a:tcPr>
                </a:tc>
                <a:tc>
                  <a:txBody>
                    <a:bodyPr/>
                    <a:lstStyle/>
                    <a:p>
                      <a:r>
                        <a:rPr lang="en-US" sz="1200">
                          <a:solidFill>
                            <a:schemeClr val="bg1"/>
                          </a:solidFill>
                          <a:latin typeface="Raleway" pitchFamily="2" charset="0"/>
                        </a:rPr>
                        <a:t>Recipient company</a:t>
                      </a:r>
                    </a:p>
                  </a:txBody>
                  <a:tcPr>
                    <a:solidFill>
                      <a:schemeClr val="tx1"/>
                    </a:solidFill>
                  </a:tcPr>
                </a:tc>
                <a:tc>
                  <a:txBody>
                    <a:bodyPr/>
                    <a:lstStyle/>
                    <a:p>
                      <a:r>
                        <a:rPr lang="en-US" sz="1200">
                          <a:solidFill>
                            <a:schemeClr val="bg1"/>
                          </a:solidFill>
                          <a:latin typeface="Raleway" pitchFamily="2" charset="0"/>
                        </a:rPr>
                        <a:t>Developer</a:t>
                      </a:r>
                    </a:p>
                  </a:txBody>
                  <a:tcPr>
                    <a:solidFill>
                      <a:schemeClr val="tx1"/>
                    </a:solidFill>
                  </a:tcPr>
                </a:tc>
                <a:tc>
                  <a:txBody>
                    <a:bodyPr/>
                    <a:lstStyle/>
                    <a:p>
                      <a:r>
                        <a:rPr lang="en-US" sz="1200">
                          <a:solidFill>
                            <a:schemeClr val="bg1"/>
                          </a:solidFill>
                          <a:latin typeface="Raleway" pitchFamily="2" charset="0"/>
                        </a:rPr>
                        <a:t>Production type</a:t>
                      </a:r>
                    </a:p>
                  </a:txBody>
                  <a:tcPr>
                    <a:solidFill>
                      <a:schemeClr val="tx1"/>
                    </a:solidFill>
                  </a:tcPr>
                </a:tc>
                <a:tc>
                  <a:txBody>
                    <a:bodyPr/>
                    <a:lstStyle/>
                    <a:p>
                      <a:r>
                        <a:rPr lang="en-US" sz="1200">
                          <a:solidFill>
                            <a:schemeClr val="bg1"/>
                          </a:solidFill>
                          <a:latin typeface="Raleway" pitchFamily="2" charset="0"/>
                        </a:rPr>
                        <a:t>Status</a:t>
                      </a:r>
                    </a:p>
                  </a:txBody>
                  <a:tcPr>
                    <a:solidFill>
                      <a:schemeClr val="tx1"/>
                    </a:solidFill>
                  </a:tcPr>
                </a:tc>
                <a:extLst>
                  <a:ext uri="{0D108BD9-81ED-4DB2-BD59-A6C34878D82A}">
                    <a16:rowId xmlns:a16="http://schemas.microsoft.com/office/drawing/2014/main" val="3036631337"/>
                  </a:ext>
                </a:extLst>
              </a:tr>
              <a:tr h="804179">
                <a:tc>
                  <a:txBody>
                    <a:bodyPr/>
                    <a:lstStyle/>
                    <a:p>
                      <a:r>
                        <a:rPr lang="en-US" sz="1200" b="1">
                          <a:latin typeface="Raleway" pitchFamily="2" charset="0"/>
                        </a:rPr>
                        <a:t>Ghana</a:t>
                      </a:r>
                    </a:p>
                  </a:txBody>
                  <a:tcPr/>
                </a:tc>
                <a:tc>
                  <a:txBody>
                    <a:bodyPr/>
                    <a:lstStyle/>
                    <a:p>
                      <a:r>
                        <a:rPr lang="en-US" sz="1200" b="0">
                          <a:latin typeface="Raleway" pitchFamily="2" charset="0"/>
                        </a:rPr>
                        <a:t>DEKS Vaccines Limited</a:t>
                      </a:r>
                    </a:p>
                  </a:txBody>
                  <a:tcPr/>
                </a:tc>
                <a:tc>
                  <a:txBody>
                    <a:bodyPr/>
                    <a:lstStyle/>
                    <a:p>
                      <a:r>
                        <a:rPr lang="en-US" sz="1200" b="0">
                          <a:latin typeface="Raleway" pitchFamily="2" charset="0"/>
                        </a:rPr>
                        <a:t>BioNTech</a:t>
                      </a:r>
                    </a:p>
                  </a:txBody>
                  <a:tcPr/>
                </a:tc>
                <a:tc>
                  <a:txBody>
                    <a:bodyPr/>
                    <a:lstStyle/>
                    <a:p>
                      <a:r>
                        <a:rPr lang="en-US" sz="1200" b="0">
                          <a:latin typeface="Raleway" pitchFamily="2" charset="0"/>
                        </a:rPr>
                        <a:t>Fill &amp; Finish</a:t>
                      </a:r>
                    </a:p>
                  </a:txBody>
                  <a:tcPr/>
                </a:tc>
                <a:tc>
                  <a:txBody>
                    <a:bodyPr/>
                    <a:lstStyle/>
                    <a:p>
                      <a:r>
                        <a:rPr lang="en-US" sz="1000" dirty="0">
                          <a:latin typeface="Raleway" pitchFamily="2" charset="0"/>
                        </a:rPr>
                        <a:t>€ 5 million-investment grant agreement between the European Investment Bank (EIB) and DEK Vaccines Ltd in April 2023 to produce 600 million dose/year for vaccines (Malaria, HPV, Pneumonia, Rotavirus, Cholera). 1st commercial production anticipated in 2025.</a:t>
                      </a:r>
                    </a:p>
                  </a:txBody>
                  <a:tcPr/>
                </a:tc>
                <a:extLst>
                  <a:ext uri="{0D108BD9-81ED-4DB2-BD59-A6C34878D82A}">
                    <a16:rowId xmlns:a16="http://schemas.microsoft.com/office/drawing/2014/main" val="2859557857"/>
                  </a:ext>
                </a:extLst>
              </a:tr>
              <a:tr h="415725">
                <a:tc>
                  <a:txBody>
                    <a:bodyPr/>
                    <a:lstStyle/>
                    <a:p>
                      <a:r>
                        <a:rPr lang="en-US" sz="1200" b="1">
                          <a:latin typeface="Raleway" pitchFamily="2" charset="0"/>
                        </a:rPr>
                        <a:t>Kenya</a:t>
                      </a:r>
                    </a:p>
                  </a:txBody>
                  <a:tcPr/>
                </a:tc>
                <a:tc>
                  <a:txBody>
                    <a:bodyPr/>
                    <a:lstStyle/>
                    <a:p>
                      <a:r>
                        <a:rPr lang="en-US" sz="1200" b="0">
                          <a:latin typeface="Raleway" pitchFamily="2" charset="0"/>
                        </a:rPr>
                        <a:t>TBD</a:t>
                      </a:r>
                    </a:p>
                  </a:txBody>
                  <a:tcPr/>
                </a:tc>
                <a:tc>
                  <a:txBody>
                    <a:bodyPr/>
                    <a:lstStyle/>
                    <a:p>
                      <a:r>
                        <a:rPr lang="en-US" sz="1200" b="0">
                          <a:latin typeface="Raleway" pitchFamily="2" charset="0"/>
                        </a:rPr>
                        <a:t>Moderna</a:t>
                      </a:r>
                    </a:p>
                  </a:txBody>
                  <a:tcPr/>
                </a:tc>
                <a:tc>
                  <a:txBody>
                    <a:bodyPr/>
                    <a:lstStyle/>
                    <a:p>
                      <a:r>
                        <a:rPr lang="en-US" sz="1200" b="0">
                          <a:latin typeface="Raleway" pitchFamily="2" charset="0"/>
                        </a:rPr>
                        <a:t>Fill &amp; Finish</a:t>
                      </a:r>
                    </a:p>
                  </a:txBody>
                  <a:tcPr/>
                </a:tc>
                <a:tc>
                  <a:txBody>
                    <a:bodyPr/>
                    <a:lstStyle/>
                    <a:p>
                      <a:r>
                        <a:rPr lang="en-US" sz="1000">
                          <a:latin typeface="Raleway" pitchFamily="2" charset="0"/>
                        </a:rPr>
                        <a:t>In Mar2023, the company announced that it will produce 500 million doses/year.</a:t>
                      </a:r>
                    </a:p>
                  </a:txBody>
                  <a:tcPr/>
                </a:tc>
                <a:extLst>
                  <a:ext uri="{0D108BD9-81ED-4DB2-BD59-A6C34878D82A}">
                    <a16:rowId xmlns:a16="http://schemas.microsoft.com/office/drawing/2014/main" val="3801935204"/>
                  </a:ext>
                </a:extLst>
              </a:tr>
              <a:tr h="772411">
                <a:tc>
                  <a:txBody>
                    <a:bodyPr/>
                    <a:lstStyle/>
                    <a:p>
                      <a:r>
                        <a:rPr lang="en-US" sz="1200" b="1">
                          <a:latin typeface="Raleway" pitchFamily="2" charset="0"/>
                        </a:rPr>
                        <a:t>Rwanda</a:t>
                      </a:r>
                    </a:p>
                  </a:txBody>
                  <a:tcPr/>
                </a:tc>
                <a:tc>
                  <a:txBody>
                    <a:bodyPr/>
                    <a:lstStyle/>
                    <a:p>
                      <a:r>
                        <a:rPr lang="en-US" sz="1200" b="0">
                          <a:latin typeface="Raleway" pitchFamily="2" charset="0"/>
                        </a:rPr>
                        <a:t>Rwanda Biomedical Centre</a:t>
                      </a:r>
                    </a:p>
                  </a:txBody>
                  <a:tcPr/>
                </a:tc>
                <a:tc>
                  <a:txBody>
                    <a:bodyPr/>
                    <a:lstStyle/>
                    <a:p>
                      <a:r>
                        <a:rPr lang="en-US" sz="1200" b="0">
                          <a:latin typeface="Raleway" pitchFamily="2" charset="0"/>
                        </a:rPr>
                        <a:t>BioNTech</a:t>
                      </a:r>
                    </a:p>
                    <a:p>
                      <a:endParaRPr lang="en-US" sz="1200" b="0">
                        <a:latin typeface="Raleway" pitchFamily="2" charset="0"/>
                      </a:endParaRPr>
                    </a:p>
                  </a:txBody>
                  <a:tcPr/>
                </a:tc>
                <a:tc>
                  <a:txBody>
                    <a:bodyPr/>
                    <a:lstStyle/>
                    <a:p>
                      <a:r>
                        <a:rPr lang="en-US" sz="1200" b="0">
                          <a:latin typeface="Raleway" pitchFamily="2" charset="0"/>
                        </a:rPr>
                        <a:t>End to End</a:t>
                      </a:r>
                    </a:p>
                  </a:txBody>
                  <a:tcPr/>
                </a:tc>
                <a:tc>
                  <a:txBody>
                    <a:bodyPr/>
                    <a:lstStyle/>
                    <a:p>
                      <a:r>
                        <a:rPr lang="en-US" sz="1000">
                          <a:latin typeface="Raleway" pitchFamily="2" charset="0"/>
                        </a:rPr>
                        <a:t>The </a:t>
                      </a:r>
                      <a:r>
                        <a:rPr lang="en-US" sz="1000" err="1">
                          <a:latin typeface="Raleway" pitchFamily="2" charset="0"/>
                        </a:rPr>
                        <a:t>BioNTainers</a:t>
                      </a:r>
                      <a:r>
                        <a:rPr lang="en-US" sz="1000">
                          <a:latin typeface="Raleway" pitchFamily="2" charset="0"/>
                        </a:rPr>
                        <a:t>, scalable mRNA manufacturing facilities-one for manufacturing mRNA and one for producing the formulated bulk drug product. Plan to produce COVID-19 vaccine, malaria and TB. </a:t>
                      </a:r>
                    </a:p>
                  </a:txBody>
                  <a:tcPr/>
                </a:tc>
                <a:extLst>
                  <a:ext uri="{0D108BD9-81ED-4DB2-BD59-A6C34878D82A}">
                    <a16:rowId xmlns:a16="http://schemas.microsoft.com/office/drawing/2014/main" val="3303005005"/>
                  </a:ext>
                </a:extLst>
              </a:tr>
              <a:tr h="658410">
                <a:tc>
                  <a:txBody>
                    <a:bodyPr/>
                    <a:lstStyle/>
                    <a:p>
                      <a:r>
                        <a:rPr lang="en-US" sz="1200" b="1">
                          <a:latin typeface="Raleway" pitchFamily="2" charset="0"/>
                        </a:rPr>
                        <a:t>Senegal</a:t>
                      </a:r>
                    </a:p>
                  </a:txBody>
                  <a:tcPr/>
                </a:tc>
                <a:tc>
                  <a:txBody>
                    <a:bodyPr/>
                    <a:lstStyle/>
                    <a:p>
                      <a:r>
                        <a:rPr lang="en-US" sz="1200" b="0">
                          <a:latin typeface="Raleway" pitchFamily="2" charset="0"/>
                        </a:rPr>
                        <a:t>Institute Pasteur Dakar</a:t>
                      </a:r>
                    </a:p>
                  </a:txBody>
                  <a:tcPr/>
                </a:tc>
                <a:tc>
                  <a:txBody>
                    <a:bodyPr/>
                    <a:lstStyle/>
                    <a:p>
                      <a:r>
                        <a:rPr lang="en-US" sz="1200" b="0">
                          <a:latin typeface="Raleway" pitchFamily="2" charset="0"/>
                        </a:rPr>
                        <a:t>BioNTech</a:t>
                      </a:r>
                    </a:p>
                  </a:txBody>
                  <a:tcPr/>
                </a:tc>
                <a:tc>
                  <a:txBody>
                    <a:bodyPr/>
                    <a:lstStyle/>
                    <a:p>
                      <a:r>
                        <a:rPr lang="en-US" sz="1200" b="0">
                          <a:latin typeface="Raleway" pitchFamily="2" charset="0"/>
                        </a:rPr>
                        <a:t>End to End</a:t>
                      </a:r>
                    </a:p>
                  </a:txBody>
                  <a:tcPr/>
                </a:tc>
                <a:tc>
                  <a:txBody>
                    <a:bodyPr/>
                    <a:lstStyle/>
                    <a:p>
                      <a:r>
                        <a:rPr lang="en-US" sz="1000">
                          <a:latin typeface="Raleway" pitchFamily="2" charset="0"/>
                        </a:rPr>
                        <a:t>The </a:t>
                      </a:r>
                      <a:r>
                        <a:rPr lang="en-US" sz="1000" err="1">
                          <a:latin typeface="Raleway" pitchFamily="2" charset="0"/>
                        </a:rPr>
                        <a:t>BioNTainers</a:t>
                      </a:r>
                      <a:r>
                        <a:rPr lang="en-US" sz="1000">
                          <a:latin typeface="Raleway" pitchFamily="2" charset="0"/>
                        </a:rPr>
                        <a:t>, scalable mRNA manufacturing facilities-one for manufacturing mRNA and one for producing the formulated bulk drug product. Plan to produce COVID-19 vaccine, malaria and TB. </a:t>
                      </a:r>
                    </a:p>
                  </a:txBody>
                  <a:tcPr/>
                </a:tc>
                <a:extLst>
                  <a:ext uri="{0D108BD9-81ED-4DB2-BD59-A6C34878D82A}">
                    <a16:rowId xmlns:a16="http://schemas.microsoft.com/office/drawing/2014/main" val="2138644565"/>
                  </a:ext>
                </a:extLst>
              </a:tr>
              <a:tr h="772411">
                <a:tc>
                  <a:txBody>
                    <a:bodyPr/>
                    <a:lstStyle/>
                    <a:p>
                      <a:r>
                        <a:rPr lang="en-US" sz="1200" b="1">
                          <a:latin typeface="Raleway" pitchFamily="2" charset="0"/>
                        </a:rPr>
                        <a:t>South Africa</a:t>
                      </a:r>
                    </a:p>
                  </a:txBody>
                  <a:tcPr/>
                </a:tc>
                <a:tc>
                  <a:txBody>
                    <a:bodyPr/>
                    <a:lstStyle/>
                    <a:p>
                      <a:r>
                        <a:rPr lang="en-US" sz="1200" b="0" err="1">
                          <a:latin typeface="Raleway" pitchFamily="2" charset="0"/>
                        </a:rPr>
                        <a:t>Biovac</a:t>
                      </a:r>
                      <a:endParaRPr lang="en-US" sz="1200" b="0">
                        <a:latin typeface="Raleway" pitchFamily="2" charset="0"/>
                      </a:endParaRPr>
                    </a:p>
                  </a:txBody>
                  <a:tcPr/>
                </a:tc>
                <a:tc>
                  <a:txBody>
                    <a:bodyPr/>
                    <a:lstStyle/>
                    <a:p>
                      <a:r>
                        <a:rPr lang="en-US" sz="1200" b="0">
                          <a:latin typeface="Raleway" pitchFamily="2" charset="0"/>
                        </a:rPr>
                        <a:t>BioNTech</a:t>
                      </a:r>
                    </a:p>
                    <a:p>
                      <a:endParaRPr lang="en-US" sz="1200" b="0">
                        <a:latin typeface="Raleway" pitchFamily="2" charset="0"/>
                      </a:endParaRPr>
                    </a:p>
                  </a:txBody>
                  <a:tcPr/>
                </a:tc>
                <a:tc>
                  <a:txBody>
                    <a:bodyPr/>
                    <a:lstStyle/>
                    <a:p>
                      <a:r>
                        <a:rPr lang="en-US" sz="1200" b="0">
                          <a:latin typeface="Raleway" pitchFamily="2" charset="0"/>
                        </a:rPr>
                        <a:t>End to End</a:t>
                      </a:r>
                    </a:p>
                  </a:txBody>
                  <a:tcPr/>
                </a:tc>
                <a:tc>
                  <a:txBody>
                    <a:bodyPr/>
                    <a:lstStyle/>
                    <a:p>
                      <a:r>
                        <a:rPr lang="en-US" sz="1000" dirty="0">
                          <a:latin typeface="Raleway" pitchFamily="2" charset="0"/>
                        </a:rPr>
                        <a:t>The </a:t>
                      </a:r>
                      <a:r>
                        <a:rPr lang="en-US" sz="1000" dirty="0" err="1">
                          <a:latin typeface="Raleway" pitchFamily="2" charset="0"/>
                        </a:rPr>
                        <a:t>BioNTainers</a:t>
                      </a:r>
                      <a:r>
                        <a:rPr lang="en-US" sz="1000" dirty="0">
                          <a:latin typeface="Raleway" pitchFamily="2" charset="0"/>
                        </a:rPr>
                        <a:t>, scalable mRNA manufacturing facilities-one for manufacturing mRNA and one for producing the formulated bulk drug product. Plan to produce COVID-19 vaccine, malaria and TB. </a:t>
                      </a:r>
                    </a:p>
                  </a:txBody>
                  <a:tcPr/>
                </a:tc>
                <a:extLst>
                  <a:ext uri="{0D108BD9-81ED-4DB2-BD59-A6C34878D82A}">
                    <a16:rowId xmlns:a16="http://schemas.microsoft.com/office/drawing/2014/main" val="1890216870"/>
                  </a:ext>
                </a:extLst>
              </a:tr>
            </a:tbl>
          </a:graphicData>
        </a:graphic>
      </p:graphicFrame>
      <p:sp>
        <p:nvSpPr>
          <p:cNvPr id="82" name="Triangle isocèle 203">
            <a:extLst>
              <a:ext uri="{FF2B5EF4-FFF2-40B4-BE49-F238E27FC236}">
                <a16:creationId xmlns:a16="http://schemas.microsoft.com/office/drawing/2014/main" id="{29C56464-7792-E985-DBA8-58FDFE87114F}"/>
              </a:ext>
            </a:extLst>
          </p:cNvPr>
          <p:cNvSpPr/>
          <p:nvPr/>
        </p:nvSpPr>
        <p:spPr>
          <a:xfrm flipH="1">
            <a:off x="7747081" y="6076217"/>
            <a:ext cx="184002" cy="196472"/>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cxnSp>
        <p:nvCxnSpPr>
          <p:cNvPr id="8" name="Straight Connector 7">
            <a:extLst>
              <a:ext uri="{FF2B5EF4-FFF2-40B4-BE49-F238E27FC236}">
                <a16:creationId xmlns:a16="http://schemas.microsoft.com/office/drawing/2014/main" id="{089859D4-D5C7-D81C-4C4C-C6EF0892774D}"/>
              </a:ext>
            </a:extLst>
          </p:cNvPr>
          <p:cNvCxnSpPr>
            <a:stCxn id="120" idx="0"/>
            <a:endCxn id="71" idx="4"/>
          </p:cNvCxnSpPr>
          <p:nvPr/>
        </p:nvCxnSpPr>
        <p:spPr>
          <a:xfrm flipV="1">
            <a:off x="910170" y="3348609"/>
            <a:ext cx="234887" cy="2631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879EEB5-585F-33BE-7FE3-704326FC9568}"/>
              </a:ext>
            </a:extLst>
          </p:cNvPr>
          <p:cNvCxnSpPr/>
          <p:nvPr/>
        </p:nvCxnSpPr>
        <p:spPr>
          <a:xfrm flipV="1">
            <a:off x="371053" y="2473503"/>
            <a:ext cx="234887" cy="3593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41BA28C6-E998-DCBA-1FCB-44D1F9EF7E25}"/>
              </a:ext>
            </a:extLst>
          </p:cNvPr>
          <p:cNvCxnSpPr/>
          <p:nvPr/>
        </p:nvCxnSpPr>
        <p:spPr>
          <a:xfrm flipV="1">
            <a:off x="1498117" y="3168401"/>
            <a:ext cx="234887" cy="3593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98D5966C-C451-638B-6B8B-D57D13453546}"/>
              </a:ext>
            </a:extLst>
          </p:cNvPr>
          <p:cNvCxnSpPr/>
          <p:nvPr/>
        </p:nvCxnSpPr>
        <p:spPr>
          <a:xfrm flipV="1">
            <a:off x="2285816" y="5509848"/>
            <a:ext cx="234887" cy="3593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B549E63B-FF4A-CDAE-36AE-9BAE26938E50}"/>
              </a:ext>
            </a:extLst>
          </p:cNvPr>
          <p:cNvSpPr>
            <a:spLocks noGrp="1"/>
          </p:cNvSpPr>
          <p:nvPr>
            <p:ph type="sldNum" sz="quarter" idx="12"/>
          </p:nvPr>
        </p:nvSpPr>
        <p:spPr/>
        <p:txBody>
          <a:bodyPr/>
          <a:lstStyle/>
          <a:p>
            <a:fld id="{1D1C8182-8BBE-B542-ADE5-8820B104469B}" type="slidenum">
              <a:rPr lang="en-RO" smtClean="0"/>
              <a:pPr/>
              <a:t>2</a:t>
            </a:fld>
            <a:endParaRPr lang="en-RO"/>
          </a:p>
        </p:txBody>
      </p:sp>
    </p:spTree>
    <p:extLst>
      <p:ext uri="{BB962C8B-B14F-4D97-AF65-F5344CB8AC3E}">
        <p14:creationId xmlns:p14="http://schemas.microsoft.com/office/powerpoint/2010/main" val="17663452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组合 119">
            <a:extLst>
              <a:ext uri="{FF2B5EF4-FFF2-40B4-BE49-F238E27FC236}">
                <a16:creationId xmlns:a16="http://schemas.microsoft.com/office/drawing/2014/main" id="{A645716F-7243-0EF7-3666-8932F9EE723D}"/>
              </a:ext>
            </a:extLst>
          </p:cNvPr>
          <p:cNvGrpSpPr>
            <a:grpSpLocks/>
          </p:cNvGrpSpPr>
          <p:nvPr/>
        </p:nvGrpSpPr>
        <p:grpSpPr bwMode="auto">
          <a:xfrm>
            <a:off x="202370" y="1217766"/>
            <a:ext cx="3389770" cy="4207480"/>
            <a:chOff x="688913" y="1125538"/>
            <a:chExt cx="4341768" cy="5154612"/>
          </a:xfrm>
        </p:grpSpPr>
        <p:sp>
          <p:nvSpPr>
            <p:cNvPr id="65" name="Freeform 162">
              <a:extLst>
                <a:ext uri="{FF2B5EF4-FFF2-40B4-BE49-F238E27FC236}">
                  <a16:creationId xmlns:a16="http://schemas.microsoft.com/office/drawing/2014/main" id="{99FE5B81-62C0-2986-DAB0-495E097F9DD3}"/>
                </a:ext>
              </a:extLst>
            </p:cNvPr>
            <p:cNvSpPr>
              <a:spLocks/>
            </p:cNvSpPr>
            <p:nvPr/>
          </p:nvSpPr>
          <p:spPr bwMode="auto">
            <a:xfrm>
              <a:off x="2830429" y="2805113"/>
              <a:ext cx="2200252" cy="2265363"/>
            </a:xfrm>
            <a:custGeom>
              <a:avLst/>
              <a:gdLst/>
              <a:ahLst/>
              <a:cxnLst>
                <a:cxn ang="0">
                  <a:pos x="6464" y="1855"/>
                </a:cxn>
                <a:cxn ang="0">
                  <a:pos x="5685" y="1514"/>
                </a:cxn>
                <a:cxn ang="0">
                  <a:pos x="5320" y="1538"/>
                </a:cxn>
                <a:cxn ang="0">
                  <a:pos x="5300" y="1321"/>
                </a:cxn>
                <a:cxn ang="0">
                  <a:pos x="5115" y="1221"/>
                </a:cxn>
                <a:cxn ang="0">
                  <a:pos x="4828" y="1081"/>
                </a:cxn>
                <a:cxn ang="0">
                  <a:pos x="4409" y="1235"/>
                </a:cxn>
                <a:cxn ang="0">
                  <a:pos x="4618" y="999"/>
                </a:cxn>
                <a:cxn ang="0">
                  <a:pos x="4360" y="879"/>
                </a:cxn>
                <a:cxn ang="0">
                  <a:pos x="4234" y="605"/>
                </a:cxn>
                <a:cxn ang="0">
                  <a:pos x="4006" y="207"/>
                </a:cxn>
                <a:cxn ang="0">
                  <a:pos x="3698" y="524"/>
                </a:cxn>
                <a:cxn ang="0">
                  <a:pos x="3269" y="481"/>
                </a:cxn>
                <a:cxn ang="0">
                  <a:pos x="3050" y="567"/>
                </a:cxn>
                <a:cxn ang="0">
                  <a:pos x="2631" y="620"/>
                </a:cxn>
                <a:cxn ang="0">
                  <a:pos x="2631" y="211"/>
                </a:cxn>
                <a:cxn ang="0">
                  <a:pos x="2431" y="14"/>
                </a:cxn>
                <a:cxn ang="0">
                  <a:pos x="2173" y="202"/>
                </a:cxn>
                <a:cxn ang="0">
                  <a:pos x="1939" y="245"/>
                </a:cxn>
                <a:cxn ang="0">
                  <a:pos x="1779" y="284"/>
                </a:cxn>
                <a:cxn ang="0">
                  <a:pos x="1905" y="548"/>
                </a:cxn>
                <a:cxn ang="0">
                  <a:pos x="1540" y="793"/>
                </a:cxn>
                <a:cxn ang="0">
                  <a:pos x="1243" y="721"/>
                </a:cxn>
                <a:cxn ang="0">
                  <a:pos x="751" y="639"/>
                </a:cxn>
                <a:cxn ang="0">
                  <a:pos x="819" y="812"/>
                </a:cxn>
                <a:cxn ang="0">
                  <a:pos x="792" y="1109"/>
                </a:cxn>
                <a:cxn ang="0">
                  <a:pos x="508" y="1742"/>
                </a:cxn>
                <a:cxn ang="0">
                  <a:pos x="144" y="2121"/>
                </a:cxn>
                <a:cxn ang="0">
                  <a:pos x="28" y="2385"/>
                </a:cxn>
                <a:cxn ang="0">
                  <a:pos x="265" y="2710"/>
                </a:cxn>
                <a:cxn ang="0">
                  <a:pos x="595" y="2838"/>
                </a:cxn>
                <a:cxn ang="0">
                  <a:pos x="1033" y="2912"/>
                </a:cxn>
                <a:cxn ang="0">
                  <a:pos x="1518" y="2747"/>
                </a:cxn>
                <a:cxn ang="0">
                  <a:pos x="1756" y="3250"/>
                </a:cxn>
                <a:cxn ang="0">
                  <a:pos x="2313" y="3451"/>
                </a:cxn>
                <a:cxn ang="0">
                  <a:pos x="2597" y="3945"/>
                </a:cxn>
                <a:cxn ang="0">
                  <a:pos x="2854" y="4322"/>
                </a:cxn>
                <a:cxn ang="0">
                  <a:pos x="2743" y="4923"/>
                </a:cxn>
                <a:cxn ang="0">
                  <a:pos x="3118" y="5243"/>
                </a:cxn>
                <a:cxn ang="0">
                  <a:pos x="3219" y="5590"/>
                </a:cxn>
                <a:cxn ang="0">
                  <a:pos x="3109" y="6029"/>
                </a:cxn>
                <a:cxn ang="0">
                  <a:pos x="2624" y="6499"/>
                </a:cxn>
                <a:cxn ang="0">
                  <a:pos x="2918" y="6595"/>
                </a:cxn>
                <a:cxn ang="0">
                  <a:pos x="3194" y="7021"/>
                </a:cxn>
                <a:cxn ang="0">
                  <a:pos x="3422" y="6793"/>
                </a:cxn>
                <a:cxn ang="0">
                  <a:pos x="3668" y="6637"/>
                </a:cxn>
                <a:cxn ang="0">
                  <a:pos x="3734" y="6661"/>
                </a:cxn>
                <a:cxn ang="0">
                  <a:pos x="4136" y="6187"/>
                </a:cxn>
                <a:cxn ang="0">
                  <a:pos x="4352" y="5609"/>
                </a:cxn>
                <a:cxn ang="0">
                  <a:pos x="4919" y="5334"/>
                </a:cxn>
                <a:cxn ang="0">
                  <a:pos x="5395" y="5216"/>
                </a:cxn>
                <a:cxn ang="0">
                  <a:pos x="5670" y="4906"/>
                </a:cxn>
                <a:cxn ang="0">
                  <a:pos x="5834" y="4549"/>
                </a:cxn>
                <a:cxn ang="0">
                  <a:pos x="6046" y="4190"/>
                </a:cxn>
                <a:cxn ang="0">
                  <a:pos x="6086" y="3613"/>
                </a:cxn>
                <a:cxn ang="0">
                  <a:pos x="6372" y="3248"/>
                </a:cxn>
                <a:cxn ang="0">
                  <a:pos x="6885" y="2592"/>
                </a:cxn>
              </a:cxnLst>
              <a:rect l="0" t="0" r="r" b="b"/>
              <a:pathLst>
                <a:path w="6931" h="7135">
                  <a:moveTo>
                    <a:pt x="6896" y="2149"/>
                  </a:moveTo>
                  <a:lnTo>
                    <a:pt x="6830" y="1975"/>
                  </a:lnTo>
                  <a:lnTo>
                    <a:pt x="6620" y="1963"/>
                  </a:lnTo>
                  <a:lnTo>
                    <a:pt x="6464" y="1855"/>
                  </a:lnTo>
                  <a:lnTo>
                    <a:pt x="6270" y="1658"/>
                  </a:lnTo>
                  <a:lnTo>
                    <a:pt x="6025" y="1513"/>
                  </a:lnTo>
                  <a:lnTo>
                    <a:pt x="5860" y="1552"/>
                  </a:lnTo>
                  <a:lnTo>
                    <a:pt x="5685" y="1514"/>
                  </a:lnTo>
                  <a:lnTo>
                    <a:pt x="5534" y="1442"/>
                  </a:lnTo>
                  <a:lnTo>
                    <a:pt x="5437" y="1461"/>
                  </a:lnTo>
                  <a:lnTo>
                    <a:pt x="5383" y="1504"/>
                  </a:lnTo>
                  <a:lnTo>
                    <a:pt x="5320" y="1538"/>
                  </a:lnTo>
                  <a:lnTo>
                    <a:pt x="5252" y="1557"/>
                  </a:lnTo>
                  <a:lnTo>
                    <a:pt x="5271" y="1466"/>
                  </a:lnTo>
                  <a:lnTo>
                    <a:pt x="5354" y="1384"/>
                  </a:lnTo>
                  <a:lnTo>
                    <a:pt x="5300" y="1321"/>
                  </a:lnTo>
                  <a:lnTo>
                    <a:pt x="5237" y="1254"/>
                  </a:lnTo>
                  <a:lnTo>
                    <a:pt x="5198" y="1293"/>
                  </a:lnTo>
                  <a:lnTo>
                    <a:pt x="5149" y="1197"/>
                  </a:lnTo>
                  <a:lnTo>
                    <a:pt x="5115" y="1221"/>
                  </a:lnTo>
                  <a:lnTo>
                    <a:pt x="5037" y="1192"/>
                  </a:lnTo>
                  <a:lnTo>
                    <a:pt x="4993" y="1158"/>
                  </a:lnTo>
                  <a:lnTo>
                    <a:pt x="4920" y="1110"/>
                  </a:lnTo>
                  <a:lnTo>
                    <a:pt x="4828" y="1081"/>
                  </a:lnTo>
                  <a:lnTo>
                    <a:pt x="4682" y="1081"/>
                  </a:lnTo>
                  <a:lnTo>
                    <a:pt x="4628" y="1172"/>
                  </a:lnTo>
                  <a:lnTo>
                    <a:pt x="4492" y="1264"/>
                  </a:lnTo>
                  <a:lnTo>
                    <a:pt x="4409" y="1235"/>
                  </a:lnTo>
                  <a:lnTo>
                    <a:pt x="4462" y="1197"/>
                  </a:lnTo>
                  <a:lnTo>
                    <a:pt x="4536" y="1187"/>
                  </a:lnTo>
                  <a:lnTo>
                    <a:pt x="4613" y="1076"/>
                  </a:lnTo>
                  <a:lnTo>
                    <a:pt x="4618" y="999"/>
                  </a:lnTo>
                  <a:lnTo>
                    <a:pt x="4477" y="966"/>
                  </a:lnTo>
                  <a:lnTo>
                    <a:pt x="4414" y="927"/>
                  </a:lnTo>
                  <a:lnTo>
                    <a:pt x="4423" y="884"/>
                  </a:lnTo>
                  <a:lnTo>
                    <a:pt x="4360" y="879"/>
                  </a:lnTo>
                  <a:lnTo>
                    <a:pt x="4321" y="836"/>
                  </a:lnTo>
                  <a:lnTo>
                    <a:pt x="4365" y="754"/>
                  </a:lnTo>
                  <a:lnTo>
                    <a:pt x="4360" y="668"/>
                  </a:lnTo>
                  <a:lnTo>
                    <a:pt x="4234" y="605"/>
                  </a:lnTo>
                  <a:lnTo>
                    <a:pt x="4165" y="399"/>
                  </a:lnTo>
                  <a:lnTo>
                    <a:pt x="4114" y="268"/>
                  </a:lnTo>
                  <a:lnTo>
                    <a:pt x="4057" y="168"/>
                  </a:lnTo>
                  <a:lnTo>
                    <a:pt x="4006" y="207"/>
                  </a:lnTo>
                  <a:lnTo>
                    <a:pt x="3899" y="366"/>
                  </a:lnTo>
                  <a:lnTo>
                    <a:pt x="3869" y="493"/>
                  </a:lnTo>
                  <a:lnTo>
                    <a:pt x="3803" y="556"/>
                  </a:lnTo>
                  <a:lnTo>
                    <a:pt x="3698" y="524"/>
                  </a:lnTo>
                  <a:lnTo>
                    <a:pt x="3586" y="567"/>
                  </a:lnTo>
                  <a:lnTo>
                    <a:pt x="3444" y="481"/>
                  </a:lnTo>
                  <a:lnTo>
                    <a:pt x="3367" y="500"/>
                  </a:lnTo>
                  <a:lnTo>
                    <a:pt x="3269" y="481"/>
                  </a:lnTo>
                  <a:lnTo>
                    <a:pt x="3254" y="519"/>
                  </a:lnTo>
                  <a:lnTo>
                    <a:pt x="3279" y="591"/>
                  </a:lnTo>
                  <a:lnTo>
                    <a:pt x="3138" y="581"/>
                  </a:lnTo>
                  <a:lnTo>
                    <a:pt x="3050" y="567"/>
                  </a:lnTo>
                  <a:lnTo>
                    <a:pt x="2987" y="601"/>
                  </a:lnTo>
                  <a:lnTo>
                    <a:pt x="2875" y="615"/>
                  </a:lnTo>
                  <a:lnTo>
                    <a:pt x="2758" y="697"/>
                  </a:lnTo>
                  <a:lnTo>
                    <a:pt x="2631" y="620"/>
                  </a:lnTo>
                  <a:lnTo>
                    <a:pt x="2553" y="529"/>
                  </a:lnTo>
                  <a:lnTo>
                    <a:pt x="2543" y="399"/>
                  </a:lnTo>
                  <a:lnTo>
                    <a:pt x="2573" y="298"/>
                  </a:lnTo>
                  <a:lnTo>
                    <a:pt x="2631" y="211"/>
                  </a:lnTo>
                  <a:lnTo>
                    <a:pt x="2529" y="120"/>
                  </a:lnTo>
                  <a:lnTo>
                    <a:pt x="2543" y="38"/>
                  </a:lnTo>
                  <a:lnTo>
                    <a:pt x="2509" y="0"/>
                  </a:lnTo>
                  <a:lnTo>
                    <a:pt x="2431" y="14"/>
                  </a:lnTo>
                  <a:lnTo>
                    <a:pt x="2431" y="58"/>
                  </a:lnTo>
                  <a:lnTo>
                    <a:pt x="2363" y="130"/>
                  </a:lnTo>
                  <a:lnTo>
                    <a:pt x="2280" y="159"/>
                  </a:lnTo>
                  <a:lnTo>
                    <a:pt x="2173" y="202"/>
                  </a:lnTo>
                  <a:lnTo>
                    <a:pt x="2095" y="187"/>
                  </a:lnTo>
                  <a:lnTo>
                    <a:pt x="2027" y="221"/>
                  </a:lnTo>
                  <a:lnTo>
                    <a:pt x="2032" y="298"/>
                  </a:lnTo>
                  <a:lnTo>
                    <a:pt x="1939" y="245"/>
                  </a:lnTo>
                  <a:lnTo>
                    <a:pt x="1813" y="211"/>
                  </a:lnTo>
                  <a:lnTo>
                    <a:pt x="1667" y="178"/>
                  </a:lnTo>
                  <a:lnTo>
                    <a:pt x="1696" y="226"/>
                  </a:lnTo>
                  <a:lnTo>
                    <a:pt x="1779" y="284"/>
                  </a:lnTo>
                  <a:lnTo>
                    <a:pt x="1774" y="370"/>
                  </a:lnTo>
                  <a:lnTo>
                    <a:pt x="1832" y="461"/>
                  </a:lnTo>
                  <a:lnTo>
                    <a:pt x="1939" y="476"/>
                  </a:lnTo>
                  <a:lnTo>
                    <a:pt x="1905" y="548"/>
                  </a:lnTo>
                  <a:lnTo>
                    <a:pt x="1798" y="581"/>
                  </a:lnTo>
                  <a:lnTo>
                    <a:pt x="1798" y="634"/>
                  </a:lnTo>
                  <a:lnTo>
                    <a:pt x="1637" y="702"/>
                  </a:lnTo>
                  <a:lnTo>
                    <a:pt x="1540" y="793"/>
                  </a:lnTo>
                  <a:lnTo>
                    <a:pt x="1496" y="740"/>
                  </a:lnTo>
                  <a:lnTo>
                    <a:pt x="1418" y="798"/>
                  </a:lnTo>
                  <a:lnTo>
                    <a:pt x="1330" y="735"/>
                  </a:lnTo>
                  <a:lnTo>
                    <a:pt x="1243" y="721"/>
                  </a:lnTo>
                  <a:lnTo>
                    <a:pt x="1243" y="644"/>
                  </a:lnTo>
                  <a:lnTo>
                    <a:pt x="1189" y="562"/>
                  </a:lnTo>
                  <a:lnTo>
                    <a:pt x="1067" y="649"/>
                  </a:lnTo>
                  <a:lnTo>
                    <a:pt x="751" y="639"/>
                  </a:lnTo>
                  <a:lnTo>
                    <a:pt x="765" y="754"/>
                  </a:lnTo>
                  <a:lnTo>
                    <a:pt x="868" y="745"/>
                  </a:lnTo>
                  <a:lnTo>
                    <a:pt x="897" y="836"/>
                  </a:lnTo>
                  <a:lnTo>
                    <a:pt x="819" y="812"/>
                  </a:lnTo>
                  <a:lnTo>
                    <a:pt x="707" y="841"/>
                  </a:lnTo>
                  <a:lnTo>
                    <a:pt x="717" y="985"/>
                  </a:lnTo>
                  <a:lnTo>
                    <a:pt x="804" y="1028"/>
                  </a:lnTo>
                  <a:lnTo>
                    <a:pt x="792" y="1109"/>
                  </a:lnTo>
                  <a:lnTo>
                    <a:pt x="838" y="1201"/>
                  </a:lnTo>
                  <a:lnTo>
                    <a:pt x="705" y="1747"/>
                  </a:lnTo>
                  <a:lnTo>
                    <a:pt x="604" y="1718"/>
                  </a:lnTo>
                  <a:lnTo>
                    <a:pt x="508" y="1742"/>
                  </a:lnTo>
                  <a:lnTo>
                    <a:pt x="388" y="1766"/>
                  </a:lnTo>
                  <a:lnTo>
                    <a:pt x="244" y="1864"/>
                  </a:lnTo>
                  <a:lnTo>
                    <a:pt x="148" y="2025"/>
                  </a:lnTo>
                  <a:lnTo>
                    <a:pt x="144" y="2121"/>
                  </a:lnTo>
                  <a:lnTo>
                    <a:pt x="98" y="2158"/>
                  </a:lnTo>
                  <a:lnTo>
                    <a:pt x="14" y="2227"/>
                  </a:lnTo>
                  <a:lnTo>
                    <a:pt x="0" y="2313"/>
                  </a:lnTo>
                  <a:lnTo>
                    <a:pt x="28" y="2385"/>
                  </a:lnTo>
                  <a:lnTo>
                    <a:pt x="83" y="2454"/>
                  </a:lnTo>
                  <a:lnTo>
                    <a:pt x="137" y="2564"/>
                  </a:lnTo>
                  <a:lnTo>
                    <a:pt x="165" y="2656"/>
                  </a:lnTo>
                  <a:lnTo>
                    <a:pt x="265" y="2710"/>
                  </a:lnTo>
                  <a:lnTo>
                    <a:pt x="339" y="2802"/>
                  </a:lnTo>
                  <a:lnTo>
                    <a:pt x="460" y="2779"/>
                  </a:lnTo>
                  <a:lnTo>
                    <a:pt x="571" y="2681"/>
                  </a:lnTo>
                  <a:lnTo>
                    <a:pt x="595" y="2838"/>
                  </a:lnTo>
                  <a:lnTo>
                    <a:pt x="595" y="2966"/>
                  </a:lnTo>
                  <a:lnTo>
                    <a:pt x="750" y="2939"/>
                  </a:lnTo>
                  <a:lnTo>
                    <a:pt x="915" y="2966"/>
                  </a:lnTo>
                  <a:lnTo>
                    <a:pt x="1033" y="2912"/>
                  </a:lnTo>
                  <a:lnTo>
                    <a:pt x="1161" y="2848"/>
                  </a:lnTo>
                  <a:lnTo>
                    <a:pt x="1271" y="2784"/>
                  </a:lnTo>
                  <a:lnTo>
                    <a:pt x="1417" y="2756"/>
                  </a:lnTo>
                  <a:lnTo>
                    <a:pt x="1518" y="2747"/>
                  </a:lnTo>
                  <a:lnTo>
                    <a:pt x="1518" y="2893"/>
                  </a:lnTo>
                  <a:lnTo>
                    <a:pt x="1527" y="3049"/>
                  </a:lnTo>
                  <a:lnTo>
                    <a:pt x="1637" y="3168"/>
                  </a:lnTo>
                  <a:lnTo>
                    <a:pt x="1756" y="3250"/>
                  </a:lnTo>
                  <a:lnTo>
                    <a:pt x="1893" y="3268"/>
                  </a:lnTo>
                  <a:lnTo>
                    <a:pt x="2048" y="3350"/>
                  </a:lnTo>
                  <a:lnTo>
                    <a:pt x="2149" y="3424"/>
                  </a:lnTo>
                  <a:lnTo>
                    <a:pt x="2313" y="3451"/>
                  </a:lnTo>
                  <a:lnTo>
                    <a:pt x="2396" y="3570"/>
                  </a:lnTo>
                  <a:lnTo>
                    <a:pt x="2368" y="3734"/>
                  </a:lnTo>
                  <a:lnTo>
                    <a:pt x="2441" y="3926"/>
                  </a:lnTo>
                  <a:lnTo>
                    <a:pt x="2597" y="3945"/>
                  </a:lnTo>
                  <a:lnTo>
                    <a:pt x="2734" y="3963"/>
                  </a:lnTo>
                  <a:lnTo>
                    <a:pt x="2697" y="4082"/>
                  </a:lnTo>
                  <a:lnTo>
                    <a:pt x="2780" y="4173"/>
                  </a:lnTo>
                  <a:lnTo>
                    <a:pt x="2854" y="4322"/>
                  </a:lnTo>
                  <a:lnTo>
                    <a:pt x="2840" y="4432"/>
                  </a:lnTo>
                  <a:lnTo>
                    <a:pt x="2761" y="4576"/>
                  </a:lnTo>
                  <a:lnTo>
                    <a:pt x="2725" y="4758"/>
                  </a:lnTo>
                  <a:lnTo>
                    <a:pt x="2743" y="4923"/>
                  </a:lnTo>
                  <a:lnTo>
                    <a:pt x="2725" y="5024"/>
                  </a:lnTo>
                  <a:lnTo>
                    <a:pt x="2944" y="5042"/>
                  </a:lnTo>
                  <a:lnTo>
                    <a:pt x="3091" y="5097"/>
                  </a:lnTo>
                  <a:lnTo>
                    <a:pt x="3118" y="5243"/>
                  </a:lnTo>
                  <a:lnTo>
                    <a:pt x="3118" y="5380"/>
                  </a:lnTo>
                  <a:lnTo>
                    <a:pt x="3237" y="5344"/>
                  </a:lnTo>
                  <a:lnTo>
                    <a:pt x="3292" y="5435"/>
                  </a:lnTo>
                  <a:lnTo>
                    <a:pt x="3219" y="5590"/>
                  </a:lnTo>
                  <a:lnTo>
                    <a:pt x="3292" y="5682"/>
                  </a:lnTo>
                  <a:lnTo>
                    <a:pt x="3319" y="5837"/>
                  </a:lnTo>
                  <a:lnTo>
                    <a:pt x="3292" y="5965"/>
                  </a:lnTo>
                  <a:lnTo>
                    <a:pt x="3109" y="6029"/>
                  </a:lnTo>
                  <a:lnTo>
                    <a:pt x="2944" y="6121"/>
                  </a:lnTo>
                  <a:lnTo>
                    <a:pt x="2807" y="6267"/>
                  </a:lnTo>
                  <a:lnTo>
                    <a:pt x="2696" y="6391"/>
                  </a:lnTo>
                  <a:lnTo>
                    <a:pt x="2624" y="6499"/>
                  </a:lnTo>
                  <a:lnTo>
                    <a:pt x="2720" y="6463"/>
                  </a:lnTo>
                  <a:lnTo>
                    <a:pt x="2828" y="6577"/>
                  </a:lnTo>
                  <a:lnTo>
                    <a:pt x="2834" y="6643"/>
                  </a:lnTo>
                  <a:lnTo>
                    <a:pt x="2918" y="6595"/>
                  </a:lnTo>
                  <a:lnTo>
                    <a:pt x="2990" y="6709"/>
                  </a:lnTo>
                  <a:lnTo>
                    <a:pt x="3104" y="6799"/>
                  </a:lnTo>
                  <a:lnTo>
                    <a:pt x="3212" y="6901"/>
                  </a:lnTo>
                  <a:lnTo>
                    <a:pt x="3194" y="7021"/>
                  </a:lnTo>
                  <a:lnTo>
                    <a:pt x="3176" y="7135"/>
                  </a:lnTo>
                  <a:lnTo>
                    <a:pt x="3314" y="7033"/>
                  </a:lnTo>
                  <a:lnTo>
                    <a:pt x="3392" y="6895"/>
                  </a:lnTo>
                  <a:lnTo>
                    <a:pt x="3422" y="6793"/>
                  </a:lnTo>
                  <a:lnTo>
                    <a:pt x="3548" y="6691"/>
                  </a:lnTo>
                  <a:lnTo>
                    <a:pt x="3620" y="6547"/>
                  </a:lnTo>
                  <a:lnTo>
                    <a:pt x="3674" y="6571"/>
                  </a:lnTo>
                  <a:lnTo>
                    <a:pt x="3668" y="6637"/>
                  </a:lnTo>
                  <a:lnTo>
                    <a:pt x="3584" y="6733"/>
                  </a:lnTo>
                  <a:lnTo>
                    <a:pt x="3494" y="6853"/>
                  </a:lnTo>
                  <a:lnTo>
                    <a:pt x="3638" y="6757"/>
                  </a:lnTo>
                  <a:lnTo>
                    <a:pt x="3734" y="6661"/>
                  </a:lnTo>
                  <a:lnTo>
                    <a:pt x="3863" y="6425"/>
                  </a:lnTo>
                  <a:lnTo>
                    <a:pt x="3951" y="6362"/>
                  </a:lnTo>
                  <a:lnTo>
                    <a:pt x="4034" y="6295"/>
                  </a:lnTo>
                  <a:lnTo>
                    <a:pt x="4136" y="6187"/>
                  </a:lnTo>
                  <a:lnTo>
                    <a:pt x="4141" y="6031"/>
                  </a:lnTo>
                  <a:lnTo>
                    <a:pt x="4179" y="5810"/>
                  </a:lnTo>
                  <a:lnTo>
                    <a:pt x="4288" y="5673"/>
                  </a:lnTo>
                  <a:lnTo>
                    <a:pt x="4352" y="5609"/>
                  </a:lnTo>
                  <a:lnTo>
                    <a:pt x="4489" y="5536"/>
                  </a:lnTo>
                  <a:lnTo>
                    <a:pt x="4645" y="5462"/>
                  </a:lnTo>
                  <a:lnTo>
                    <a:pt x="4791" y="5426"/>
                  </a:lnTo>
                  <a:lnTo>
                    <a:pt x="4919" y="5334"/>
                  </a:lnTo>
                  <a:lnTo>
                    <a:pt x="5020" y="5344"/>
                  </a:lnTo>
                  <a:lnTo>
                    <a:pt x="5148" y="5280"/>
                  </a:lnTo>
                  <a:lnTo>
                    <a:pt x="5321" y="5298"/>
                  </a:lnTo>
                  <a:lnTo>
                    <a:pt x="5395" y="5216"/>
                  </a:lnTo>
                  <a:lnTo>
                    <a:pt x="5523" y="5152"/>
                  </a:lnTo>
                  <a:lnTo>
                    <a:pt x="5587" y="5051"/>
                  </a:lnTo>
                  <a:lnTo>
                    <a:pt x="5605" y="4960"/>
                  </a:lnTo>
                  <a:lnTo>
                    <a:pt x="5670" y="4906"/>
                  </a:lnTo>
                  <a:lnTo>
                    <a:pt x="5714" y="4825"/>
                  </a:lnTo>
                  <a:lnTo>
                    <a:pt x="5774" y="4735"/>
                  </a:lnTo>
                  <a:lnTo>
                    <a:pt x="5858" y="4675"/>
                  </a:lnTo>
                  <a:lnTo>
                    <a:pt x="5834" y="4549"/>
                  </a:lnTo>
                  <a:lnTo>
                    <a:pt x="5924" y="4423"/>
                  </a:lnTo>
                  <a:lnTo>
                    <a:pt x="5990" y="4339"/>
                  </a:lnTo>
                  <a:lnTo>
                    <a:pt x="5990" y="4219"/>
                  </a:lnTo>
                  <a:lnTo>
                    <a:pt x="6046" y="4190"/>
                  </a:lnTo>
                  <a:lnTo>
                    <a:pt x="6050" y="4060"/>
                  </a:lnTo>
                  <a:lnTo>
                    <a:pt x="6053" y="3844"/>
                  </a:lnTo>
                  <a:lnTo>
                    <a:pt x="6116" y="3685"/>
                  </a:lnTo>
                  <a:lnTo>
                    <a:pt x="6086" y="3613"/>
                  </a:lnTo>
                  <a:lnTo>
                    <a:pt x="6158" y="3493"/>
                  </a:lnTo>
                  <a:lnTo>
                    <a:pt x="6254" y="3463"/>
                  </a:lnTo>
                  <a:lnTo>
                    <a:pt x="6338" y="3367"/>
                  </a:lnTo>
                  <a:lnTo>
                    <a:pt x="6372" y="3248"/>
                  </a:lnTo>
                  <a:lnTo>
                    <a:pt x="6484" y="3071"/>
                  </a:lnTo>
                  <a:lnTo>
                    <a:pt x="6654" y="2950"/>
                  </a:lnTo>
                  <a:lnTo>
                    <a:pt x="6800" y="2809"/>
                  </a:lnTo>
                  <a:lnTo>
                    <a:pt x="6885" y="2592"/>
                  </a:lnTo>
                  <a:lnTo>
                    <a:pt x="6931" y="2372"/>
                  </a:lnTo>
                  <a:lnTo>
                    <a:pt x="6896" y="2149"/>
                  </a:lnTo>
                  <a:close/>
                </a:path>
              </a:pathLst>
            </a:custGeom>
            <a:solidFill>
              <a:schemeClr val="accent2"/>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a:defRPr/>
              </a:pPr>
              <a:endParaRPr lang="zh-CN" altLang="en-US" b="1" kern="0">
                <a:solidFill>
                  <a:srgbClr val="000000"/>
                </a:solidFill>
                <a:latin typeface="Arial" charset="0"/>
                <a:ea typeface="+mn-ea"/>
              </a:endParaRPr>
            </a:p>
          </p:txBody>
        </p:sp>
        <p:sp>
          <p:nvSpPr>
            <p:cNvPr id="66" name="Freeform 163">
              <a:extLst>
                <a:ext uri="{FF2B5EF4-FFF2-40B4-BE49-F238E27FC236}">
                  <a16:creationId xmlns:a16="http://schemas.microsoft.com/office/drawing/2014/main" id="{D3CBA578-C9D2-DB9B-22ED-44BCE1E1C912}"/>
                </a:ext>
              </a:extLst>
            </p:cNvPr>
            <p:cNvSpPr>
              <a:spLocks/>
            </p:cNvSpPr>
            <p:nvPr/>
          </p:nvSpPr>
          <p:spPr bwMode="auto">
            <a:xfrm>
              <a:off x="3438435" y="4232275"/>
              <a:ext cx="434970" cy="474662"/>
            </a:xfrm>
            <a:custGeom>
              <a:avLst/>
              <a:gdLst/>
              <a:ahLst/>
              <a:cxnLst>
                <a:cxn ang="0">
                  <a:pos x="0" y="519"/>
                </a:cxn>
                <a:cxn ang="0">
                  <a:pos x="47" y="598"/>
                </a:cxn>
                <a:cxn ang="0">
                  <a:pos x="102" y="685"/>
                </a:cxn>
                <a:cxn ang="0">
                  <a:pos x="168" y="747"/>
                </a:cxn>
                <a:cxn ang="0">
                  <a:pos x="240" y="814"/>
                </a:cxn>
                <a:cxn ang="0">
                  <a:pos x="350" y="861"/>
                </a:cxn>
                <a:cxn ang="0">
                  <a:pos x="465" y="903"/>
                </a:cxn>
                <a:cxn ang="0">
                  <a:pos x="527" y="973"/>
                </a:cxn>
                <a:cxn ang="0">
                  <a:pos x="641" y="1026"/>
                </a:cxn>
                <a:cxn ang="0">
                  <a:pos x="725" y="1054"/>
                </a:cxn>
                <a:cxn ang="0">
                  <a:pos x="797" y="1086"/>
                </a:cxn>
                <a:cxn ang="0">
                  <a:pos x="732" y="1210"/>
                </a:cxn>
                <a:cxn ang="0">
                  <a:pos x="662" y="1311"/>
                </a:cxn>
                <a:cxn ang="0">
                  <a:pos x="584" y="1414"/>
                </a:cxn>
                <a:cxn ang="0">
                  <a:pos x="678" y="1482"/>
                </a:cxn>
                <a:cxn ang="0">
                  <a:pos x="863" y="1491"/>
                </a:cxn>
                <a:cxn ang="0">
                  <a:pos x="1056" y="1494"/>
                </a:cxn>
                <a:cxn ang="0">
                  <a:pos x="1096" y="1462"/>
                </a:cxn>
                <a:cxn ang="0">
                  <a:pos x="1131" y="1441"/>
                </a:cxn>
                <a:cxn ang="0">
                  <a:pos x="1194" y="1363"/>
                </a:cxn>
                <a:cxn ang="0">
                  <a:pos x="1254" y="1296"/>
                </a:cxn>
                <a:cxn ang="0">
                  <a:pos x="1293" y="1173"/>
                </a:cxn>
                <a:cxn ang="0">
                  <a:pos x="1301" y="1095"/>
                </a:cxn>
                <a:cxn ang="0">
                  <a:pos x="1340" y="1011"/>
                </a:cxn>
                <a:cxn ang="0">
                  <a:pos x="1371" y="942"/>
                </a:cxn>
                <a:cxn ang="0">
                  <a:pos x="1320" y="850"/>
                </a:cxn>
                <a:cxn ang="0">
                  <a:pos x="1200" y="883"/>
                </a:cxn>
                <a:cxn ang="0">
                  <a:pos x="1199" y="747"/>
                </a:cxn>
                <a:cxn ang="0">
                  <a:pos x="1172" y="604"/>
                </a:cxn>
                <a:cxn ang="0">
                  <a:pos x="1092" y="573"/>
                </a:cxn>
                <a:cxn ang="0">
                  <a:pos x="1028" y="549"/>
                </a:cxn>
                <a:cxn ang="0">
                  <a:pos x="807" y="529"/>
                </a:cxn>
                <a:cxn ang="0">
                  <a:pos x="824" y="432"/>
                </a:cxn>
                <a:cxn ang="0">
                  <a:pos x="807" y="261"/>
                </a:cxn>
                <a:cxn ang="0">
                  <a:pos x="842" y="82"/>
                </a:cxn>
                <a:cxn ang="0">
                  <a:pos x="725" y="64"/>
                </a:cxn>
                <a:cxn ang="0">
                  <a:pos x="623" y="36"/>
                </a:cxn>
                <a:cxn ang="0">
                  <a:pos x="470" y="28"/>
                </a:cxn>
                <a:cxn ang="0">
                  <a:pos x="309" y="27"/>
                </a:cxn>
                <a:cxn ang="0">
                  <a:pos x="200" y="0"/>
                </a:cxn>
                <a:cxn ang="0">
                  <a:pos x="138" y="136"/>
                </a:cxn>
                <a:cxn ang="0">
                  <a:pos x="65" y="237"/>
                </a:cxn>
                <a:cxn ang="0">
                  <a:pos x="47" y="363"/>
                </a:cxn>
                <a:cxn ang="0">
                  <a:pos x="0" y="519"/>
                </a:cxn>
              </a:cxnLst>
              <a:rect l="0" t="0" r="r" b="b"/>
              <a:pathLst>
                <a:path w="1371" h="1494">
                  <a:moveTo>
                    <a:pt x="0" y="519"/>
                  </a:moveTo>
                  <a:lnTo>
                    <a:pt x="47" y="598"/>
                  </a:lnTo>
                  <a:lnTo>
                    <a:pt x="102" y="685"/>
                  </a:lnTo>
                  <a:lnTo>
                    <a:pt x="168" y="747"/>
                  </a:lnTo>
                  <a:lnTo>
                    <a:pt x="240" y="814"/>
                  </a:lnTo>
                  <a:lnTo>
                    <a:pt x="350" y="861"/>
                  </a:lnTo>
                  <a:lnTo>
                    <a:pt x="465" y="903"/>
                  </a:lnTo>
                  <a:lnTo>
                    <a:pt x="527" y="973"/>
                  </a:lnTo>
                  <a:lnTo>
                    <a:pt x="641" y="1026"/>
                  </a:lnTo>
                  <a:lnTo>
                    <a:pt x="725" y="1054"/>
                  </a:lnTo>
                  <a:lnTo>
                    <a:pt x="797" y="1086"/>
                  </a:lnTo>
                  <a:lnTo>
                    <a:pt x="732" y="1210"/>
                  </a:lnTo>
                  <a:lnTo>
                    <a:pt x="662" y="1311"/>
                  </a:lnTo>
                  <a:lnTo>
                    <a:pt x="584" y="1414"/>
                  </a:lnTo>
                  <a:lnTo>
                    <a:pt x="678" y="1482"/>
                  </a:lnTo>
                  <a:lnTo>
                    <a:pt x="863" y="1491"/>
                  </a:lnTo>
                  <a:lnTo>
                    <a:pt x="1056" y="1494"/>
                  </a:lnTo>
                  <a:lnTo>
                    <a:pt x="1096" y="1462"/>
                  </a:lnTo>
                  <a:lnTo>
                    <a:pt x="1131" y="1441"/>
                  </a:lnTo>
                  <a:lnTo>
                    <a:pt x="1194" y="1363"/>
                  </a:lnTo>
                  <a:lnTo>
                    <a:pt x="1254" y="1296"/>
                  </a:lnTo>
                  <a:lnTo>
                    <a:pt x="1293" y="1173"/>
                  </a:lnTo>
                  <a:lnTo>
                    <a:pt x="1301" y="1095"/>
                  </a:lnTo>
                  <a:lnTo>
                    <a:pt x="1340" y="1011"/>
                  </a:lnTo>
                  <a:lnTo>
                    <a:pt x="1371" y="942"/>
                  </a:lnTo>
                  <a:lnTo>
                    <a:pt x="1320" y="850"/>
                  </a:lnTo>
                  <a:lnTo>
                    <a:pt x="1200" y="883"/>
                  </a:lnTo>
                  <a:lnTo>
                    <a:pt x="1199" y="747"/>
                  </a:lnTo>
                  <a:lnTo>
                    <a:pt x="1172" y="604"/>
                  </a:lnTo>
                  <a:lnTo>
                    <a:pt x="1092" y="573"/>
                  </a:lnTo>
                  <a:lnTo>
                    <a:pt x="1028" y="549"/>
                  </a:lnTo>
                  <a:lnTo>
                    <a:pt x="807" y="529"/>
                  </a:lnTo>
                  <a:lnTo>
                    <a:pt x="824" y="432"/>
                  </a:lnTo>
                  <a:lnTo>
                    <a:pt x="807" y="261"/>
                  </a:lnTo>
                  <a:lnTo>
                    <a:pt x="842" y="82"/>
                  </a:lnTo>
                  <a:lnTo>
                    <a:pt x="725" y="64"/>
                  </a:lnTo>
                  <a:lnTo>
                    <a:pt x="623" y="36"/>
                  </a:lnTo>
                  <a:lnTo>
                    <a:pt x="470" y="28"/>
                  </a:lnTo>
                  <a:lnTo>
                    <a:pt x="309" y="27"/>
                  </a:lnTo>
                  <a:lnTo>
                    <a:pt x="200" y="0"/>
                  </a:lnTo>
                  <a:lnTo>
                    <a:pt x="138" y="136"/>
                  </a:lnTo>
                  <a:lnTo>
                    <a:pt x="65" y="237"/>
                  </a:lnTo>
                  <a:lnTo>
                    <a:pt x="47" y="363"/>
                  </a:lnTo>
                  <a:lnTo>
                    <a:pt x="0" y="519"/>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67" name="Freeform 164">
              <a:extLst>
                <a:ext uri="{FF2B5EF4-FFF2-40B4-BE49-F238E27FC236}">
                  <a16:creationId xmlns:a16="http://schemas.microsoft.com/office/drawing/2014/main" id="{207271F2-6F4C-C341-8AA7-354CFBC9DBA6}"/>
                </a:ext>
              </a:extLst>
            </p:cNvPr>
            <p:cNvSpPr>
              <a:spLocks/>
            </p:cNvSpPr>
            <p:nvPr/>
          </p:nvSpPr>
          <p:spPr bwMode="auto">
            <a:xfrm>
              <a:off x="2811379" y="4370387"/>
              <a:ext cx="1071551" cy="1671638"/>
            </a:xfrm>
            <a:custGeom>
              <a:avLst/>
              <a:gdLst/>
              <a:ahLst/>
              <a:cxnLst>
                <a:cxn ang="0">
                  <a:pos x="912" y="840"/>
                </a:cxn>
                <a:cxn ang="0">
                  <a:pos x="808" y="1032"/>
                </a:cxn>
                <a:cxn ang="0">
                  <a:pos x="664" y="1336"/>
                </a:cxn>
                <a:cxn ang="0">
                  <a:pos x="600" y="1624"/>
                </a:cxn>
                <a:cxn ang="0">
                  <a:pos x="632" y="2000"/>
                </a:cxn>
                <a:cxn ang="0">
                  <a:pos x="560" y="2304"/>
                </a:cxn>
                <a:cxn ang="0">
                  <a:pos x="424" y="2600"/>
                </a:cxn>
                <a:cxn ang="0">
                  <a:pos x="376" y="3024"/>
                </a:cxn>
                <a:cxn ang="0">
                  <a:pos x="296" y="3392"/>
                </a:cxn>
                <a:cxn ang="0">
                  <a:pos x="240" y="3696"/>
                </a:cxn>
                <a:cxn ang="0">
                  <a:pos x="255" y="3934"/>
                </a:cxn>
                <a:cxn ang="0">
                  <a:pos x="360" y="4112"/>
                </a:cxn>
                <a:cxn ang="0">
                  <a:pos x="280" y="4336"/>
                </a:cxn>
                <a:cxn ang="0">
                  <a:pos x="96" y="4712"/>
                </a:cxn>
                <a:cxn ang="0">
                  <a:pos x="56" y="4992"/>
                </a:cxn>
                <a:cxn ang="0">
                  <a:pos x="184" y="5152"/>
                </a:cxn>
                <a:cxn ang="0">
                  <a:pos x="624" y="5264"/>
                </a:cxn>
                <a:cxn ang="0">
                  <a:pos x="651" y="4922"/>
                </a:cxn>
                <a:cxn ang="0">
                  <a:pos x="888" y="4664"/>
                </a:cxn>
                <a:cxn ang="0">
                  <a:pos x="1056" y="4504"/>
                </a:cxn>
                <a:cxn ang="0">
                  <a:pos x="888" y="4328"/>
                </a:cxn>
                <a:cxn ang="0">
                  <a:pos x="968" y="4112"/>
                </a:cxn>
                <a:cxn ang="0">
                  <a:pos x="1160" y="3992"/>
                </a:cxn>
                <a:cxn ang="0">
                  <a:pos x="1344" y="3744"/>
                </a:cxn>
                <a:cxn ang="0">
                  <a:pos x="1280" y="3544"/>
                </a:cxn>
                <a:cxn ang="0">
                  <a:pos x="1384" y="3368"/>
                </a:cxn>
                <a:cxn ang="0">
                  <a:pos x="1696" y="3392"/>
                </a:cxn>
                <a:cxn ang="0">
                  <a:pos x="1776" y="3048"/>
                </a:cxn>
                <a:cxn ang="0">
                  <a:pos x="2184" y="3040"/>
                </a:cxn>
                <a:cxn ang="0">
                  <a:pos x="2544" y="2848"/>
                </a:cxn>
                <a:cxn ang="0">
                  <a:pos x="2568" y="2608"/>
                </a:cxn>
                <a:cxn ang="0">
                  <a:pos x="2536" y="2400"/>
                </a:cxn>
                <a:cxn ang="0">
                  <a:pos x="2448" y="2144"/>
                </a:cxn>
                <a:cxn ang="0">
                  <a:pos x="2544" y="1816"/>
                </a:cxn>
                <a:cxn ang="0">
                  <a:pos x="2684" y="1566"/>
                </a:cxn>
                <a:cxn ang="0">
                  <a:pos x="3000" y="1192"/>
                </a:cxn>
                <a:cxn ang="0">
                  <a:pos x="3368" y="964"/>
                </a:cxn>
                <a:cxn ang="0">
                  <a:pos x="3280" y="658"/>
                </a:cxn>
                <a:cxn ang="0">
                  <a:pos x="3104" y="1008"/>
                </a:cxn>
                <a:cxn ang="0">
                  <a:pos x="2560" y="976"/>
                </a:cxn>
                <a:cxn ang="0">
                  <a:pos x="2776" y="648"/>
                </a:cxn>
                <a:cxn ang="0">
                  <a:pos x="2440" y="464"/>
                </a:cxn>
                <a:cxn ang="0">
                  <a:pos x="2072" y="240"/>
                </a:cxn>
                <a:cxn ang="0">
                  <a:pos x="1728" y="64"/>
                </a:cxn>
                <a:cxn ang="0">
                  <a:pos x="1552" y="56"/>
                </a:cxn>
                <a:cxn ang="0">
                  <a:pos x="1336" y="56"/>
                </a:cxn>
                <a:cxn ang="0">
                  <a:pos x="1176" y="288"/>
                </a:cxn>
                <a:cxn ang="0">
                  <a:pos x="976" y="480"/>
                </a:cxn>
              </a:cxnLst>
              <a:rect l="0" t="0" r="r" b="b"/>
              <a:pathLst>
                <a:path w="3378" h="5264">
                  <a:moveTo>
                    <a:pt x="952" y="632"/>
                  </a:moveTo>
                  <a:lnTo>
                    <a:pt x="952" y="752"/>
                  </a:lnTo>
                  <a:lnTo>
                    <a:pt x="912" y="840"/>
                  </a:lnTo>
                  <a:lnTo>
                    <a:pt x="976" y="904"/>
                  </a:lnTo>
                  <a:lnTo>
                    <a:pt x="888" y="960"/>
                  </a:lnTo>
                  <a:lnTo>
                    <a:pt x="808" y="1032"/>
                  </a:lnTo>
                  <a:lnTo>
                    <a:pt x="760" y="1160"/>
                  </a:lnTo>
                  <a:lnTo>
                    <a:pt x="712" y="1240"/>
                  </a:lnTo>
                  <a:lnTo>
                    <a:pt x="664" y="1336"/>
                  </a:lnTo>
                  <a:lnTo>
                    <a:pt x="680" y="1440"/>
                  </a:lnTo>
                  <a:lnTo>
                    <a:pt x="656" y="1520"/>
                  </a:lnTo>
                  <a:lnTo>
                    <a:pt x="600" y="1624"/>
                  </a:lnTo>
                  <a:lnTo>
                    <a:pt x="560" y="1728"/>
                  </a:lnTo>
                  <a:lnTo>
                    <a:pt x="600" y="1848"/>
                  </a:lnTo>
                  <a:lnTo>
                    <a:pt x="632" y="2000"/>
                  </a:lnTo>
                  <a:lnTo>
                    <a:pt x="664" y="2104"/>
                  </a:lnTo>
                  <a:lnTo>
                    <a:pt x="656" y="2192"/>
                  </a:lnTo>
                  <a:lnTo>
                    <a:pt x="560" y="2304"/>
                  </a:lnTo>
                  <a:lnTo>
                    <a:pt x="544" y="2384"/>
                  </a:lnTo>
                  <a:lnTo>
                    <a:pt x="560" y="2488"/>
                  </a:lnTo>
                  <a:lnTo>
                    <a:pt x="424" y="2600"/>
                  </a:lnTo>
                  <a:lnTo>
                    <a:pt x="424" y="2768"/>
                  </a:lnTo>
                  <a:lnTo>
                    <a:pt x="464" y="2976"/>
                  </a:lnTo>
                  <a:lnTo>
                    <a:pt x="376" y="3024"/>
                  </a:lnTo>
                  <a:lnTo>
                    <a:pt x="352" y="3136"/>
                  </a:lnTo>
                  <a:lnTo>
                    <a:pt x="312" y="3272"/>
                  </a:lnTo>
                  <a:lnTo>
                    <a:pt x="296" y="3392"/>
                  </a:lnTo>
                  <a:lnTo>
                    <a:pt x="312" y="3520"/>
                  </a:lnTo>
                  <a:lnTo>
                    <a:pt x="256" y="3576"/>
                  </a:lnTo>
                  <a:lnTo>
                    <a:pt x="240" y="3696"/>
                  </a:lnTo>
                  <a:lnTo>
                    <a:pt x="296" y="3760"/>
                  </a:lnTo>
                  <a:lnTo>
                    <a:pt x="304" y="3856"/>
                  </a:lnTo>
                  <a:lnTo>
                    <a:pt x="255" y="3934"/>
                  </a:lnTo>
                  <a:lnTo>
                    <a:pt x="384" y="3936"/>
                  </a:lnTo>
                  <a:lnTo>
                    <a:pt x="296" y="4032"/>
                  </a:lnTo>
                  <a:lnTo>
                    <a:pt x="360" y="4112"/>
                  </a:lnTo>
                  <a:lnTo>
                    <a:pt x="288" y="4152"/>
                  </a:lnTo>
                  <a:lnTo>
                    <a:pt x="280" y="4240"/>
                  </a:lnTo>
                  <a:lnTo>
                    <a:pt x="280" y="4336"/>
                  </a:lnTo>
                  <a:lnTo>
                    <a:pt x="176" y="4512"/>
                  </a:lnTo>
                  <a:lnTo>
                    <a:pt x="176" y="4632"/>
                  </a:lnTo>
                  <a:lnTo>
                    <a:pt x="96" y="4712"/>
                  </a:lnTo>
                  <a:lnTo>
                    <a:pt x="0" y="4808"/>
                  </a:lnTo>
                  <a:lnTo>
                    <a:pt x="32" y="4904"/>
                  </a:lnTo>
                  <a:lnTo>
                    <a:pt x="56" y="4992"/>
                  </a:lnTo>
                  <a:lnTo>
                    <a:pt x="160" y="4992"/>
                  </a:lnTo>
                  <a:lnTo>
                    <a:pt x="176" y="5080"/>
                  </a:lnTo>
                  <a:lnTo>
                    <a:pt x="184" y="5152"/>
                  </a:lnTo>
                  <a:lnTo>
                    <a:pt x="272" y="5208"/>
                  </a:lnTo>
                  <a:lnTo>
                    <a:pt x="416" y="5192"/>
                  </a:lnTo>
                  <a:lnTo>
                    <a:pt x="624" y="5264"/>
                  </a:lnTo>
                  <a:lnTo>
                    <a:pt x="600" y="5128"/>
                  </a:lnTo>
                  <a:lnTo>
                    <a:pt x="560" y="5024"/>
                  </a:lnTo>
                  <a:lnTo>
                    <a:pt x="651" y="4922"/>
                  </a:lnTo>
                  <a:lnTo>
                    <a:pt x="781" y="4878"/>
                  </a:lnTo>
                  <a:lnTo>
                    <a:pt x="784" y="4768"/>
                  </a:lnTo>
                  <a:lnTo>
                    <a:pt x="888" y="4664"/>
                  </a:lnTo>
                  <a:lnTo>
                    <a:pt x="968" y="4632"/>
                  </a:lnTo>
                  <a:lnTo>
                    <a:pt x="1048" y="4584"/>
                  </a:lnTo>
                  <a:lnTo>
                    <a:pt x="1056" y="4504"/>
                  </a:lnTo>
                  <a:lnTo>
                    <a:pt x="1072" y="4440"/>
                  </a:lnTo>
                  <a:lnTo>
                    <a:pt x="968" y="4408"/>
                  </a:lnTo>
                  <a:lnTo>
                    <a:pt x="888" y="4328"/>
                  </a:lnTo>
                  <a:lnTo>
                    <a:pt x="840" y="4248"/>
                  </a:lnTo>
                  <a:lnTo>
                    <a:pt x="904" y="4168"/>
                  </a:lnTo>
                  <a:lnTo>
                    <a:pt x="968" y="4112"/>
                  </a:lnTo>
                  <a:lnTo>
                    <a:pt x="1024" y="4072"/>
                  </a:lnTo>
                  <a:lnTo>
                    <a:pt x="1104" y="4048"/>
                  </a:lnTo>
                  <a:lnTo>
                    <a:pt x="1160" y="3992"/>
                  </a:lnTo>
                  <a:lnTo>
                    <a:pt x="1216" y="3888"/>
                  </a:lnTo>
                  <a:lnTo>
                    <a:pt x="1232" y="3792"/>
                  </a:lnTo>
                  <a:lnTo>
                    <a:pt x="1344" y="3744"/>
                  </a:lnTo>
                  <a:lnTo>
                    <a:pt x="1272" y="3672"/>
                  </a:lnTo>
                  <a:lnTo>
                    <a:pt x="1352" y="3624"/>
                  </a:lnTo>
                  <a:lnTo>
                    <a:pt x="1280" y="3544"/>
                  </a:lnTo>
                  <a:lnTo>
                    <a:pt x="1280" y="3432"/>
                  </a:lnTo>
                  <a:lnTo>
                    <a:pt x="1281" y="3325"/>
                  </a:lnTo>
                  <a:lnTo>
                    <a:pt x="1384" y="3368"/>
                  </a:lnTo>
                  <a:lnTo>
                    <a:pt x="1456" y="3392"/>
                  </a:lnTo>
                  <a:lnTo>
                    <a:pt x="1552" y="3424"/>
                  </a:lnTo>
                  <a:lnTo>
                    <a:pt x="1696" y="3392"/>
                  </a:lnTo>
                  <a:lnTo>
                    <a:pt x="1688" y="3256"/>
                  </a:lnTo>
                  <a:lnTo>
                    <a:pt x="1760" y="3152"/>
                  </a:lnTo>
                  <a:lnTo>
                    <a:pt x="1776" y="3048"/>
                  </a:lnTo>
                  <a:lnTo>
                    <a:pt x="1880" y="3080"/>
                  </a:lnTo>
                  <a:lnTo>
                    <a:pt x="2000" y="3064"/>
                  </a:lnTo>
                  <a:lnTo>
                    <a:pt x="2184" y="3040"/>
                  </a:lnTo>
                  <a:lnTo>
                    <a:pt x="2352" y="2992"/>
                  </a:lnTo>
                  <a:lnTo>
                    <a:pt x="2456" y="2952"/>
                  </a:lnTo>
                  <a:lnTo>
                    <a:pt x="2544" y="2848"/>
                  </a:lnTo>
                  <a:lnTo>
                    <a:pt x="2632" y="2752"/>
                  </a:lnTo>
                  <a:lnTo>
                    <a:pt x="2640" y="2656"/>
                  </a:lnTo>
                  <a:lnTo>
                    <a:pt x="2568" y="2608"/>
                  </a:lnTo>
                  <a:lnTo>
                    <a:pt x="2560" y="2552"/>
                  </a:lnTo>
                  <a:lnTo>
                    <a:pt x="2592" y="2472"/>
                  </a:lnTo>
                  <a:lnTo>
                    <a:pt x="2536" y="2400"/>
                  </a:lnTo>
                  <a:lnTo>
                    <a:pt x="2424" y="2328"/>
                  </a:lnTo>
                  <a:lnTo>
                    <a:pt x="2448" y="2208"/>
                  </a:lnTo>
                  <a:lnTo>
                    <a:pt x="2448" y="2144"/>
                  </a:lnTo>
                  <a:lnTo>
                    <a:pt x="2488" y="2056"/>
                  </a:lnTo>
                  <a:lnTo>
                    <a:pt x="2504" y="1952"/>
                  </a:lnTo>
                  <a:lnTo>
                    <a:pt x="2544" y="1816"/>
                  </a:lnTo>
                  <a:lnTo>
                    <a:pt x="2592" y="1704"/>
                  </a:lnTo>
                  <a:lnTo>
                    <a:pt x="2616" y="1584"/>
                  </a:lnTo>
                  <a:lnTo>
                    <a:pt x="2684" y="1566"/>
                  </a:lnTo>
                  <a:lnTo>
                    <a:pt x="2754" y="1460"/>
                  </a:lnTo>
                  <a:lnTo>
                    <a:pt x="2886" y="1308"/>
                  </a:lnTo>
                  <a:lnTo>
                    <a:pt x="3000" y="1192"/>
                  </a:lnTo>
                  <a:lnTo>
                    <a:pt x="3168" y="1096"/>
                  </a:lnTo>
                  <a:lnTo>
                    <a:pt x="3352" y="1034"/>
                  </a:lnTo>
                  <a:lnTo>
                    <a:pt x="3368" y="964"/>
                  </a:lnTo>
                  <a:lnTo>
                    <a:pt x="3378" y="908"/>
                  </a:lnTo>
                  <a:lnTo>
                    <a:pt x="3354" y="754"/>
                  </a:lnTo>
                  <a:lnTo>
                    <a:pt x="3280" y="658"/>
                  </a:lnTo>
                  <a:lnTo>
                    <a:pt x="3272" y="728"/>
                  </a:lnTo>
                  <a:lnTo>
                    <a:pt x="3232" y="856"/>
                  </a:lnTo>
                  <a:lnTo>
                    <a:pt x="3104" y="1008"/>
                  </a:lnTo>
                  <a:lnTo>
                    <a:pt x="3032" y="1056"/>
                  </a:lnTo>
                  <a:lnTo>
                    <a:pt x="2656" y="1048"/>
                  </a:lnTo>
                  <a:lnTo>
                    <a:pt x="2560" y="976"/>
                  </a:lnTo>
                  <a:lnTo>
                    <a:pt x="2640" y="872"/>
                  </a:lnTo>
                  <a:lnTo>
                    <a:pt x="2712" y="768"/>
                  </a:lnTo>
                  <a:lnTo>
                    <a:pt x="2776" y="648"/>
                  </a:lnTo>
                  <a:lnTo>
                    <a:pt x="2608" y="584"/>
                  </a:lnTo>
                  <a:lnTo>
                    <a:pt x="2504" y="536"/>
                  </a:lnTo>
                  <a:lnTo>
                    <a:pt x="2440" y="464"/>
                  </a:lnTo>
                  <a:lnTo>
                    <a:pt x="2328" y="424"/>
                  </a:lnTo>
                  <a:lnTo>
                    <a:pt x="2216" y="376"/>
                  </a:lnTo>
                  <a:lnTo>
                    <a:pt x="2072" y="240"/>
                  </a:lnTo>
                  <a:lnTo>
                    <a:pt x="1976" y="80"/>
                  </a:lnTo>
                  <a:lnTo>
                    <a:pt x="1864" y="48"/>
                  </a:lnTo>
                  <a:lnTo>
                    <a:pt x="1728" y="64"/>
                  </a:lnTo>
                  <a:lnTo>
                    <a:pt x="1680" y="192"/>
                  </a:lnTo>
                  <a:lnTo>
                    <a:pt x="1640" y="104"/>
                  </a:lnTo>
                  <a:lnTo>
                    <a:pt x="1552" y="56"/>
                  </a:lnTo>
                  <a:lnTo>
                    <a:pt x="1440" y="64"/>
                  </a:lnTo>
                  <a:lnTo>
                    <a:pt x="1376" y="0"/>
                  </a:lnTo>
                  <a:lnTo>
                    <a:pt x="1336" y="56"/>
                  </a:lnTo>
                  <a:lnTo>
                    <a:pt x="1272" y="72"/>
                  </a:lnTo>
                  <a:lnTo>
                    <a:pt x="1208" y="176"/>
                  </a:lnTo>
                  <a:lnTo>
                    <a:pt x="1176" y="288"/>
                  </a:lnTo>
                  <a:lnTo>
                    <a:pt x="1168" y="400"/>
                  </a:lnTo>
                  <a:lnTo>
                    <a:pt x="1048" y="432"/>
                  </a:lnTo>
                  <a:lnTo>
                    <a:pt x="976" y="480"/>
                  </a:lnTo>
                  <a:lnTo>
                    <a:pt x="944" y="552"/>
                  </a:lnTo>
                  <a:lnTo>
                    <a:pt x="952" y="632"/>
                  </a:lnTo>
                  <a:close/>
                </a:path>
              </a:pathLst>
            </a:custGeom>
            <a:solidFill>
              <a:schemeClr val="accent2"/>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68" name="Freeform 165">
              <a:extLst>
                <a:ext uri="{FF2B5EF4-FFF2-40B4-BE49-F238E27FC236}">
                  <a16:creationId xmlns:a16="http://schemas.microsoft.com/office/drawing/2014/main" id="{8D7DE665-F001-B3B7-6BD4-3BC2875C1618}"/>
                </a:ext>
              </a:extLst>
            </p:cNvPr>
            <p:cNvSpPr>
              <a:spLocks/>
            </p:cNvSpPr>
            <p:nvPr/>
          </p:nvSpPr>
          <p:spPr bwMode="auto">
            <a:xfrm>
              <a:off x="2409745" y="3111501"/>
              <a:ext cx="714368" cy="1057275"/>
            </a:xfrm>
            <a:custGeom>
              <a:avLst/>
              <a:gdLst/>
              <a:ahLst/>
              <a:cxnLst>
                <a:cxn ang="0">
                  <a:pos x="1094" y="165"/>
                </a:cxn>
                <a:cxn ang="0">
                  <a:pos x="974" y="352"/>
                </a:cxn>
                <a:cxn ang="0">
                  <a:pos x="651" y="518"/>
                </a:cxn>
                <a:cxn ang="0">
                  <a:pos x="456" y="857"/>
                </a:cxn>
                <a:cxn ang="0">
                  <a:pos x="346" y="876"/>
                </a:cxn>
                <a:cxn ang="0">
                  <a:pos x="229" y="800"/>
                </a:cxn>
                <a:cxn ang="0">
                  <a:pos x="151" y="768"/>
                </a:cxn>
                <a:cxn ang="0">
                  <a:pos x="99" y="664"/>
                </a:cxn>
                <a:cxn ang="0">
                  <a:pos x="3" y="881"/>
                </a:cxn>
                <a:cxn ang="0">
                  <a:pos x="67" y="1048"/>
                </a:cxn>
                <a:cxn ang="0">
                  <a:pos x="40" y="1122"/>
                </a:cxn>
                <a:cxn ang="0">
                  <a:pos x="288" y="1298"/>
                </a:cxn>
                <a:cxn ang="0">
                  <a:pos x="365" y="1466"/>
                </a:cxn>
                <a:cxn ang="0">
                  <a:pos x="489" y="1715"/>
                </a:cxn>
                <a:cxn ang="0">
                  <a:pos x="657" y="2070"/>
                </a:cxn>
                <a:cxn ang="0">
                  <a:pos x="763" y="2234"/>
                </a:cxn>
                <a:cxn ang="0">
                  <a:pos x="878" y="2392"/>
                </a:cxn>
                <a:cxn ang="0">
                  <a:pos x="873" y="2536"/>
                </a:cxn>
                <a:cxn ang="0">
                  <a:pos x="1142" y="2838"/>
                </a:cxn>
                <a:cxn ang="0">
                  <a:pos x="1569" y="3059"/>
                </a:cxn>
                <a:cxn ang="0">
                  <a:pos x="1766" y="3227"/>
                </a:cxn>
                <a:cxn ang="0">
                  <a:pos x="2035" y="3288"/>
                </a:cxn>
                <a:cxn ang="0">
                  <a:pos x="2094" y="3225"/>
                </a:cxn>
                <a:cxn ang="0">
                  <a:pos x="2126" y="3059"/>
                </a:cxn>
                <a:cxn ang="0">
                  <a:pos x="2126" y="2920"/>
                </a:cxn>
                <a:cxn ang="0">
                  <a:pos x="2141" y="2781"/>
                </a:cxn>
                <a:cxn ang="0">
                  <a:pos x="2145" y="2651"/>
                </a:cxn>
                <a:cxn ang="0">
                  <a:pos x="2188" y="2477"/>
                </a:cxn>
                <a:cxn ang="0">
                  <a:pos x="2251" y="2262"/>
                </a:cxn>
                <a:cxn ang="0">
                  <a:pos x="1923" y="2002"/>
                </a:cxn>
                <a:cxn ang="0">
                  <a:pos x="1896" y="1719"/>
                </a:cxn>
                <a:cxn ang="0">
                  <a:pos x="1663" y="1837"/>
                </a:cxn>
                <a:cxn ang="0">
                  <a:pos x="1491" y="1693"/>
                </a:cxn>
                <a:cxn ang="0">
                  <a:pos x="1411" y="1492"/>
                </a:cxn>
                <a:cxn ang="0">
                  <a:pos x="1323" y="1345"/>
                </a:cxn>
                <a:cxn ang="0">
                  <a:pos x="1386" y="1225"/>
                </a:cxn>
                <a:cxn ang="0">
                  <a:pos x="1474" y="1062"/>
                </a:cxn>
                <a:cxn ang="0">
                  <a:pos x="1566" y="903"/>
                </a:cxn>
                <a:cxn ang="0">
                  <a:pos x="1816" y="784"/>
                </a:cxn>
                <a:cxn ang="0">
                  <a:pos x="2031" y="784"/>
                </a:cxn>
                <a:cxn ang="0">
                  <a:pos x="1920" y="693"/>
                </a:cxn>
                <a:cxn ang="0">
                  <a:pos x="1949" y="453"/>
                </a:cxn>
                <a:cxn ang="0">
                  <a:pos x="1800" y="429"/>
                </a:cxn>
                <a:cxn ang="0">
                  <a:pos x="1637" y="429"/>
                </a:cxn>
                <a:cxn ang="0">
                  <a:pos x="1478" y="419"/>
                </a:cxn>
                <a:cxn ang="0">
                  <a:pos x="1387" y="304"/>
                </a:cxn>
                <a:cxn ang="0">
                  <a:pos x="1305" y="194"/>
                </a:cxn>
                <a:cxn ang="0">
                  <a:pos x="1209" y="38"/>
                </a:cxn>
                <a:cxn ang="0">
                  <a:pos x="1032" y="2"/>
                </a:cxn>
              </a:cxnLst>
              <a:rect l="0" t="0" r="r" b="b"/>
              <a:pathLst>
                <a:path w="2251" h="3334">
                  <a:moveTo>
                    <a:pt x="1032" y="2"/>
                  </a:moveTo>
                  <a:lnTo>
                    <a:pt x="1094" y="165"/>
                  </a:lnTo>
                  <a:lnTo>
                    <a:pt x="1037" y="227"/>
                  </a:lnTo>
                  <a:lnTo>
                    <a:pt x="974" y="352"/>
                  </a:lnTo>
                  <a:lnTo>
                    <a:pt x="820" y="441"/>
                  </a:lnTo>
                  <a:lnTo>
                    <a:pt x="651" y="518"/>
                  </a:lnTo>
                  <a:lnTo>
                    <a:pt x="549" y="581"/>
                  </a:lnTo>
                  <a:lnTo>
                    <a:pt x="456" y="857"/>
                  </a:lnTo>
                  <a:lnTo>
                    <a:pt x="398" y="921"/>
                  </a:lnTo>
                  <a:lnTo>
                    <a:pt x="346" y="876"/>
                  </a:lnTo>
                  <a:lnTo>
                    <a:pt x="307" y="819"/>
                  </a:lnTo>
                  <a:lnTo>
                    <a:pt x="229" y="800"/>
                  </a:lnTo>
                  <a:lnTo>
                    <a:pt x="144" y="834"/>
                  </a:lnTo>
                  <a:lnTo>
                    <a:pt x="151" y="768"/>
                  </a:lnTo>
                  <a:lnTo>
                    <a:pt x="171" y="609"/>
                  </a:lnTo>
                  <a:lnTo>
                    <a:pt x="99" y="664"/>
                  </a:lnTo>
                  <a:lnTo>
                    <a:pt x="3" y="792"/>
                  </a:lnTo>
                  <a:lnTo>
                    <a:pt x="3" y="881"/>
                  </a:lnTo>
                  <a:lnTo>
                    <a:pt x="5" y="976"/>
                  </a:lnTo>
                  <a:lnTo>
                    <a:pt x="67" y="1048"/>
                  </a:lnTo>
                  <a:lnTo>
                    <a:pt x="0" y="1067"/>
                  </a:lnTo>
                  <a:lnTo>
                    <a:pt x="40" y="1122"/>
                  </a:lnTo>
                  <a:lnTo>
                    <a:pt x="201" y="1226"/>
                  </a:lnTo>
                  <a:lnTo>
                    <a:pt x="288" y="1298"/>
                  </a:lnTo>
                  <a:lnTo>
                    <a:pt x="312" y="1384"/>
                  </a:lnTo>
                  <a:lnTo>
                    <a:pt x="365" y="1466"/>
                  </a:lnTo>
                  <a:lnTo>
                    <a:pt x="427" y="1547"/>
                  </a:lnTo>
                  <a:lnTo>
                    <a:pt x="489" y="1715"/>
                  </a:lnTo>
                  <a:lnTo>
                    <a:pt x="590" y="1917"/>
                  </a:lnTo>
                  <a:lnTo>
                    <a:pt x="657" y="2070"/>
                  </a:lnTo>
                  <a:lnTo>
                    <a:pt x="729" y="2142"/>
                  </a:lnTo>
                  <a:lnTo>
                    <a:pt x="763" y="2234"/>
                  </a:lnTo>
                  <a:lnTo>
                    <a:pt x="849" y="2339"/>
                  </a:lnTo>
                  <a:lnTo>
                    <a:pt x="878" y="2392"/>
                  </a:lnTo>
                  <a:lnTo>
                    <a:pt x="917" y="2464"/>
                  </a:lnTo>
                  <a:lnTo>
                    <a:pt x="873" y="2536"/>
                  </a:lnTo>
                  <a:lnTo>
                    <a:pt x="969" y="2670"/>
                  </a:lnTo>
                  <a:lnTo>
                    <a:pt x="1142" y="2838"/>
                  </a:lnTo>
                  <a:lnTo>
                    <a:pt x="1445" y="3011"/>
                  </a:lnTo>
                  <a:lnTo>
                    <a:pt x="1569" y="3059"/>
                  </a:lnTo>
                  <a:lnTo>
                    <a:pt x="1737" y="3170"/>
                  </a:lnTo>
                  <a:lnTo>
                    <a:pt x="1766" y="3227"/>
                  </a:lnTo>
                  <a:lnTo>
                    <a:pt x="1921" y="3334"/>
                  </a:lnTo>
                  <a:lnTo>
                    <a:pt x="2035" y="3288"/>
                  </a:lnTo>
                  <a:lnTo>
                    <a:pt x="2020" y="3208"/>
                  </a:lnTo>
                  <a:lnTo>
                    <a:pt x="2094" y="3225"/>
                  </a:lnTo>
                  <a:lnTo>
                    <a:pt x="2071" y="3126"/>
                  </a:lnTo>
                  <a:lnTo>
                    <a:pt x="2126" y="3059"/>
                  </a:lnTo>
                  <a:lnTo>
                    <a:pt x="2193" y="2963"/>
                  </a:lnTo>
                  <a:lnTo>
                    <a:pt x="2126" y="2920"/>
                  </a:lnTo>
                  <a:lnTo>
                    <a:pt x="2117" y="2853"/>
                  </a:lnTo>
                  <a:lnTo>
                    <a:pt x="2141" y="2781"/>
                  </a:lnTo>
                  <a:lnTo>
                    <a:pt x="2107" y="2723"/>
                  </a:lnTo>
                  <a:lnTo>
                    <a:pt x="2145" y="2651"/>
                  </a:lnTo>
                  <a:lnTo>
                    <a:pt x="2209" y="2593"/>
                  </a:lnTo>
                  <a:lnTo>
                    <a:pt x="2188" y="2477"/>
                  </a:lnTo>
                  <a:lnTo>
                    <a:pt x="2189" y="2358"/>
                  </a:lnTo>
                  <a:lnTo>
                    <a:pt x="2251" y="2262"/>
                  </a:lnTo>
                  <a:lnTo>
                    <a:pt x="2079" y="1978"/>
                  </a:lnTo>
                  <a:lnTo>
                    <a:pt x="1923" y="2002"/>
                  </a:lnTo>
                  <a:lnTo>
                    <a:pt x="1918" y="1869"/>
                  </a:lnTo>
                  <a:lnTo>
                    <a:pt x="1896" y="1719"/>
                  </a:lnTo>
                  <a:lnTo>
                    <a:pt x="1786" y="1816"/>
                  </a:lnTo>
                  <a:lnTo>
                    <a:pt x="1663" y="1837"/>
                  </a:lnTo>
                  <a:lnTo>
                    <a:pt x="1594" y="1750"/>
                  </a:lnTo>
                  <a:lnTo>
                    <a:pt x="1491" y="1693"/>
                  </a:lnTo>
                  <a:lnTo>
                    <a:pt x="1459" y="1602"/>
                  </a:lnTo>
                  <a:lnTo>
                    <a:pt x="1411" y="1492"/>
                  </a:lnTo>
                  <a:lnTo>
                    <a:pt x="1353" y="1423"/>
                  </a:lnTo>
                  <a:lnTo>
                    <a:pt x="1323" y="1345"/>
                  </a:lnTo>
                  <a:lnTo>
                    <a:pt x="1341" y="1261"/>
                  </a:lnTo>
                  <a:lnTo>
                    <a:pt x="1386" y="1225"/>
                  </a:lnTo>
                  <a:lnTo>
                    <a:pt x="1468" y="1161"/>
                  </a:lnTo>
                  <a:lnTo>
                    <a:pt x="1474" y="1062"/>
                  </a:lnTo>
                  <a:lnTo>
                    <a:pt x="1513" y="1000"/>
                  </a:lnTo>
                  <a:lnTo>
                    <a:pt x="1566" y="903"/>
                  </a:lnTo>
                  <a:lnTo>
                    <a:pt x="1716" y="802"/>
                  </a:lnTo>
                  <a:lnTo>
                    <a:pt x="1816" y="784"/>
                  </a:lnTo>
                  <a:lnTo>
                    <a:pt x="1927" y="754"/>
                  </a:lnTo>
                  <a:lnTo>
                    <a:pt x="2031" y="784"/>
                  </a:lnTo>
                  <a:lnTo>
                    <a:pt x="1992" y="712"/>
                  </a:lnTo>
                  <a:lnTo>
                    <a:pt x="1920" y="693"/>
                  </a:lnTo>
                  <a:lnTo>
                    <a:pt x="2021" y="486"/>
                  </a:lnTo>
                  <a:lnTo>
                    <a:pt x="1949" y="453"/>
                  </a:lnTo>
                  <a:lnTo>
                    <a:pt x="1857" y="400"/>
                  </a:lnTo>
                  <a:lnTo>
                    <a:pt x="1800" y="429"/>
                  </a:lnTo>
                  <a:lnTo>
                    <a:pt x="1718" y="405"/>
                  </a:lnTo>
                  <a:lnTo>
                    <a:pt x="1637" y="429"/>
                  </a:lnTo>
                  <a:lnTo>
                    <a:pt x="1565" y="424"/>
                  </a:lnTo>
                  <a:lnTo>
                    <a:pt x="1478" y="419"/>
                  </a:lnTo>
                  <a:lnTo>
                    <a:pt x="1442" y="358"/>
                  </a:lnTo>
                  <a:lnTo>
                    <a:pt x="1387" y="304"/>
                  </a:lnTo>
                  <a:lnTo>
                    <a:pt x="1387" y="246"/>
                  </a:lnTo>
                  <a:lnTo>
                    <a:pt x="1305" y="194"/>
                  </a:lnTo>
                  <a:lnTo>
                    <a:pt x="1241" y="128"/>
                  </a:lnTo>
                  <a:lnTo>
                    <a:pt x="1209" y="38"/>
                  </a:lnTo>
                  <a:lnTo>
                    <a:pt x="1100" y="0"/>
                  </a:lnTo>
                  <a:lnTo>
                    <a:pt x="1032" y="2"/>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69" name="Freeform 166">
              <a:extLst>
                <a:ext uri="{FF2B5EF4-FFF2-40B4-BE49-F238E27FC236}">
                  <a16:creationId xmlns:a16="http://schemas.microsoft.com/office/drawing/2014/main" id="{677FEC19-B6CA-4278-875B-08F804BC5A46}"/>
                </a:ext>
              </a:extLst>
            </p:cNvPr>
            <p:cNvSpPr>
              <a:spLocks/>
            </p:cNvSpPr>
            <p:nvPr/>
          </p:nvSpPr>
          <p:spPr bwMode="auto">
            <a:xfrm>
              <a:off x="2528807" y="2398713"/>
              <a:ext cx="677855" cy="962025"/>
            </a:xfrm>
            <a:custGeom>
              <a:avLst/>
              <a:gdLst/>
              <a:ahLst/>
              <a:cxnLst>
                <a:cxn ang="0">
                  <a:pos x="1209" y="111"/>
                </a:cxn>
                <a:cxn ang="0">
                  <a:pos x="1002" y="221"/>
                </a:cxn>
                <a:cxn ang="0">
                  <a:pos x="831" y="309"/>
                </a:cxn>
                <a:cxn ang="0">
                  <a:pos x="705" y="295"/>
                </a:cxn>
                <a:cxn ang="0">
                  <a:pos x="601" y="551"/>
                </a:cxn>
                <a:cxn ang="0">
                  <a:pos x="416" y="712"/>
                </a:cxn>
                <a:cxn ang="0">
                  <a:pos x="430" y="802"/>
                </a:cxn>
                <a:cxn ang="0">
                  <a:pos x="361" y="769"/>
                </a:cxn>
                <a:cxn ang="0">
                  <a:pos x="290" y="838"/>
                </a:cxn>
                <a:cxn ang="0">
                  <a:pos x="259" y="820"/>
                </a:cxn>
                <a:cxn ang="0">
                  <a:pos x="263" y="854"/>
                </a:cxn>
                <a:cxn ang="0">
                  <a:pos x="238" y="880"/>
                </a:cxn>
                <a:cxn ang="0">
                  <a:pos x="289" y="985"/>
                </a:cxn>
                <a:cxn ang="0">
                  <a:pos x="282" y="1137"/>
                </a:cxn>
                <a:cxn ang="0">
                  <a:pos x="319" y="1408"/>
                </a:cxn>
                <a:cxn ang="0">
                  <a:pos x="290" y="1591"/>
                </a:cxn>
                <a:cxn ang="0">
                  <a:pos x="170" y="1760"/>
                </a:cxn>
                <a:cxn ang="0">
                  <a:pos x="82" y="1899"/>
                </a:cxn>
                <a:cxn ang="0">
                  <a:pos x="72" y="1999"/>
                </a:cxn>
                <a:cxn ang="0">
                  <a:pos x="319" y="2148"/>
                </a:cxn>
                <a:cxn ang="0">
                  <a:pos x="534" y="2104"/>
                </a:cxn>
                <a:cxn ang="0">
                  <a:pos x="656" y="2248"/>
                </a:cxn>
                <a:cxn ang="0">
                  <a:pos x="830" y="2282"/>
                </a:cxn>
                <a:cxn ang="0">
                  <a:pos x="932" y="2441"/>
                </a:cxn>
                <a:cxn ang="0">
                  <a:pos x="1010" y="2552"/>
                </a:cxn>
                <a:cxn ang="0">
                  <a:pos x="1100" y="2665"/>
                </a:cxn>
                <a:cxn ang="0">
                  <a:pos x="1342" y="2651"/>
                </a:cxn>
                <a:cxn ang="0">
                  <a:pos x="1481" y="2647"/>
                </a:cxn>
                <a:cxn ang="0">
                  <a:pos x="1645" y="2731"/>
                </a:cxn>
                <a:cxn ang="0">
                  <a:pos x="1616" y="2956"/>
                </a:cxn>
                <a:cxn ang="0">
                  <a:pos x="1786" y="2483"/>
                </a:cxn>
                <a:cxn ang="0">
                  <a:pos x="1753" y="2311"/>
                </a:cxn>
                <a:cxn ang="0">
                  <a:pos x="1657" y="2123"/>
                </a:cxn>
                <a:cxn ang="0">
                  <a:pos x="1843" y="2116"/>
                </a:cxn>
                <a:cxn ang="0">
                  <a:pos x="1715" y="2035"/>
                </a:cxn>
                <a:cxn ang="0">
                  <a:pos x="2014" y="1931"/>
                </a:cxn>
                <a:cxn ang="0">
                  <a:pos x="2089" y="1734"/>
                </a:cxn>
                <a:cxn ang="0">
                  <a:pos x="2115" y="1518"/>
                </a:cxn>
                <a:cxn ang="0">
                  <a:pos x="2011" y="1379"/>
                </a:cxn>
                <a:cxn ang="0">
                  <a:pos x="2011" y="1174"/>
                </a:cxn>
                <a:cxn ang="0">
                  <a:pos x="1803" y="1054"/>
                </a:cxn>
                <a:cxn ang="0">
                  <a:pos x="1596" y="910"/>
                </a:cxn>
                <a:cxn ang="0">
                  <a:pos x="1269" y="917"/>
                </a:cxn>
                <a:cxn ang="0">
                  <a:pos x="1187" y="698"/>
                </a:cxn>
                <a:cxn ang="0">
                  <a:pos x="1046" y="529"/>
                </a:cxn>
                <a:cxn ang="0">
                  <a:pos x="1180" y="244"/>
                </a:cxn>
                <a:cxn ang="0">
                  <a:pos x="1291" y="134"/>
                </a:cxn>
                <a:cxn ang="0">
                  <a:pos x="1434" y="37"/>
                </a:cxn>
              </a:cxnLst>
              <a:rect l="0" t="0" r="r" b="b"/>
              <a:pathLst>
                <a:path w="2135" h="3031">
                  <a:moveTo>
                    <a:pt x="1324" y="0"/>
                  </a:moveTo>
                  <a:lnTo>
                    <a:pt x="1209" y="111"/>
                  </a:lnTo>
                  <a:lnTo>
                    <a:pt x="1113" y="163"/>
                  </a:lnTo>
                  <a:lnTo>
                    <a:pt x="1002" y="221"/>
                  </a:lnTo>
                  <a:lnTo>
                    <a:pt x="876" y="207"/>
                  </a:lnTo>
                  <a:lnTo>
                    <a:pt x="831" y="309"/>
                  </a:lnTo>
                  <a:lnTo>
                    <a:pt x="765" y="251"/>
                  </a:lnTo>
                  <a:lnTo>
                    <a:pt x="705" y="295"/>
                  </a:lnTo>
                  <a:lnTo>
                    <a:pt x="601" y="397"/>
                  </a:lnTo>
                  <a:lnTo>
                    <a:pt x="601" y="551"/>
                  </a:lnTo>
                  <a:lnTo>
                    <a:pt x="519" y="587"/>
                  </a:lnTo>
                  <a:lnTo>
                    <a:pt x="416" y="712"/>
                  </a:lnTo>
                  <a:lnTo>
                    <a:pt x="452" y="772"/>
                  </a:lnTo>
                  <a:lnTo>
                    <a:pt x="430" y="802"/>
                  </a:lnTo>
                  <a:lnTo>
                    <a:pt x="400" y="751"/>
                  </a:lnTo>
                  <a:lnTo>
                    <a:pt x="361" y="769"/>
                  </a:lnTo>
                  <a:lnTo>
                    <a:pt x="331" y="820"/>
                  </a:lnTo>
                  <a:lnTo>
                    <a:pt x="290" y="838"/>
                  </a:lnTo>
                  <a:lnTo>
                    <a:pt x="274" y="820"/>
                  </a:lnTo>
                  <a:lnTo>
                    <a:pt x="259" y="820"/>
                  </a:lnTo>
                  <a:lnTo>
                    <a:pt x="259" y="835"/>
                  </a:lnTo>
                  <a:lnTo>
                    <a:pt x="263" y="854"/>
                  </a:lnTo>
                  <a:lnTo>
                    <a:pt x="249" y="865"/>
                  </a:lnTo>
                  <a:lnTo>
                    <a:pt x="238" y="880"/>
                  </a:lnTo>
                  <a:lnTo>
                    <a:pt x="235" y="907"/>
                  </a:lnTo>
                  <a:lnTo>
                    <a:pt x="289" y="985"/>
                  </a:lnTo>
                  <a:lnTo>
                    <a:pt x="290" y="1049"/>
                  </a:lnTo>
                  <a:lnTo>
                    <a:pt x="282" y="1137"/>
                  </a:lnTo>
                  <a:lnTo>
                    <a:pt x="334" y="1269"/>
                  </a:lnTo>
                  <a:lnTo>
                    <a:pt x="319" y="1408"/>
                  </a:lnTo>
                  <a:lnTo>
                    <a:pt x="356" y="1547"/>
                  </a:lnTo>
                  <a:lnTo>
                    <a:pt x="290" y="1591"/>
                  </a:lnTo>
                  <a:lnTo>
                    <a:pt x="238" y="1724"/>
                  </a:lnTo>
                  <a:lnTo>
                    <a:pt x="170" y="1760"/>
                  </a:lnTo>
                  <a:lnTo>
                    <a:pt x="75" y="1782"/>
                  </a:lnTo>
                  <a:lnTo>
                    <a:pt x="82" y="1899"/>
                  </a:lnTo>
                  <a:lnTo>
                    <a:pt x="0" y="1929"/>
                  </a:lnTo>
                  <a:lnTo>
                    <a:pt x="72" y="1999"/>
                  </a:lnTo>
                  <a:lnTo>
                    <a:pt x="245" y="2075"/>
                  </a:lnTo>
                  <a:lnTo>
                    <a:pt x="319" y="2148"/>
                  </a:lnTo>
                  <a:lnTo>
                    <a:pt x="423" y="2155"/>
                  </a:lnTo>
                  <a:lnTo>
                    <a:pt x="534" y="2104"/>
                  </a:lnTo>
                  <a:lnTo>
                    <a:pt x="624" y="2181"/>
                  </a:lnTo>
                  <a:lnTo>
                    <a:pt x="656" y="2248"/>
                  </a:lnTo>
                  <a:lnTo>
                    <a:pt x="719" y="2246"/>
                  </a:lnTo>
                  <a:lnTo>
                    <a:pt x="830" y="2282"/>
                  </a:lnTo>
                  <a:lnTo>
                    <a:pt x="863" y="2374"/>
                  </a:lnTo>
                  <a:lnTo>
                    <a:pt x="932" y="2441"/>
                  </a:lnTo>
                  <a:lnTo>
                    <a:pt x="1010" y="2494"/>
                  </a:lnTo>
                  <a:lnTo>
                    <a:pt x="1010" y="2552"/>
                  </a:lnTo>
                  <a:lnTo>
                    <a:pt x="1069" y="2606"/>
                  </a:lnTo>
                  <a:lnTo>
                    <a:pt x="1100" y="2665"/>
                  </a:lnTo>
                  <a:lnTo>
                    <a:pt x="1259" y="2672"/>
                  </a:lnTo>
                  <a:lnTo>
                    <a:pt x="1342" y="2651"/>
                  </a:lnTo>
                  <a:lnTo>
                    <a:pt x="1423" y="2674"/>
                  </a:lnTo>
                  <a:lnTo>
                    <a:pt x="1481" y="2647"/>
                  </a:lnTo>
                  <a:lnTo>
                    <a:pt x="1559" y="2690"/>
                  </a:lnTo>
                  <a:lnTo>
                    <a:pt x="1645" y="2731"/>
                  </a:lnTo>
                  <a:lnTo>
                    <a:pt x="1544" y="2939"/>
                  </a:lnTo>
                  <a:lnTo>
                    <a:pt x="1616" y="2956"/>
                  </a:lnTo>
                  <a:lnTo>
                    <a:pt x="1654" y="3031"/>
                  </a:lnTo>
                  <a:lnTo>
                    <a:pt x="1786" y="2483"/>
                  </a:lnTo>
                  <a:lnTo>
                    <a:pt x="1739" y="2389"/>
                  </a:lnTo>
                  <a:lnTo>
                    <a:pt x="1753" y="2311"/>
                  </a:lnTo>
                  <a:lnTo>
                    <a:pt x="1664" y="2267"/>
                  </a:lnTo>
                  <a:lnTo>
                    <a:pt x="1657" y="2123"/>
                  </a:lnTo>
                  <a:lnTo>
                    <a:pt x="1765" y="2095"/>
                  </a:lnTo>
                  <a:lnTo>
                    <a:pt x="1843" y="2116"/>
                  </a:lnTo>
                  <a:lnTo>
                    <a:pt x="1819" y="2029"/>
                  </a:lnTo>
                  <a:lnTo>
                    <a:pt x="1715" y="2035"/>
                  </a:lnTo>
                  <a:lnTo>
                    <a:pt x="1700" y="1922"/>
                  </a:lnTo>
                  <a:lnTo>
                    <a:pt x="2014" y="1931"/>
                  </a:lnTo>
                  <a:lnTo>
                    <a:pt x="2135" y="1844"/>
                  </a:lnTo>
                  <a:lnTo>
                    <a:pt x="2089" y="1734"/>
                  </a:lnTo>
                  <a:lnTo>
                    <a:pt x="2060" y="1599"/>
                  </a:lnTo>
                  <a:lnTo>
                    <a:pt x="2115" y="1518"/>
                  </a:lnTo>
                  <a:lnTo>
                    <a:pt x="2078" y="1459"/>
                  </a:lnTo>
                  <a:lnTo>
                    <a:pt x="2011" y="1379"/>
                  </a:lnTo>
                  <a:lnTo>
                    <a:pt x="1988" y="1276"/>
                  </a:lnTo>
                  <a:lnTo>
                    <a:pt x="2011" y="1174"/>
                  </a:lnTo>
                  <a:lnTo>
                    <a:pt x="2070" y="1013"/>
                  </a:lnTo>
                  <a:lnTo>
                    <a:pt x="1803" y="1054"/>
                  </a:lnTo>
                  <a:lnTo>
                    <a:pt x="1685" y="1034"/>
                  </a:lnTo>
                  <a:lnTo>
                    <a:pt x="1596" y="910"/>
                  </a:lnTo>
                  <a:lnTo>
                    <a:pt x="1388" y="917"/>
                  </a:lnTo>
                  <a:lnTo>
                    <a:pt x="1269" y="917"/>
                  </a:lnTo>
                  <a:lnTo>
                    <a:pt x="1180" y="844"/>
                  </a:lnTo>
                  <a:lnTo>
                    <a:pt x="1187" y="698"/>
                  </a:lnTo>
                  <a:lnTo>
                    <a:pt x="1128" y="587"/>
                  </a:lnTo>
                  <a:lnTo>
                    <a:pt x="1046" y="529"/>
                  </a:lnTo>
                  <a:lnTo>
                    <a:pt x="1105" y="353"/>
                  </a:lnTo>
                  <a:lnTo>
                    <a:pt x="1180" y="244"/>
                  </a:lnTo>
                  <a:lnTo>
                    <a:pt x="1250" y="182"/>
                  </a:lnTo>
                  <a:lnTo>
                    <a:pt x="1291" y="134"/>
                  </a:lnTo>
                  <a:lnTo>
                    <a:pt x="1381" y="119"/>
                  </a:lnTo>
                  <a:lnTo>
                    <a:pt x="1434" y="37"/>
                  </a:lnTo>
                  <a:lnTo>
                    <a:pt x="1324" y="0"/>
                  </a:lnTo>
                  <a:close/>
                </a:path>
              </a:pathLst>
            </a:custGeom>
            <a:solidFill>
              <a:schemeClr val="bg1">
                <a:lumMod val="8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a:defRPr/>
              </a:pPr>
              <a:endParaRPr lang="zh-CN" altLang="en-US" b="1" kern="0">
                <a:solidFill>
                  <a:srgbClr val="000000"/>
                </a:solidFill>
                <a:latin typeface="Arial" charset="0"/>
                <a:ea typeface="+mn-ea"/>
              </a:endParaRPr>
            </a:p>
          </p:txBody>
        </p:sp>
        <p:sp>
          <p:nvSpPr>
            <p:cNvPr id="70" name="Freeform 167">
              <a:extLst>
                <a:ext uri="{FF2B5EF4-FFF2-40B4-BE49-F238E27FC236}">
                  <a16:creationId xmlns:a16="http://schemas.microsoft.com/office/drawing/2014/main" id="{12356118-320A-43FD-30DF-4BFA74B07D5C}"/>
                </a:ext>
              </a:extLst>
            </p:cNvPr>
            <p:cNvSpPr>
              <a:spLocks/>
            </p:cNvSpPr>
            <p:nvPr/>
          </p:nvSpPr>
          <p:spPr bwMode="auto">
            <a:xfrm>
              <a:off x="2860590" y="2444751"/>
              <a:ext cx="788980" cy="614362"/>
            </a:xfrm>
            <a:custGeom>
              <a:avLst/>
              <a:gdLst/>
              <a:ahLst/>
              <a:cxnLst>
                <a:cxn ang="0">
                  <a:pos x="136" y="101"/>
                </a:cxn>
                <a:cxn ang="0">
                  <a:pos x="0" y="387"/>
                </a:cxn>
                <a:cxn ang="0">
                  <a:pos x="141" y="555"/>
                </a:cxn>
                <a:cxn ang="0">
                  <a:pos x="224" y="775"/>
                </a:cxn>
                <a:cxn ang="0">
                  <a:pos x="551" y="766"/>
                </a:cxn>
                <a:cxn ang="0">
                  <a:pos x="761" y="911"/>
                </a:cxn>
                <a:cxn ang="0">
                  <a:pos x="965" y="1035"/>
                </a:cxn>
                <a:cxn ang="0">
                  <a:pos x="967" y="1235"/>
                </a:cxn>
                <a:cxn ang="0">
                  <a:pos x="1070" y="1374"/>
                </a:cxn>
                <a:cxn ang="0">
                  <a:pos x="1046" y="1592"/>
                </a:cxn>
                <a:cxn ang="0">
                  <a:pos x="1148" y="1783"/>
                </a:cxn>
                <a:cxn ang="0">
                  <a:pos x="1237" y="1872"/>
                </a:cxn>
                <a:cxn ang="0">
                  <a:pos x="1399" y="1878"/>
                </a:cxn>
                <a:cxn ang="0">
                  <a:pos x="1541" y="1840"/>
                </a:cxn>
                <a:cxn ang="0">
                  <a:pos x="1703" y="1717"/>
                </a:cxn>
                <a:cxn ang="0">
                  <a:pos x="1840" y="1614"/>
                </a:cxn>
                <a:cxn ang="0">
                  <a:pos x="1679" y="1509"/>
                </a:cxn>
                <a:cxn ang="0">
                  <a:pos x="1600" y="1366"/>
                </a:cxn>
                <a:cxn ang="0">
                  <a:pos x="1711" y="1347"/>
                </a:cxn>
                <a:cxn ang="0">
                  <a:pos x="1939" y="1435"/>
                </a:cxn>
                <a:cxn ang="0">
                  <a:pos x="1996" y="1323"/>
                </a:cxn>
                <a:cxn ang="0">
                  <a:pos x="2176" y="1300"/>
                </a:cxn>
                <a:cxn ang="0">
                  <a:pos x="2333" y="1195"/>
                </a:cxn>
                <a:cxn ang="0">
                  <a:pos x="2273" y="1132"/>
                </a:cxn>
                <a:cxn ang="0">
                  <a:pos x="2206" y="964"/>
                </a:cxn>
                <a:cxn ang="0">
                  <a:pos x="2351" y="829"/>
                </a:cxn>
                <a:cxn ang="0">
                  <a:pos x="2300" y="780"/>
                </a:cxn>
                <a:cxn ang="0">
                  <a:pos x="2329" y="655"/>
                </a:cxn>
                <a:cxn ang="0">
                  <a:pos x="2438" y="585"/>
                </a:cxn>
                <a:cxn ang="0">
                  <a:pos x="2432" y="497"/>
                </a:cxn>
                <a:cxn ang="0">
                  <a:pos x="2304" y="485"/>
                </a:cxn>
                <a:cxn ang="0">
                  <a:pos x="2177" y="466"/>
                </a:cxn>
                <a:cxn ang="0">
                  <a:pos x="2260" y="356"/>
                </a:cxn>
                <a:cxn ang="0">
                  <a:pos x="2177" y="303"/>
                </a:cxn>
                <a:cxn ang="0">
                  <a:pos x="2079" y="298"/>
                </a:cxn>
                <a:cxn ang="0">
                  <a:pos x="2001" y="284"/>
                </a:cxn>
                <a:cxn ang="0">
                  <a:pos x="1928" y="178"/>
                </a:cxn>
                <a:cxn ang="0">
                  <a:pos x="2001" y="139"/>
                </a:cxn>
                <a:cxn ang="0">
                  <a:pos x="1972" y="111"/>
                </a:cxn>
                <a:cxn ang="0">
                  <a:pos x="1821" y="125"/>
                </a:cxn>
                <a:cxn ang="0">
                  <a:pos x="1704" y="139"/>
                </a:cxn>
                <a:cxn ang="0">
                  <a:pos x="1569" y="185"/>
                </a:cxn>
                <a:cxn ang="0">
                  <a:pos x="1421" y="226"/>
                </a:cxn>
                <a:cxn ang="0">
                  <a:pos x="1270" y="130"/>
                </a:cxn>
                <a:cxn ang="0">
                  <a:pos x="1026" y="173"/>
                </a:cxn>
                <a:cxn ang="0">
                  <a:pos x="895" y="130"/>
                </a:cxn>
                <a:cxn ang="0">
                  <a:pos x="802" y="14"/>
                </a:cxn>
                <a:cxn ang="0">
                  <a:pos x="573" y="29"/>
                </a:cxn>
                <a:cxn ang="0">
                  <a:pos x="441" y="62"/>
                </a:cxn>
                <a:cxn ang="0">
                  <a:pos x="319" y="111"/>
                </a:cxn>
                <a:cxn ang="0">
                  <a:pos x="329" y="226"/>
                </a:cxn>
                <a:cxn ang="0">
                  <a:pos x="397" y="312"/>
                </a:cxn>
                <a:cxn ang="0">
                  <a:pos x="344" y="437"/>
                </a:cxn>
                <a:cxn ang="0">
                  <a:pos x="261" y="384"/>
                </a:cxn>
                <a:cxn ang="0">
                  <a:pos x="193" y="288"/>
                </a:cxn>
                <a:cxn ang="0">
                  <a:pos x="280" y="120"/>
                </a:cxn>
              </a:cxnLst>
              <a:rect l="0" t="0" r="r" b="b"/>
              <a:pathLst>
                <a:path w="2485" h="1935">
                  <a:moveTo>
                    <a:pt x="207" y="38"/>
                  </a:moveTo>
                  <a:lnTo>
                    <a:pt x="136" y="101"/>
                  </a:lnTo>
                  <a:lnTo>
                    <a:pt x="63" y="207"/>
                  </a:lnTo>
                  <a:lnTo>
                    <a:pt x="0" y="387"/>
                  </a:lnTo>
                  <a:lnTo>
                    <a:pt x="85" y="447"/>
                  </a:lnTo>
                  <a:lnTo>
                    <a:pt x="141" y="555"/>
                  </a:lnTo>
                  <a:lnTo>
                    <a:pt x="136" y="703"/>
                  </a:lnTo>
                  <a:lnTo>
                    <a:pt x="224" y="775"/>
                  </a:lnTo>
                  <a:lnTo>
                    <a:pt x="332" y="774"/>
                  </a:lnTo>
                  <a:lnTo>
                    <a:pt x="551" y="766"/>
                  </a:lnTo>
                  <a:lnTo>
                    <a:pt x="640" y="888"/>
                  </a:lnTo>
                  <a:lnTo>
                    <a:pt x="761" y="911"/>
                  </a:lnTo>
                  <a:lnTo>
                    <a:pt x="1028" y="869"/>
                  </a:lnTo>
                  <a:lnTo>
                    <a:pt x="965" y="1035"/>
                  </a:lnTo>
                  <a:lnTo>
                    <a:pt x="943" y="1133"/>
                  </a:lnTo>
                  <a:lnTo>
                    <a:pt x="967" y="1235"/>
                  </a:lnTo>
                  <a:lnTo>
                    <a:pt x="1035" y="1316"/>
                  </a:lnTo>
                  <a:lnTo>
                    <a:pt x="1070" y="1374"/>
                  </a:lnTo>
                  <a:lnTo>
                    <a:pt x="1016" y="1455"/>
                  </a:lnTo>
                  <a:lnTo>
                    <a:pt x="1046" y="1592"/>
                  </a:lnTo>
                  <a:lnTo>
                    <a:pt x="1094" y="1702"/>
                  </a:lnTo>
                  <a:lnTo>
                    <a:pt x="1148" y="1783"/>
                  </a:lnTo>
                  <a:lnTo>
                    <a:pt x="1148" y="1857"/>
                  </a:lnTo>
                  <a:lnTo>
                    <a:pt x="1237" y="1872"/>
                  </a:lnTo>
                  <a:lnTo>
                    <a:pt x="1324" y="1935"/>
                  </a:lnTo>
                  <a:lnTo>
                    <a:pt x="1399" y="1878"/>
                  </a:lnTo>
                  <a:lnTo>
                    <a:pt x="1445" y="1929"/>
                  </a:lnTo>
                  <a:lnTo>
                    <a:pt x="1541" y="1840"/>
                  </a:lnTo>
                  <a:lnTo>
                    <a:pt x="1703" y="1771"/>
                  </a:lnTo>
                  <a:lnTo>
                    <a:pt x="1703" y="1717"/>
                  </a:lnTo>
                  <a:lnTo>
                    <a:pt x="1810" y="1684"/>
                  </a:lnTo>
                  <a:lnTo>
                    <a:pt x="1840" y="1614"/>
                  </a:lnTo>
                  <a:lnTo>
                    <a:pt x="1736" y="1597"/>
                  </a:lnTo>
                  <a:lnTo>
                    <a:pt x="1679" y="1509"/>
                  </a:lnTo>
                  <a:lnTo>
                    <a:pt x="1682" y="1420"/>
                  </a:lnTo>
                  <a:lnTo>
                    <a:pt x="1600" y="1366"/>
                  </a:lnTo>
                  <a:lnTo>
                    <a:pt x="1574" y="1318"/>
                  </a:lnTo>
                  <a:lnTo>
                    <a:pt x="1711" y="1347"/>
                  </a:lnTo>
                  <a:lnTo>
                    <a:pt x="1846" y="1384"/>
                  </a:lnTo>
                  <a:lnTo>
                    <a:pt x="1939" y="1435"/>
                  </a:lnTo>
                  <a:lnTo>
                    <a:pt x="1930" y="1357"/>
                  </a:lnTo>
                  <a:lnTo>
                    <a:pt x="1996" y="1323"/>
                  </a:lnTo>
                  <a:lnTo>
                    <a:pt x="2081" y="1338"/>
                  </a:lnTo>
                  <a:lnTo>
                    <a:pt x="2176" y="1300"/>
                  </a:lnTo>
                  <a:lnTo>
                    <a:pt x="2266" y="1267"/>
                  </a:lnTo>
                  <a:lnTo>
                    <a:pt x="2333" y="1195"/>
                  </a:lnTo>
                  <a:lnTo>
                    <a:pt x="2336" y="1152"/>
                  </a:lnTo>
                  <a:lnTo>
                    <a:pt x="2273" y="1132"/>
                  </a:lnTo>
                  <a:lnTo>
                    <a:pt x="2170" y="1009"/>
                  </a:lnTo>
                  <a:lnTo>
                    <a:pt x="2206" y="964"/>
                  </a:lnTo>
                  <a:lnTo>
                    <a:pt x="2194" y="871"/>
                  </a:lnTo>
                  <a:lnTo>
                    <a:pt x="2351" y="829"/>
                  </a:lnTo>
                  <a:lnTo>
                    <a:pt x="2366" y="787"/>
                  </a:lnTo>
                  <a:lnTo>
                    <a:pt x="2300" y="780"/>
                  </a:lnTo>
                  <a:lnTo>
                    <a:pt x="2284" y="706"/>
                  </a:lnTo>
                  <a:lnTo>
                    <a:pt x="2329" y="655"/>
                  </a:lnTo>
                  <a:lnTo>
                    <a:pt x="2368" y="636"/>
                  </a:lnTo>
                  <a:lnTo>
                    <a:pt x="2438" y="585"/>
                  </a:lnTo>
                  <a:lnTo>
                    <a:pt x="2485" y="583"/>
                  </a:lnTo>
                  <a:lnTo>
                    <a:pt x="2432" y="497"/>
                  </a:lnTo>
                  <a:lnTo>
                    <a:pt x="2382" y="461"/>
                  </a:lnTo>
                  <a:lnTo>
                    <a:pt x="2304" y="485"/>
                  </a:lnTo>
                  <a:lnTo>
                    <a:pt x="2232" y="475"/>
                  </a:lnTo>
                  <a:lnTo>
                    <a:pt x="2177" y="466"/>
                  </a:lnTo>
                  <a:lnTo>
                    <a:pt x="2191" y="394"/>
                  </a:lnTo>
                  <a:lnTo>
                    <a:pt x="2260" y="356"/>
                  </a:lnTo>
                  <a:lnTo>
                    <a:pt x="2232" y="294"/>
                  </a:lnTo>
                  <a:lnTo>
                    <a:pt x="2177" y="303"/>
                  </a:lnTo>
                  <a:lnTo>
                    <a:pt x="2113" y="259"/>
                  </a:lnTo>
                  <a:lnTo>
                    <a:pt x="2079" y="298"/>
                  </a:lnTo>
                  <a:lnTo>
                    <a:pt x="2035" y="255"/>
                  </a:lnTo>
                  <a:lnTo>
                    <a:pt x="2001" y="284"/>
                  </a:lnTo>
                  <a:lnTo>
                    <a:pt x="1953" y="226"/>
                  </a:lnTo>
                  <a:lnTo>
                    <a:pt x="1928" y="178"/>
                  </a:lnTo>
                  <a:lnTo>
                    <a:pt x="1884" y="149"/>
                  </a:lnTo>
                  <a:lnTo>
                    <a:pt x="2001" y="139"/>
                  </a:lnTo>
                  <a:lnTo>
                    <a:pt x="2045" y="101"/>
                  </a:lnTo>
                  <a:lnTo>
                    <a:pt x="1972" y="111"/>
                  </a:lnTo>
                  <a:lnTo>
                    <a:pt x="1904" y="101"/>
                  </a:lnTo>
                  <a:lnTo>
                    <a:pt x="1821" y="125"/>
                  </a:lnTo>
                  <a:lnTo>
                    <a:pt x="1777" y="106"/>
                  </a:lnTo>
                  <a:lnTo>
                    <a:pt x="1704" y="139"/>
                  </a:lnTo>
                  <a:lnTo>
                    <a:pt x="1660" y="178"/>
                  </a:lnTo>
                  <a:lnTo>
                    <a:pt x="1569" y="185"/>
                  </a:lnTo>
                  <a:lnTo>
                    <a:pt x="1509" y="231"/>
                  </a:lnTo>
                  <a:lnTo>
                    <a:pt x="1421" y="226"/>
                  </a:lnTo>
                  <a:lnTo>
                    <a:pt x="1329" y="187"/>
                  </a:lnTo>
                  <a:lnTo>
                    <a:pt x="1270" y="130"/>
                  </a:lnTo>
                  <a:lnTo>
                    <a:pt x="1163" y="139"/>
                  </a:lnTo>
                  <a:lnTo>
                    <a:pt x="1026" y="173"/>
                  </a:lnTo>
                  <a:lnTo>
                    <a:pt x="939" y="173"/>
                  </a:lnTo>
                  <a:lnTo>
                    <a:pt x="895" y="130"/>
                  </a:lnTo>
                  <a:lnTo>
                    <a:pt x="865" y="58"/>
                  </a:lnTo>
                  <a:lnTo>
                    <a:pt x="802" y="14"/>
                  </a:lnTo>
                  <a:lnTo>
                    <a:pt x="695" y="0"/>
                  </a:lnTo>
                  <a:lnTo>
                    <a:pt x="573" y="29"/>
                  </a:lnTo>
                  <a:lnTo>
                    <a:pt x="505" y="58"/>
                  </a:lnTo>
                  <a:lnTo>
                    <a:pt x="441" y="62"/>
                  </a:lnTo>
                  <a:lnTo>
                    <a:pt x="397" y="96"/>
                  </a:lnTo>
                  <a:lnTo>
                    <a:pt x="319" y="111"/>
                  </a:lnTo>
                  <a:lnTo>
                    <a:pt x="319" y="178"/>
                  </a:lnTo>
                  <a:lnTo>
                    <a:pt x="329" y="226"/>
                  </a:lnTo>
                  <a:lnTo>
                    <a:pt x="353" y="264"/>
                  </a:lnTo>
                  <a:lnTo>
                    <a:pt x="397" y="312"/>
                  </a:lnTo>
                  <a:lnTo>
                    <a:pt x="388" y="399"/>
                  </a:lnTo>
                  <a:lnTo>
                    <a:pt x="344" y="437"/>
                  </a:lnTo>
                  <a:lnTo>
                    <a:pt x="275" y="447"/>
                  </a:lnTo>
                  <a:lnTo>
                    <a:pt x="261" y="384"/>
                  </a:lnTo>
                  <a:lnTo>
                    <a:pt x="217" y="356"/>
                  </a:lnTo>
                  <a:lnTo>
                    <a:pt x="193" y="288"/>
                  </a:lnTo>
                  <a:lnTo>
                    <a:pt x="246" y="235"/>
                  </a:lnTo>
                  <a:lnTo>
                    <a:pt x="280" y="120"/>
                  </a:lnTo>
                  <a:lnTo>
                    <a:pt x="207" y="38"/>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1" name="Freeform 168">
              <a:extLst>
                <a:ext uri="{FF2B5EF4-FFF2-40B4-BE49-F238E27FC236}">
                  <a16:creationId xmlns:a16="http://schemas.microsoft.com/office/drawing/2014/main" id="{A547BF2B-9345-292C-97A1-9D3E53D99D87}"/>
                </a:ext>
              </a:extLst>
            </p:cNvPr>
            <p:cNvSpPr>
              <a:spLocks/>
            </p:cNvSpPr>
            <p:nvPr/>
          </p:nvSpPr>
          <p:spPr bwMode="auto">
            <a:xfrm>
              <a:off x="2420858" y="3032126"/>
              <a:ext cx="334959" cy="371475"/>
            </a:xfrm>
            <a:custGeom>
              <a:avLst/>
              <a:gdLst/>
              <a:ahLst/>
              <a:cxnLst>
                <a:cxn ang="0">
                  <a:pos x="408" y="0"/>
                </a:cxn>
                <a:cxn ang="0">
                  <a:pos x="367" y="28"/>
                </a:cxn>
                <a:cxn ang="0">
                  <a:pos x="333" y="17"/>
                </a:cxn>
                <a:cxn ang="0">
                  <a:pos x="262" y="51"/>
                </a:cxn>
                <a:cxn ang="0">
                  <a:pos x="177" y="94"/>
                </a:cxn>
                <a:cxn ang="0">
                  <a:pos x="184" y="186"/>
                </a:cxn>
                <a:cxn ang="0">
                  <a:pos x="161" y="251"/>
                </a:cxn>
                <a:cxn ang="0">
                  <a:pos x="110" y="290"/>
                </a:cxn>
                <a:cxn ang="0">
                  <a:pos x="115" y="356"/>
                </a:cxn>
                <a:cxn ang="0">
                  <a:pos x="87" y="403"/>
                </a:cxn>
                <a:cxn ang="0">
                  <a:pos x="41" y="418"/>
                </a:cxn>
                <a:cxn ang="0">
                  <a:pos x="44" y="541"/>
                </a:cxn>
                <a:cxn ang="0">
                  <a:pos x="32" y="627"/>
                </a:cxn>
                <a:cxn ang="0">
                  <a:pos x="0" y="667"/>
                </a:cxn>
                <a:cxn ang="0">
                  <a:pos x="68" y="707"/>
                </a:cxn>
                <a:cxn ang="0">
                  <a:pos x="136" y="783"/>
                </a:cxn>
                <a:cxn ang="0">
                  <a:pos x="164" y="739"/>
                </a:cxn>
                <a:cxn ang="0">
                  <a:pos x="204" y="707"/>
                </a:cxn>
                <a:cxn ang="0">
                  <a:pos x="232" y="768"/>
                </a:cxn>
                <a:cxn ang="0">
                  <a:pos x="181" y="826"/>
                </a:cxn>
                <a:cxn ang="0">
                  <a:pos x="132" y="855"/>
                </a:cxn>
                <a:cxn ang="0">
                  <a:pos x="117" y="955"/>
                </a:cxn>
                <a:cxn ang="0">
                  <a:pos x="112" y="1021"/>
                </a:cxn>
                <a:cxn ang="0">
                  <a:pos x="103" y="1082"/>
                </a:cxn>
                <a:cxn ang="0">
                  <a:pos x="186" y="1046"/>
                </a:cxn>
                <a:cxn ang="0">
                  <a:pos x="270" y="1066"/>
                </a:cxn>
                <a:cxn ang="0">
                  <a:pos x="306" y="1123"/>
                </a:cxn>
                <a:cxn ang="0">
                  <a:pos x="358" y="1168"/>
                </a:cxn>
                <a:cxn ang="0">
                  <a:pos x="418" y="1103"/>
                </a:cxn>
                <a:cxn ang="0">
                  <a:pos x="507" y="832"/>
                </a:cxn>
                <a:cxn ang="0">
                  <a:pos x="609" y="766"/>
                </a:cxn>
                <a:cxn ang="0">
                  <a:pos x="781" y="688"/>
                </a:cxn>
                <a:cxn ang="0">
                  <a:pos x="933" y="601"/>
                </a:cxn>
                <a:cxn ang="0">
                  <a:pos x="996" y="473"/>
                </a:cxn>
                <a:cxn ang="0">
                  <a:pos x="1054" y="413"/>
                </a:cxn>
                <a:cxn ang="0">
                  <a:pos x="1030" y="349"/>
                </a:cxn>
                <a:cxn ang="0">
                  <a:pos x="997" y="251"/>
                </a:cxn>
                <a:cxn ang="0">
                  <a:pos x="961" y="183"/>
                </a:cxn>
                <a:cxn ang="0">
                  <a:pos x="873" y="106"/>
                </a:cxn>
                <a:cxn ang="0">
                  <a:pos x="764" y="157"/>
                </a:cxn>
                <a:cxn ang="0">
                  <a:pos x="658" y="151"/>
                </a:cxn>
                <a:cxn ang="0">
                  <a:pos x="585" y="77"/>
                </a:cxn>
                <a:cxn ang="0">
                  <a:pos x="408" y="0"/>
                </a:cxn>
              </a:cxnLst>
              <a:rect l="0" t="0" r="r" b="b"/>
              <a:pathLst>
                <a:path w="1054" h="1168">
                  <a:moveTo>
                    <a:pt x="408" y="0"/>
                  </a:moveTo>
                  <a:lnTo>
                    <a:pt x="367" y="28"/>
                  </a:lnTo>
                  <a:lnTo>
                    <a:pt x="333" y="17"/>
                  </a:lnTo>
                  <a:lnTo>
                    <a:pt x="262" y="51"/>
                  </a:lnTo>
                  <a:lnTo>
                    <a:pt x="177" y="94"/>
                  </a:lnTo>
                  <a:lnTo>
                    <a:pt x="184" y="186"/>
                  </a:lnTo>
                  <a:lnTo>
                    <a:pt x="161" y="251"/>
                  </a:lnTo>
                  <a:lnTo>
                    <a:pt x="110" y="290"/>
                  </a:lnTo>
                  <a:lnTo>
                    <a:pt x="115" y="356"/>
                  </a:lnTo>
                  <a:lnTo>
                    <a:pt x="87" y="403"/>
                  </a:lnTo>
                  <a:lnTo>
                    <a:pt x="41" y="418"/>
                  </a:lnTo>
                  <a:lnTo>
                    <a:pt x="44" y="541"/>
                  </a:lnTo>
                  <a:lnTo>
                    <a:pt x="32" y="627"/>
                  </a:lnTo>
                  <a:lnTo>
                    <a:pt x="0" y="667"/>
                  </a:lnTo>
                  <a:lnTo>
                    <a:pt x="68" y="707"/>
                  </a:lnTo>
                  <a:lnTo>
                    <a:pt x="136" y="783"/>
                  </a:lnTo>
                  <a:lnTo>
                    <a:pt x="164" y="739"/>
                  </a:lnTo>
                  <a:lnTo>
                    <a:pt x="204" y="707"/>
                  </a:lnTo>
                  <a:lnTo>
                    <a:pt x="232" y="768"/>
                  </a:lnTo>
                  <a:lnTo>
                    <a:pt x="181" y="826"/>
                  </a:lnTo>
                  <a:lnTo>
                    <a:pt x="132" y="855"/>
                  </a:lnTo>
                  <a:lnTo>
                    <a:pt x="117" y="955"/>
                  </a:lnTo>
                  <a:lnTo>
                    <a:pt x="112" y="1021"/>
                  </a:lnTo>
                  <a:lnTo>
                    <a:pt x="103" y="1082"/>
                  </a:lnTo>
                  <a:lnTo>
                    <a:pt x="186" y="1046"/>
                  </a:lnTo>
                  <a:lnTo>
                    <a:pt x="270" y="1066"/>
                  </a:lnTo>
                  <a:lnTo>
                    <a:pt x="306" y="1123"/>
                  </a:lnTo>
                  <a:lnTo>
                    <a:pt x="358" y="1168"/>
                  </a:lnTo>
                  <a:lnTo>
                    <a:pt x="418" y="1103"/>
                  </a:lnTo>
                  <a:lnTo>
                    <a:pt x="507" y="832"/>
                  </a:lnTo>
                  <a:lnTo>
                    <a:pt x="609" y="766"/>
                  </a:lnTo>
                  <a:lnTo>
                    <a:pt x="781" y="688"/>
                  </a:lnTo>
                  <a:lnTo>
                    <a:pt x="933" y="601"/>
                  </a:lnTo>
                  <a:lnTo>
                    <a:pt x="996" y="473"/>
                  </a:lnTo>
                  <a:lnTo>
                    <a:pt x="1054" y="413"/>
                  </a:lnTo>
                  <a:lnTo>
                    <a:pt x="1030" y="349"/>
                  </a:lnTo>
                  <a:lnTo>
                    <a:pt x="997" y="251"/>
                  </a:lnTo>
                  <a:lnTo>
                    <a:pt x="961" y="183"/>
                  </a:lnTo>
                  <a:lnTo>
                    <a:pt x="873" y="106"/>
                  </a:lnTo>
                  <a:lnTo>
                    <a:pt x="764" y="157"/>
                  </a:lnTo>
                  <a:lnTo>
                    <a:pt x="658" y="151"/>
                  </a:lnTo>
                  <a:lnTo>
                    <a:pt x="585" y="77"/>
                  </a:lnTo>
                  <a:lnTo>
                    <a:pt x="408" y="0"/>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2" name="Freeform 169">
              <a:extLst>
                <a:ext uri="{FF2B5EF4-FFF2-40B4-BE49-F238E27FC236}">
                  <a16:creationId xmlns:a16="http://schemas.microsoft.com/office/drawing/2014/main" id="{9429D555-AA60-EDD9-CA4D-7726CC18AACA}"/>
                </a:ext>
              </a:extLst>
            </p:cNvPr>
            <p:cNvSpPr>
              <a:spLocks/>
            </p:cNvSpPr>
            <p:nvPr/>
          </p:nvSpPr>
          <p:spPr bwMode="auto">
            <a:xfrm>
              <a:off x="3547971" y="2628901"/>
              <a:ext cx="271459" cy="398462"/>
            </a:xfrm>
            <a:custGeom>
              <a:avLst/>
              <a:gdLst/>
              <a:ahLst/>
              <a:cxnLst>
                <a:cxn ang="0">
                  <a:pos x="320" y="0"/>
                </a:cxn>
                <a:cxn ang="0">
                  <a:pos x="369" y="29"/>
                </a:cxn>
                <a:cxn ang="0">
                  <a:pos x="423" y="65"/>
                </a:cxn>
                <a:cxn ang="0">
                  <a:pos x="467" y="101"/>
                </a:cxn>
                <a:cxn ang="0">
                  <a:pos x="506" y="154"/>
                </a:cxn>
                <a:cxn ang="0">
                  <a:pos x="533" y="192"/>
                </a:cxn>
                <a:cxn ang="0">
                  <a:pos x="527" y="272"/>
                </a:cxn>
                <a:cxn ang="0">
                  <a:pos x="590" y="272"/>
                </a:cxn>
                <a:cxn ang="0">
                  <a:pos x="657" y="317"/>
                </a:cxn>
                <a:cxn ang="0">
                  <a:pos x="687" y="365"/>
                </a:cxn>
                <a:cxn ang="0">
                  <a:pos x="723" y="366"/>
                </a:cxn>
                <a:cxn ang="0">
                  <a:pos x="765" y="410"/>
                </a:cxn>
                <a:cxn ang="0">
                  <a:pos x="744" y="494"/>
                </a:cxn>
                <a:cxn ang="0">
                  <a:pos x="747" y="563"/>
                </a:cxn>
                <a:cxn ang="0">
                  <a:pos x="729" y="600"/>
                </a:cxn>
                <a:cxn ang="0">
                  <a:pos x="663" y="602"/>
                </a:cxn>
                <a:cxn ang="0">
                  <a:pos x="641" y="648"/>
                </a:cxn>
                <a:cxn ang="0">
                  <a:pos x="623" y="711"/>
                </a:cxn>
                <a:cxn ang="0">
                  <a:pos x="608" y="747"/>
                </a:cxn>
                <a:cxn ang="0">
                  <a:pos x="647" y="813"/>
                </a:cxn>
                <a:cxn ang="0">
                  <a:pos x="692" y="888"/>
                </a:cxn>
                <a:cxn ang="0">
                  <a:pos x="744" y="891"/>
                </a:cxn>
                <a:cxn ang="0">
                  <a:pos x="759" y="977"/>
                </a:cxn>
                <a:cxn ang="0">
                  <a:pos x="801" y="1037"/>
                </a:cxn>
                <a:cxn ang="0">
                  <a:pos x="854" y="1134"/>
                </a:cxn>
                <a:cxn ang="0">
                  <a:pos x="791" y="1118"/>
                </a:cxn>
                <a:cxn ang="0">
                  <a:pos x="723" y="1157"/>
                </a:cxn>
                <a:cxn ang="0">
                  <a:pos x="611" y="1170"/>
                </a:cxn>
                <a:cxn ang="0">
                  <a:pos x="492" y="1251"/>
                </a:cxn>
                <a:cxn ang="0">
                  <a:pos x="368" y="1175"/>
                </a:cxn>
                <a:cxn ang="0">
                  <a:pos x="290" y="1086"/>
                </a:cxn>
                <a:cxn ang="0">
                  <a:pos x="278" y="954"/>
                </a:cxn>
                <a:cxn ang="0">
                  <a:pos x="312" y="848"/>
                </a:cxn>
                <a:cxn ang="0">
                  <a:pos x="369" y="765"/>
                </a:cxn>
                <a:cxn ang="0">
                  <a:pos x="263" y="675"/>
                </a:cxn>
                <a:cxn ang="0">
                  <a:pos x="279" y="593"/>
                </a:cxn>
                <a:cxn ang="0">
                  <a:pos x="245" y="552"/>
                </a:cxn>
                <a:cxn ang="0">
                  <a:pos x="167" y="566"/>
                </a:cxn>
                <a:cxn ang="0">
                  <a:pos x="108" y="551"/>
                </a:cxn>
                <a:cxn ang="0">
                  <a:pos x="54" y="488"/>
                </a:cxn>
                <a:cxn ang="0">
                  <a:pos x="0" y="425"/>
                </a:cxn>
                <a:cxn ang="0">
                  <a:pos x="38" y="380"/>
                </a:cxn>
                <a:cxn ang="0">
                  <a:pos x="28" y="286"/>
                </a:cxn>
                <a:cxn ang="0">
                  <a:pos x="101" y="267"/>
                </a:cxn>
                <a:cxn ang="0">
                  <a:pos x="186" y="245"/>
                </a:cxn>
                <a:cxn ang="0">
                  <a:pos x="200" y="203"/>
                </a:cxn>
                <a:cxn ang="0">
                  <a:pos x="131" y="197"/>
                </a:cxn>
                <a:cxn ang="0">
                  <a:pos x="115" y="124"/>
                </a:cxn>
                <a:cxn ang="0">
                  <a:pos x="159" y="77"/>
                </a:cxn>
                <a:cxn ang="0">
                  <a:pos x="206" y="48"/>
                </a:cxn>
                <a:cxn ang="0">
                  <a:pos x="267" y="2"/>
                </a:cxn>
                <a:cxn ang="0">
                  <a:pos x="320" y="0"/>
                </a:cxn>
              </a:cxnLst>
              <a:rect l="0" t="0" r="r" b="b"/>
              <a:pathLst>
                <a:path w="854" h="1251">
                  <a:moveTo>
                    <a:pt x="320" y="0"/>
                  </a:moveTo>
                  <a:lnTo>
                    <a:pt x="369" y="29"/>
                  </a:lnTo>
                  <a:lnTo>
                    <a:pt x="423" y="65"/>
                  </a:lnTo>
                  <a:lnTo>
                    <a:pt x="467" y="101"/>
                  </a:lnTo>
                  <a:lnTo>
                    <a:pt x="506" y="154"/>
                  </a:lnTo>
                  <a:lnTo>
                    <a:pt x="533" y="192"/>
                  </a:lnTo>
                  <a:lnTo>
                    <a:pt x="527" y="272"/>
                  </a:lnTo>
                  <a:lnTo>
                    <a:pt x="590" y="272"/>
                  </a:lnTo>
                  <a:lnTo>
                    <a:pt x="657" y="317"/>
                  </a:lnTo>
                  <a:lnTo>
                    <a:pt x="687" y="365"/>
                  </a:lnTo>
                  <a:lnTo>
                    <a:pt x="723" y="366"/>
                  </a:lnTo>
                  <a:lnTo>
                    <a:pt x="765" y="410"/>
                  </a:lnTo>
                  <a:lnTo>
                    <a:pt x="744" y="494"/>
                  </a:lnTo>
                  <a:lnTo>
                    <a:pt x="747" y="563"/>
                  </a:lnTo>
                  <a:lnTo>
                    <a:pt x="729" y="600"/>
                  </a:lnTo>
                  <a:lnTo>
                    <a:pt x="663" y="602"/>
                  </a:lnTo>
                  <a:lnTo>
                    <a:pt x="641" y="648"/>
                  </a:lnTo>
                  <a:lnTo>
                    <a:pt x="623" y="711"/>
                  </a:lnTo>
                  <a:lnTo>
                    <a:pt x="608" y="747"/>
                  </a:lnTo>
                  <a:lnTo>
                    <a:pt x="647" y="813"/>
                  </a:lnTo>
                  <a:lnTo>
                    <a:pt x="692" y="888"/>
                  </a:lnTo>
                  <a:lnTo>
                    <a:pt x="744" y="891"/>
                  </a:lnTo>
                  <a:lnTo>
                    <a:pt x="759" y="977"/>
                  </a:lnTo>
                  <a:lnTo>
                    <a:pt x="801" y="1037"/>
                  </a:lnTo>
                  <a:lnTo>
                    <a:pt x="854" y="1134"/>
                  </a:lnTo>
                  <a:lnTo>
                    <a:pt x="791" y="1118"/>
                  </a:lnTo>
                  <a:lnTo>
                    <a:pt x="723" y="1157"/>
                  </a:lnTo>
                  <a:lnTo>
                    <a:pt x="611" y="1170"/>
                  </a:lnTo>
                  <a:lnTo>
                    <a:pt x="492" y="1251"/>
                  </a:lnTo>
                  <a:lnTo>
                    <a:pt x="368" y="1175"/>
                  </a:lnTo>
                  <a:lnTo>
                    <a:pt x="290" y="1086"/>
                  </a:lnTo>
                  <a:lnTo>
                    <a:pt x="278" y="954"/>
                  </a:lnTo>
                  <a:lnTo>
                    <a:pt x="312" y="848"/>
                  </a:lnTo>
                  <a:lnTo>
                    <a:pt x="369" y="765"/>
                  </a:lnTo>
                  <a:lnTo>
                    <a:pt x="263" y="675"/>
                  </a:lnTo>
                  <a:lnTo>
                    <a:pt x="279" y="593"/>
                  </a:lnTo>
                  <a:lnTo>
                    <a:pt x="245" y="552"/>
                  </a:lnTo>
                  <a:lnTo>
                    <a:pt x="167" y="566"/>
                  </a:lnTo>
                  <a:lnTo>
                    <a:pt x="108" y="551"/>
                  </a:lnTo>
                  <a:lnTo>
                    <a:pt x="54" y="488"/>
                  </a:lnTo>
                  <a:lnTo>
                    <a:pt x="0" y="425"/>
                  </a:lnTo>
                  <a:lnTo>
                    <a:pt x="38" y="380"/>
                  </a:lnTo>
                  <a:lnTo>
                    <a:pt x="28" y="286"/>
                  </a:lnTo>
                  <a:lnTo>
                    <a:pt x="101" y="267"/>
                  </a:lnTo>
                  <a:lnTo>
                    <a:pt x="186" y="245"/>
                  </a:lnTo>
                  <a:lnTo>
                    <a:pt x="200" y="203"/>
                  </a:lnTo>
                  <a:lnTo>
                    <a:pt x="131" y="197"/>
                  </a:lnTo>
                  <a:lnTo>
                    <a:pt x="115" y="124"/>
                  </a:lnTo>
                  <a:lnTo>
                    <a:pt x="159" y="77"/>
                  </a:lnTo>
                  <a:lnTo>
                    <a:pt x="206" y="48"/>
                  </a:lnTo>
                  <a:lnTo>
                    <a:pt x="267" y="2"/>
                  </a:lnTo>
                  <a:lnTo>
                    <a:pt x="320" y="0"/>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3" name="Freeform 170">
              <a:extLst>
                <a:ext uri="{FF2B5EF4-FFF2-40B4-BE49-F238E27FC236}">
                  <a16:creationId xmlns:a16="http://schemas.microsoft.com/office/drawing/2014/main" id="{EA70030C-0CFD-239A-502D-369DCDD169F9}"/>
                </a:ext>
              </a:extLst>
            </p:cNvPr>
            <p:cNvSpPr>
              <a:spLocks/>
            </p:cNvSpPr>
            <p:nvPr/>
          </p:nvSpPr>
          <p:spPr bwMode="auto">
            <a:xfrm>
              <a:off x="3741644" y="2755901"/>
              <a:ext cx="231773" cy="236537"/>
            </a:xfrm>
            <a:custGeom>
              <a:avLst/>
              <a:gdLst/>
              <a:ahLst/>
              <a:cxnLst>
                <a:cxn ang="0">
                  <a:pos x="696" y="128"/>
                </a:cxn>
                <a:cxn ang="0">
                  <a:pos x="630" y="167"/>
                </a:cxn>
                <a:cxn ang="0">
                  <a:pos x="634" y="278"/>
                </a:cxn>
                <a:cxn ang="0">
                  <a:pos x="667" y="364"/>
                </a:cxn>
                <a:cxn ang="0">
                  <a:pos x="730" y="461"/>
                </a:cxn>
                <a:cxn ang="0">
                  <a:pos x="702" y="523"/>
                </a:cxn>
                <a:cxn ang="0">
                  <a:pos x="688" y="611"/>
                </a:cxn>
                <a:cxn ang="0">
                  <a:pos x="640" y="679"/>
                </a:cxn>
                <a:cxn ang="0">
                  <a:pos x="571" y="638"/>
                </a:cxn>
                <a:cxn ang="0">
                  <a:pos x="498" y="658"/>
                </a:cxn>
                <a:cxn ang="0">
                  <a:pos x="399" y="640"/>
                </a:cxn>
                <a:cxn ang="0">
                  <a:pos x="384" y="676"/>
                </a:cxn>
                <a:cxn ang="0">
                  <a:pos x="408" y="748"/>
                </a:cxn>
                <a:cxn ang="0">
                  <a:pos x="307" y="742"/>
                </a:cxn>
                <a:cxn ang="0">
                  <a:pos x="247" y="737"/>
                </a:cxn>
                <a:cxn ang="0">
                  <a:pos x="198" y="652"/>
                </a:cxn>
                <a:cxn ang="0">
                  <a:pos x="153" y="583"/>
                </a:cxn>
                <a:cxn ang="0">
                  <a:pos x="136" y="496"/>
                </a:cxn>
                <a:cxn ang="0">
                  <a:pos x="82" y="491"/>
                </a:cxn>
                <a:cxn ang="0">
                  <a:pos x="0" y="349"/>
                </a:cxn>
                <a:cxn ang="0">
                  <a:pos x="13" y="316"/>
                </a:cxn>
                <a:cxn ang="0">
                  <a:pos x="31" y="259"/>
                </a:cxn>
                <a:cxn ang="0">
                  <a:pos x="57" y="206"/>
                </a:cxn>
                <a:cxn ang="0">
                  <a:pos x="123" y="202"/>
                </a:cxn>
                <a:cxn ang="0">
                  <a:pos x="139" y="163"/>
                </a:cxn>
                <a:cxn ang="0">
                  <a:pos x="135" y="95"/>
                </a:cxn>
                <a:cxn ang="0">
                  <a:pos x="156" y="12"/>
                </a:cxn>
                <a:cxn ang="0">
                  <a:pos x="208" y="27"/>
                </a:cxn>
                <a:cxn ang="0">
                  <a:pos x="258" y="23"/>
                </a:cxn>
                <a:cxn ang="0">
                  <a:pos x="320" y="38"/>
                </a:cxn>
                <a:cxn ang="0">
                  <a:pos x="363" y="70"/>
                </a:cxn>
                <a:cxn ang="0">
                  <a:pos x="375" y="38"/>
                </a:cxn>
                <a:cxn ang="0">
                  <a:pos x="413" y="12"/>
                </a:cxn>
                <a:cxn ang="0">
                  <a:pos x="476" y="0"/>
                </a:cxn>
                <a:cxn ang="0">
                  <a:pos x="546" y="4"/>
                </a:cxn>
                <a:cxn ang="0">
                  <a:pos x="624" y="34"/>
                </a:cxn>
                <a:cxn ang="0">
                  <a:pos x="708" y="89"/>
                </a:cxn>
                <a:cxn ang="0">
                  <a:pos x="696" y="128"/>
                </a:cxn>
              </a:cxnLst>
              <a:rect l="0" t="0" r="r" b="b"/>
              <a:pathLst>
                <a:path w="730" h="748">
                  <a:moveTo>
                    <a:pt x="696" y="128"/>
                  </a:moveTo>
                  <a:lnTo>
                    <a:pt x="630" y="167"/>
                  </a:lnTo>
                  <a:lnTo>
                    <a:pt x="634" y="278"/>
                  </a:lnTo>
                  <a:lnTo>
                    <a:pt x="667" y="364"/>
                  </a:lnTo>
                  <a:lnTo>
                    <a:pt x="730" y="461"/>
                  </a:lnTo>
                  <a:lnTo>
                    <a:pt x="702" y="523"/>
                  </a:lnTo>
                  <a:lnTo>
                    <a:pt x="688" y="611"/>
                  </a:lnTo>
                  <a:lnTo>
                    <a:pt x="640" y="679"/>
                  </a:lnTo>
                  <a:lnTo>
                    <a:pt x="571" y="638"/>
                  </a:lnTo>
                  <a:lnTo>
                    <a:pt x="498" y="658"/>
                  </a:lnTo>
                  <a:lnTo>
                    <a:pt x="399" y="640"/>
                  </a:lnTo>
                  <a:lnTo>
                    <a:pt x="384" y="676"/>
                  </a:lnTo>
                  <a:lnTo>
                    <a:pt x="408" y="748"/>
                  </a:lnTo>
                  <a:lnTo>
                    <a:pt x="307" y="742"/>
                  </a:lnTo>
                  <a:lnTo>
                    <a:pt x="247" y="737"/>
                  </a:lnTo>
                  <a:lnTo>
                    <a:pt x="198" y="652"/>
                  </a:lnTo>
                  <a:lnTo>
                    <a:pt x="153" y="583"/>
                  </a:lnTo>
                  <a:lnTo>
                    <a:pt x="136" y="496"/>
                  </a:lnTo>
                  <a:lnTo>
                    <a:pt x="82" y="491"/>
                  </a:lnTo>
                  <a:lnTo>
                    <a:pt x="0" y="349"/>
                  </a:lnTo>
                  <a:lnTo>
                    <a:pt x="13" y="316"/>
                  </a:lnTo>
                  <a:lnTo>
                    <a:pt x="31" y="259"/>
                  </a:lnTo>
                  <a:lnTo>
                    <a:pt x="57" y="206"/>
                  </a:lnTo>
                  <a:lnTo>
                    <a:pt x="123" y="202"/>
                  </a:lnTo>
                  <a:lnTo>
                    <a:pt x="139" y="163"/>
                  </a:lnTo>
                  <a:lnTo>
                    <a:pt x="135" y="95"/>
                  </a:lnTo>
                  <a:lnTo>
                    <a:pt x="156" y="12"/>
                  </a:lnTo>
                  <a:lnTo>
                    <a:pt x="208" y="27"/>
                  </a:lnTo>
                  <a:lnTo>
                    <a:pt x="258" y="23"/>
                  </a:lnTo>
                  <a:lnTo>
                    <a:pt x="320" y="38"/>
                  </a:lnTo>
                  <a:lnTo>
                    <a:pt x="363" y="70"/>
                  </a:lnTo>
                  <a:lnTo>
                    <a:pt x="375" y="38"/>
                  </a:lnTo>
                  <a:lnTo>
                    <a:pt x="413" y="12"/>
                  </a:lnTo>
                  <a:lnTo>
                    <a:pt x="476" y="0"/>
                  </a:lnTo>
                  <a:lnTo>
                    <a:pt x="546" y="4"/>
                  </a:lnTo>
                  <a:lnTo>
                    <a:pt x="624" y="34"/>
                  </a:lnTo>
                  <a:lnTo>
                    <a:pt x="708" y="89"/>
                  </a:lnTo>
                  <a:lnTo>
                    <a:pt x="696" y="128"/>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4" name="Freeform 171">
              <a:extLst>
                <a:ext uri="{FF2B5EF4-FFF2-40B4-BE49-F238E27FC236}">
                  <a16:creationId xmlns:a16="http://schemas.microsoft.com/office/drawing/2014/main" id="{8F0CB943-72BF-25F7-428D-9983486E605B}"/>
                </a:ext>
              </a:extLst>
            </p:cNvPr>
            <p:cNvSpPr>
              <a:spLocks/>
            </p:cNvSpPr>
            <p:nvPr/>
          </p:nvSpPr>
          <p:spPr bwMode="auto">
            <a:xfrm>
              <a:off x="3941667" y="2778126"/>
              <a:ext cx="158748" cy="207962"/>
            </a:xfrm>
            <a:custGeom>
              <a:avLst/>
              <a:gdLst/>
              <a:ahLst/>
              <a:cxnLst>
                <a:cxn ang="0">
                  <a:pos x="76" y="17"/>
                </a:cxn>
                <a:cxn ang="0">
                  <a:pos x="134" y="0"/>
                </a:cxn>
                <a:cxn ang="0">
                  <a:pos x="220" y="30"/>
                </a:cxn>
                <a:cxn ang="0">
                  <a:pos x="294" y="66"/>
                </a:cxn>
                <a:cxn ang="0">
                  <a:pos x="384" y="119"/>
                </a:cxn>
                <a:cxn ang="0">
                  <a:pos x="450" y="181"/>
                </a:cxn>
                <a:cxn ang="0">
                  <a:pos x="446" y="249"/>
                </a:cxn>
                <a:cxn ang="0">
                  <a:pos x="498" y="221"/>
                </a:cxn>
                <a:cxn ang="0">
                  <a:pos x="500" y="301"/>
                </a:cxn>
                <a:cxn ang="0">
                  <a:pos x="397" y="451"/>
                </a:cxn>
                <a:cxn ang="0">
                  <a:pos x="367" y="580"/>
                </a:cxn>
                <a:cxn ang="0">
                  <a:pos x="299" y="643"/>
                </a:cxn>
                <a:cxn ang="0">
                  <a:pos x="196" y="610"/>
                </a:cxn>
                <a:cxn ang="0">
                  <a:pos x="82" y="655"/>
                </a:cxn>
                <a:cxn ang="0">
                  <a:pos x="5" y="610"/>
                </a:cxn>
                <a:cxn ang="0">
                  <a:pos x="56" y="543"/>
                </a:cxn>
                <a:cxn ang="0">
                  <a:pos x="71" y="450"/>
                </a:cxn>
                <a:cxn ang="0">
                  <a:pos x="97" y="390"/>
                </a:cxn>
                <a:cxn ang="0">
                  <a:pos x="33" y="289"/>
                </a:cxn>
                <a:cxn ang="0">
                  <a:pos x="0" y="204"/>
                </a:cxn>
                <a:cxn ang="0">
                  <a:pos x="0" y="98"/>
                </a:cxn>
                <a:cxn ang="0">
                  <a:pos x="62" y="57"/>
                </a:cxn>
                <a:cxn ang="0">
                  <a:pos x="76" y="17"/>
                </a:cxn>
              </a:cxnLst>
              <a:rect l="0" t="0" r="r" b="b"/>
              <a:pathLst>
                <a:path w="500" h="655">
                  <a:moveTo>
                    <a:pt x="76" y="17"/>
                  </a:moveTo>
                  <a:lnTo>
                    <a:pt x="134" y="0"/>
                  </a:lnTo>
                  <a:lnTo>
                    <a:pt x="220" y="30"/>
                  </a:lnTo>
                  <a:lnTo>
                    <a:pt x="294" y="66"/>
                  </a:lnTo>
                  <a:lnTo>
                    <a:pt x="384" y="119"/>
                  </a:lnTo>
                  <a:lnTo>
                    <a:pt x="450" y="181"/>
                  </a:lnTo>
                  <a:lnTo>
                    <a:pt x="446" y="249"/>
                  </a:lnTo>
                  <a:lnTo>
                    <a:pt x="498" y="221"/>
                  </a:lnTo>
                  <a:lnTo>
                    <a:pt x="500" y="301"/>
                  </a:lnTo>
                  <a:lnTo>
                    <a:pt x="397" y="451"/>
                  </a:lnTo>
                  <a:lnTo>
                    <a:pt x="367" y="580"/>
                  </a:lnTo>
                  <a:lnTo>
                    <a:pt x="299" y="643"/>
                  </a:lnTo>
                  <a:lnTo>
                    <a:pt x="196" y="610"/>
                  </a:lnTo>
                  <a:lnTo>
                    <a:pt x="82" y="655"/>
                  </a:lnTo>
                  <a:lnTo>
                    <a:pt x="5" y="610"/>
                  </a:lnTo>
                  <a:lnTo>
                    <a:pt x="56" y="543"/>
                  </a:lnTo>
                  <a:lnTo>
                    <a:pt x="71" y="450"/>
                  </a:lnTo>
                  <a:lnTo>
                    <a:pt x="97" y="390"/>
                  </a:lnTo>
                  <a:lnTo>
                    <a:pt x="33" y="289"/>
                  </a:lnTo>
                  <a:lnTo>
                    <a:pt x="0" y="204"/>
                  </a:lnTo>
                  <a:lnTo>
                    <a:pt x="0" y="98"/>
                  </a:lnTo>
                  <a:lnTo>
                    <a:pt x="62" y="57"/>
                  </a:lnTo>
                  <a:lnTo>
                    <a:pt x="76" y="17"/>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5" name="Freeform 172">
              <a:extLst>
                <a:ext uri="{FF2B5EF4-FFF2-40B4-BE49-F238E27FC236}">
                  <a16:creationId xmlns:a16="http://schemas.microsoft.com/office/drawing/2014/main" id="{FFEBE20E-9522-62C7-581A-6C4D7FA4977E}"/>
                </a:ext>
              </a:extLst>
            </p:cNvPr>
            <p:cNvSpPr>
              <a:spLocks/>
            </p:cNvSpPr>
            <p:nvPr/>
          </p:nvSpPr>
          <p:spPr bwMode="auto">
            <a:xfrm>
              <a:off x="2998702" y="6092825"/>
              <a:ext cx="125411" cy="100012"/>
            </a:xfrm>
            <a:custGeom>
              <a:avLst/>
              <a:gdLst/>
              <a:ahLst/>
              <a:cxnLst>
                <a:cxn ang="0">
                  <a:pos x="396" y="232"/>
                </a:cxn>
                <a:cxn ang="0">
                  <a:pos x="300" y="229"/>
                </a:cxn>
                <a:cxn ang="0">
                  <a:pos x="240" y="181"/>
                </a:cxn>
                <a:cxn ang="0">
                  <a:pos x="183" y="139"/>
                </a:cxn>
                <a:cxn ang="0">
                  <a:pos x="125" y="81"/>
                </a:cxn>
                <a:cxn ang="0">
                  <a:pos x="63" y="14"/>
                </a:cxn>
                <a:cxn ang="0">
                  <a:pos x="14" y="0"/>
                </a:cxn>
                <a:cxn ang="0">
                  <a:pos x="9" y="145"/>
                </a:cxn>
                <a:cxn ang="0">
                  <a:pos x="0" y="265"/>
                </a:cxn>
                <a:cxn ang="0">
                  <a:pos x="151" y="260"/>
                </a:cxn>
                <a:cxn ang="0">
                  <a:pos x="258" y="313"/>
                </a:cxn>
                <a:cxn ang="0">
                  <a:pos x="291" y="276"/>
                </a:cxn>
                <a:cxn ang="0">
                  <a:pos x="339" y="280"/>
                </a:cxn>
                <a:cxn ang="0">
                  <a:pos x="393" y="277"/>
                </a:cxn>
                <a:cxn ang="0">
                  <a:pos x="396" y="232"/>
                </a:cxn>
              </a:cxnLst>
              <a:rect l="0" t="0" r="r" b="b"/>
              <a:pathLst>
                <a:path w="396" h="313">
                  <a:moveTo>
                    <a:pt x="396" y="232"/>
                  </a:moveTo>
                  <a:lnTo>
                    <a:pt x="300" y="229"/>
                  </a:lnTo>
                  <a:lnTo>
                    <a:pt x="240" y="181"/>
                  </a:lnTo>
                  <a:lnTo>
                    <a:pt x="183" y="139"/>
                  </a:lnTo>
                  <a:lnTo>
                    <a:pt x="125" y="81"/>
                  </a:lnTo>
                  <a:lnTo>
                    <a:pt x="63" y="14"/>
                  </a:lnTo>
                  <a:lnTo>
                    <a:pt x="14" y="0"/>
                  </a:lnTo>
                  <a:lnTo>
                    <a:pt x="9" y="145"/>
                  </a:lnTo>
                  <a:lnTo>
                    <a:pt x="0" y="265"/>
                  </a:lnTo>
                  <a:lnTo>
                    <a:pt x="151" y="260"/>
                  </a:lnTo>
                  <a:lnTo>
                    <a:pt x="258" y="313"/>
                  </a:lnTo>
                  <a:lnTo>
                    <a:pt x="291" y="276"/>
                  </a:lnTo>
                  <a:lnTo>
                    <a:pt x="339" y="280"/>
                  </a:lnTo>
                  <a:lnTo>
                    <a:pt x="393" y="277"/>
                  </a:lnTo>
                  <a:lnTo>
                    <a:pt x="396" y="232"/>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6" name="Freeform 173">
              <a:extLst>
                <a:ext uri="{FF2B5EF4-FFF2-40B4-BE49-F238E27FC236}">
                  <a16:creationId xmlns:a16="http://schemas.microsoft.com/office/drawing/2014/main" id="{EE79DB91-46A3-0C61-3349-16BE65729F8C}"/>
                </a:ext>
              </a:extLst>
            </p:cNvPr>
            <p:cNvSpPr>
              <a:spLocks/>
            </p:cNvSpPr>
            <p:nvPr/>
          </p:nvSpPr>
          <p:spPr bwMode="auto">
            <a:xfrm>
              <a:off x="3519397" y="2471738"/>
              <a:ext cx="49211" cy="42863"/>
            </a:xfrm>
            <a:custGeom>
              <a:avLst/>
              <a:gdLst/>
              <a:ahLst/>
              <a:cxnLst>
                <a:cxn ang="0">
                  <a:pos x="192" y="12"/>
                </a:cxn>
                <a:cxn ang="0">
                  <a:pos x="126" y="0"/>
                </a:cxn>
                <a:cxn ang="0">
                  <a:pos x="54" y="12"/>
                </a:cxn>
                <a:cxn ang="0">
                  <a:pos x="60" y="72"/>
                </a:cxn>
                <a:cxn ang="0">
                  <a:pos x="54" y="120"/>
                </a:cxn>
                <a:cxn ang="0">
                  <a:pos x="0" y="168"/>
                </a:cxn>
                <a:cxn ang="0">
                  <a:pos x="144" y="150"/>
                </a:cxn>
                <a:cxn ang="0">
                  <a:pos x="162" y="78"/>
                </a:cxn>
                <a:cxn ang="0">
                  <a:pos x="192" y="12"/>
                </a:cxn>
              </a:cxnLst>
              <a:rect l="0" t="0" r="r" b="b"/>
              <a:pathLst>
                <a:path w="192" h="168">
                  <a:moveTo>
                    <a:pt x="192" y="12"/>
                  </a:moveTo>
                  <a:lnTo>
                    <a:pt x="126" y="0"/>
                  </a:lnTo>
                  <a:lnTo>
                    <a:pt x="54" y="12"/>
                  </a:lnTo>
                  <a:lnTo>
                    <a:pt x="60" y="72"/>
                  </a:lnTo>
                  <a:lnTo>
                    <a:pt x="54" y="120"/>
                  </a:lnTo>
                  <a:lnTo>
                    <a:pt x="0" y="168"/>
                  </a:lnTo>
                  <a:lnTo>
                    <a:pt x="144" y="150"/>
                  </a:lnTo>
                  <a:lnTo>
                    <a:pt x="162" y="78"/>
                  </a:lnTo>
                  <a:lnTo>
                    <a:pt x="192" y="12"/>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7" name="Freeform 174">
              <a:extLst>
                <a:ext uri="{FF2B5EF4-FFF2-40B4-BE49-F238E27FC236}">
                  <a16:creationId xmlns:a16="http://schemas.microsoft.com/office/drawing/2014/main" id="{559C9538-4829-38F2-E6C5-A10EBCBB78ED}"/>
                </a:ext>
              </a:extLst>
            </p:cNvPr>
            <p:cNvSpPr>
              <a:spLocks/>
            </p:cNvSpPr>
            <p:nvPr/>
          </p:nvSpPr>
          <p:spPr bwMode="auto">
            <a:xfrm>
              <a:off x="3028864" y="2409826"/>
              <a:ext cx="30163" cy="30162"/>
            </a:xfrm>
            <a:custGeom>
              <a:avLst/>
              <a:gdLst/>
              <a:ahLst/>
              <a:cxnLst>
                <a:cxn ang="0">
                  <a:pos x="110" y="101"/>
                </a:cxn>
                <a:cxn ang="0">
                  <a:pos x="67" y="129"/>
                </a:cxn>
                <a:cxn ang="0">
                  <a:pos x="19" y="105"/>
                </a:cxn>
                <a:cxn ang="0">
                  <a:pos x="0" y="53"/>
                </a:cxn>
                <a:cxn ang="0">
                  <a:pos x="72" y="0"/>
                </a:cxn>
                <a:cxn ang="0">
                  <a:pos x="120" y="33"/>
                </a:cxn>
                <a:cxn ang="0">
                  <a:pos x="110" y="101"/>
                </a:cxn>
              </a:cxnLst>
              <a:rect l="0" t="0" r="r" b="b"/>
              <a:pathLst>
                <a:path w="120" h="129">
                  <a:moveTo>
                    <a:pt x="110" y="101"/>
                  </a:moveTo>
                  <a:lnTo>
                    <a:pt x="67" y="129"/>
                  </a:lnTo>
                  <a:lnTo>
                    <a:pt x="19" y="105"/>
                  </a:lnTo>
                  <a:lnTo>
                    <a:pt x="0" y="53"/>
                  </a:lnTo>
                  <a:lnTo>
                    <a:pt x="72" y="0"/>
                  </a:lnTo>
                  <a:lnTo>
                    <a:pt x="120" y="33"/>
                  </a:lnTo>
                  <a:lnTo>
                    <a:pt x="110" y="101"/>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8" name="Freeform 175">
              <a:extLst>
                <a:ext uri="{FF2B5EF4-FFF2-40B4-BE49-F238E27FC236}">
                  <a16:creationId xmlns:a16="http://schemas.microsoft.com/office/drawing/2014/main" id="{329E4615-75F1-2F5E-293F-4A7878FAF11D}"/>
                </a:ext>
              </a:extLst>
            </p:cNvPr>
            <p:cNvSpPr>
              <a:spLocks/>
            </p:cNvSpPr>
            <p:nvPr/>
          </p:nvSpPr>
          <p:spPr bwMode="auto">
            <a:xfrm>
              <a:off x="1796977" y="2071688"/>
              <a:ext cx="223836" cy="234950"/>
            </a:xfrm>
            <a:custGeom>
              <a:avLst/>
              <a:gdLst/>
              <a:ahLst/>
              <a:cxnLst>
                <a:cxn ang="0">
                  <a:pos x="0" y="3968"/>
                </a:cxn>
                <a:cxn ang="0">
                  <a:pos x="495" y="4415"/>
                </a:cxn>
                <a:cxn ang="0">
                  <a:pos x="875" y="4655"/>
                </a:cxn>
                <a:cxn ang="0">
                  <a:pos x="1250" y="4780"/>
                </a:cxn>
                <a:cxn ang="0">
                  <a:pos x="1640" y="4780"/>
                </a:cxn>
                <a:cxn ang="0">
                  <a:pos x="2085" y="4835"/>
                </a:cxn>
                <a:cxn ang="0">
                  <a:pos x="2490" y="5000"/>
                </a:cxn>
                <a:cxn ang="0">
                  <a:pos x="2550" y="4840"/>
                </a:cxn>
                <a:cxn ang="0">
                  <a:pos x="2760" y="4660"/>
                </a:cxn>
                <a:cxn ang="0">
                  <a:pos x="2925" y="4610"/>
                </a:cxn>
                <a:cxn ang="0">
                  <a:pos x="3045" y="4475"/>
                </a:cxn>
                <a:cxn ang="0">
                  <a:pos x="3195" y="4450"/>
                </a:cxn>
                <a:cxn ang="0">
                  <a:pos x="3210" y="4405"/>
                </a:cxn>
                <a:cxn ang="0">
                  <a:pos x="3120" y="4330"/>
                </a:cxn>
                <a:cxn ang="0">
                  <a:pos x="3135" y="4220"/>
                </a:cxn>
                <a:cxn ang="0">
                  <a:pos x="3275" y="4180"/>
                </a:cxn>
                <a:cxn ang="0">
                  <a:pos x="3418" y="4181"/>
                </a:cxn>
                <a:cxn ang="0">
                  <a:pos x="3540" y="4010"/>
                </a:cxn>
                <a:cxn ang="0">
                  <a:pos x="3665" y="4025"/>
                </a:cxn>
                <a:cxn ang="0">
                  <a:pos x="3680" y="3820"/>
                </a:cxn>
                <a:cxn ang="0">
                  <a:pos x="3560" y="3680"/>
                </a:cxn>
                <a:cxn ang="0">
                  <a:pos x="3635" y="3445"/>
                </a:cxn>
                <a:cxn ang="0">
                  <a:pos x="3875" y="3340"/>
                </a:cxn>
                <a:cxn ang="0">
                  <a:pos x="4175" y="3130"/>
                </a:cxn>
                <a:cxn ang="0">
                  <a:pos x="4755" y="2635"/>
                </a:cxn>
                <a:cxn ang="0">
                  <a:pos x="4440" y="2380"/>
                </a:cxn>
                <a:cxn ang="0">
                  <a:pos x="4385" y="2405"/>
                </a:cxn>
                <a:cxn ang="0">
                  <a:pos x="4470" y="2480"/>
                </a:cxn>
                <a:cxn ang="0">
                  <a:pos x="4400" y="2530"/>
                </a:cxn>
                <a:cxn ang="0">
                  <a:pos x="4310" y="2660"/>
                </a:cxn>
                <a:cxn ang="0">
                  <a:pos x="4130" y="2465"/>
                </a:cxn>
                <a:cxn ang="0">
                  <a:pos x="3979" y="2439"/>
                </a:cxn>
                <a:cxn ang="0">
                  <a:pos x="3817" y="2391"/>
                </a:cxn>
                <a:cxn ang="0">
                  <a:pos x="3612" y="2420"/>
                </a:cxn>
                <a:cxn ang="0">
                  <a:pos x="3730" y="867"/>
                </a:cxn>
                <a:cxn ang="0">
                  <a:pos x="3730" y="27"/>
                </a:cxn>
                <a:cxn ang="0">
                  <a:pos x="1600" y="0"/>
                </a:cxn>
                <a:cxn ang="0">
                  <a:pos x="1560" y="680"/>
                </a:cxn>
                <a:cxn ang="0">
                  <a:pos x="1060" y="680"/>
                </a:cxn>
                <a:cxn ang="0">
                  <a:pos x="1509" y="1109"/>
                </a:cxn>
                <a:cxn ang="0">
                  <a:pos x="1942" y="1379"/>
                </a:cxn>
                <a:cxn ang="0">
                  <a:pos x="1999" y="1608"/>
                </a:cxn>
                <a:cxn ang="0">
                  <a:pos x="2262" y="1760"/>
                </a:cxn>
                <a:cxn ang="0">
                  <a:pos x="2182" y="1925"/>
                </a:cxn>
                <a:cxn ang="0">
                  <a:pos x="2149" y="2139"/>
                </a:cxn>
                <a:cxn ang="0">
                  <a:pos x="678" y="2120"/>
                </a:cxn>
                <a:cxn ang="0">
                  <a:pos x="80" y="3070"/>
                </a:cxn>
                <a:cxn ang="0">
                  <a:pos x="219" y="3300"/>
                </a:cxn>
                <a:cxn ang="0">
                  <a:pos x="90" y="3450"/>
                </a:cxn>
                <a:cxn ang="0">
                  <a:pos x="130" y="3629"/>
                </a:cxn>
                <a:cxn ang="0">
                  <a:pos x="90" y="3869"/>
                </a:cxn>
                <a:cxn ang="0">
                  <a:pos x="0" y="3968"/>
                </a:cxn>
              </a:cxnLst>
              <a:rect l="0" t="0" r="r" b="b"/>
              <a:pathLst>
                <a:path w="4755" h="5000">
                  <a:moveTo>
                    <a:pt x="0" y="3968"/>
                  </a:moveTo>
                  <a:lnTo>
                    <a:pt x="495" y="4415"/>
                  </a:lnTo>
                  <a:lnTo>
                    <a:pt x="875" y="4655"/>
                  </a:lnTo>
                  <a:lnTo>
                    <a:pt x="1250" y="4780"/>
                  </a:lnTo>
                  <a:lnTo>
                    <a:pt x="1640" y="4780"/>
                  </a:lnTo>
                  <a:lnTo>
                    <a:pt x="2085" y="4835"/>
                  </a:lnTo>
                  <a:lnTo>
                    <a:pt x="2490" y="5000"/>
                  </a:lnTo>
                  <a:lnTo>
                    <a:pt x="2550" y="4840"/>
                  </a:lnTo>
                  <a:lnTo>
                    <a:pt x="2760" y="4660"/>
                  </a:lnTo>
                  <a:lnTo>
                    <a:pt x="2925" y="4610"/>
                  </a:lnTo>
                  <a:lnTo>
                    <a:pt x="3045" y="4475"/>
                  </a:lnTo>
                  <a:lnTo>
                    <a:pt x="3195" y="4450"/>
                  </a:lnTo>
                  <a:lnTo>
                    <a:pt x="3210" y="4405"/>
                  </a:lnTo>
                  <a:lnTo>
                    <a:pt x="3120" y="4330"/>
                  </a:lnTo>
                  <a:lnTo>
                    <a:pt x="3135" y="4220"/>
                  </a:lnTo>
                  <a:lnTo>
                    <a:pt x="3275" y="4180"/>
                  </a:lnTo>
                  <a:lnTo>
                    <a:pt x="3418" y="4181"/>
                  </a:lnTo>
                  <a:lnTo>
                    <a:pt x="3540" y="4010"/>
                  </a:lnTo>
                  <a:lnTo>
                    <a:pt x="3665" y="4025"/>
                  </a:lnTo>
                  <a:lnTo>
                    <a:pt x="3680" y="3820"/>
                  </a:lnTo>
                  <a:lnTo>
                    <a:pt x="3560" y="3680"/>
                  </a:lnTo>
                  <a:lnTo>
                    <a:pt x="3635" y="3445"/>
                  </a:lnTo>
                  <a:lnTo>
                    <a:pt x="3875" y="3340"/>
                  </a:lnTo>
                  <a:lnTo>
                    <a:pt x="4175" y="3130"/>
                  </a:lnTo>
                  <a:lnTo>
                    <a:pt x="4755" y="2635"/>
                  </a:lnTo>
                  <a:lnTo>
                    <a:pt x="4440" y="2380"/>
                  </a:lnTo>
                  <a:lnTo>
                    <a:pt x="4385" y="2405"/>
                  </a:lnTo>
                  <a:lnTo>
                    <a:pt x="4470" y="2480"/>
                  </a:lnTo>
                  <a:lnTo>
                    <a:pt x="4400" y="2530"/>
                  </a:lnTo>
                  <a:lnTo>
                    <a:pt x="4310" y="2660"/>
                  </a:lnTo>
                  <a:lnTo>
                    <a:pt x="4130" y="2465"/>
                  </a:lnTo>
                  <a:lnTo>
                    <a:pt x="3979" y="2439"/>
                  </a:lnTo>
                  <a:lnTo>
                    <a:pt x="3817" y="2391"/>
                  </a:lnTo>
                  <a:lnTo>
                    <a:pt x="3612" y="2420"/>
                  </a:lnTo>
                  <a:lnTo>
                    <a:pt x="3730" y="867"/>
                  </a:lnTo>
                  <a:lnTo>
                    <a:pt x="3730" y="27"/>
                  </a:lnTo>
                  <a:lnTo>
                    <a:pt x="1600" y="0"/>
                  </a:lnTo>
                  <a:lnTo>
                    <a:pt x="1560" y="680"/>
                  </a:lnTo>
                  <a:lnTo>
                    <a:pt x="1060" y="680"/>
                  </a:lnTo>
                  <a:lnTo>
                    <a:pt x="1509" y="1109"/>
                  </a:lnTo>
                  <a:lnTo>
                    <a:pt x="1942" y="1379"/>
                  </a:lnTo>
                  <a:lnTo>
                    <a:pt x="1999" y="1608"/>
                  </a:lnTo>
                  <a:lnTo>
                    <a:pt x="2262" y="1760"/>
                  </a:lnTo>
                  <a:lnTo>
                    <a:pt x="2182" y="1925"/>
                  </a:lnTo>
                  <a:lnTo>
                    <a:pt x="2149" y="2139"/>
                  </a:lnTo>
                  <a:lnTo>
                    <a:pt x="678" y="2120"/>
                  </a:lnTo>
                  <a:lnTo>
                    <a:pt x="80" y="3070"/>
                  </a:lnTo>
                  <a:lnTo>
                    <a:pt x="219" y="3300"/>
                  </a:lnTo>
                  <a:lnTo>
                    <a:pt x="90" y="3450"/>
                  </a:lnTo>
                  <a:lnTo>
                    <a:pt x="130" y="3629"/>
                  </a:lnTo>
                  <a:lnTo>
                    <a:pt x="90" y="3869"/>
                  </a:lnTo>
                  <a:lnTo>
                    <a:pt x="0" y="3968"/>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9" name="Freeform 176">
              <a:extLst>
                <a:ext uri="{FF2B5EF4-FFF2-40B4-BE49-F238E27FC236}">
                  <a16:creationId xmlns:a16="http://schemas.microsoft.com/office/drawing/2014/main" id="{D9AD1500-ED1C-52CC-153B-570D2D876022}"/>
                </a:ext>
              </a:extLst>
            </p:cNvPr>
            <p:cNvSpPr>
              <a:spLocks/>
            </p:cNvSpPr>
            <p:nvPr/>
          </p:nvSpPr>
          <p:spPr bwMode="auto">
            <a:xfrm>
              <a:off x="1966838" y="2012951"/>
              <a:ext cx="100011" cy="174625"/>
            </a:xfrm>
            <a:custGeom>
              <a:avLst/>
              <a:gdLst/>
              <a:ahLst/>
              <a:cxnLst>
                <a:cxn ang="0">
                  <a:pos x="55" y="548"/>
                </a:cxn>
                <a:cxn ang="0">
                  <a:pos x="31" y="541"/>
                </a:cxn>
                <a:cxn ang="0">
                  <a:pos x="0" y="545"/>
                </a:cxn>
                <a:cxn ang="0">
                  <a:pos x="18" y="319"/>
                </a:cxn>
                <a:cxn ang="0">
                  <a:pos x="18" y="191"/>
                </a:cxn>
                <a:cxn ang="0">
                  <a:pos x="22" y="166"/>
                </a:cxn>
                <a:cxn ang="0">
                  <a:pos x="43" y="158"/>
                </a:cxn>
                <a:cxn ang="0">
                  <a:pos x="58" y="139"/>
                </a:cxn>
                <a:cxn ang="0">
                  <a:pos x="113" y="153"/>
                </a:cxn>
                <a:cxn ang="0">
                  <a:pos x="146" y="106"/>
                </a:cxn>
                <a:cxn ang="0">
                  <a:pos x="181" y="63"/>
                </a:cxn>
                <a:cxn ang="0">
                  <a:pos x="229" y="60"/>
                </a:cxn>
                <a:cxn ang="0">
                  <a:pos x="269" y="0"/>
                </a:cxn>
                <a:cxn ang="0">
                  <a:pos x="278" y="82"/>
                </a:cxn>
                <a:cxn ang="0">
                  <a:pos x="313" y="79"/>
                </a:cxn>
                <a:cxn ang="0">
                  <a:pos x="307" y="127"/>
                </a:cxn>
                <a:cxn ang="0">
                  <a:pos x="271" y="180"/>
                </a:cxn>
                <a:cxn ang="0">
                  <a:pos x="224" y="189"/>
                </a:cxn>
                <a:cxn ang="0">
                  <a:pos x="212" y="223"/>
                </a:cxn>
                <a:cxn ang="0">
                  <a:pos x="223" y="256"/>
                </a:cxn>
                <a:cxn ang="0">
                  <a:pos x="215" y="268"/>
                </a:cxn>
                <a:cxn ang="0">
                  <a:pos x="203" y="292"/>
                </a:cxn>
                <a:cxn ang="0">
                  <a:pos x="232" y="321"/>
                </a:cxn>
                <a:cxn ang="0">
                  <a:pos x="227" y="361"/>
                </a:cxn>
                <a:cxn ang="0">
                  <a:pos x="224" y="391"/>
                </a:cxn>
                <a:cxn ang="0">
                  <a:pos x="209" y="426"/>
                </a:cxn>
                <a:cxn ang="0">
                  <a:pos x="187" y="450"/>
                </a:cxn>
                <a:cxn ang="0">
                  <a:pos x="157" y="474"/>
                </a:cxn>
                <a:cxn ang="0">
                  <a:pos x="137" y="490"/>
                </a:cxn>
                <a:cxn ang="0">
                  <a:pos x="118" y="510"/>
                </a:cxn>
                <a:cxn ang="0">
                  <a:pos x="101" y="540"/>
                </a:cxn>
                <a:cxn ang="0">
                  <a:pos x="77" y="552"/>
                </a:cxn>
                <a:cxn ang="0">
                  <a:pos x="55" y="548"/>
                </a:cxn>
              </a:cxnLst>
              <a:rect l="0" t="0" r="r" b="b"/>
              <a:pathLst>
                <a:path w="313" h="552">
                  <a:moveTo>
                    <a:pt x="55" y="548"/>
                  </a:moveTo>
                  <a:lnTo>
                    <a:pt x="31" y="541"/>
                  </a:lnTo>
                  <a:lnTo>
                    <a:pt x="0" y="545"/>
                  </a:lnTo>
                  <a:lnTo>
                    <a:pt x="18" y="319"/>
                  </a:lnTo>
                  <a:lnTo>
                    <a:pt x="18" y="191"/>
                  </a:lnTo>
                  <a:lnTo>
                    <a:pt x="22" y="166"/>
                  </a:lnTo>
                  <a:lnTo>
                    <a:pt x="43" y="158"/>
                  </a:lnTo>
                  <a:lnTo>
                    <a:pt x="58" y="139"/>
                  </a:lnTo>
                  <a:lnTo>
                    <a:pt x="113" y="153"/>
                  </a:lnTo>
                  <a:lnTo>
                    <a:pt x="146" y="106"/>
                  </a:lnTo>
                  <a:lnTo>
                    <a:pt x="181" y="63"/>
                  </a:lnTo>
                  <a:lnTo>
                    <a:pt x="229" y="60"/>
                  </a:lnTo>
                  <a:lnTo>
                    <a:pt x="269" y="0"/>
                  </a:lnTo>
                  <a:lnTo>
                    <a:pt x="278" y="82"/>
                  </a:lnTo>
                  <a:lnTo>
                    <a:pt x="313" y="79"/>
                  </a:lnTo>
                  <a:lnTo>
                    <a:pt x="307" y="127"/>
                  </a:lnTo>
                  <a:lnTo>
                    <a:pt x="271" y="180"/>
                  </a:lnTo>
                  <a:lnTo>
                    <a:pt x="224" y="189"/>
                  </a:lnTo>
                  <a:lnTo>
                    <a:pt x="212" y="223"/>
                  </a:lnTo>
                  <a:lnTo>
                    <a:pt x="223" y="256"/>
                  </a:lnTo>
                  <a:lnTo>
                    <a:pt x="215" y="268"/>
                  </a:lnTo>
                  <a:lnTo>
                    <a:pt x="203" y="292"/>
                  </a:lnTo>
                  <a:lnTo>
                    <a:pt x="232" y="321"/>
                  </a:lnTo>
                  <a:lnTo>
                    <a:pt x="227" y="361"/>
                  </a:lnTo>
                  <a:lnTo>
                    <a:pt x="224" y="391"/>
                  </a:lnTo>
                  <a:lnTo>
                    <a:pt x="209" y="426"/>
                  </a:lnTo>
                  <a:lnTo>
                    <a:pt x="187" y="450"/>
                  </a:lnTo>
                  <a:lnTo>
                    <a:pt x="157" y="474"/>
                  </a:lnTo>
                  <a:lnTo>
                    <a:pt x="137" y="490"/>
                  </a:lnTo>
                  <a:lnTo>
                    <a:pt x="118" y="510"/>
                  </a:lnTo>
                  <a:lnTo>
                    <a:pt x="101" y="540"/>
                  </a:lnTo>
                  <a:lnTo>
                    <a:pt x="77" y="552"/>
                  </a:lnTo>
                  <a:lnTo>
                    <a:pt x="55" y="548"/>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0" name="Freeform 177">
              <a:extLst>
                <a:ext uri="{FF2B5EF4-FFF2-40B4-BE49-F238E27FC236}">
                  <a16:creationId xmlns:a16="http://schemas.microsoft.com/office/drawing/2014/main" id="{BDDBF0DB-4611-4E31-C0FC-4276055D1F29}"/>
                </a:ext>
              </a:extLst>
            </p:cNvPr>
            <p:cNvSpPr>
              <a:spLocks/>
            </p:cNvSpPr>
            <p:nvPr/>
          </p:nvSpPr>
          <p:spPr bwMode="auto">
            <a:xfrm>
              <a:off x="1957313" y="2181226"/>
              <a:ext cx="344483" cy="173037"/>
            </a:xfrm>
            <a:custGeom>
              <a:avLst/>
              <a:gdLst/>
              <a:ahLst/>
              <a:cxnLst>
                <a:cxn ang="0">
                  <a:pos x="2149" y="3361"/>
                </a:cxn>
                <a:cxn ang="0">
                  <a:pos x="2009" y="3221"/>
                </a:cxn>
                <a:cxn ang="0">
                  <a:pos x="1769" y="3159"/>
                </a:cxn>
                <a:cxn ang="0">
                  <a:pos x="1869" y="2971"/>
                </a:cxn>
                <a:cxn ang="0">
                  <a:pos x="1809" y="2591"/>
                </a:cxn>
                <a:cxn ang="0">
                  <a:pos x="1439" y="2451"/>
                </a:cxn>
                <a:cxn ang="0">
                  <a:pos x="1229" y="2591"/>
                </a:cxn>
                <a:cxn ang="0">
                  <a:pos x="869" y="2421"/>
                </a:cxn>
                <a:cxn ang="0">
                  <a:pos x="409" y="2041"/>
                </a:cxn>
                <a:cxn ang="0">
                  <a:pos x="119" y="1700"/>
                </a:cxn>
                <a:cxn ang="0">
                  <a:pos x="258" y="1511"/>
                </a:cxn>
                <a:cxn ang="0">
                  <a:pos x="215" y="1134"/>
                </a:cxn>
                <a:cxn ang="0">
                  <a:pos x="746" y="827"/>
                </a:cxn>
                <a:cxn ang="0">
                  <a:pos x="1489" y="350"/>
                </a:cxn>
                <a:cxn ang="0">
                  <a:pos x="1999" y="110"/>
                </a:cxn>
                <a:cxn ang="0">
                  <a:pos x="2409" y="210"/>
                </a:cxn>
                <a:cxn ang="0">
                  <a:pos x="3559" y="260"/>
                </a:cxn>
                <a:cxn ang="0">
                  <a:pos x="4010" y="150"/>
                </a:cxn>
                <a:cxn ang="0">
                  <a:pos x="4270" y="30"/>
                </a:cxn>
                <a:cxn ang="0">
                  <a:pos x="4730" y="150"/>
                </a:cxn>
                <a:cxn ang="0">
                  <a:pos x="5160" y="0"/>
                </a:cxn>
                <a:cxn ang="0">
                  <a:pos x="5620" y="310"/>
                </a:cxn>
                <a:cxn ang="0">
                  <a:pos x="6080" y="290"/>
                </a:cxn>
                <a:cxn ang="0">
                  <a:pos x="6090" y="590"/>
                </a:cxn>
                <a:cxn ang="0">
                  <a:pos x="6310" y="850"/>
                </a:cxn>
                <a:cxn ang="0">
                  <a:pos x="6550" y="920"/>
                </a:cxn>
                <a:cxn ang="0">
                  <a:pos x="6810" y="1010"/>
                </a:cxn>
                <a:cxn ang="0">
                  <a:pos x="7090" y="960"/>
                </a:cxn>
                <a:cxn ang="0">
                  <a:pos x="7310" y="1290"/>
                </a:cxn>
                <a:cxn ang="0">
                  <a:pos x="6900" y="1250"/>
                </a:cxn>
                <a:cxn ang="0">
                  <a:pos x="6200" y="1580"/>
                </a:cxn>
                <a:cxn ang="0">
                  <a:pos x="5510" y="1660"/>
                </a:cxn>
                <a:cxn ang="0">
                  <a:pos x="5130" y="1620"/>
                </a:cxn>
                <a:cxn ang="0">
                  <a:pos x="4980" y="1850"/>
                </a:cxn>
                <a:cxn ang="0">
                  <a:pos x="4940" y="2101"/>
                </a:cxn>
                <a:cxn ang="0">
                  <a:pos x="4590" y="2371"/>
                </a:cxn>
                <a:cxn ang="0">
                  <a:pos x="4230" y="2721"/>
                </a:cxn>
                <a:cxn ang="0">
                  <a:pos x="3589" y="2771"/>
                </a:cxn>
                <a:cxn ang="0">
                  <a:pos x="3049" y="2971"/>
                </a:cxn>
                <a:cxn ang="0">
                  <a:pos x="2909" y="3361"/>
                </a:cxn>
                <a:cxn ang="0">
                  <a:pos x="2739" y="3711"/>
                </a:cxn>
                <a:cxn ang="0">
                  <a:pos x="2389" y="3551"/>
                </a:cxn>
              </a:cxnLst>
              <a:rect l="0" t="0" r="r" b="b"/>
              <a:pathLst>
                <a:path w="7310" h="3711">
                  <a:moveTo>
                    <a:pt x="2389" y="3551"/>
                  </a:moveTo>
                  <a:lnTo>
                    <a:pt x="2149" y="3361"/>
                  </a:lnTo>
                  <a:lnTo>
                    <a:pt x="2129" y="3251"/>
                  </a:lnTo>
                  <a:lnTo>
                    <a:pt x="2009" y="3221"/>
                  </a:lnTo>
                  <a:lnTo>
                    <a:pt x="1909" y="3281"/>
                  </a:lnTo>
                  <a:lnTo>
                    <a:pt x="1769" y="3159"/>
                  </a:lnTo>
                  <a:lnTo>
                    <a:pt x="1939" y="3146"/>
                  </a:lnTo>
                  <a:lnTo>
                    <a:pt x="1869" y="2971"/>
                  </a:lnTo>
                  <a:lnTo>
                    <a:pt x="1949" y="2691"/>
                  </a:lnTo>
                  <a:lnTo>
                    <a:pt x="1809" y="2591"/>
                  </a:lnTo>
                  <a:lnTo>
                    <a:pt x="1599" y="2601"/>
                  </a:lnTo>
                  <a:lnTo>
                    <a:pt x="1439" y="2451"/>
                  </a:lnTo>
                  <a:lnTo>
                    <a:pt x="1309" y="2481"/>
                  </a:lnTo>
                  <a:lnTo>
                    <a:pt x="1229" y="2591"/>
                  </a:lnTo>
                  <a:lnTo>
                    <a:pt x="1039" y="2601"/>
                  </a:lnTo>
                  <a:lnTo>
                    <a:pt x="869" y="2421"/>
                  </a:lnTo>
                  <a:lnTo>
                    <a:pt x="429" y="2181"/>
                  </a:lnTo>
                  <a:lnTo>
                    <a:pt x="409" y="2041"/>
                  </a:lnTo>
                  <a:lnTo>
                    <a:pt x="0" y="1869"/>
                  </a:lnTo>
                  <a:lnTo>
                    <a:pt x="119" y="1700"/>
                  </a:lnTo>
                  <a:lnTo>
                    <a:pt x="243" y="1713"/>
                  </a:lnTo>
                  <a:lnTo>
                    <a:pt x="258" y="1511"/>
                  </a:lnTo>
                  <a:lnTo>
                    <a:pt x="140" y="1371"/>
                  </a:lnTo>
                  <a:lnTo>
                    <a:pt x="215" y="1134"/>
                  </a:lnTo>
                  <a:lnTo>
                    <a:pt x="456" y="1029"/>
                  </a:lnTo>
                  <a:lnTo>
                    <a:pt x="746" y="827"/>
                  </a:lnTo>
                  <a:lnTo>
                    <a:pt x="1334" y="326"/>
                  </a:lnTo>
                  <a:lnTo>
                    <a:pt x="1489" y="350"/>
                  </a:lnTo>
                  <a:lnTo>
                    <a:pt x="1789" y="120"/>
                  </a:lnTo>
                  <a:lnTo>
                    <a:pt x="1999" y="110"/>
                  </a:lnTo>
                  <a:lnTo>
                    <a:pt x="2229" y="250"/>
                  </a:lnTo>
                  <a:lnTo>
                    <a:pt x="2409" y="210"/>
                  </a:lnTo>
                  <a:lnTo>
                    <a:pt x="2959" y="290"/>
                  </a:lnTo>
                  <a:lnTo>
                    <a:pt x="3559" y="260"/>
                  </a:lnTo>
                  <a:lnTo>
                    <a:pt x="3810" y="150"/>
                  </a:lnTo>
                  <a:lnTo>
                    <a:pt x="4010" y="150"/>
                  </a:lnTo>
                  <a:lnTo>
                    <a:pt x="4080" y="10"/>
                  </a:lnTo>
                  <a:lnTo>
                    <a:pt x="4270" y="30"/>
                  </a:lnTo>
                  <a:lnTo>
                    <a:pt x="4430" y="130"/>
                  </a:lnTo>
                  <a:lnTo>
                    <a:pt x="4730" y="150"/>
                  </a:lnTo>
                  <a:lnTo>
                    <a:pt x="5020" y="110"/>
                  </a:lnTo>
                  <a:lnTo>
                    <a:pt x="5160" y="0"/>
                  </a:lnTo>
                  <a:lnTo>
                    <a:pt x="5540" y="170"/>
                  </a:lnTo>
                  <a:lnTo>
                    <a:pt x="5620" y="310"/>
                  </a:lnTo>
                  <a:lnTo>
                    <a:pt x="5930" y="210"/>
                  </a:lnTo>
                  <a:lnTo>
                    <a:pt x="6080" y="290"/>
                  </a:lnTo>
                  <a:lnTo>
                    <a:pt x="6430" y="610"/>
                  </a:lnTo>
                  <a:lnTo>
                    <a:pt x="6090" y="590"/>
                  </a:lnTo>
                  <a:lnTo>
                    <a:pt x="6200" y="750"/>
                  </a:lnTo>
                  <a:lnTo>
                    <a:pt x="6310" y="850"/>
                  </a:lnTo>
                  <a:lnTo>
                    <a:pt x="6420" y="930"/>
                  </a:lnTo>
                  <a:lnTo>
                    <a:pt x="6550" y="920"/>
                  </a:lnTo>
                  <a:lnTo>
                    <a:pt x="6750" y="880"/>
                  </a:lnTo>
                  <a:lnTo>
                    <a:pt x="6810" y="1010"/>
                  </a:lnTo>
                  <a:lnTo>
                    <a:pt x="6910" y="890"/>
                  </a:lnTo>
                  <a:lnTo>
                    <a:pt x="7090" y="960"/>
                  </a:lnTo>
                  <a:lnTo>
                    <a:pt x="7160" y="1150"/>
                  </a:lnTo>
                  <a:lnTo>
                    <a:pt x="7310" y="1290"/>
                  </a:lnTo>
                  <a:lnTo>
                    <a:pt x="7060" y="1220"/>
                  </a:lnTo>
                  <a:lnTo>
                    <a:pt x="6900" y="1250"/>
                  </a:lnTo>
                  <a:lnTo>
                    <a:pt x="6590" y="1500"/>
                  </a:lnTo>
                  <a:lnTo>
                    <a:pt x="6200" y="1580"/>
                  </a:lnTo>
                  <a:lnTo>
                    <a:pt x="5710" y="1720"/>
                  </a:lnTo>
                  <a:lnTo>
                    <a:pt x="5510" y="1660"/>
                  </a:lnTo>
                  <a:lnTo>
                    <a:pt x="5350" y="1450"/>
                  </a:lnTo>
                  <a:lnTo>
                    <a:pt x="5130" y="1620"/>
                  </a:lnTo>
                  <a:lnTo>
                    <a:pt x="5130" y="1760"/>
                  </a:lnTo>
                  <a:lnTo>
                    <a:pt x="4980" y="1850"/>
                  </a:lnTo>
                  <a:lnTo>
                    <a:pt x="4950" y="2011"/>
                  </a:lnTo>
                  <a:lnTo>
                    <a:pt x="4940" y="2101"/>
                  </a:lnTo>
                  <a:lnTo>
                    <a:pt x="4740" y="2161"/>
                  </a:lnTo>
                  <a:lnTo>
                    <a:pt x="4590" y="2371"/>
                  </a:lnTo>
                  <a:lnTo>
                    <a:pt x="4300" y="2541"/>
                  </a:lnTo>
                  <a:lnTo>
                    <a:pt x="4230" y="2721"/>
                  </a:lnTo>
                  <a:lnTo>
                    <a:pt x="3850" y="2451"/>
                  </a:lnTo>
                  <a:lnTo>
                    <a:pt x="3589" y="2771"/>
                  </a:lnTo>
                  <a:lnTo>
                    <a:pt x="3079" y="2791"/>
                  </a:lnTo>
                  <a:lnTo>
                    <a:pt x="3049" y="2971"/>
                  </a:lnTo>
                  <a:lnTo>
                    <a:pt x="3139" y="3311"/>
                  </a:lnTo>
                  <a:lnTo>
                    <a:pt x="2909" y="3361"/>
                  </a:lnTo>
                  <a:lnTo>
                    <a:pt x="2869" y="3541"/>
                  </a:lnTo>
                  <a:lnTo>
                    <a:pt x="2739" y="3711"/>
                  </a:lnTo>
                  <a:lnTo>
                    <a:pt x="2389" y="3701"/>
                  </a:lnTo>
                  <a:lnTo>
                    <a:pt x="2389" y="3551"/>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1" name="Freeform 178">
              <a:extLst>
                <a:ext uri="{FF2B5EF4-FFF2-40B4-BE49-F238E27FC236}">
                  <a16:creationId xmlns:a16="http://schemas.microsoft.com/office/drawing/2014/main" id="{AA63550C-9423-D160-E821-DDF61AE2287E}"/>
                </a:ext>
              </a:extLst>
            </p:cNvPr>
            <p:cNvSpPr>
              <a:spLocks/>
            </p:cNvSpPr>
            <p:nvPr/>
          </p:nvSpPr>
          <p:spPr bwMode="auto">
            <a:xfrm>
              <a:off x="1914450" y="2268538"/>
              <a:ext cx="134937" cy="76200"/>
            </a:xfrm>
            <a:custGeom>
              <a:avLst/>
              <a:gdLst/>
              <a:ahLst/>
              <a:cxnLst>
                <a:cxn ang="0">
                  <a:pos x="2620" y="1611"/>
                </a:cxn>
                <a:cxn ang="0">
                  <a:pos x="2000" y="1611"/>
                </a:cxn>
                <a:cxn ang="0">
                  <a:pos x="1800" y="1471"/>
                </a:cxn>
                <a:cxn ang="0">
                  <a:pos x="1505" y="1506"/>
                </a:cxn>
                <a:cxn ang="0">
                  <a:pos x="990" y="1191"/>
                </a:cxn>
                <a:cxn ang="0">
                  <a:pos x="400" y="1131"/>
                </a:cxn>
                <a:cxn ang="0">
                  <a:pos x="0" y="821"/>
                </a:cxn>
                <a:cxn ang="0">
                  <a:pos x="60" y="660"/>
                </a:cxn>
                <a:cxn ang="0">
                  <a:pos x="268" y="481"/>
                </a:cxn>
                <a:cxn ang="0">
                  <a:pos x="435" y="430"/>
                </a:cxn>
                <a:cxn ang="0">
                  <a:pos x="556" y="295"/>
                </a:cxn>
                <a:cxn ang="0">
                  <a:pos x="705" y="271"/>
                </a:cxn>
                <a:cxn ang="0">
                  <a:pos x="720" y="225"/>
                </a:cxn>
                <a:cxn ang="0">
                  <a:pos x="630" y="149"/>
                </a:cxn>
                <a:cxn ang="0">
                  <a:pos x="645" y="38"/>
                </a:cxn>
                <a:cxn ang="0">
                  <a:pos x="780" y="0"/>
                </a:cxn>
                <a:cxn ang="0">
                  <a:pos x="930" y="0"/>
                </a:cxn>
                <a:cxn ang="0">
                  <a:pos x="1340" y="170"/>
                </a:cxn>
                <a:cxn ang="0">
                  <a:pos x="1360" y="311"/>
                </a:cxn>
                <a:cxn ang="0">
                  <a:pos x="1804" y="553"/>
                </a:cxn>
                <a:cxn ang="0">
                  <a:pos x="1970" y="730"/>
                </a:cxn>
                <a:cxn ang="0">
                  <a:pos x="2158" y="722"/>
                </a:cxn>
                <a:cxn ang="0">
                  <a:pos x="2238" y="613"/>
                </a:cxn>
                <a:cxn ang="0">
                  <a:pos x="2370" y="581"/>
                </a:cxn>
                <a:cxn ang="0">
                  <a:pos x="2532" y="731"/>
                </a:cxn>
                <a:cxn ang="0">
                  <a:pos x="2742" y="722"/>
                </a:cxn>
                <a:cxn ang="0">
                  <a:pos x="2881" y="820"/>
                </a:cxn>
                <a:cxn ang="0">
                  <a:pos x="2800" y="1100"/>
                </a:cxn>
                <a:cxn ang="0">
                  <a:pos x="2869" y="1276"/>
                </a:cxn>
                <a:cxn ang="0">
                  <a:pos x="2701" y="1289"/>
                </a:cxn>
                <a:cxn ang="0">
                  <a:pos x="2660" y="1361"/>
                </a:cxn>
                <a:cxn ang="0">
                  <a:pos x="2750" y="1501"/>
                </a:cxn>
                <a:cxn ang="0">
                  <a:pos x="2620" y="1611"/>
                </a:cxn>
              </a:cxnLst>
              <a:rect l="0" t="0" r="r" b="b"/>
              <a:pathLst>
                <a:path w="2881" h="1611">
                  <a:moveTo>
                    <a:pt x="2620" y="1611"/>
                  </a:moveTo>
                  <a:lnTo>
                    <a:pt x="2000" y="1611"/>
                  </a:lnTo>
                  <a:lnTo>
                    <a:pt x="1800" y="1471"/>
                  </a:lnTo>
                  <a:lnTo>
                    <a:pt x="1505" y="1506"/>
                  </a:lnTo>
                  <a:lnTo>
                    <a:pt x="990" y="1191"/>
                  </a:lnTo>
                  <a:lnTo>
                    <a:pt x="400" y="1131"/>
                  </a:lnTo>
                  <a:lnTo>
                    <a:pt x="0" y="821"/>
                  </a:lnTo>
                  <a:lnTo>
                    <a:pt x="60" y="660"/>
                  </a:lnTo>
                  <a:lnTo>
                    <a:pt x="268" y="481"/>
                  </a:lnTo>
                  <a:lnTo>
                    <a:pt x="435" y="430"/>
                  </a:lnTo>
                  <a:lnTo>
                    <a:pt x="556" y="295"/>
                  </a:lnTo>
                  <a:lnTo>
                    <a:pt x="705" y="271"/>
                  </a:lnTo>
                  <a:lnTo>
                    <a:pt x="720" y="225"/>
                  </a:lnTo>
                  <a:lnTo>
                    <a:pt x="630" y="149"/>
                  </a:lnTo>
                  <a:lnTo>
                    <a:pt x="645" y="38"/>
                  </a:lnTo>
                  <a:lnTo>
                    <a:pt x="780" y="0"/>
                  </a:lnTo>
                  <a:lnTo>
                    <a:pt x="930" y="0"/>
                  </a:lnTo>
                  <a:lnTo>
                    <a:pt x="1340" y="170"/>
                  </a:lnTo>
                  <a:lnTo>
                    <a:pt x="1360" y="311"/>
                  </a:lnTo>
                  <a:lnTo>
                    <a:pt x="1804" y="553"/>
                  </a:lnTo>
                  <a:lnTo>
                    <a:pt x="1970" y="730"/>
                  </a:lnTo>
                  <a:lnTo>
                    <a:pt x="2158" y="722"/>
                  </a:lnTo>
                  <a:lnTo>
                    <a:pt x="2238" y="613"/>
                  </a:lnTo>
                  <a:lnTo>
                    <a:pt x="2370" y="581"/>
                  </a:lnTo>
                  <a:lnTo>
                    <a:pt x="2532" y="731"/>
                  </a:lnTo>
                  <a:lnTo>
                    <a:pt x="2742" y="722"/>
                  </a:lnTo>
                  <a:lnTo>
                    <a:pt x="2881" y="820"/>
                  </a:lnTo>
                  <a:lnTo>
                    <a:pt x="2800" y="1100"/>
                  </a:lnTo>
                  <a:lnTo>
                    <a:pt x="2869" y="1276"/>
                  </a:lnTo>
                  <a:lnTo>
                    <a:pt x="2701" y="1289"/>
                  </a:lnTo>
                  <a:lnTo>
                    <a:pt x="2660" y="1361"/>
                  </a:lnTo>
                  <a:lnTo>
                    <a:pt x="2750" y="1501"/>
                  </a:lnTo>
                  <a:lnTo>
                    <a:pt x="2620" y="1611"/>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2" name="Freeform 179">
              <a:extLst>
                <a:ext uri="{FF2B5EF4-FFF2-40B4-BE49-F238E27FC236}">
                  <a16:creationId xmlns:a16="http://schemas.microsoft.com/office/drawing/2014/main" id="{4D0A5C22-6923-0001-E09C-B13B3F2B2955}"/>
                </a:ext>
              </a:extLst>
            </p:cNvPr>
            <p:cNvSpPr>
              <a:spLocks/>
            </p:cNvSpPr>
            <p:nvPr/>
          </p:nvSpPr>
          <p:spPr bwMode="auto">
            <a:xfrm>
              <a:off x="2049387" y="2238376"/>
              <a:ext cx="252409" cy="249237"/>
            </a:xfrm>
            <a:custGeom>
              <a:avLst/>
              <a:gdLst/>
              <a:ahLst/>
              <a:cxnLst>
                <a:cxn ang="0">
                  <a:pos x="195" y="2731"/>
                </a:cxn>
                <a:cxn ang="0">
                  <a:pos x="745" y="3256"/>
                </a:cxn>
                <a:cxn ang="0">
                  <a:pos x="1410" y="4026"/>
                </a:cxn>
                <a:cxn ang="0">
                  <a:pos x="1770" y="4311"/>
                </a:cxn>
                <a:cxn ang="0">
                  <a:pos x="2175" y="4671"/>
                </a:cxn>
                <a:cxn ang="0">
                  <a:pos x="2365" y="4866"/>
                </a:cxn>
                <a:cxn ang="0">
                  <a:pos x="2320" y="4531"/>
                </a:cxn>
                <a:cxn ang="0">
                  <a:pos x="2085" y="4071"/>
                </a:cxn>
                <a:cxn ang="0">
                  <a:pos x="2145" y="3616"/>
                </a:cxn>
                <a:cxn ang="0">
                  <a:pos x="2520" y="3666"/>
                </a:cxn>
                <a:cxn ang="0">
                  <a:pos x="3026" y="4066"/>
                </a:cxn>
                <a:cxn ang="0">
                  <a:pos x="3526" y="4851"/>
                </a:cxn>
                <a:cxn ang="0">
                  <a:pos x="3856" y="4986"/>
                </a:cxn>
                <a:cxn ang="0">
                  <a:pos x="4001" y="5091"/>
                </a:cxn>
                <a:cxn ang="0">
                  <a:pos x="4361" y="5251"/>
                </a:cxn>
                <a:cxn ang="0">
                  <a:pos x="4796" y="5221"/>
                </a:cxn>
                <a:cxn ang="0">
                  <a:pos x="4661" y="4941"/>
                </a:cxn>
                <a:cxn ang="0">
                  <a:pos x="4541" y="4506"/>
                </a:cxn>
                <a:cxn ang="0">
                  <a:pos x="4661" y="4261"/>
                </a:cxn>
                <a:cxn ang="0">
                  <a:pos x="4721" y="3931"/>
                </a:cxn>
                <a:cxn ang="0">
                  <a:pos x="4591" y="3861"/>
                </a:cxn>
                <a:cxn ang="0">
                  <a:pos x="4786" y="3441"/>
                </a:cxn>
                <a:cxn ang="0">
                  <a:pos x="4636" y="3061"/>
                </a:cxn>
                <a:cxn ang="0">
                  <a:pos x="4856" y="2851"/>
                </a:cxn>
                <a:cxn ang="0">
                  <a:pos x="4846" y="2706"/>
                </a:cxn>
                <a:cxn ang="0">
                  <a:pos x="4966" y="2585"/>
                </a:cxn>
                <a:cxn ang="0">
                  <a:pos x="4876" y="2015"/>
                </a:cxn>
                <a:cxn ang="0">
                  <a:pos x="4841" y="1730"/>
                </a:cxn>
                <a:cxn ang="0">
                  <a:pos x="4961" y="1610"/>
                </a:cxn>
                <a:cxn ang="0">
                  <a:pos x="5216" y="1110"/>
                </a:cxn>
                <a:cxn ang="0">
                  <a:pos x="5176" y="980"/>
                </a:cxn>
                <a:cxn ang="0">
                  <a:pos x="5216" y="795"/>
                </a:cxn>
                <a:cxn ang="0">
                  <a:pos x="5351" y="845"/>
                </a:cxn>
                <a:cxn ang="0">
                  <a:pos x="5056" y="260"/>
                </a:cxn>
                <a:cxn ang="0">
                  <a:pos x="5369" y="69"/>
                </a:cxn>
                <a:cxn ang="0">
                  <a:pos x="4961" y="30"/>
                </a:cxn>
                <a:cxn ang="0">
                  <a:pos x="4258" y="361"/>
                </a:cxn>
                <a:cxn ang="0">
                  <a:pos x="3572" y="441"/>
                </a:cxn>
                <a:cxn ang="0">
                  <a:pos x="3190" y="399"/>
                </a:cxn>
                <a:cxn ang="0">
                  <a:pos x="3041" y="628"/>
                </a:cxn>
                <a:cxn ang="0">
                  <a:pos x="3002" y="880"/>
                </a:cxn>
                <a:cxn ang="0">
                  <a:pos x="2650" y="1152"/>
                </a:cxn>
                <a:cxn ang="0">
                  <a:pos x="2291" y="1500"/>
                </a:cxn>
                <a:cxn ang="0">
                  <a:pos x="1651" y="1551"/>
                </a:cxn>
                <a:cxn ang="0">
                  <a:pos x="1111" y="1750"/>
                </a:cxn>
                <a:cxn ang="0">
                  <a:pos x="971" y="2140"/>
                </a:cxn>
                <a:cxn ang="0">
                  <a:pos x="799" y="2490"/>
                </a:cxn>
                <a:cxn ang="0">
                  <a:pos x="450" y="2605"/>
                </a:cxn>
                <a:cxn ang="0">
                  <a:pos x="160" y="2400"/>
                </a:cxn>
                <a:cxn ang="0">
                  <a:pos x="0" y="2605"/>
                </a:cxn>
              </a:cxnLst>
              <a:rect l="0" t="0" r="r" b="b"/>
              <a:pathLst>
                <a:path w="5369" h="5311">
                  <a:moveTo>
                    <a:pt x="0" y="2605"/>
                  </a:moveTo>
                  <a:lnTo>
                    <a:pt x="195" y="2731"/>
                  </a:lnTo>
                  <a:lnTo>
                    <a:pt x="520" y="3031"/>
                  </a:lnTo>
                  <a:lnTo>
                    <a:pt x="745" y="3256"/>
                  </a:lnTo>
                  <a:lnTo>
                    <a:pt x="1060" y="3466"/>
                  </a:lnTo>
                  <a:lnTo>
                    <a:pt x="1410" y="4026"/>
                  </a:lnTo>
                  <a:lnTo>
                    <a:pt x="1590" y="4231"/>
                  </a:lnTo>
                  <a:lnTo>
                    <a:pt x="1770" y="4311"/>
                  </a:lnTo>
                  <a:lnTo>
                    <a:pt x="1995" y="4521"/>
                  </a:lnTo>
                  <a:lnTo>
                    <a:pt x="2175" y="4671"/>
                  </a:lnTo>
                  <a:lnTo>
                    <a:pt x="2245" y="4816"/>
                  </a:lnTo>
                  <a:lnTo>
                    <a:pt x="2365" y="4866"/>
                  </a:lnTo>
                  <a:lnTo>
                    <a:pt x="2490" y="4681"/>
                  </a:lnTo>
                  <a:lnTo>
                    <a:pt x="2320" y="4531"/>
                  </a:lnTo>
                  <a:lnTo>
                    <a:pt x="2250" y="4351"/>
                  </a:lnTo>
                  <a:lnTo>
                    <a:pt x="2085" y="4071"/>
                  </a:lnTo>
                  <a:lnTo>
                    <a:pt x="2065" y="3801"/>
                  </a:lnTo>
                  <a:lnTo>
                    <a:pt x="2145" y="3616"/>
                  </a:lnTo>
                  <a:lnTo>
                    <a:pt x="2295" y="3601"/>
                  </a:lnTo>
                  <a:lnTo>
                    <a:pt x="2520" y="3666"/>
                  </a:lnTo>
                  <a:lnTo>
                    <a:pt x="2791" y="3916"/>
                  </a:lnTo>
                  <a:lnTo>
                    <a:pt x="3026" y="4066"/>
                  </a:lnTo>
                  <a:lnTo>
                    <a:pt x="3346" y="4531"/>
                  </a:lnTo>
                  <a:lnTo>
                    <a:pt x="3526" y="4851"/>
                  </a:lnTo>
                  <a:lnTo>
                    <a:pt x="3721" y="4911"/>
                  </a:lnTo>
                  <a:lnTo>
                    <a:pt x="3856" y="4986"/>
                  </a:lnTo>
                  <a:lnTo>
                    <a:pt x="3956" y="4966"/>
                  </a:lnTo>
                  <a:lnTo>
                    <a:pt x="4001" y="5091"/>
                  </a:lnTo>
                  <a:lnTo>
                    <a:pt x="4156" y="5256"/>
                  </a:lnTo>
                  <a:lnTo>
                    <a:pt x="4361" y="5251"/>
                  </a:lnTo>
                  <a:lnTo>
                    <a:pt x="4466" y="5311"/>
                  </a:lnTo>
                  <a:lnTo>
                    <a:pt x="4796" y="5221"/>
                  </a:lnTo>
                  <a:lnTo>
                    <a:pt x="4796" y="5091"/>
                  </a:lnTo>
                  <a:lnTo>
                    <a:pt x="4661" y="4941"/>
                  </a:lnTo>
                  <a:lnTo>
                    <a:pt x="4561" y="4731"/>
                  </a:lnTo>
                  <a:lnTo>
                    <a:pt x="4541" y="4506"/>
                  </a:lnTo>
                  <a:lnTo>
                    <a:pt x="4646" y="4381"/>
                  </a:lnTo>
                  <a:lnTo>
                    <a:pt x="4661" y="4261"/>
                  </a:lnTo>
                  <a:lnTo>
                    <a:pt x="4816" y="4206"/>
                  </a:lnTo>
                  <a:lnTo>
                    <a:pt x="4721" y="3931"/>
                  </a:lnTo>
                  <a:lnTo>
                    <a:pt x="4621" y="3966"/>
                  </a:lnTo>
                  <a:lnTo>
                    <a:pt x="4591" y="3861"/>
                  </a:lnTo>
                  <a:lnTo>
                    <a:pt x="4741" y="3571"/>
                  </a:lnTo>
                  <a:lnTo>
                    <a:pt x="4786" y="3441"/>
                  </a:lnTo>
                  <a:lnTo>
                    <a:pt x="4651" y="3181"/>
                  </a:lnTo>
                  <a:lnTo>
                    <a:pt x="4636" y="3061"/>
                  </a:lnTo>
                  <a:lnTo>
                    <a:pt x="4861" y="2976"/>
                  </a:lnTo>
                  <a:lnTo>
                    <a:pt x="4856" y="2851"/>
                  </a:lnTo>
                  <a:lnTo>
                    <a:pt x="4771" y="2751"/>
                  </a:lnTo>
                  <a:lnTo>
                    <a:pt x="4846" y="2706"/>
                  </a:lnTo>
                  <a:lnTo>
                    <a:pt x="4946" y="2736"/>
                  </a:lnTo>
                  <a:lnTo>
                    <a:pt x="4966" y="2585"/>
                  </a:lnTo>
                  <a:lnTo>
                    <a:pt x="4916" y="2310"/>
                  </a:lnTo>
                  <a:lnTo>
                    <a:pt x="4876" y="2015"/>
                  </a:lnTo>
                  <a:lnTo>
                    <a:pt x="4936" y="1815"/>
                  </a:lnTo>
                  <a:lnTo>
                    <a:pt x="4841" y="1730"/>
                  </a:lnTo>
                  <a:lnTo>
                    <a:pt x="4841" y="1665"/>
                  </a:lnTo>
                  <a:lnTo>
                    <a:pt x="4961" y="1610"/>
                  </a:lnTo>
                  <a:lnTo>
                    <a:pt x="5036" y="1265"/>
                  </a:lnTo>
                  <a:lnTo>
                    <a:pt x="5216" y="1110"/>
                  </a:lnTo>
                  <a:lnTo>
                    <a:pt x="5246" y="1035"/>
                  </a:lnTo>
                  <a:lnTo>
                    <a:pt x="5176" y="980"/>
                  </a:lnTo>
                  <a:lnTo>
                    <a:pt x="5161" y="870"/>
                  </a:lnTo>
                  <a:lnTo>
                    <a:pt x="5216" y="795"/>
                  </a:lnTo>
                  <a:lnTo>
                    <a:pt x="5281" y="945"/>
                  </a:lnTo>
                  <a:lnTo>
                    <a:pt x="5351" y="845"/>
                  </a:lnTo>
                  <a:lnTo>
                    <a:pt x="5186" y="360"/>
                  </a:lnTo>
                  <a:lnTo>
                    <a:pt x="5056" y="260"/>
                  </a:lnTo>
                  <a:lnTo>
                    <a:pt x="5156" y="165"/>
                  </a:lnTo>
                  <a:lnTo>
                    <a:pt x="5369" y="69"/>
                  </a:lnTo>
                  <a:lnTo>
                    <a:pt x="5116" y="0"/>
                  </a:lnTo>
                  <a:lnTo>
                    <a:pt x="4961" y="30"/>
                  </a:lnTo>
                  <a:lnTo>
                    <a:pt x="4654" y="279"/>
                  </a:lnTo>
                  <a:lnTo>
                    <a:pt x="4258" y="361"/>
                  </a:lnTo>
                  <a:lnTo>
                    <a:pt x="3773" y="501"/>
                  </a:lnTo>
                  <a:lnTo>
                    <a:pt x="3572" y="441"/>
                  </a:lnTo>
                  <a:lnTo>
                    <a:pt x="3412" y="232"/>
                  </a:lnTo>
                  <a:lnTo>
                    <a:pt x="3190" y="399"/>
                  </a:lnTo>
                  <a:lnTo>
                    <a:pt x="3190" y="543"/>
                  </a:lnTo>
                  <a:lnTo>
                    <a:pt x="3041" y="628"/>
                  </a:lnTo>
                  <a:lnTo>
                    <a:pt x="3010" y="796"/>
                  </a:lnTo>
                  <a:lnTo>
                    <a:pt x="3002" y="880"/>
                  </a:lnTo>
                  <a:lnTo>
                    <a:pt x="2800" y="942"/>
                  </a:lnTo>
                  <a:lnTo>
                    <a:pt x="2650" y="1152"/>
                  </a:lnTo>
                  <a:lnTo>
                    <a:pt x="2360" y="1320"/>
                  </a:lnTo>
                  <a:lnTo>
                    <a:pt x="2291" y="1500"/>
                  </a:lnTo>
                  <a:lnTo>
                    <a:pt x="1910" y="1230"/>
                  </a:lnTo>
                  <a:lnTo>
                    <a:pt x="1651" y="1551"/>
                  </a:lnTo>
                  <a:lnTo>
                    <a:pt x="1139" y="1570"/>
                  </a:lnTo>
                  <a:lnTo>
                    <a:pt x="1111" y="1750"/>
                  </a:lnTo>
                  <a:lnTo>
                    <a:pt x="1201" y="2091"/>
                  </a:lnTo>
                  <a:lnTo>
                    <a:pt x="971" y="2140"/>
                  </a:lnTo>
                  <a:lnTo>
                    <a:pt x="932" y="2319"/>
                  </a:lnTo>
                  <a:lnTo>
                    <a:pt x="799" y="2490"/>
                  </a:lnTo>
                  <a:lnTo>
                    <a:pt x="451" y="2481"/>
                  </a:lnTo>
                  <a:lnTo>
                    <a:pt x="450" y="2605"/>
                  </a:lnTo>
                  <a:lnTo>
                    <a:pt x="295" y="2550"/>
                  </a:lnTo>
                  <a:lnTo>
                    <a:pt x="160" y="2400"/>
                  </a:lnTo>
                  <a:lnTo>
                    <a:pt x="30" y="2505"/>
                  </a:lnTo>
                  <a:lnTo>
                    <a:pt x="0" y="2605"/>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3" name="Freeform 180">
              <a:extLst>
                <a:ext uri="{FF2B5EF4-FFF2-40B4-BE49-F238E27FC236}">
                  <a16:creationId xmlns:a16="http://schemas.microsoft.com/office/drawing/2014/main" id="{52A23006-8431-9627-D2E2-6ED335180FA7}"/>
                </a:ext>
              </a:extLst>
            </p:cNvPr>
            <p:cNvSpPr>
              <a:spLocks/>
            </p:cNvSpPr>
            <p:nvPr/>
          </p:nvSpPr>
          <p:spPr bwMode="auto">
            <a:xfrm>
              <a:off x="2147811" y="2457451"/>
              <a:ext cx="188910" cy="169862"/>
            </a:xfrm>
            <a:custGeom>
              <a:avLst/>
              <a:gdLst/>
              <a:ahLst/>
              <a:cxnLst>
                <a:cxn ang="0">
                  <a:pos x="780" y="1845"/>
                </a:cxn>
                <a:cxn ang="0">
                  <a:pos x="480" y="1700"/>
                </a:cxn>
                <a:cxn ang="0">
                  <a:pos x="125" y="1430"/>
                </a:cxn>
                <a:cxn ang="0">
                  <a:pos x="60" y="1020"/>
                </a:cxn>
                <a:cxn ang="0">
                  <a:pos x="290" y="785"/>
                </a:cxn>
                <a:cxn ang="0">
                  <a:pos x="260" y="540"/>
                </a:cxn>
                <a:cxn ang="0">
                  <a:pos x="0" y="390"/>
                </a:cxn>
                <a:cxn ang="0">
                  <a:pos x="165" y="375"/>
                </a:cxn>
                <a:cxn ang="0">
                  <a:pos x="255" y="183"/>
                </a:cxn>
                <a:cxn ang="0">
                  <a:pos x="510" y="105"/>
                </a:cxn>
                <a:cxn ang="0">
                  <a:pos x="930" y="255"/>
                </a:cxn>
                <a:cxn ang="0">
                  <a:pos x="1415" y="170"/>
                </a:cxn>
                <a:cxn ang="0">
                  <a:pos x="1746" y="305"/>
                </a:cxn>
                <a:cxn ang="0">
                  <a:pos x="1890" y="411"/>
                </a:cxn>
                <a:cxn ang="0">
                  <a:pos x="2249" y="570"/>
                </a:cxn>
                <a:cxn ang="0">
                  <a:pos x="2684" y="539"/>
                </a:cxn>
                <a:cxn ang="0">
                  <a:pos x="2790" y="645"/>
                </a:cxn>
                <a:cxn ang="0">
                  <a:pos x="3245" y="1370"/>
                </a:cxn>
                <a:cxn ang="0">
                  <a:pos x="3770" y="1935"/>
                </a:cxn>
                <a:cxn ang="0">
                  <a:pos x="3890" y="2145"/>
                </a:cxn>
                <a:cxn ang="0">
                  <a:pos x="3692" y="2009"/>
                </a:cxn>
                <a:cxn ang="0">
                  <a:pos x="3666" y="2147"/>
                </a:cxn>
                <a:cxn ang="0">
                  <a:pos x="3545" y="2630"/>
                </a:cxn>
                <a:cxn ang="0">
                  <a:pos x="3831" y="2796"/>
                </a:cxn>
                <a:cxn ang="0">
                  <a:pos x="3620" y="2945"/>
                </a:cxn>
                <a:cxn ang="0">
                  <a:pos x="3650" y="3242"/>
                </a:cxn>
                <a:cxn ang="0">
                  <a:pos x="3515" y="3470"/>
                </a:cxn>
                <a:cxn ang="0">
                  <a:pos x="3300" y="3515"/>
                </a:cxn>
                <a:cxn ang="0">
                  <a:pos x="3245" y="3230"/>
                </a:cxn>
                <a:cxn ang="0">
                  <a:pos x="3075" y="3090"/>
                </a:cxn>
                <a:cxn ang="0">
                  <a:pos x="2900" y="3120"/>
                </a:cxn>
                <a:cxn ang="0">
                  <a:pos x="3105" y="3300"/>
                </a:cxn>
                <a:cxn ang="0">
                  <a:pos x="3140" y="3545"/>
                </a:cxn>
                <a:cxn ang="0">
                  <a:pos x="2795" y="3450"/>
                </a:cxn>
                <a:cxn ang="0">
                  <a:pos x="2730" y="3020"/>
                </a:cxn>
                <a:cxn ang="0">
                  <a:pos x="2760" y="2810"/>
                </a:cxn>
                <a:cxn ang="0">
                  <a:pos x="2460" y="2450"/>
                </a:cxn>
                <a:cxn ang="0">
                  <a:pos x="2085" y="2280"/>
                </a:cxn>
                <a:cxn ang="0">
                  <a:pos x="1950" y="2175"/>
                </a:cxn>
                <a:cxn ang="0">
                  <a:pos x="1580" y="2120"/>
                </a:cxn>
                <a:cxn ang="0">
                  <a:pos x="1445" y="1880"/>
                </a:cxn>
                <a:cxn ang="0">
                  <a:pos x="1430" y="1650"/>
                </a:cxn>
                <a:cxn ang="0">
                  <a:pos x="960" y="1320"/>
                </a:cxn>
                <a:cxn ang="0">
                  <a:pos x="795" y="1290"/>
                </a:cxn>
                <a:cxn ang="0">
                  <a:pos x="960" y="1520"/>
                </a:cxn>
                <a:cxn ang="0">
                  <a:pos x="1185" y="1755"/>
                </a:cxn>
                <a:cxn ang="0">
                  <a:pos x="1025" y="1865"/>
                </a:cxn>
                <a:cxn ang="0">
                  <a:pos x="875" y="2030"/>
                </a:cxn>
              </a:cxnLst>
              <a:rect l="0" t="0" r="r" b="b"/>
              <a:pathLst>
                <a:path w="4020" h="3620">
                  <a:moveTo>
                    <a:pt x="875" y="2030"/>
                  </a:moveTo>
                  <a:lnTo>
                    <a:pt x="780" y="1845"/>
                  </a:lnTo>
                  <a:lnTo>
                    <a:pt x="635" y="1725"/>
                  </a:lnTo>
                  <a:lnTo>
                    <a:pt x="480" y="1700"/>
                  </a:lnTo>
                  <a:lnTo>
                    <a:pt x="285" y="1640"/>
                  </a:lnTo>
                  <a:lnTo>
                    <a:pt x="125" y="1430"/>
                  </a:lnTo>
                  <a:lnTo>
                    <a:pt x="45" y="1175"/>
                  </a:lnTo>
                  <a:lnTo>
                    <a:pt x="60" y="1020"/>
                  </a:lnTo>
                  <a:lnTo>
                    <a:pt x="180" y="840"/>
                  </a:lnTo>
                  <a:lnTo>
                    <a:pt x="290" y="785"/>
                  </a:lnTo>
                  <a:lnTo>
                    <a:pt x="300" y="660"/>
                  </a:lnTo>
                  <a:lnTo>
                    <a:pt x="260" y="540"/>
                  </a:lnTo>
                  <a:lnTo>
                    <a:pt x="135" y="515"/>
                  </a:lnTo>
                  <a:lnTo>
                    <a:pt x="0" y="390"/>
                  </a:lnTo>
                  <a:lnTo>
                    <a:pt x="75" y="330"/>
                  </a:lnTo>
                  <a:lnTo>
                    <a:pt x="165" y="375"/>
                  </a:lnTo>
                  <a:lnTo>
                    <a:pt x="210" y="335"/>
                  </a:lnTo>
                  <a:lnTo>
                    <a:pt x="255" y="183"/>
                  </a:lnTo>
                  <a:lnTo>
                    <a:pt x="378" y="0"/>
                  </a:lnTo>
                  <a:lnTo>
                    <a:pt x="510" y="105"/>
                  </a:lnTo>
                  <a:lnTo>
                    <a:pt x="705" y="170"/>
                  </a:lnTo>
                  <a:lnTo>
                    <a:pt x="930" y="255"/>
                  </a:lnTo>
                  <a:lnTo>
                    <a:pt x="1175" y="335"/>
                  </a:lnTo>
                  <a:lnTo>
                    <a:pt x="1415" y="170"/>
                  </a:lnTo>
                  <a:lnTo>
                    <a:pt x="1613" y="230"/>
                  </a:lnTo>
                  <a:lnTo>
                    <a:pt x="1746" y="305"/>
                  </a:lnTo>
                  <a:lnTo>
                    <a:pt x="1844" y="285"/>
                  </a:lnTo>
                  <a:lnTo>
                    <a:pt x="1890" y="411"/>
                  </a:lnTo>
                  <a:lnTo>
                    <a:pt x="2046" y="575"/>
                  </a:lnTo>
                  <a:lnTo>
                    <a:pt x="2249" y="570"/>
                  </a:lnTo>
                  <a:lnTo>
                    <a:pt x="2357" y="630"/>
                  </a:lnTo>
                  <a:lnTo>
                    <a:pt x="2684" y="539"/>
                  </a:lnTo>
                  <a:lnTo>
                    <a:pt x="2685" y="413"/>
                  </a:lnTo>
                  <a:lnTo>
                    <a:pt x="2790" y="645"/>
                  </a:lnTo>
                  <a:lnTo>
                    <a:pt x="2945" y="1005"/>
                  </a:lnTo>
                  <a:lnTo>
                    <a:pt x="3245" y="1370"/>
                  </a:lnTo>
                  <a:lnTo>
                    <a:pt x="3435" y="1595"/>
                  </a:lnTo>
                  <a:lnTo>
                    <a:pt x="3770" y="1935"/>
                  </a:lnTo>
                  <a:lnTo>
                    <a:pt x="4020" y="2075"/>
                  </a:lnTo>
                  <a:lnTo>
                    <a:pt x="3890" y="2145"/>
                  </a:lnTo>
                  <a:lnTo>
                    <a:pt x="3780" y="2030"/>
                  </a:lnTo>
                  <a:lnTo>
                    <a:pt x="3692" y="2009"/>
                  </a:lnTo>
                  <a:lnTo>
                    <a:pt x="3645" y="2070"/>
                  </a:lnTo>
                  <a:lnTo>
                    <a:pt x="3666" y="2147"/>
                  </a:lnTo>
                  <a:lnTo>
                    <a:pt x="3555" y="2165"/>
                  </a:lnTo>
                  <a:lnTo>
                    <a:pt x="3545" y="2630"/>
                  </a:lnTo>
                  <a:lnTo>
                    <a:pt x="3665" y="2675"/>
                  </a:lnTo>
                  <a:lnTo>
                    <a:pt x="3831" y="2796"/>
                  </a:lnTo>
                  <a:lnTo>
                    <a:pt x="3732" y="2897"/>
                  </a:lnTo>
                  <a:lnTo>
                    <a:pt x="3620" y="2945"/>
                  </a:lnTo>
                  <a:lnTo>
                    <a:pt x="3590" y="3096"/>
                  </a:lnTo>
                  <a:lnTo>
                    <a:pt x="3650" y="3242"/>
                  </a:lnTo>
                  <a:lnTo>
                    <a:pt x="3675" y="3426"/>
                  </a:lnTo>
                  <a:lnTo>
                    <a:pt x="3515" y="3470"/>
                  </a:lnTo>
                  <a:lnTo>
                    <a:pt x="3435" y="3620"/>
                  </a:lnTo>
                  <a:lnTo>
                    <a:pt x="3300" y="3515"/>
                  </a:lnTo>
                  <a:lnTo>
                    <a:pt x="3320" y="3380"/>
                  </a:lnTo>
                  <a:lnTo>
                    <a:pt x="3245" y="3230"/>
                  </a:lnTo>
                  <a:lnTo>
                    <a:pt x="3110" y="3170"/>
                  </a:lnTo>
                  <a:lnTo>
                    <a:pt x="3075" y="3090"/>
                  </a:lnTo>
                  <a:lnTo>
                    <a:pt x="3000" y="3090"/>
                  </a:lnTo>
                  <a:lnTo>
                    <a:pt x="2900" y="3120"/>
                  </a:lnTo>
                  <a:lnTo>
                    <a:pt x="3000" y="3260"/>
                  </a:lnTo>
                  <a:lnTo>
                    <a:pt x="3105" y="3300"/>
                  </a:lnTo>
                  <a:lnTo>
                    <a:pt x="3135" y="3410"/>
                  </a:lnTo>
                  <a:lnTo>
                    <a:pt x="3140" y="3545"/>
                  </a:lnTo>
                  <a:lnTo>
                    <a:pt x="2975" y="3485"/>
                  </a:lnTo>
                  <a:lnTo>
                    <a:pt x="2795" y="3450"/>
                  </a:lnTo>
                  <a:lnTo>
                    <a:pt x="2580" y="3225"/>
                  </a:lnTo>
                  <a:lnTo>
                    <a:pt x="2730" y="3020"/>
                  </a:lnTo>
                  <a:lnTo>
                    <a:pt x="2780" y="2900"/>
                  </a:lnTo>
                  <a:lnTo>
                    <a:pt x="2760" y="2810"/>
                  </a:lnTo>
                  <a:lnTo>
                    <a:pt x="2685" y="2685"/>
                  </a:lnTo>
                  <a:lnTo>
                    <a:pt x="2460" y="2450"/>
                  </a:lnTo>
                  <a:lnTo>
                    <a:pt x="2250" y="2340"/>
                  </a:lnTo>
                  <a:lnTo>
                    <a:pt x="2085" y="2280"/>
                  </a:lnTo>
                  <a:lnTo>
                    <a:pt x="2040" y="2210"/>
                  </a:lnTo>
                  <a:lnTo>
                    <a:pt x="1950" y="2175"/>
                  </a:lnTo>
                  <a:lnTo>
                    <a:pt x="1745" y="2105"/>
                  </a:lnTo>
                  <a:lnTo>
                    <a:pt x="1580" y="2120"/>
                  </a:lnTo>
                  <a:lnTo>
                    <a:pt x="1485" y="1965"/>
                  </a:lnTo>
                  <a:lnTo>
                    <a:pt x="1445" y="1880"/>
                  </a:lnTo>
                  <a:lnTo>
                    <a:pt x="1515" y="1785"/>
                  </a:lnTo>
                  <a:lnTo>
                    <a:pt x="1430" y="1650"/>
                  </a:lnTo>
                  <a:lnTo>
                    <a:pt x="1290" y="1560"/>
                  </a:lnTo>
                  <a:lnTo>
                    <a:pt x="960" y="1320"/>
                  </a:lnTo>
                  <a:lnTo>
                    <a:pt x="885" y="1325"/>
                  </a:lnTo>
                  <a:lnTo>
                    <a:pt x="795" y="1290"/>
                  </a:lnTo>
                  <a:lnTo>
                    <a:pt x="765" y="1380"/>
                  </a:lnTo>
                  <a:lnTo>
                    <a:pt x="960" y="1520"/>
                  </a:lnTo>
                  <a:lnTo>
                    <a:pt x="1145" y="1650"/>
                  </a:lnTo>
                  <a:lnTo>
                    <a:pt x="1185" y="1755"/>
                  </a:lnTo>
                  <a:lnTo>
                    <a:pt x="1110" y="1815"/>
                  </a:lnTo>
                  <a:lnTo>
                    <a:pt x="1025" y="1865"/>
                  </a:lnTo>
                  <a:lnTo>
                    <a:pt x="950" y="2015"/>
                  </a:lnTo>
                  <a:lnTo>
                    <a:pt x="875" y="2030"/>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4" name="Freeform 181">
              <a:extLst>
                <a:ext uri="{FF2B5EF4-FFF2-40B4-BE49-F238E27FC236}">
                  <a16:creationId xmlns:a16="http://schemas.microsoft.com/office/drawing/2014/main" id="{E2BC2CDB-6944-6F92-435F-A8FA79608E5B}"/>
                </a:ext>
              </a:extLst>
            </p:cNvPr>
            <p:cNvSpPr>
              <a:spLocks/>
            </p:cNvSpPr>
            <p:nvPr/>
          </p:nvSpPr>
          <p:spPr bwMode="auto">
            <a:xfrm>
              <a:off x="2309734" y="2547938"/>
              <a:ext cx="334959" cy="141288"/>
            </a:xfrm>
            <a:custGeom>
              <a:avLst/>
              <a:gdLst/>
              <a:ahLst/>
              <a:cxnLst>
                <a:cxn ang="0">
                  <a:pos x="0" y="1695"/>
                </a:cxn>
                <a:cxn ang="0">
                  <a:pos x="215" y="1315"/>
                </a:cxn>
                <a:cxn ang="0">
                  <a:pos x="300" y="970"/>
                </a:cxn>
                <a:cxn ang="0">
                  <a:pos x="110" y="705"/>
                </a:cxn>
                <a:cxn ang="0">
                  <a:pos x="210" y="145"/>
                </a:cxn>
                <a:cxn ang="0">
                  <a:pos x="455" y="220"/>
                </a:cxn>
                <a:cxn ang="0">
                  <a:pos x="780" y="300"/>
                </a:cxn>
                <a:cxn ang="0">
                  <a:pos x="920" y="790"/>
                </a:cxn>
                <a:cxn ang="0">
                  <a:pos x="1515" y="870"/>
                </a:cxn>
                <a:cxn ang="0">
                  <a:pos x="1385" y="600"/>
                </a:cxn>
                <a:cxn ang="0">
                  <a:pos x="1965" y="1080"/>
                </a:cxn>
                <a:cxn ang="0">
                  <a:pos x="2550" y="960"/>
                </a:cxn>
                <a:cxn ang="0">
                  <a:pos x="3065" y="880"/>
                </a:cxn>
                <a:cxn ang="0">
                  <a:pos x="3435" y="580"/>
                </a:cxn>
                <a:cxn ang="0">
                  <a:pos x="3886" y="330"/>
                </a:cxn>
                <a:cxn ang="0">
                  <a:pos x="4081" y="60"/>
                </a:cxn>
                <a:cxn ang="0">
                  <a:pos x="4651" y="75"/>
                </a:cxn>
                <a:cxn ang="0">
                  <a:pos x="4816" y="255"/>
                </a:cxn>
                <a:cxn ang="0">
                  <a:pos x="5791" y="420"/>
                </a:cxn>
                <a:cxn ang="0">
                  <a:pos x="6331" y="700"/>
                </a:cxn>
                <a:cxn ang="0">
                  <a:pos x="6616" y="1000"/>
                </a:cxn>
                <a:cxn ang="0">
                  <a:pos x="6721" y="1320"/>
                </a:cxn>
                <a:cxn ang="0">
                  <a:pos x="7051" y="1811"/>
                </a:cxn>
                <a:cxn ang="0">
                  <a:pos x="6876" y="2231"/>
                </a:cxn>
                <a:cxn ang="0">
                  <a:pos x="6501" y="2351"/>
                </a:cxn>
                <a:cxn ang="0">
                  <a:pos x="6456" y="2546"/>
                </a:cxn>
                <a:cxn ang="0">
                  <a:pos x="6261" y="2911"/>
                </a:cxn>
                <a:cxn ang="0">
                  <a:pos x="5646" y="2131"/>
                </a:cxn>
                <a:cxn ang="0">
                  <a:pos x="5821" y="1796"/>
                </a:cxn>
                <a:cxn ang="0">
                  <a:pos x="6036" y="1561"/>
                </a:cxn>
                <a:cxn ang="0">
                  <a:pos x="5731" y="1425"/>
                </a:cxn>
                <a:cxn ang="0">
                  <a:pos x="5641" y="1561"/>
                </a:cxn>
                <a:cxn ang="0">
                  <a:pos x="5211" y="1080"/>
                </a:cxn>
                <a:cxn ang="0">
                  <a:pos x="4756" y="780"/>
                </a:cxn>
                <a:cxn ang="0">
                  <a:pos x="4146" y="925"/>
                </a:cxn>
                <a:cxn ang="0">
                  <a:pos x="3931" y="1110"/>
                </a:cxn>
                <a:cxn ang="0">
                  <a:pos x="3796" y="1380"/>
                </a:cxn>
                <a:cxn ang="0">
                  <a:pos x="3080" y="1781"/>
                </a:cxn>
                <a:cxn ang="0">
                  <a:pos x="3345" y="2186"/>
                </a:cxn>
                <a:cxn ang="0">
                  <a:pos x="3540" y="2746"/>
                </a:cxn>
                <a:cxn ang="0">
                  <a:pos x="3245" y="2861"/>
                </a:cxn>
                <a:cxn ang="0">
                  <a:pos x="2565" y="2951"/>
                </a:cxn>
                <a:cxn ang="0">
                  <a:pos x="2385" y="2381"/>
                </a:cxn>
                <a:cxn ang="0">
                  <a:pos x="2240" y="2381"/>
                </a:cxn>
                <a:cxn ang="0">
                  <a:pos x="1580" y="1841"/>
                </a:cxn>
                <a:cxn ang="0">
                  <a:pos x="905" y="1636"/>
                </a:cxn>
                <a:cxn ang="0">
                  <a:pos x="680" y="1726"/>
                </a:cxn>
                <a:cxn ang="0">
                  <a:pos x="200" y="1826"/>
                </a:cxn>
              </a:cxnLst>
              <a:rect l="0" t="0" r="r" b="b"/>
              <a:pathLst>
                <a:path w="7116" h="3001">
                  <a:moveTo>
                    <a:pt x="140" y="1996"/>
                  </a:moveTo>
                  <a:lnTo>
                    <a:pt x="110" y="1826"/>
                  </a:lnTo>
                  <a:lnTo>
                    <a:pt x="0" y="1695"/>
                  </a:lnTo>
                  <a:lnTo>
                    <a:pt x="81" y="1545"/>
                  </a:lnTo>
                  <a:lnTo>
                    <a:pt x="240" y="1501"/>
                  </a:lnTo>
                  <a:lnTo>
                    <a:pt x="215" y="1315"/>
                  </a:lnTo>
                  <a:lnTo>
                    <a:pt x="155" y="1170"/>
                  </a:lnTo>
                  <a:lnTo>
                    <a:pt x="185" y="1020"/>
                  </a:lnTo>
                  <a:lnTo>
                    <a:pt x="300" y="970"/>
                  </a:lnTo>
                  <a:lnTo>
                    <a:pt x="395" y="870"/>
                  </a:lnTo>
                  <a:lnTo>
                    <a:pt x="230" y="750"/>
                  </a:lnTo>
                  <a:lnTo>
                    <a:pt x="110" y="705"/>
                  </a:lnTo>
                  <a:lnTo>
                    <a:pt x="120" y="240"/>
                  </a:lnTo>
                  <a:lnTo>
                    <a:pt x="230" y="220"/>
                  </a:lnTo>
                  <a:lnTo>
                    <a:pt x="210" y="145"/>
                  </a:lnTo>
                  <a:lnTo>
                    <a:pt x="255" y="85"/>
                  </a:lnTo>
                  <a:lnTo>
                    <a:pt x="345" y="105"/>
                  </a:lnTo>
                  <a:lnTo>
                    <a:pt x="455" y="220"/>
                  </a:lnTo>
                  <a:lnTo>
                    <a:pt x="585" y="150"/>
                  </a:lnTo>
                  <a:lnTo>
                    <a:pt x="710" y="240"/>
                  </a:lnTo>
                  <a:lnTo>
                    <a:pt x="780" y="300"/>
                  </a:lnTo>
                  <a:lnTo>
                    <a:pt x="780" y="520"/>
                  </a:lnTo>
                  <a:lnTo>
                    <a:pt x="905" y="670"/>
                  </a:lnTo>
                  <a:lnTo>
                    <a:pt x="920" y="790"/>
                  </a:lnTo>
                  <a:lnTo>
                    <a:pt x="1035" y="835"/>
                  </a:lnTo>
                  <a:lnTo>
                    <a:pt x="1275" y="900"/>
                  </a:lnTo>
                  <a:lnTo>
                    <a:pt x="1515" y="870"/>
                  </a:lnTo>
                  <a:lnTo>
                    <a:pt x="1485" y="775"/>
                  </a:lnTo>
                  <a:lnTo>
                    <a:pt x="1355" y="690"/>
                  </a:lnTo>
                  <a:lnTo>
                    <a:pt x="1385" y="600"/>
                  </a:lnTo>
                  <a:lnTo>
                    <a:pt x="1605" y="835"/>
                  </a:lnTo>
                  <a:lnTo>
                    <a:pt x="1820" y="1060"/>
                  </a:lnTo>
                  <a:lnTo>
                    <a:pt x="1965" y="1080"/>
                  </a:lnTo>
                  <a:lnTo>
                    <a:pt x="2250" y="1075"/>
                  </a:lnTo>
                  <a:lnTo>
                    <a:pt x="2445" y="1045"/>
                  </a:lnTo>
                  <a:lnTo>
                    <a:pt x="2550" y="960"/>
                  </a:lnTo>
                  <a:lnTo>
                    <a:pt x="2685" y="955"/>
                  </a:lnTo>
                  <a:lnTo>
                    <a:pt x="2775" y="855"/>
                  </a:lnTo>
                  <a:lnTo>
                    <a:pt x="3065" y="880"/>
                  </a:lnTo>
                  <a:lnTo>
                    <a:pt x="2970" y="720"/>
                  </a:lnTo>
                  <a:lnTo>
                    <a:pt x="3185" y="625"/>
                  </a:lnTo>
                  <a:lnTo>
                    <a:pt x="3435" y="580"/>
                  </a:lnTo>
                  <a:lnTo>
                    <a:pt x="3561" y="525"/>
                  </a:lnTo>
                  <a:lnTo>
                    <a:pt x="3721" y="370"/>
                  </a:lnTo>
                  <a:lnTo>
                    <a:pt x="3886" y="330"/>
                  </a:lnTo>
                  <a:lnTo>
                    <a:pt x="3991" y="250"/>
                  </a:lnTo>
                  <a:lnTo>
                    <a:pt x="4036" y="150"/>
                  </a:lnTo>
                  <a:lnTo>
                    <a:pt x="4081" y="60"/>
                  </a:lnTo>
                  <a:lnTo>
                    <a:pt x="4216" y="0"/>
                  </a:lnTo>
                  <a:lnTo>
                    <a:pt x="4251" y="100"/>
                  </a:lnTo>
                  <a:lnTo>
                    <a:pt x="4651" y="75"/>
                  </a:lnTo>
                  <a:lnTo>
                    <a:pt x="4876" y="100"/>
                  </a:lnTo>
                  <a:lnTo>
                    <a:pt x="4786" y="180"/>
                  </a:lnTo>
                  <a:lnTo>
                    <a:pt x="4816" y="255"/>
                  </a:lnTo>
                  <a:lnTo>
                    <a:pt x="5176" y="270"/>
                  </a:lnTo>
                  <a:lnTo>
                    <a:pt x="5436" y="265"/>
                  </a:lnTo>
                  <a:lnTo>
                    <a:pt x="5791" y="420"/>
                  </a:lnTo>
                  <a:lnTo>
                    <a:pt x="6076" y="475"/>
                  </a:lnTo>
                  <a:lnTo>
                    <a:pt x="6171" y="615"/>
                  </a:lnTo>
                  <a:lnTo>
                    <a:pt x="6331" y="700"/>
                  </a:lnTo>
                  <a:lnTo>
                    <a:pt x="6411" y="850"/>
                  </a:lnTo>
                  <a:lnTo>
                    <a:pt x="6496" y="945"/>
                  </a:lnTo>
                  <a:lnTo>
                    <a:pt x="6616" y="1000"/>
                  </a:lnTo>
                  <a:lnTo>
                    <a:pt x="6691" y="1140"/>
                  </a:lnTo>
                  <a:lnTo>
                    <a:pt x="6906" y="1180"/>
                  </a:lnTo>
                  <a:lnTo>
                    <a:pt x="6721" y="1320"/>
                  </a:lnTo>
                  <a:lnTo>
                    <a:pt x="6841" y="1435"/>
                  </a:lnTo>
                  <a:lnTo>
                    <a:pt x="6961" y="1676"/>
                  </a:lnTo>
                  <a:lnTo>
                    <a:pt x="7051" y="1811"/>
                  </a:lnTo>
                  <a:lnTo>
                    <a:pt x="7116" y="1991"/>
                  </a:lnTo>
                  <a:lnTo>
                    <a:pt x="6961" y="2081"/>
                  </a:lnTo>
                  <a:lnTo>
                    <a:pt x="6876" y="2231"/>
                  </a:lnTo>
                  <a:lnTo>
                    <a:pt x="6936" y="2321"/>
                  </a:lnTo>
                  <a:lnTo>
                    <a:pt x="6646" y="2491"/>
                  </a:lnTo>
                  <a:lnTo>
                    <a:pt x="6501" y="2351"/>
                  </a:lnTo>
                  <a:lnTo>
                    <a:pt x="6411" y="2336"/>
                  </a:lnTo>
                  <a:lnTo>
                    <a:pt x="6411" y="2441"/>
                  </a:lnTo>
                  <a:lnTo>
                    <a:pt x="6456" y="2546"/>
                  </a:lnTo>
                  <a:lnTo>
                    <a:pt x="6361" y="2621"/>
                  </a:lnTo>
                  <a:lnTo>
                    <a:pt x="6291" y="2771"/>
                  </a:lnTo>
                  <a:lnTo>
                    <a:pt x="6261" y="2911"/>
                  </a:lnTo>
                  <a:lnTo>
                    <a:pt x="6046" y="2726"/>
                  </a:lnTo>
                  <a:lnTo>
                    <a:pt x="5886" y="2476"/>
                  </a:lnTo>
                  <a:lnTo>
                    <a:pt x="5646" y="2131"/>
                  </a:lnTo>
                  <a:lnTo>
                    <a:pt x="5566" y="1901"/>
                  </a:lnTo>
                  <a:lnTo>
                    <a:pt x="5721" y="1906"/>
                  </a:lnTo>
                  <a:lnTo>
                    <a:pt x="5821" y="1796"/>
                  </a:lnTo>
                  <a:lnTo>
                    <a:pt x="5821" y="1636"/>
                  </a:lnTo>
                  <a:lnTo>
                    <a:pt x="5916" y="1495"/>
                  </a:lnTo>
                  <a:lnTo>
                    <a:pt x="6036" y="1561"/>
                  </a:lnTo>
                  <a:lnTo>
                    <a:pt x="6021" y="1455"/>
                  </a:lnTo>
                  <a:lnTo>
                    <a:pt x="5946" y="1390"/>
                  </a:lnTo>
                  <a:lnTo>
                    <a:pt x="5731" y="1425"/>
                  </a:lnTo>
                  <a:lnTo>
                    <a:pt x="5641" y="1390"/>
                  </a:lnTo>
                  <a:lnTo>
                    <a:pt x="5641" y="1485"/>
                  </a:lnTo>
                  <a:lnTo>
                    <a:pt x="5641" y="1561"/>
                  </a:lnTo>
                  <a:lnTo>
                    <a:pt x="5521" y="1450"/>
                  </a:lnTo>
                  <a:lnTo>
                    <a:pt x="5451" y="1225"/>
                  </a:lnTo>
                  <a:lnTo>
                    <a:pt x="5211" y="1080"/>
                  </a:lnTo>
                  <a:lnTo>
                    <a:pt x="5061" y="985"/>
                  </a:lnTo>
                  <a:lnTo>
                    <a:pt x="4996" y="870"/>
                  </a:lnTo>
                  <a:lnTo>
                    <a:pt x="4756" y="780"/>
                  </a:lnTo>
                  <a:lnTo>
                    <a:pt x="4401" y="745"/>
                  </a:lnTo>
                  <a:lnTo>
                    <a:pt x="4266" y="825"/>
                  </a:lnTo>
                  <a:lnTo>
                    <a:pt x="4146" y="925"/>
                  </a:lnTo>
                  <a:lnTo>
                    <a:pt x="4036" y="955"/>
                  </a:lnTo>
                  <a:lnTo>
                    <a:pt x="3961" y="1020"/>
                  </a:lnTo>
                  <a:lnTo>
                    <a:pt x="3931" y="1110"/>
                  </a:lnTo>
                  <a:lnTo>
                    <a:pt x="3936" y="1215"/>
                  </a:lnTo>
                  <a:lnTo>
                    <a:pt x="3976" y="1290"/>
                  </a:lnTo>
                  <a:lnTo>
                    <a:pt x="3796" y="1380"/>
                  </a:lnTo>
                  <a:lnTo>
                    <a:pt x="3425" y="1661"/>
                  </a:lnTo>
                  <a:lnTo>
                    <a:pt x="3210" y="1666"/>
                  </a:lnTo>
                  <a:lnTo>
                    <a:pt x="3080" y="1781"/>
                  </a:lnTo>
                  <a:lnTo>
                    <a:pt x="3105" y="1901"/>
                  </a:lnTo>
                  <a:lnTo>
                    <a:pt x="3275" y="2056"/>
                  </a:lnTo>
                  <a:lnTo>
                    <a:pt x="3345" y="2186"/>
                  </a:lnTo>
                  <a:lnTo>
                    <a:pt x="3636" y="2491"/>
                  </a:lnTo>
                  <a:lnTo>
                    <a:pt x="3691" y="2656"/>
                  </a:lnTo>
                  <a:lnTo>
                    <a:pt x="3540" y="2746"/>
                  </a:lnTo>
                  <a:lnTo>
                    <a:pt x="3360" y="2731"/>
                  </a:lnTo>
                  <a:lnTo>
                    <a:pt x="3240" y="2786"/>
                  </a:lnTo>
                  <a:lnTo>
                    <a:pt x="3245" y="2861"/>
                  </a:lnTo>
                  <a:lnTo>
                    <a:pt x="3195" y="2951"/>
                  </a:lnTo>
                  <a:lnTo>
                    <a:pt x="2705" y="3001"/>
                  </a:lnTo>
                  <a:lnTo>
                    <a:pt x="2565" y="2951"/>
                  </a:lnTo>
                  <a:lnTo>
                    <a:pt x="2630" y="2786"/>
                  </a:lnTo>
                  <a:lnTo>
                    <a:pt x="2510" y="2551"/>
                  </a:lnTo>
                  <a:lnTo>
                    <a:pt x="2385" y="2381"/>
                  </a:lnTo>
                  <a:lnTo>
                    <a:pt x="2400" y="2216"/>
                  </a:lnTo>
                  <a:lnTo>
                    <a:pt x="2250" y="2231"/>
                  </a:lnTo>
                  <a:lnTo>
                    <a:pt x="2240" y="2381"/>
                  </a:lnTo>
                  <a:lnTo>
                    <a:pt x="2210" y="2521"/>
                  </a:lnTo>
                  <a:lnTo>
                    <a:pt x="1790" y="2371"/>
                  </a:lnTo>
                  <a:lnTo>
                    <a:pt x="1580" y="1841"/>
                  </a:lnTo>
                  <a:lnTo>
                    <a:pt x="1290" y="1786"/>
                  </a:lnTo>
                  <a:lnTo>
                    <a:pt x="1010" y="1801"/>
                  </a:lnTo>
                  <a:lnTo>
                    <a:pt x="905" y="1636"/>
                  </a:lnTo>
                  <a:lnTo>
                    <a:pt x="815" y="1681"/>
                  </a:lnTo>
                  <a:lnTo>
                    <a:pt x="725" y="1651"/>
                  </a:lnTo>
                  <a:lnTo>
                    <a:pt x="680" y="1726"/>
                  </a:lnTo>
                  <a:lnTo>
                    <a:pt x="390" y="1646"/>
                  </a:lnTo>
                  <a:lnTo>
                    <a:pt x="200" y="1691"/>
                  </a:lnTo>
                  <a:lnTo>
                    <a:pt x="200" y="1826"/>
                  </a:lnTo>
                  <a:lnTo>
                    <a:pt x="225" y="1981"/>
                  </a:lnTo>
                  <a:lnTo>
                    <a:pt x="140" y="1996"/>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5" name="Freeform 182">
              <a:extLst>
                <a:ext uri="{FF2B5EF4-FFF2-40B4-BE49-F238E27FC236}">
                  <a16:creationId xmlns:a16="http://schemas.microsoft.com/office/drawing/2014/main" id="{E02ECF78-81CD-5D75-4B7A-5B5F1BD97C54}"/>
                </a:ext>
              </a:extLst>
            </p:cNvPr>
            <p:cNvSpPr>
              <a:spLocks/>
            </p:cNvSpPr>
            <p:nvPr/>
          </p:nvSpPr>
          <p:spPr bwMode="auto">
            <a:xfrm>
              <a:off x="688913" y="1125538"/>
              <a:ext cx="1439848" cy="1133475"/>
            </a:xfrm>
            <a:custGeom>
              <a:avLst/>
              <a:gdLst/>
              <a:ahLst/>
              <a:cxnLst>
                <a:cxn ang="0">
                  <a:pos x="69" y="185"/>
                </a:cxn>
                <a:cxn ang="0">
                  <a:pos x="194" y="646"/>
                </a:cxn>
                <a:cxn ang="0">
                  <a:pos x="214" y="944"/>
                </a:cxn>
                <a:cxn ang="0">
                  <a:pos x="276" y="1141"/>
                </a:cxn>
                <a:cxn ang="0">
                  <a:pos x="463" y="1338"/>
                </a:cxn>
                <a:cxn ang="0">
                  <a:pos x="588" y="1669"/>
                </a:cxn>
                <a:cxn ang="0">
                  <a:pos x="780" y="1856"/>
                </a:cxn>
                <a:cxn ang="0">
                  <a:pos x="722" y="1635"/>
                </a:cxn>
                <a:cxn ang="0">
                  <a:pos x="650" y="1501"/>
                </a:cxn>
                <a:cxn ang="0">
                  <a:pos x="612" y="1314"/>
                </a:cxn>
                <a:cxn ang="0">
                  <a:pos x="511" y="1040"/>
                </a:cxn>
                <a:cxn ang="0">
                  <a:pos x="391" y="733"/>
                </a:cxn>
                <a:cxn ang="0">
                  <a:pos x="290" y="382"/>
                </a:cxn>
                <a:cxn ang="0">
                  <a:pos x="406" y="248"/>
                </a:cxn>
                <a:cxn ang="0">
                  <a:pos x="559" y="310"/>
                </a:cxn>
                <a:cxn ang="0">
                  <a:pos x="569" y="680"/>
                </a:cxn>
                <a:cxn ang="0">
                  <a:pos x="804" y="978"/>
                </a:cxn>
                <a:cxn ang="0">
                  <a:pos x="847" y="1126"/>
                </a:cxn>
                <a:cxn ang="0">
                  <a:pos x="943" y="1270"/>
                </a:cxn>
                <a:cxn ang="0">
                  <a:pos x="958" y="1434"/>
                </a:cxn>
                <a:cxn ang="0">
                  <a:pos x="1164" y="1688"/>
                </a:cxn>
                <a:cxn ang="0">
                  <a:pos x="1366" y="2101"/>
                </a:cxn>
                <a:cxn ang="0">
                  <a:pos x="1380" y="2317"/>
                </a:cxn>
                <a:cxn ang="0">
                  <a:pos x="1346" y="2514"/>
                </a:cxn>
                <a:cxn ang="0">
                  <a:pos x="1634" y="2826"/>
                </a:cxn>
                <a:cxn ang="0">
                  <a:pos x="2282" y="3147"/>
                </a:cxn>
                <a:cxn ang="0">
                  <a:pos x="2580" y="3291"/>
                </a:cxn>
                <a:cxn ang="0">
                  <a:pos x="3209" y="3277"/>
                </a:cxn>
                <a:cxn ang="0">
                  <a:pos x="3454" y="3522"/>
                </a:cxn>
                <a:cxn ang="0">
                  <a:pos x="3509" y="3517"/>
                </a:cxn>
                <a:cxn ang="0">
                  <a:pos x="3501" y="3436"/>
                </a:cxn>
                <a:cxn ang="0">
                  <a:pos x="3812" y="3274"/>
                </a:cxn>
                <a:cxn ang="0">
                  <a:pos x="3776" y="3188"/>
                </a:cxn>
                <a:cxn ang="0">
                  <a:pos x="3720" y="3086"/>
                </a:cxn>
                <a:cxn ang="0">
                  <a:pos x="4049" y="2963"/>
                </a:cxn>
                <a:cxn ang="0">
                  <a:pos x="4136" y="2950"/>
                </a:cxn>
                <a:cxn ang="0">
                  <a:pos x="4293" y="2795"/>
                </a:cxn>
                <a:cxn ang="0">
                  <a:pos x="4369" y="2791"/>
                </a:cxn>
                <a:cxn ang="0">
                  <a:pos x="4375" y="2658"/>
                </a:cxn>
                <a:cxn ang="0">
                  <a:pos x="4534" y="2355"/>
                </a:cxn>
                <a:cxn ang="0">
                  <a:pos x="4318" y="2307"/>
                </a:cxn>
                <a:cxn ang="0">
                  <a:pos x="3919" y="2398"/>
                </a:cxn>
                <a:cxn ang="0">
                  <a:pos x="3842" y="2629"/>
                </a:cxn>
                <a:cxn ang="0">
                  <a:pos x="3713" y="2850"/>
                </a:cxn>
                <a:cxn ang="0">
                  <a:pos x="3511" y="2821"/>
                </a:cxn>
                <a:cxn ang="0">
                  <a:pos x="3146" y="2898"/>
                </a:cxn>
                <a:cxn ang="0">
                  <a:pos x="2873" y="2667"/>
                </a:cxn>
                <a:cxn ang="0">
                  <a:pos x="2705" y="2245"/>
                </a:cxn>
                <a:cxn ang="0">
                  <a:pos x="2714" y="1904"/>
                </a:cxn>
                <a:cxn ang="0">
                  <a:pos x="2844" y="1544"/>
                </a:cxn>
                <a:cxn ang="0">
                  <a:pos x="2664" y="1424"/>
                </a:cxn>
                <a:cxn ang="0">
                  <a:pos x="2526" y="1166"/>
                </a:cxn>
                <a:cxn ang="0">
                  <a:pos x="2376" y="836"/>
                </a:cxn>
                <a:cxn ang="0">
                  <a:pos x="2064" y="776"/>
                </a:cxn>
                <a:cxn ang="0">
                  <a:pos x="1800" y="650"/>
                </a:cxn>
                <a:cxn ang="0">
                  <a:pos x="1614" y="392"/>
                </a:cxn>
                <a:cxn ang="0">
                  <a:pos x="1264" y="379"/>
                </a:cxn>
                <a:cxn ang="0">
                  <a:pos x="372" y="74"/>
                </a:cxn>
                <a:cxn ang="0">
                  <a:pos x="0" y="0"/>
                </a:cxn>
              </a:cxnLst>
              <a:rect l="0" t="0" r="r" b="b"/>
              <a:pathLst>
                <a:path w="4534" h="3574">
                  <a:moveTo>
                    <a:pt x="0" y="0"/>
                  </a:moveTo>
                  <a:lnTo>
                    <a:pt x="50" y="94"/>
                  </a:lnTo>
                  <a:lnTo>
                    <a:pt x="69" y="185"/>
                  </a:lnTo>
                  <a:lnTo>
                    <a:pt x="99" y="392"/>
                  </a:lnTo>
                  <a:lnTo>
                    <a:pt x="94" y="550"/>
                  </a:lnTo>
                  <a:lnTo>
                    <a:pt x="194" y="646"/>
                  </a:lnTo>
                  <a:lnTo>
                    <a:pt x="276" y="800"/>
                  </a:lnTo>
                  <a:lnTo>
                    <a:pt x="218" y="886"/>
                  </a:lnTo>
                  <a:lnTo>
                    <a:pt x="214" y="944"/>
                  </a:lnTo>
                  <a:lnTo>
                    <a:pt x="103" y="915"/>
                  </a:lnTo>
                  <a:lnTo>
                    <a:pt x="156" y="1035"/>
                  </a:lnTo>
                  <a:lnTo>
                    <a:pt x="276" y="1141"/>
                  </a:lnTo>
                  <a:lnTo>
                    <a:pt x="338" y="1146"/>
                  </a:lnTo>
                  <a:lnTo>
                    <a:pt x="415" y="1232"/>
                  </a:lnTo>
                  <a:lnTo>
                    <a:pt x="463" y="1338"/>
                  </a:lnTo>
                  <a:lnTo>
                    <a:pt x="406" y="1520"/>
                  </a:lnTo>
                  <a:lnTo>
                    <a:pt x="482" y="1597"/>
                  </a:lnTo>
                  <a:lnTo>
                    <a:pt x="588" y="1669"/>
                  </a:lnTo>
                  <a:lnTo>
                    <a:pt x="646" y="1770"/>
                  </a:lnTo>
                  <a:lnTo>
                    <a:pt x="684" y="1909"/>
                  </a:lnTo>
                  <a:lnTo>
                    <a:pt x="780" y="1856"/>
                  </a:lnTo>
                  <a:lnTo>
                    <a:pt x="794" y="1784"/>
                  </a:lnTo>
                  <a:lnTo>
                    <a:pt x="751" y="1712"/>
                  </a:lnTo>
                  <a:lnTo>
                    <a:pt x="722" y="1635"/>
                  </a:lnTo>
                  <a:lnTo>
                    <a:pt x="655" y="1640"/>
                  </a:lnTo>
                  <a:lnTo>
                    <a:pt x="631" y="1573"/>
                  </a:lnTo>
                  <a:lnTo>
                    <a:pt x="650" y="1501"/>
                  </a:lnTo>
                  <a:lnTo>
                    <a:pt x="622" y="1429"/>
                  </a:lnTo>
                  <a:lnTo>
                    <a:pt x="593" y="1371"/>
                  </a:lnTo>
                  <a:lnTo>
                    <a:pt x="612" y="1314"/>
                  </a:lnTo>
                  <a:lnTo>
                    <a:pt x="593" y="1155"/>
                  </a:lnTo>
                  <a:lnTo>
                    <a:pt x="540" y="1146"/>
                  </a:lnTo>
                  <a:lnTo>
                    <a:pt x="511" y="1040"/>
                  </a:lnTo>
                  <a:lnTo>
                    <a:pt x="458" y="963"/>
                  </a:lnTo>
                  <a:lnTo>
                    <a:pt x="458" y="862"/>
                  </a:lnTo>
                  <a:lnTo>
                    <a:pt x="391" y="733"/>
                  </a:lnTo>
                  <a:lnTo>
                    <a:pt x="362" y="632"/>
                  </a:lnTo>
                  <a:lnTo>
                    <a:pt x="271" y="512"/>
                  </a:lnTo>
                  <a:lnTo>
                    <a:pt x="290" y="382"/>
                  </a:lnTo>
                  <a:lnTo>
                    <a:pt x="295" y="248"/>
                  </a:lnTo>
                  <a:lnTo>
                    <a:pt x="338" y="190"/>
                  </a:lnTo>
                  <a:lnTo>
                    <a:pt x="406" y="248"/>
                  </a:lnTo>
                  <a:lnTo>
                    <a:pt x="463" y="229"/>
                  </a:lnTo>
                  <a:lnTo>
                    <a:pt x="487" y="291"/>
                  </a:lnTo>
                  <a:lnTo>
                    <a:pt x="559" y="310"/>
                  </a:lnTo>
                  <a:lnTo>
                    <a:pt x="526" y="416"/>
                  </a:lnTo>
                  <a:lnTo>
                    <a:pt x="550" y="526"/>
                  </a:lnTo>
                  <a:lnTo>
                    <a:pt x="569" y="680"/>
                  </a:lnTo>
                  <a:lnTo>
                    <a:pt x="631" y="814"/>
                  </a:lnTo>
                  <a:lnTo>
                    <a:pt x="694" y="934"/>
                  </a:lnTo>
                  <a:lnTo>
                    <a:pt x="804" y="978"/>
                  </a:lnTo>
                  <a:lnTo>
                    <a:pt x="751" y="1030"/>
                  </a:lnTo>
                  <a:lnTo>
                    <a:pt x="799" y="1107"/>
                  </a:lnTo>
                  <a:lnTo>
                    <a:pt x="847" y="1126"/>
                  </a:lnTo>
                  <a:lnTo>
                    <a:pt x="876" y="1194"/>
                  </a:lnTo>
                  <a:lnTo>
                    <a:pt x="934" y="1218"/>
                  </a:lnTo>
                  <a:lnTo>
                    <a:pt x="943" y="1270"/>
                  </a:lnTo>
                  <a:lnTo>
                    <a:pt x="895" y="1328"/>
                  </a:lnTo>
                  <a:lnTo>
                    <a:pt x="895" y="1395"/>
                  </a:lnTo>
                  <a:lnTo>
                    <a:pt x="958" y="1434"/>
                  </a:lnTo>
                  <a:lnTo>
                    <a:pt x="1044" y="1486"/>
                  </a:lnTo>
                  <a:lnTo>
                    <a:pt x="1073" y="1573"/>
                  </a:lnTo>
                  <a:lnTo>
                    <a:pt x="1164" y="1688"/>
                  </a:lnTo>
                  <a:lnTo>
                    <a:pt x="1270" y="1856"/>
                  </a:lnTo>
                  <a:lnTo>
                    <a:pt x="1366" y="2005"/>
                  </a:lnTo>
                  <a:lnTo>
                    <a:pt x="1366" y="2101"/>
                  </a:lnTo>
                  <a:lnTo>
                    <a:pt x="1418" y="2211"/>
                  </a:lnTo>
                  <a:lnTo>
                    <a:pt x="1418" y="2274"/>
                  </a:lnTo>
                  <a:lnTo>
                    <a:pt x="1380" y="2317"/>
                  </a:lnTo>
                  <a:lnTo>
                    <a:pt x="1394" y="2379"/>
                  </a:lnTo>
                  <a:lnTo>
                    <a:pt x="1318" y="2403"/>
                  </a:lnTo>
                  <a:lnTo>
                    <a:pt x="1346" y="2514"/>
                  </a:lnTo>
                  <a:lnTo>
                    <a:pt x="1433" y="2643"/>
                  </a:lnTo>
                  <a:lnTo>
                    <a:pt x="1572" y="2710"/>
                  </a:lnTo>
                  <a:lnTo>
                    <a:pt x="1634" y="2826"/>
                  </a:lnTo>
                  <a:lnTo>
                    <a:pt x="1879" y="2907"/>
                  </a:lnTo>
                  <a:lnTo>
                    <a:pt x="2028" y="3027"/>
                  </a:lnTo>
                  <a:lnTo>
                    <a:pt x="2282" y="3147"/>
                  </a:lnTo>
                  <a:lnTo>
                    <a:pt x="2374" y="3171"/>
                  </a:lnTo>
                  <a:lnTo>
                    <a:pt x="2465" y="3234"/>
                  </a:lnTo>
                  <a:lnTo>
                    <a:pt x="2580" y="3291"/>
                  </a:lnTo>
                  <a:lnTo>
                    <a:pt x="2782" y="3344"/>
                  </a:lnTo>
                  <a:lnTo>
                    <a:pt x="3065" y="3234"/>
                  </a:lnTo>
                  <a:lnTo>
                    <a:pt x="3209" y="3277"/>
                  </a:lnTo>
                  <a:lnTo>
                    <a:pt x="3324" y="3363"/>
                  </a:lnTo>
                  <a:lnTo>
                    <a:pt x="3391" y="3450"/>
                  </a:lnTo>
                  <a:lnTo>
                    <a:pt x="3454" y="3522"/>
                  </a:lnTo>
                  <a:lnTo>
                    <a:pt x="3491" y="3574"/>
                  </a:lnTo>
                  <a:lnTo>
                    <a:pt x="3501" y="3557"/>
                  </a:lnTo>
                  <a:lnTo>
                    <a:pt x="3509" y="3517"/>
                  </a:lnTo>
                  <a:lnTo>
                    <a:pt x="3503" y="3493"/>
                  </a:lnTo>
                  <a:lnTo>
                    <a:pt x="3522" y="3472"/>
                  </a:lnTo>
                  <a:lnTo>
                    <a:pt x="3501" y="3436"/>
                  </a:lnTo>
                  <a:lnTo>
                    <a:pt x="3590" y="3299"/>
                  </a:lnTo>
                  <a:lnTo>
                    <a:pt x="3806" y="3299"/>
                  </a:lnTo>
                  <a:lnTo>
                    <a:pt x="3812" y="3274"/>
                  </a:lnTo>
                  <a:lnTo>
                    <a:pt x="3824" y="3247"/>
                  </a:lnTo>
                  <a:lnTo>
                    <a:pt x="3789" y="3224"/>
                  </a:lnTo>
                  <a:lnTo>
                    <a:pt x="3776" y="3188"/>
                  </a:lnTo>
                  <a:lnTo>
                    <a:pt x="3714" y="3148"/>
                  </a:lnTo>
                  <a:lnTo>
                    <a:pt x="3645" y="3085"/>
                  </a:lnTo>
                  <a:lnTo>
                    <a:pt x="3720" y="3086"/>
                  </a:lnTo>
                  <a:lnTo>
                    <a:pt x="3725" y="2986"/>
                  </a:lnTo>
                  <a:lnTo>
                    <a:pt x="4041" y="2986"/>
                  </a:lnTo>
                  <a:lnTo>
                    <a:pt x="4049" y="2963"/>
                  </a:lnTo>
                  <a:lnTo>
                    <a:pt x="4068" y="2956"/>
                  </a:lnTo>
                  <a:lnTo>
                    <a:pt x="4082" y="2933"/>
                  </a:lnTo>
                  <a:lnTo>
                    <a:pt x="4136" y="2950"/>
                  </a:lnTo>
                  <a:lnTo>
                    <a:pt x="4205" y="2857"/>
                  </a:lnTo>
                  <a:lnTo>
                    <a:pt x="4251" y="2861"/>
                  </a:lnTo>
                  <a:lnTo>
                    <a:pt x="4293" y="2795"/>
                  </a:lnTo>
                  <a:lnTo>
                    <a:pt x="4302" y="2882"/>
                  </a:lnTo>
                  <a:lnTo>
                    <a:pt x="4337" y="2874"/>
                  </a:lnTo>
                  <a:lnTo>
                    <a:pt x="4369" y="2791"/>
                  </a:lnTo>
                  <a:lnTo>
                    <a:pt x="4347" y="2741"/>
                  </a:lnTo>
                  <a:lnTo>
                    <a:pt x="4394" y="2725"/>
                  </a:lnTo>
                  <a:lnTo>
                    <a:pt x="4375" y="2658"/>
                  </a:lnTo>
                  <a:lnTo>
                    <a:pt x="4442" y="2504"/>
                  </a:lnTo>
                  <a:lnTo>
                    <a:pt x="4529" y="2442"/>
                  </a:lnTo>
                  <a:lnTo>
                    <a:pt x="4534" y="2355"/>
                  </a:lnTo>
                  <a:lnTo>
                    <a:pt x="4481" y="2302"/>
                  </a:lnTo>
                  <a:lnTo>
                    <a:pt x="4428" y="2341"/>
                  </a:lnTo>
                  <a:lnTo>
                    <a:pt x="4318" y="2307"/>
                  </a:lnTo>
                  <a:lnTo>
                    <a:pt x="4207" y="2322"/>
                  </a:lnTo>
                  <a:lnTo>
                    <a:pt x="4030" y="2355"/>
                  </a:lnTo>
                  <a:lnTo>
                    <a:pt x="3919" y="2398"/>
                  </a:lnTo>
                  <a:lnTo>
                    <a:pt x="3890" y="2504"/>
                  </a:lnTo>
                  <a:lnTo>
                    <a:pt x="3890" y="2590"/>
                  </a:lnTo>
                  <a:lnTo>
                    <a:pt x="3842" y="2629"/>
                  </a:lnTo>
                  <a:lnTo>
                    <a:pt x="3809" y="2725"/>
                  </a:lnTo>
                  <a:lnTo>
                    <a:pt x="3732" y="2768"/>
                  </a:lnTo>
                  <a:lnTo>
                    <a:pt x="3713" y="2850"/>
                  </a:lnTo>
                  <a:lnTo>
                    <a:pt x="3626" y="2878"/>
                  </a:lnTo>
                  <a:lnTo>
                    <a:pt x="3598" y="2816"/>
                  </a:lnTo>
                  <a:lnTo>
                    <a:pt x="3511" y="2821"/>
                  </a:lnTo>
                  <a:lnTo>
                    <a:pt x="3434" y="2864"/>
                  </a:lnTo>
                  <a:lnTo>
                    <a:pt x="3338" y="2859"/>
                  </a:lnTo>
                  <a:lnTo>
                    <a:pt x="3146" y="2898"/>
                  </a:lnTo>
                  <a:lnTo>
                    <a:pt x="3065" y="2802"/>
                  </a:lnTo>
                  <a:lnTo>
                    <a:pt x="2945" y="2787"/>
                  </a:lnTo>
                  <a:lnTo>
                    <a:pt x="2873" y="2667"/>
                  </a:lnTo>
                  <a:lnTo>
                    <a:pt x="2863" y="2586"/>
                  </a:lnTo>
                  <a:lnTo>
                    <a:pt x="2767" y="2432"/>
                  </a:lnTo>
                  <a:lnTo>
                    <a:pt x="2705" y="2245"/>
                  </a:lnTo>
                  <a:lnTo>
                    <a:pt x="2671" y="2101"/>
                  </a:lnTo>
                  <a:lnTo>
                    <a:pt x="2695" y="2019"/>
                  </a:lnTo>
                  <a:lnTo>
                    <a:pt x="2714" y="1904"/>
                  </a:lnTo>
                  <a:lnTo>
                    <a:pt x="2753" y="1698"/>
                  </a:lnTo>
                  <a:lnTo>
                    <a:pt x="2753" y="1578"/>
                  </a:lnTo>
                  <a:lnTo>
                    <a:pt x="2844" y="1544"/>
                  </a:lnTo>
                  <a:lnTo>
                    <a:pt x="2826" y="1472"/>
                  </a:lnTo>
                  <a:lnTo>
                    <a:pt x="2760" y="1454"/>
                  </a:lnTo>
                  <a:lnTo>
                    <a:pt x="2664" y="1424"/>
                  </a:lnTo>
                  <a:lnTo>
                    <a:pt x="2568" y="1364"/>
                  </a:lnTo>
                  <a:lnTo>
                    <a:pt x="2520" y="1274"/>
                  </a:lnTo>
                  <a:lnTo>
                    <a:pt x="2526" y="1166"/>
                  </a:lnTo>
                  <a:lnTo>
                    <a:pt x="2460" y="1088"/>
                  </a:lnTo>
                  <a:lnTo>
                    <a:pt x="2430" y="974"/>
                  </a:lnTo>
                  <a:lnTo>
                    <a:pt x="2376" y="836"/>
                  </a:lnTo>
                  <a:lnTo>
                    <a:pt x="2280" y="746"/>
                  </a:lnTo>
                  <a:lnTo>
                    <a:pt x="2130" y="734"/>
                  </a:lnTo>
                  <a:lnTo>
                    <a:pt x="2064" y="776"/>
                  </a:lnTo>
                  <a:lnTo>
                    <a:pt x="1968" y="860"/>
                  </a:lnTo>
                  <a:lnTo>
                    <a:pt x="1800" y="740"/>
                  </a:lnTo>
                  <a:lnTo>
                    <a:pt x="1800" y="650"/>
                  </a:lnTo>
                  <a:lnTo>
                    <a:pt x="1764" y="536"/>
                  </a:lnTo>
                  <a:lnTo>
                    <a:pt x="1698" y="464"/>
                  </a:lnTo>
                  <a:lnTo>
                    <a:pt x="1614" y="392"/>
                  </a:lnTo>
                  <a:lnTo>
                    <a:pt x="1572" y="308"/>
                  </a:lnTo>
                  <a:lnTo>
                    <a:pt x="1332" y="308"/>
                  </a:lnTo>
                  <a:lnTo>
                    <a:pt x="1264" y="379"/>
                  </a:lnTo>
                  <a:lnTo>
                    <a:pt x="981" y="361"/>
                  </a:lnTo>
                  <a:lnTo>
                    <a:pt x="852" y="326"/>
                  </a:lnTo>
                  <a:lnTo>
                    <a:pt x="372" y="74"/>
                  </a:lnTo>
                  <a:lnTo>
                    <a:pt x="384" y="20"/>
                  </a:lnTo>
                  <a:lnTo>
                    <a:pt x="162" y="14"/>
                  </a:lnTo>
                  <a:lnTo>
                    <a:pt x="0" y="0"/>
                  </a:lnTo>
                  <a:close/>
                </a:path>
              </a:pathLst>
            </a:custGeom>
            <a:solidFill>
              <a:schemeClr val="bg1">
                <a:lumMod val="8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a:defRPr/>
              </a:pPr>
              <a:endParaRPr lang="zh-CN" altLang="en-US" b="1" kern="0">
                <a:solidFill>
                  <a:srgbClr val="000000"/>
                </a:solidFill>
                <a:latin typeface="Arial" charset="0"/>
                <a:ea typeface="+mn-ea"/>
              </a:endParaRPr>
            </a:p>
          </p:txBody>
        </p:sp>
        <p:sp>
          <p:nvSpPr>
            <p:cNvPr id="86" name="Freeform 183">
              <a:extLst>
                <a:ext uri="{FF2B5EF4-FFF2-40B4-BE49-F238E27FC236}">
                  <a16:creationId xmlns:a16="http://schemas.microsoft.com/office/drawing/2014/main" id="{6532E7B7-253E-C34C-0F6B-B2652A67EE27}"/>
                </a:ext>
              </a:extLst>
            </p:cNvPr>
            <p:cNvSpPr>
              <a:spLocks/>
            </p:cNvSpPr>
            <p:nvPr/>
          </p:nvSpPr>
          <p:spPr bwMode="auto">
            <a:xfrm rot="987490">
              <a:off x="2236710" y="1804988"/>
              <a:ext cx="598481" cy="130175"/>
            </a:xfrm>
            <a:custGeom>
              <a:avLst/>
              <a:gdLst/>
              <a:ahLst/>
              <a:cxnLst>
                <a:cxn ang="0">
                  <a:pos x="0" y="1152"/>
                </a:cxn>
                <a:cxn ang="0">
                  <a:pos x="288" y="1046"/>
                </a:cxn>
                <a:cxn ang="0">
                  <a:pos x="265" y="777"/>
                </a:cxn>
                <a:cxn ang="0">
                  <a:pos x="493" y="548"/>
                </a:cxn>
                <a:cxn ang="0">
                  <a:pos x="740" y="375"/>
                </a:cxn>
                <a:cxn ang="0">
                  <a:pos x="1161" y="119"/>
                </a:cxn>
                <a:cxn ang="0">
                  <a:pos x="1563" y="91"/>
                </a:cxn>
                <a:cxn ang="0">
                  <a:pos x="1965" y="137"/>
                </a:cxn>
                <a:cxn ang="0">
                  <a:pos x="2249" y="146"/>
                </a:cxn>
                <a:cxn ang="0">
                  <a:pos x="2642" y="210"/>
                </a:cxn>
                <a:cxn ang="0">
                  <a:pos x="2962" y="228"/>
                </a:cxn>
                <a:cxn ang="0">
                  <a:pos x="3319" y="347"/>
                </a:cxn>
                <a:cxn ang="0">
                  <a:pos x="3337" y="274"/>
                </a:cxn>
                <a:cxn ang="0">
                  <a:pos x="3117" y="173"/>
                </a:cxn>
                <a:cxn ang="0">
                  <a:pos x="2861" y="128"/>
                </a:cxn>
                <a:cxn ang="0">
                  <a:pos x="2898" y="18"/>
                </a:cxn>
                <a:cxn ang="0">
                  <a:pos x="3191" y="109"/>
                </a:cxn>
                <a:cxn ang="0">
                  <a:pos x="3465" y="210"/>
                </a:cxn>
                <a:cxn ang="0">
                  <a:pos x="3858" y="347"/>
                </a:cxn>
                <a:cxn ang="0">
                  <a:pos x="4105" y="439"/>
                </a:cxn>
                <a:cxn ang="0">
                  <a:pos x="4260" y="475"/>
                </a:cxn>
                <a:cxn ang="0">
                  <a:pos x="4498" y="512"/>
                </a:cxn>
                <a:cxn ang="0">
                  <a:pos x="4736" y="521"/>
                </a:cxn>
                <a:cxn ang="0">
                  <a:pos x="5037" y="512"/>
                </a:cxn>
                <a:cxn ang="0">
                  <a:pos x="4937" y="704"/>
                </a:cxn>
                <a:cxn ang="0">
                  <a:pos x="4434" y="1005"/>
                </a:cxn>
                <a:cxn ang="0">
                  <a:pos x="3867" y="1207"/>
                </a:cxn>
                <a:cxn ang="0">
                  <a:pos x="3383" y="1261"/>
                </a:cxn>
                <a:cxn ang="0">
                  <a:pos x="3602" y="969"/>
                </a:cxn>
                <a:cxn ang="0">
                  <a:pos x="3483" y="859"/>
                </a:cxn>
                <a:cxn ang="0">
                  <a:pos x="3063" y="877"/>
                </a:cxn>
                <a:cxn ang="0">
                  <a:pos x="2871" y="667"/>
                </a:cxn>
                <a:cxn ang="0">
                  <a:pos x="2496" y="658"/>
                </a:cxn>
                <a:cxn ang="0">
                  <a:pos x="2011" y="592"/>
                </a:cxn>
                <a:cxn ang="0">
                  <a:pos x="1785" y="637"/>
                </a:cxn>
                <a:cxn ang="0">
                  <a:pos x="1618" y="685"/>
                </a:cxn>
                <a:cxn ang="0">
                  <a:pos x="1362" y="676"/>
                </a:cxn>
                <a:cxn ang="0">
                  <a:pos x="1376" y="501"/>
                </a:cxn>
                <a:cxn ang="0">
                  <a:pos x="1069" y="548"/>
                </a:cxn>
                <a:cxn ang="0">
                  <a:pos x="741" y="773"/>
                </a:cxn>
                <a:cxn ang="0">
                  <a:pos x="439" y="969"/>
                </a:cxn>
                <a:cxn ang="0">
                  <a:pos x="228" y="1170"/>
                </a:cxn>
              </a:cxnLst>
              <a:rect l="0" t="0" r="r" b="b"/>
              <a:pathLst>
                <a:path w="5056" h="1325">
                  <a:moveTo>
                    <a:pt x="27" y="1225"/>
                  </a:moveTo>
                  <a:lnTo>
                    <a:pt x="0" y="1152"/>
                  </a:lnTo>
                  <a:lnTo>
                    <a:pt x="91" y="1069"/>
                  </a:lnTo>
                  <a:lnTo>
                    <a:pt x="288" y="1046"/>
                  </a:lnTo>
                  <a:lnTo>
                    <a:pt x="201" y="905"/>
                  </a:lnTo>
                  <a:lnTo>
                    <a:pt x="265" y="777"/>
                  </a:lnTo>
                  <a:lnTo>
                    <a:pt x="375" y="658"/>
                  </a:lnTo>
                  <a:lnTo>
                    <a:pt x="493" y="548"/>
                  </a:lnTo>
                  <a:lnTo>
                    <a:pt x="631" y="475"/>
                  </a:lnTo>
                  <a:lnTo>
                    <a:pt x="740" y="375"/>
                  </a:lnTo>
                  <a:lnTo>
                    <a:pt x="1024" y="265"/>
                  </a:lnTo>
                  <a:lnTo>
                    <a:pt x="1161" y="119"/>
                  </a:lnTo>
                  <a:lnTo>
                    <a:pt x="1435" y="119"/>
                  </a:lnTo>
                  <a:lnTo>
                    <a:pt x="1563" y="91"/>
                  </a:lnTo>
                  <a:lnTo>
                    <a:pt x="1801" y="64"/>
                  </a:lnTo>
                  <a:lnTo>
                    <a:pt x="1965" y="137"/>
                  </a:lnTo>
                  <a:lnTo>
                    <a:pt x="2130" y="27"/>
                  </a:lnTo>
                  <a:lnTo>
                    <a:pt x="2249" y="146"/>
                  </a:lnTo>
                  <a:lnTo>
                    <a:pt x="2395" y="247"/>
                  </a:lnTo>
                  <a:lnTo>
                    <a:pt x="2642" y="210"/>
                  </a:lnTo>
                  <a:lnTo>
                    <a:pt x="2861" y="192"/>
                  </a:lnTo>
                  <a:lnTo>
                    <a:pt x="2962" y="228"/>
                  </a:lnTo>
                  <a:lnTo>
                    <a:pt x="3154" y="265"/>
                  </a:lnTo>
                  <a:lnTo>
                    <a:pt x="3319" y="347"/>
                  </a:lnTo>
                  <a:lnTo>
                    <a:pt x="3410" y="320"/>
                  </a:lnTo>
                  <a:lnTo>
                    <a:pt x="3337" y="274"/>
                  </a:lnTo>
                  <a:lnTo>
                    <a:pt x="3245" y="283"/>
                  </a:lnTo>
                  <a:lnTo>
                    <a:pt x="3117" y="173"/>
                  </a:lnTo>
                  <a:lnTo>
                    <a:pt x="3008" y="119"/>
                  </a:lnTo>
                  <a:lnTo>
                    <a:pt x="2861" y="128"/>
                  </a:lnTo>
                  <a:lnTo>
                    <a:pt x="2779" y="73"/>
                  </a:lnTo>
                  <a:lnTo>
                    <a:pt x="2898" y="18"/>
                  </a:lnTo>
                  <a:lnTo>
                    <a:pt x="2999" y="0"/>
                  </a:lnTo>
                  <a:lnTo>
                    <a:pt x="3191" y="109"/>
                  </a:lnTo>
                  <a:lnTo>
                    <a:pt x="3309" y="219"/>
                  </a:lnTo>
                  <a:lnTo>
                    <a:pt x="3465" y="210"/>
                  </a:lnTo>
                  <a:lnTo>
                    <a:pt x="3593" y="365"/>
                  </a:lnTo>
                  <a:lnTo>
                    <a:pt x="3858" y="347"/>
                  </a:lnTo>
                  <a:lnTo>
                    <a:pt x="4004" y="375"/>
                  </a:lnTo>
                  <a:lnTo>
                    <a:pt x="4105" y="439"/>
                  </a:lnTo>
                  <a:lnTo>
                    <a:pt x="4215" y="384"/>
                  </a:lnTo>
                  <a:lnTo>
                    <a:pt x="4260" y="475"/>
                  </a:lnTo>
                  <a:lnTo>
                    <a:pt x="4260" y="612"/>
                  </a:lnTo>
                  <a:lnTo>
                    <a:pt x="4498" y="512"/>
                  </a:lnTo>
                  <a:lnTo>
                    <a:pt x="4626" y="475"/>
                  </a:lnTo>
                  <a:lnTo>
                    <a:pt x="4736" y="521"/>
                  </a:lnTo>
                  <a:lnTo>
                    <a:pt x="4909" y="503"/>
                  </a:lnTo>
                  <a:lnTo>
                    <a:pt x="5037" y="512"/>
                  </a:lnTo>
                  <a:lnTo>
                    <a:pt x="5056" y="594"/>
                  </a:lnTo>
                  <a:lnTo>
                    <a:pt x="4937" y="704"/>
                  </a:lnTo>
                  <a:lnTo>
                    <a:pt x="4736" y="887"/>
                  </a:lnTo>
                  <a:lnTo>
                    <a:pt x="4434" y="1005"/>
                  </a:lnTo>
                  <a:lnTo>
                    <a:pt x="4050" y="1079"/>
                  </a:lnTo>
                  <a:lnTo>
                    <a:pt x="3867" y="1207"/>
                  </a:lnTo>
                  <a:lnTo>
                    <a:pt x="3437" y="1325"/>
                  </a:lnTo>
                  <a:lnTo>
                    <a:pt x="3383" y="1261"/>
                  </a:lnTo>
                  <a:lnTo>
                    <a:pt x="3511" y="1106"/>
                  </a:lnTo>
                  <a:lnTo>
                    <a:pt x="3602" y="969"/>
                  </a:lnTo>
                  <a:lnTo>
                    <a:pt x="3599" y="864"/>
                  </a:lnTo>
                  <a:lnTo>
                    <a:pt x="3483" y="859"/>
                  </a:lnTo>
                  <a:lnTo>
                    <a:pt x="3273" y="923"/>
                  </a:lnTo>
                  <a:lnTo>
                    <a:pt x="3063" y="877"/>
                  </a:lnTo>
                  <a:lnTo>
                    <a:pt x="2964" y="728"/>
                  </a:lnTo>
                  <a:lnTo>
                    <a:pt x="2871" y="667"/>
                  </a:lnTo>
                  <a:lnTo>
                    <a:pt x="2724" y="640"/>
                  </a:lnTo>
                  <a:lnTo>
                    <a:pt x="2496" y="658"/>
                  </a:lnTo>
                  <a:lnTo>
                    <a:pt x="2212" y="676"/>
                  </a:lnTo>
                  <a:lnTo>
                    <a:pt x="2011" y="592"/>
                  </a:lnTo>
                  <a:lnTo>
                    <a:pt x="1874" y="576"/>
                  </a:lnTo>
                  <a:lnTo>
                    <a:pt x="1785" y="637"/>
                  </a:lnTo>
                  <a:lnTo>
                    <a:pt x="1673" y="567"/>
                  </a:lnTo>
                  <a:lnTo>
                    <a:pt x="1618" y="685"/>
                  </a:lnTo>
                  <a:lnTo>
                    <a:pt x="1472" y="667"/>
                  </a:lnTo>
                  <a:lnTo>
                    <a:pt x="1362" y="676"/>
                  </a:lnTo>
                  <a:lnTo>
                    <a:pt x="1243" y="612"/>
                  </a:lnTo>
                  <a:lnTo>
                    <a:pt x="1376" y="501"/>
                  </a:lnTo>
                  <a:lnTo>
                    <a:pt x="1261" y="484"/>
                  </a:lnTo>
                  <a:lnTo>
                    <a:pt x="1069" y="548"/>
                  </a:lnTo>
                  <a:lnTo>
                    <a:pt x="887" y="603"/>
                  </a:lnTo>
                  <a:lnTo>
                    <a:pt x="741" y="773"/>
                  </a:lnTo>
                  <a:lnTo>
                    <a:pt x="521" y="877"/>
                  </a:lnTo>
                  <a:lnTo>
                    <a:pt x="439" y="969"/>
                  </a:lnTo>
                  <a:lnTo>
                    <a:pt x="420" y="1079"/>
                  </a:lnTo>
                  <a:lnTo>
                    <a:pt x="228" y="1170"/>
                  </a:lnTo>
                  <a:lnTo>
                    <a:pt x="27" y="1225"/>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7" name="Freeform 184">
              <a:extLst>
                <a:ext uri="{FF2B5EF4-FFF2-40B4-BE49-F238E27FC236}">
                  <a16:creationId xmlns:a16="http://schemas.microsoft.com/office/drawing/2014/main" id="{3FA5DDCD-DF38-AEFE-B814-F2ABDD494C5D}"/>
                </a:ext>
              </a:extLst>
            </p:cNvPr>
            <p:cNvSpPr>
              <a:spLocks/>
            </p:cNvSpPr>
            <p:nvPr/>
          </p:nvSpPr>
          <p:spPr bwMode="auto">
            <a:xfrm rot="634052">
              <a:off x="2797091" y="1962151"/>
              <a:ext cx="163511" cy="117475"/>
            </a:xfrm>
            <a:custGeom>
              <a:avLst/>
              <a:gdLst/>
              <a:ahLst/>
              <a:cxnLst>
                <a:cxn ang="0">
                  <a:pos x="219" y="72"/>
                </a:cxn>
                <a:cxn ang="0">
                  <a:pos x="351" y="114"/>
                </a:cxn>
                <a:cxn ang="0">
                  <a:pos x="363" y="185"/>
                </a:cxn>
                <a:cxn ang="0">
                  <a:pos x="441" y="228"/>
                </a:cxn>
                <a:cxn ang="0">
                  <a:pos x="453" y="270"/>
                </a:cxn>
                <a:cxn ang="0">
                  <a:pos x="369" y="306"/>
                </a:cxn>
                <a:cxn ang="0">
                  <a:pos x="243" y="342"/>
                </a:cxn>
                <a:cxn ang="0">
                  <a:pos x="129" y="342"/>
                </a:cxn>
                <a:cxn ang="0">
                  <a:pos x="0" y="367"/>
                </a:cxn>
                <a:cxn ang="0">
                  <a:pos x="75" y="414"/>
                </a:cxn>
                <a:cxn ang="0">
                  <a:pos x="136" y="412"/>
                </a:cxn>
                <a:cxn ang="0">
                  <a:pos x="227" y="457"/>
                </a:cxn>
                <a:cxn ang="0">
                  <a:pos x="285" y="426"/>
                </a:cxn>
                <a:cxn ang="0">
                  <a:pos x="405" y="408"/>
                </a:cxn>
                <a:cxn ang="0">
                  <a:pos x="549" y="360"/>
                </a:cxn>
                <a:cxn ang="0">
                  <a:pos x="635" y="367"/>
                </a:cxn>
                <a:cxn ang="0">
                  <a:pos x="603" y="288"/>
                </a:cxn>
                <a:cxn ang="0">
                  <a:pos x="561" y="174"/>
                </a:cxn>
                <a:cxn ang="0">
                  <a:pos x="597" y="108"/>
                </a:cxn>
                <a:cxn ang="0">
                  <a:pos x="567" y="0"/>
                </a:cxn>
                <a:cxn ang="0">
                  <a:pos x="495" y="6"/>
                </a:cxn>
                <a:cxn ang="0">
                  <a:pos x="429" y="6"/>
                </a:cxn>
                <a:cxn ang="0">
                  <a:pos x="333" y="24"/>
                </a:cxn>
                <a:cxn ang="0">
                  <a:pos x="219" y="72"/>
                </a:cxn>
              </a:cxnLst>
              <a:rect l="0" t="0" r="r" b="b"/>
              <a:pathLst>
                <a:path w="635" h="457">
                  <a:moveTo>
                    <a:pt x="219" y="72"/>
                  </a:moveTo>
                  <a:lnTo>
                    <a:pt x="351" y="114"/>
                  </a:lnTo>
                  <a:lnTo>
                    <a:pt x="363" y="185"/>
                  </a:lnTo>
                  <a:lnTo>
                    <a:pt x="441" y="228"/>
                  </a:lnTo>
                  <a:lnTo>
                    <a:pt x="453" y="270"/>
                  </a:lnTo>
                  <a:lnTo>
                    <a:pt x="369" y="306"/>
                  </a:lnTo>
                  <a:lnTo>
                    <a:pt x="243" y="342"/>
                  </a:lnTo>
                  <a:lnTo>
                    <a:pt x="129" y="342"/>
                  </a:lnTo>
                  <a:lnTo>
                    <a:pt x="0" y="367"/>
                  </a:lnTo>
                  <a:lnTo>
                    <a:pt x="75" y="414"/>
                  </a:lnTo>
                  <a:lnTo>
                    <a:pt x="136" y="412"/>
                  </a:lnTo>
                  <a:lnTo>
                    <a:pt x="227" y="457"/>
                  </a:lnTo>
                  <a:lnTo>
                    <a:pt x="285" y="426"/>
                  </a:lnTo>
                  <a:lnTo>
                    <a:pt x="405" y="408"/>
                  </a:lnTo>
                  <a:lnTo>
                    <a:pt x="549" y="360"/>
                  </a:lnTo>
                  <a:lnTo>
                    <a:pt x="635" y="367"/>
                  </a:lnTo>
                  <a:lnTo>
                    <a:pt x="603" y="288"/>
                  </a:lnTo>
                  <a:lnTo>
                    <a:pt x="561" y="174"/>
                  </a:lnTo>
                  <a:lnTo>
                    <a:pt x="597" y="108"/>
                  </a:lnTo>
                  <a:lnTo>
                    <a:pt x="567" y="0"/>
                  </a:lnTo>
                  <a:lnTo>
                    <a:pt x="495" y="6"/>
                  </a:lnTo>
                  <a:lnTo>
                    <a:pt x="429" y="6"/>
                  </a:lnTo>
                  <a:lnTo>
                    <a:pt x="333" y="24"/>
                  </a:lnTo>
                  <a:lnTo>
                    <a:pt x="219" y="72"/>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8" name="Freeform 185">
              <a:extLst>
                <a:ext uri="{FF2B5EF4-FFF2-40B4-BE49-F238E27FC236}">
                  <a16:creationId xmlns:a16="http://schemas.microsoft.com/office/drawing/2014/main" id="{07AEA328-7029-C5A1-8347-80E062A57482}"/>
                </a:ext>
              </a:extLst>
            </p:cNvPr>
            <p:cNvSpPr>
              <a:spLocks/>
            </p:cNvSpPr>
            <p:nvPr/>
          </p:nvSpPr>
          <p:spPr bwMode="auto">
            <a:xfrm rot="634052">
              <a:off x="2941553" y="1970088"/>
              <a:ext cx="184148" cy="127000"/>
            </a:xfrm>
            <a:custGeom>
              <a:avLst/>
              <a:gdLst/>
              <a:ahLst/>
              <a:cxnLst>
                <a:cxn ang="0">
                  <a:pos x="710" y="127"/>
                </a:cxn>
                <a:cxn ang="0">
                  <a:pos x="631" y="82"/>
                </a:cxn>
                <a:cxn ang="0">
                  <a:pos x="574" y="82"/>
                </a:cxn>
                <a:cxn ang="0">
                  <a:pos x="530" y="101"/>
                </a:cxn>
                <a:cxn ang="0">
                  <a:pos x="477" y="110"/>
                </a:cxn>
                <a:cxn ang="0">
                  <a:pos x="458" y="67"/>
                </a:cxn>
                <a:cxn ang="0">
                  <a:pos x="415" y="53"/>
                </a:cxn>
                <a:cxn ang="0">
                  <a:pos x="367" y="0"/>
                </a:cxn>
                <a:cxn ang="0">
                  <a:pos x="319" y="38"/>
                </a:cxn>
                <a:cxn ang="0">
                  <a:pos x="256" y="36"/>
                </a:cxn>
                <a:cxn ang="0">
                  <a:pos x="137" y="10"/>
                </a:cxn>
                <a:cxn ang="0">
                  <a:pos x="98" y="38"/>
                </a:cxn>
                <a:cxn ang="0">
                  <a:pos x="30" y="36"/>
                </a:cxn>
                <a:cxn ang="0">
                  <a:pos x="7" y="80"/>
                </a:cxn>
                <a:cxn ang="0">
                  <a:pos x="36" y="186"/>
                </a:cxn>
                <a:cxn ang="0">
                  <a:pos x="0" y="254"/>
                </a:cxn>
                <a:cxn ang="0">
                  <a:pos x="42" y="362"/>
                </a:cxn>
                <a:cxn ang="0">
                  <a:pos x="75" y="445"/>
                </a:cxn>
                <a:cxn ang="0">
                  <a:pos x="120" y="490"/>
                </a:cxn>
                <a:cxn ang="0">
                  <a:pos x="161" y="451"/>
                </a:cxn>
                <a:cxn ang="0">
                  <a:pos x="166" y="354"/>
                </a:cxn>
                <a:cxn ang="0">
                  <a:pos x="209" y="341"/>
                </a:cxn>
                <a:cxn ang="0">
                  <a:pos x="256" y="309"/>
                </a:cxn>
                <a:cxn ang="0">
                  <a:pos x="319" y="336"/>
                </a:cxn>
                <a:cxn ang="0">
                  <a:pos x="391" y="298"/>
                </a:cxn>
                <a:cxn ang="0">
                  <a:pos x="425" y="250"/>
                </a:cxn>
                <a:cxn ang="0">
                  <a:pos x="483" y="218"/>
                </a:cxn>
                <a:cxn ang="0">
                  <a:pos x="549" y="211"/>
                </a:cxn>
                <a:cxn ang="0">
                  <a:pos x="665" y="218"/>
                </a:cxn>
                <a:cxn ang="0">
                  <a:pos x="703" y="182"/>
                </a:cxn>
                <a:cxn ang="0">
                  <a:pos x="710" y="127"/>
                </a:cxn>
              </a:cxnLst>
              <a:rect l="0" t="0" r="r" b="b"/>
              <a:pathLst>
                <a:path w="710" h="490">
                  <a:moveTo>
                    <a:pt x="710" y="127"/>
                  </a:moveTo>
                  <a:lnTo>
                    <a:pt x="631" y="82"/>
                  </a:lnTo>
                  <a:lnTo>
                    <a:pt x="574" y="82"/>
                  </a:lnTo>
                  <a:lnTo>
                    <a:pt x="530" y="101"/>
                  </a:lnTo>
                  <a:lnTo>
                    <a:pt x="477" y="110"/>
                  </a:lnTo>
                  <a:lnTo>
                    <a:pt x="458" y="67"/>
                  </a:lnTo>
                  <a:lnTo>
                    <a:pt x="415" y="53"/>
                  </a:lnTo>
                  <a:lnTo>
                    <a:pt x="367" y="0"/>
                  </a:lnTo>
                  <a:lnTo>
                    <a:pt x="319" y="38"/>
                  </a:lnTo>
                  <a:lnTo>
                    <a:pt x="256" y="36"/>
                  </a:lnTo>
                  <a:lnTo>
                    <a:pt x="137" y="10"/>
                  </a:lnTo>
                  <a:lnTo>
                    <a:pt x="98" y="38"/>
                  </a:lnTo>
                  <a:lnTo>
                    <a:pt x="30" y="36"/>
                  </a:lnTo>
                  <a:lnTo>
                    <a:pt x="7" y="80"/>
                  </a:lnTo>
                  <a:lnTo>
                    <a:pt x="36" y="186"/>
                  </a:lnTo>
                  <a:lnTo>
                    <a:pt x="0" y="254"/>
                  </a:lnTo>
                  <a:lnTo>
                    <a:pt x="42" y="362"/>
                  </a:lnTo>
                  <a:lnTo>
                    <a:pt x="75" y="445"/>
                  </a:lnTo>
                  <a:lnTo>
                    <a:pt x="120" y="490"/>
                  </a:lnTo>
                  <a:lnTo>
                    <a:pt x="161" y="451"/>
                  </a:lnTo>
                  <a:lnTo>
                    <a:pt x="166" y="354"/>
                  </a:lnTo>
                  <a:lnTo>
                    <a:pt x="209" y="341"/>
                  </a:lnTo>
                  <a:lnTo>
                    <a:pt x="256" y="309"/>
                  </a:lnTo>
                  <a:lnTo>
                    <a:pt x="319" y="336"/>
                  </a:lnTo>
                  <a:lnTo>
                    <a:pt x="391" y="298"/>
                  </a:lnTo>
                  <a:lnTo>
                    <a:pt x="425" y="250"/>
                  </a:lnTo>
                  <a:lnTo>
                    <a:pt x="483" y="218"/>
                  </a:lnTo>
                  <a:lnTo>
                    <a:pt x="549" y="211"/>
                  </a:lnTo>
                  <a:lnTo>
                    <a:pt x="665" y="218"/>
                  </a:lnTo>
                  <a:lnTo>
                    <a:pt x="703" y="182"/>
                  </a:lnTo>
                  <a:lnTo>
                    <a:pt x="710" y="127"/>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9" name="Freeform 186">
              <a:extLst>
                <a:ext uri="{FF2B5EF4-FFF2-40B4-BE49-F238E27FC236}">
                  <a16:creationId xmlns:a16="http://schemas.microsoft.com/office/drawing/2014/main" id="{41C6E42F-95EC-1636-6F63-7F054D3E1B0A}"/>
                </a:ext>
              </a:extLst>
            </p:cNvPr>
            <p:cNvSpPr>
              <a:spLocks/>
            </p:cNvSpPr>
            <p:nvPr/>
          </p:nvSpPr>
          <p:spPr bwMode="auto">
            <a:xfrm rot="634052">
              <a:off x="2590718" y="2041526"/>
              <a:ext cx="106362" cy="42862"/>
            </a:xfrm>
            <a:custGeom>
              <a:avLst/>
              <a:gdLst/>
              <a:ahLst/>
              <a:cxnLst>
                <a:cxn ang="0">
                  <a:pos x="408" y="26"/>
                </a:cxn>
                <a:cxn ang="0">
                  <a:pos x="349" y="24"/>
                </a:cxn>
                <a:cxn ang="0">
                  <a:pos x="293" y="8"/>
                </a:cxn>
                <a:cxn ang="0">
                  <a:pos x="182" y="26"/>
                </a:cxn>
                <a:cxn ang="0">
                  <a:pos x="125" y="0"/>
                </a:cxn>
                <a:cxn ang="0">
                  <a:pos x="61" y="32"/>
                </a:cxn>
                <a:cxn ang="0">
                  <a:pos x="0" y="72"/>
                </a:cxn>
                <a:cxn ang="0">
                  <a:pos x="93" y="128"/>
                </a:cxn>
                <a:cxn ang="0">
                  <a:pos x="205" y="168"/>
                </a:cxn>
                <a:cxn ang="0">
                  <a:pos x="301" y="120"/>
                </a:cxn>
                <a:cxn ang="0">
                  <a:pos x="413" y="112"/>
                </a:cxn>
                <a:cxn ang="0">
                  <a:pos x="408" y="26"/>
                </a:cxn>
              </a:cxnLst>
              <a:rect l="0" t="0" r="r" b="b"/>
              <a:pathLst>
                <a:path w="413" h="168">
                  <a:moveTo>
                    <a:pt x="408" y="26"/>
                  </a:moveTo>
                  <a:lnTo>
                    <a:pt x="349" y="24"/>
                  </a:lnTo>
                  <a:lnTo>
                    <a:pt x="293" y="8"/>
                  </a:lnTo>
                  <a:lnTo>
                    <a:pt x="182" y="26"/>
                  </a:lnTo>
                  <a:lnTo>
                    <a:pt x="125" y="0"/>
                  </a:lnTo>
                  <a:lnTo>
                    <a:pt x="61" y="32"/>
                  </a:lnTo>
                  <a:lnTo>
                    <a:pt x="0" y="72"/>
                  </a:lnTo>
                  <a:lnTo>
                    <a:pt x="93" y="128"/>
                  </a:lnTo>
                  <a:lnTo>
                    <a:pt x="205" y="168"/>
                  </a:lnTo>
                  <a:lnTo>
                    <a:pt x="301" y="120"/>
                  </a:lnTo>
                  <a:lnTo>
                    <a:pt x="413" y="112"/>
                  </a:lnTo>
                  <a:lnTo>
                    <a:pt x="408" y="26"/>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0" name="Freeform 187">
              <a:extLst>
                <a:ext uri="{FF2B5EF4-FFF2-40B4-BE49-F238E27FC236}">
                  <a16:creationId xmlns:a16="http://schemas.microsoft.com/office/drawing/2014/main" id="{8D7D8278-2BE1-37F8-1C44-A2D3F2CB5E5C}"/>
                </a:ext>
              </a:extLst>
            </p:cNvPr>
            <p:cNvSpPr>
              <a:spLocks/>
            </p:cNvSpPr>
            <p:nvPr/>
          </p:nvSpPr>
          <p:spPr bwMode="auto">
            <a:xfrm rot="634052">
              <a:off x="3203487" y="2033588"/>
              <a:ext cx="82549" cy="49213"/>
            </a:xfrm>
            <a:custGeom>
              <a:avLst/>
              <a:gdLst/>
              <a:ahLst/>
              <a:cxnLst>
                <a:cxn ang="0">
                  <a:pos x="318" y="65"/>
                </a:cxn>
                <a:cxn ang="0">
                  <a:pos x="293" y="0"/>
                </a:cxn>
                <a:cxn ang="0">
                  <a:pos x="182" y="18"/>
                </a:cxn>
                <a:cxn ang="0">
                  <a:pos x="142" y="9"/>
                </a:cxn>
                <a:cxn ang="0">
                  <a:pos x="62" y="49"/>
                </a:cxn>
                <a:cxn ang="0">
                  <a:pos x="0" y="64"/>
                </a:cxn>
                <a:cxn ang="0">
                  <a:pos x="22" y="145"/>
                </a:cxn>
                <a:cxn ang="0">
                  <a:pos x="62" y="193"/>
                </a:cxn>
                <a:cxn ang="0">
                  <a:pos x="158" y="169"/>
                </a:cxn>
                <a:cxn ang="0">
                  <a:pos x="262" y="113"/>
                </a:cxn>
                <a:cxn ang="0">
                  <a:pos x="318" y="65"/>
                </a:cxn>
              </a:cxnLst>
              <a:rect l="0" t="0" r="r" b="b"/>
              <a:pathLst>
                <a:path w="318" h="193">
                  <a:moveTo>
                    <a:pt x="318" y="65"/>
                  </a:moveTo>
                  <a:lnTo>
                    <a:pt x="293" y="0"/>
                  </a:lnTo>
                  <a:lnTo>
                    <a:pt x="182" y="18"/>
                  </a:lnTo>
                  <a:lnTo>
                    <a:pt x="142" y="9"/>
                  </a:lnTo>
                  <a:lnTo>
                    <a:pt x="62" y="49"/>
                  </a:lnTo>
                  <a:lnTo>
                    <a:pt x="0" y="64"/>
                  </a:lnTo>
                  <a:lnTo>
                    <a:pt x="22" y="145"/>
                  </a:lnTo>
                  <a:lnTo>
                    <a:pt x="62" y="193"/>
                  </a:lnTo>
                  <a:lnTo>
                    <a:pt x="158" y="169"/>
                  </a:lnTo>
                  <a:lnTo>
                    <a:pt x="262" y="113"/>
                  </a:lnTo>
                  <a:lnTo>
                    <a:pt x="318" y="65"/>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1" name="Freeform 188">
              <a:extLst>
                <a:ext uri="{FF2B5EF4-FFF2-40B4-BE49-F238E27FC236}">
                  <a16:creationId xmlns:a16="http://schemas.microsoft.com/office/drawing/2014/main" id="{7D639141-DA68-F31B-9089-53C49F857054}"/>
                </a:ext>
              </a:extLst>
            </p:cNvPr>
            <p:cNvSpPr>
              <a:spLocks/>
            </p:cNvSpPr>
            <p:nvPr/>
          </p:nvSpPr>
          <p:spPr bwMode="auto">
            <a:xfrm rot="634052">
              <a:off x="3506697" y="2373313"/>
              <a:ext cx="34925" cy="41275"/>
            </a:xfrm>
            <a:custGeom>
              <a:avLst/>
              <a:gdLst/>
              <a:ahLst/>
              <a:cxnLst>
                <a:cxn ang="0">
                  <a:pos x="0" y="21"/>
                </a:cxn>
                <a:cxn ang="0">
                  <a:pos x="69" y="0"/>
                </a:cxn>
                <a:cxn ang="0">
                  <a:pos x="136" y="21"/>
                </a:cxn>
                <a:cxn ang="0">
                  <a:pos x="136" y="67"/>
                </a:cxn>
                <a:cxn ang="0">
                  <a:pos x="85" y="152"/>
                </a:cxn>
                <a:cxn ang="0">
                  <a:pos x="0" y="157"/>
                </a:cxn>
                <a:cxn ang="0">
                  <a:pos x="21" y="96"/>
                </a:cxn>
                <a:cxn ang="0">
                  <a:pos x="0" y="21"/>
                </a:cxn>
              </a:cxnLst>
              <a:rect l="0" t="0" r="r" b="b"/>
              <a:pathLst>
                <a:path w="136" h="157">
                  <a:moveTo>
                    <a:pt x="0" y="21"/>
                  </a:moveTo>
                  <a:lnTo>
                    <a:pt x="69" y="0"/>
                  </a:lnTo>
                  <a:lnTo>
                    <a:pt x="136" y="21"/>
                  </a:lnTo>
                  <a:lnTo>
                    <a:pt x="136" y="67"/>
                  </a:lnTo>
                  <a:lnTo>
                    <a:pt x="85" y="152"/>
                  </a:lnTo>
                  <a:lnTo>
                    <a:pt x="0" y="157"/>
                  </a:lnTo>
                  <a:lnTo>
                    <a:pt x="21" y="96"/>
                  </a:lnTo>
                  <a:lnTo>
                    <a:pt x="0" y="21"/>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2" name="Freeform 189">
              <a:extLst>
                <a:ext uri="{FF2B5EF4-FFF2-40B4-BE49-F238E27FC236}">
                  <a16:creationId xmlns:a16="http://schemas.microsoft.com/office/drawing/2014/main" id="{64CCFED4-17BC-85EC-8EB3-26F92B81DFC5}"/>
                </a:ext>
              </a:extLst>
            </p:cNvPr>
            <p:cNvSpPr>
              <a:spLocks/>
            </p:cNvSpPr>
            <p:nvPr/>
          </p:nvSpPr>
          <p:spPr bwMode="auto">
            <a:xfrm rot="634052">
              <a:off x="2597068" y="1666876"/>
              <a:ext cx="30163" cy="41275"/>
            </a:xfrm>
            <a:custGeom>
              <a:avLst/>
              <a:gdLst/>
              <a:ahLst/>
              <a:cxnLst>
                <a:cxn ang="0">
                  <a:pos x="14" y="248"/>
                </a:cxn>
                <a:cxn ang="0">
                  <a:pos x="14" y="144"/>
                </a:cxn>
                <a:cxn ang="0">
                  <a:pos x="86" y="0"/>
                </a:cxn>
                <a:cxn ang="0">
                  <a:pos x="198" y="72"/>
                </a:cxn>
                <a:cxn ang="0">
                  <a:pos x="280" y="173"/>
                </a:cxn>
                <a:cxn ang="0">
                  <a:pos x="248" y="277"/>
                </a:cxn>
                <a:cxn ang="0">
                  <a:pos x="222" y="344"/>
                </a:cxn>
                <a:cxn ang="0">
                  <a:pos x="142" y="368"/>
                </a:cxn>
                <a:cxn ang="0">
                  <a:pos x="0" y="333"/>
                </a:cxn>
                <a:cxn ang="0">
                  <a:pos x="14" y="248"/>
                </a:cxn>
              </a:cxnLst>
              <a:rect l="0" t="0" r="r" b="b"/>
              <a:pathLst>
                <a:path w="280" h="368">
                  <a:moveTo>
                    <a:pt x="14" y="248"/>
                  </a:moveTo>
                  <a:lnTo>
                    <a:pt x="14" y="144"/>
                  </a:lnTo>
                  <a:lnTo>
                    <a:pt x="86" y="0"/>
                  </a:lnTo>
                  <a:lnTo>
                    <a:pt x="198" y="72"/>
                  </a:lnTo>
                  <a:lnTo>
                    <a:pt x="280" y="173"/>
                  </a:lnTo>
                  <a:lnTo>
                    <a:pt x="248" y="277"/>
                  </a:lnTo>
                  <a:lnTo>
                    <a:pt x="222" y="344"/>
                  </a:lnTo>
                  <a:lnTo>
                    <a:pt x="142" y="368"/>
                  </a:lnTo>
                  <a:lnTo>
                    <a:pt x="0" y="333"/>
                  </a:lnTo>
                  <a:lnTo>
                    <a:pt x="14" y="24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3" name="Freeform 190">
              <a:extLst>
                <a:ext uri="{FF2B5EF4-FFF2-40B4-BE49-F238E27FC236}">
                  <a16:creationId xmlns:a16="http://schemas.microsoft.com/office/drawing/2014/main" id="{F23D1143-7272-A74E-EA5A-C3016C331135}"/>
                </a:ext>
              </a:extLst>
            </p:cNvPr>
            <p:cNvSpPr>
              <a:spLocks/>
            </p:cNvSpPr>
            <p:nvPr/>
          </p:nvSpPr>
          <p:spPr bwMode="auto">
            <a:xfrm rot="634052">
              <a:off x="2619293" y="1704976"/>
              <a:ext cx="20638" cy="34925"/>
            </a:xfrm>
            <a:custGeom>
              <a:avLst/>
              <a:gdLst/>
              <a:ahLst/>
              <a:cxnLst>
                <a:cxn ang="0">
                  <a:pos x="0" y="192"/>
                </a:cxn>
                <a:cxn ang="0">
                  <a:pos x="33" y="96"/>
                </a:cxn>
                <a:cxn ang="0">
                  <a:pos x="63" y="0"/>
                </a:cxn>
                <a:cxn ang="0">
                  <a:pos x="147" y="54"/>
                </a:cxn>
                <a:cxn ang="0">
                  <a:pos x="183" y="150"/>
                </a:cxn>
                <a:cxn ang="0">
                  <a:pos x="177" y="234"/>
                </a:cxn>
                <a:cxn ang="0">
                  <a:pos x="128" y="312"/>
                </a:cxn>
                <a:cxn ang="0">
                  <a:pos x="33" y="270"/>
                </a:cxn>
                <a:cxn ang="0">
                  <a:pos x="0" y="192"/>
                </a:cxn>
              </a:cxnLst>
              <a:rect l="0" t="0" r="r" b="b"/>
              <a:pathLst>
                <a:path w="183" h="312">
                  <a:moveTo>
                    <a:pt x="0" y="192"/>
                  </a:moveTo>
                  <a:lnTo>
                    <a:pt x="33" y="96"/>
                  </a:lnTo>
                  <a:lnTo>
                    <a:pt x="63" y="0"/>
                  </a:lnTo>
                  <a:lnTo>
                    <a:pt x="147" y="54"/>
                  </a:lnTo>
                  <a:lnTo>
                    <a:pt x="183" y="150"/>
                  </a:lnTo>
                  <a:lnTo>
                    <a:pt x="177" y="234"/>
                  </a:lnTo>
                  <a:lnTo>
                    <a:pt x="128" y="312"/>
                  </a:lnTo>
                  <a:lnTo>
                    <a:pt x="33" y="270"/>
                  </a:lnTo>
                  <a:lnTo>
                    <a:pt x="0" y="192"/>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4" name="Freeform 191">
              <a:extLst>
                <a:ext uri="{FF2B5EF4-FFF2-40B4-BE49-F238E27FC236}">
                  <a16:creationId xmlns:a16="http://schemas.microsoft.com/office/drawing/2014/main" id="{D42BEE2B-D4D3-BA0E-B99A-E104285AB7A0}"/>
                </a:ext>
              </a:extLst>
            </p:cNvPr>
            <p:cNvSpPr>
              <a:spLocks/>
            </p:cNvSpPr>
            <p:nvPr/>
          </p:nvSpPr>
          <p:spPr bwMode="auto">
            <a:xfrm rot="634052">
              <a:off x="2671680" y="1635126"/>
              <a:ext cx="42862" cy="46037"/>
            </a:xfrm>
            <a:custGeom>
              <a:avLst/>
              <a:gdLst/>
              <a:ahLst/>
              <a:cxnLst>
                <a:cxn ang="0">
                  <a:pos x="16" y="88"/>
                </a:cxn>
                <a:cxn ang="0">
                  <a:pos x="0" y="16"/>
                </a:cxn>
                <a:cxn ang="0">
                  <a:pos x="104" y="8"/>
                </a:cxn>
                <a:cxn ang="0">
                  <a:pos x="200" y="0"/>
                </a:cxn>
                <a:cxn ang="0">
                  <a:pos x="304" y="112"/>
                </a:cxn>
                <a:cxn ang="0">
                  <a:pos x="376" y="224"/>
                </a:cxn>
                <a:cxn ang="0">
                  <a:pos x="368" y="312"/>
                </a:cxn>
                <a:cxn ang="0">
                  <a:pos x="368" y="416"/>
                </a:cxn>
                <a:cxn ang="0">
                  <a:pos x="320" y="368"/>
                </a:cxn>
                <a:cxn ang="0">
                  <a:pos x="256" y="360"/>
                </a:cxn>
                <a:cxn ang="0">
                  <a:pos x="288" y="256"/>
                </a:cxn>
                <a:cxn ang="0">
                  <a:pos x="248" y="168"/>
                </a:cxn>
                <a:cxn ang="0">
                  <a:pos x="168" y="112"/>
                </a:cxn>
                <a:cxn ang="0">
                  <a:pos x="96" y="104"/>
                </a:cxn>
                <a:cxn ang="0">
                  <a:pos x="16" y="88"/>
                </a:cxn>
              </a:cxnLst>
              <a:rect l="0" t="0" r="r" b="b"/>
              <a:pathLst>
                <a:path w="376" h="416">
                  <a:moveTo>
                    <a:pt x="16" y="88"/>
                  </a:moveTo>
                  <a:lnTo>
                    <a:pt x="0" y="16"/>
                  </a:lnTo>
                  <a:lnTo>
                    <a:pt x="104" y="8"/>
                  </a:lnTo>
                  <a:lnTo>
                    <a:pt x="200" y="0"/>
                  </a:lnTo>
                  <a:lnTo>
                    <a:pt x="304" y="112"/>
                  </a:lnTo>
                  <a:lnTo>
                    <a:pt x="376" y="224"/>
                  </a:lnTo>
                  <a:lnTo>
                    <a:pt x="368" y="312"/>
                  </a:lnTo>
                  <a:lnTo>
                    <a:pt x="368" y="416"/>
                  </a:lnTo>
                  <a:lnTo>
                    <a:pt x="320" y="368"/>
                  </a:lnTo>
                  <a:lnTo>
                    <a:pt x="256" y="360"/>
                  </a:lnTo>
                  <a:lnTo>
                    <a:pt x="288" y="256"/>
                  </a:lnTo>
                  <a:lnTo>
                    <a:pt x="248" y="168"/>
                  </a:lnTo>
                  <a:lnTo>
                    <a:pt x="168" y="112"/>
                  </a:lnTo>
                  <a:lnTo>
                    <a:pt x="96" y="104"/>
                  </a:lnTo>
                  <a:lnTo>
                    <a:pt x="16" y="8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5" name="Freeform 192">
              <a:extLst>
                <a:ext uri="{FF2B5EF4-FFF2-40B4-BE49-F238E27FC236}">
                  <a16:creationId xmlns:a16="http://schemas.microsoft.com/office/drawing/2014/main" id="{118CA361-226B-756D-FCB5-0B80877FBC5C}"/>
                </a:ext>
              </a:extLst>
            </p:cNvPr>
            <p:cNvSpPr>
              <a:spLocks/>
            </p:cNvSpPr>
            <p:nvPr/>
          </p:nvSpPr>
          <p:spPr bwMode="auto">
            <a:xfrm rot="634052">
              <a:off x="2620881" y="1558926"/>
              <a:ext cx="44450" cy="53975"/>
            </a:xfrm>
            <a:custGeom>
              <a:avLst/>
              <a:gdLst/>
              <a:ahLst/>
              <a:cxnLst>
                <a:cxn ang="0">
                  <a:pos x="16" y="80"/>
                </a:cxn>
                <a:cxn ang="0">
                  <a:pos x="0" y="8"/>
                </a:cxn>
                <a:cxn ang="0">
                  <a:pos x="104" y="0"/>
                </a:cxn>
                <a:cxn ang="0">
                  <a:pos x="240" y="54"/>
                </a:cxn>
                <a:cxn ang="0">
                  <a:pos x="304" y="104"/>
                </a:cxn>
                <a:cxn ang="0">
                  <a:pos x="384" y="166"/>
                </a:cxn>
                <a:cxn ang="0">
                  <a:pos x="368" y="304"/>
                </a:cxn>
                <a:cxn ang="0">
                  <a:pos x="368" y="408"/>
                </a:cxn>
                <a:cxn ang="0">
                  <a:pos x="336" y="486"/>
                </a:cxn>
                <a:cxn ang="0">
                  <a:pos x="280" y="438"/>
                </a:cxn>
                <a:cxn ang="0">
                  <a:pos x="256" y="352"/>
                </a:cxn>
                <a:cxn ang="0">
                  <a:pos x="288" y="248"/>
                </a:cxn>
                <a:cxn ang="0">
                  <a:pos x="248" y="160"/>
                </a:cxn>
                <a:cxn ang="0">
                  <a:pos x="168" y="104"/>
                </a:cxn>
                <a:cxn ang="0">
                  <a:pos x="96" y="96"/>
                </a:cxn>
                <a:cxn ang="0">
                  <a:pos x="16" y="80"/>
                </a:cxn>
              </a:cxnLst>
              <a:rect l="0" t="0" r="r" b="b"/>
              <a:pathLst>
                <a:path w="384" h="486">
                  <a:moveTo>
                    <a:pt x="16" y="80"/>
                  </a:moveTo>
                  <a:lnTo>
                    <a:pt x="0" y="8"/>
                  </a:lnTo>
                  <a:lnTo>
                    <a:pt x="104" y="0"/>
                  </a:lnTo>
                  <a:lnTo>
                    <a:pt x="240" y="54"/>
                  </a:lnTo>
                  <a:lnTo>
                    <a:pt x="304" y="104"/>
                  </a:lnTo>
                  <a:lnTo>
                    <a:pt x="384" y="166"/>
                  </a:lnTo>
                  <a:lnTo>
                    <a:pt x="368" y="304"/>
                  </a:lnTo>
                  <a:lnTo>
                    <a:pt x="368" y="408"/>
                  </a:lnTo>
                  <a:lnTo>
                    <a:pt x="336" y="486"/>
                  </a:lnTo>
                  <a:lnTo>
                    <a:pt x="280" y="438"/>
                  </a:lnTo>
                  <a:lnTo>
                    <a:pt x="256" y="352"/>
                  </a:lnTo>
                  <a:lnTo>
                    <a:pt x="288" y="248"/>
                  </a:lnTo>
                  <a:lnTo>
                    <a:pt x="248" y="160"/>
                  </a:lnTo>
                  <a:lnTo>
                    <a:pt x="168" y="104"/>
                  </a:lnTo>
                  <a:lnTo>
                    <a:pt x="96" y="96"/>
                  </a:lnTo>
                  <a:lnTo>
                    <a:pt x="16" y="8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6" name="Freeform 193">
              <a:extLst>
                <a:ext uri="{FF2B5EF4-FFF2-40B4-BE49-F238E27FC236}">
                  <a16:creationId xmlns:a16="http://schemas.microsoft.com/office/drawing/2014/main" id="{2DC265B5-4759-D6C0-B9D0-32569A3C68D6}"/>
                </a:ext>
              </a:extLst>
            </p:cNvPr>
            <p:cNvSpPr>
              <a:spLocks/>
            </p:cNvSpPr>
            <p:nvPr/>
          </p:nvSpPr>
          <p:spPr bwMode="auto">
            <a:xfrm rot="634052">
              <a:off x="2747880" y="1725613"/>
              <a:ext cx="36512" cy="44450"/>
            </a:xfrm>
            <a:custGeom>
              <a:avLst/>
              <a:gdLst/>
              <a:ahLst/>
              <a:cxnLst>
                <a:cxn ang="0">
                  <a:pos x="0" y="8"/>
                </a:cxn>
                <a:cxn ang="0">
                  <a:pos x="96" y="0"/>
                </a:cxn>
                <a:cxn ang="0">
                  <a:pos x="165" y="123"/>
                </a:cxn>
                <a:cxn ang="0">
                  <a:pos x="245" y="275"/>
                </a:cxn>
                <a:cxn ang="0">
                  <a:pos x="325" y="315"/>
                </a:cxn>
                <a:cxn ang="0">
                  <a:pos x="301" y="403"/>
                </a:cxn>
                <a:cxn ang="0">
                  <a:pos x="216" y="368"/>
                </a:cxn>
                <a:cxn ang="0">
                  <a:pos x="184" y="256"/>
                </a:cxn>
                <a:cxn ang="0">
                  <a:pos x="93" y="219"/>
                </a:cxn>
                <a:cxn ang="0">
                  <a:pos x="64" y="112"/>
                </a:cxn>
                <a:cxn ang="0">
                  <a:pos x="5" y="91"/>
                </a:cxn>
                <a:cxn ang="0">
                  <a:pos x="0" y="8"/>
                </a:cxn>
              </a:cxnLst>
              <a:rect l="0" t="0" r="r" b="b"/>
              <a:pathLst>
                <a:path w="325" h="403">
                  <a:moveTo>
                    <a:pt x="0" y="8"/>
                  </a:moveTo>
                  <a:lnTo>
                    <a:pt x="96" y="0"/>
                  </a:lnTo>
                  <a:lnTo>
                    <a:pt x="165" y="123"/>
                  </a:lnTo>
                  <a:lnTo>
                    <a:pt x="245" y="275"/>
                  </a:lnTo>
                  <a:lnTo>
                    <a:pt x="325" y="315"/>
                  </a:lnTo>
                  <a:lnTo>
                    <a:pt x="301" y="403"/>
                  </a:lnTo>
                  <a:lnTo>
                    <a:pt x="216" y="368"/>
                  </a:lnTo>
                  <a:lnTo>
                    <a:pt x="184" y="256"/>
                  </a:lnTo>
                  <a:lnTo>
                    <a:pt x="93" y="219"/>
                  </a:lnTo>
                  <a:lnTo>
                    <a:pt x="64" y="112"/>
                  </a:lnTo>
                  <a:lnTo>
                    <a:pt x="5" y="91"/>
                  </a:lnTo>
                  <a:lnTo>
                    <a:pt x="0" y="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7" name="Freeform 194">
              <a:extLst>
                <a:ext uri="{FF2B5EF4-FFF2-40B4-BE49-F238E27FC236}">
                  <a16:creationId xmlns:a16="http://schemas.microsoft.com/office/drawing/2014/main" id="{A7413F22-5418-7A7D-863D-9E51C33AF326}"/>
                </a:ext>
              </a:extLst>
            </p:cNvPr>
            <p:cNvSpPr>
              <a:spLocks/>
            </p:cNvSpPr>
            <p:nvPr/>
          </p:nvSpPr>
          <p:spPr bwMode="auto">
            <a:xfrm rot="634052">
              <a:off x="2568494" y="1565276"/>
              <a:ext cx="52387" cy="31750"/>
            </a:xfrm>
            <a:custGeom>
              <a:avLst/>
              <a:gdLst/>
              <a:ahLst/>
              <a:cxnLst>
                <a:cxn ang="0">
                  <a:pos x="464" y="0"/>
                </a:cxn>
                <a:cxn ang="0">
                  <a:pos x="432" y="72"/>
                </a:cxn>
                <a:cxn ang="0">
                  <a:pos x="376" y="120"/>
                </a:cxn>
                <a:cxn ang="0">
                  <a:pos x="296" y="176"/>
                </a:cxn>
                <a:cxn ang="0">
                  <a:pos x="208" y="232"/>
                </a:cxn>
                <a:cxn ang="0">
                  <a:pos x="120" y="272"/>
                </a:cxn>
                <a:cxn ang="0">
                  <a:pos x="0" y="256"/>
                </a:cxn>
                <a:cxn ang="0">
                  <a:pos x="0" y="208"/>
                </a:cxn>
                <a:cxn ang="0">
                  <a:pos x="72" y="208"/>
                </a:cxn>
                <a:cxn ang="0">
                  <a:pos x="168" y="153"/>
                </a:cxn>
                <a:cxn ang="0">
                  <a:pos x="263" y="134"/>
                </a:cxn>
                <a:cxn ang="0">
                  <a:pos x="272" y="88"/>
                </a:cxn>
                <a:cxn ang="0">
                  <a:pos x="336" y="69"/>
                </a:cxn>
                <a:cxn ang="0">
                  <a:pos x="361" y="1"/>
                </a:cxn>
                <a:cxn ang="0">
                  <a:pos x="464" y="0"/>
                </a:cxn>
              </a:cxnLst>
              <a:rect l="0" t="0" r="r" b="b"/>
              <a:pathLst>
                <a:path w="464" h="272">
                  <a:moveTo>
                    <a:pt x="464" y="0"/>
                  </a:moveTo>
                  <a:lnTo>
                    <a:pt x="432" y="72"/>
                  </a:lnTo>
                  <a:lnTo>
                    <a:pt x="376" y="120"/>
                  </a:lnTo>
                  <a:lnTo>
                    <a:pt x="296" y="176"/>
                  </a:lnTo>
                  <a:lnTo>
                    <a:pt x="208" y="232"/>
                  </a:lnTo>
                  <a:lnTo>
                    <a:pt x="120" y="272"/>
                  </a:lnTo>
                  <a:lnTo>
                    <a:pt x="0" y="256"/>
                  </a:lnTo>
                  <a:lnTo>
                    <a:pt x="0" y="208"/>
                  </a:lnTo>
                  <a:lnTo>
                    <a:pt x="72" y="208"/>
                  </a:lnTo>
                  <a:lnTo>
                    <a:pt x="168" y="153"/>
                  </a:lnTo>
                  <a:lnTo>
                    <a:pt x="263" y="134"/>
                  </a:lnTo>
                  <a:lnTo>
                    <a:pt x="272" y="88"/>
                  </a:lnTo>
                  <a:lnTo>
                    <a:pt x="336" y="69"/>
                  </a:lnTo>
                  <a:lnTo>
                    <a:pt x="361" y="1"/>
                  </a:lnTo>
                  <a:lnTo>
                    <a:pt x="464" y="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8" name="Freeform 195">
              <a:extLst>
                <a:ext uri="{FF2B5EF4-FFF2-40B4-BE49-F238E27FC236}">
                  <a16:creationId xmlns:a16="http://schemas.microsoft.com/office/drawing/2014/main" id="{501E9672-25BD-5316-1859-CFD0F64C0686}"/>
                </a:ext>
              </a:extLst>
            </p:cNvPr>
            <p:cNvSpPr>
              <a:spLocks/>
            </p:cNvSpPr>
            <p:nvPr/>
          </p:nvSpPr>
          <p:spPr bwMode="auto">
            <a:xfrm rot="634052">
              <a:off x="2812966" y="1773238"/>
              <a:ext cx="19050" cy="41275"/>
            </a:xfrm>
            <a:custGeom>
              <a:avLst/>
              <a:gdLst/>
              <a:ahLst/>
              <a:cxnLst>
                <a:cxn ang="0">
                  <a:pos x="110" y="0"/>
                </a:cxn>
                <a:cxn ang="0">
                  <a:pos x="166" y="59"/>
                </a:cxn>
                <a:cxn ang="0">
                  <a:pos x="146" y="112"/>
                </a:cxn>
                <a:cxn ang="0">
                  <a:pos x="135" y="157"/>
                </a:cxn>
                <a:cxn ang="0">
                  <a:pos x="90" y="264"/>
                </a:cxn>
                <a:cxn ang="0">
                  <a:pos x="66" y="352"/>
                </a:cxn>
                <a:cxn ang="0">
                  <a:pos x="5" y="372"/>
                </a:cxn>
                <a:cxn ang="0">
                  <a:pos x="0" y="267"/>
                </a:cxn>
                <a:cxn ang="0">
                  <a:pos x="42" y="204"/>
                </a:cxn>
                <a:cxn ang="0">
                  <a:pos x="66" y="116"/>
                </a:cxn>
                <a:cxn ang="0">
                  <a:pos x="62" y="29"/>
                </a:cxn>
                <a:cxn ang="0">
                  <a:pos x="110" y="0"/>
                </a:cxn>
              </a:cxnLst>
              <a:rect l="0" t="0" r="r" b="b"/>
              <a:pathLst>
                <a:path w="166" h="372">
                  <a:moveTo>
                    <a:pt x="110" y="0"/>
                  </a:moveTo>
                  <a:lnTo>
                    <a:pt x="166" y="59"/>
                  </a:lnTo>
                  <a:lnTo>
                    <a:pt x="146" y="112"/>
                  </a:lnTo>
                  <a:lnTo>
                    <a:pt x="135" y="157"/>
                  </a:lnTo>
                  <a:lnTo>
                    <a:pt x="90" y="264"/>
                  </a:lnTo>
                  <a:lnTo>
                    <a:pt x="66" y="352"/>
                  </a:lnTo>
                  <a:lnTo>
                    <a:pt x="5" y="372"/>
                  </a:lnTo>
                  <a:lnTo>
                    <a:pt x="0" y="267"/>
                  </a:lnTo>
                  <a:lnTo>
                    <a:pt x="42" y="204"/>
                  </a:lnTo>
                  <a:lnTo>
                    <a:pt x="66" y="116"/>
                  </a:lnTo>
                  <a:lnTo>
                    <a:pt x="62" y="29"/>
                  </a:lnTo>
                  <a:lnTo>
                    <a:pt x="110" y="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9" name="Freeform 196">
              <a:extLst>
                <a:ext uri="{FF2B5EF4-FFF2-40B4-BE49-F238E27FC236}">
                  <a16:creationId xmlns:a16="http://schemas.microsoft.com/office/drawing/2014/main" id="{C819718A-2407-642D-FDCE-4001806BC985}"/>
                </a:ext>
              </a:extLst>
            </p:cNvPr>
            <p:cNvSpPr>
              <a:spLocks/>
            </p:cNvSpPr>
            <p:nvPr/>
          </p:nvSpPr>
          <p:spPr bwMode="auto">
            <a:xfrm rot="634052">
              <a:off x="2706605" y="1722438"/>
              <a:ext cx="26987" cy="25400"/>
            </a:xfrm>
            <a:custGeom>
              <a:avLst/>
              <a:gdLst/>
              <a:ahLst/>
              <a:cxnLst>
                <a:cxn ang="0">
                  <a:pos x="123" y="168"/>
                </a:cxn>
                <a:cxn ang="0">
                  <a:pos x="31" y="100"/>
                </a:cxn>
                <a:cxn ang="0">
                  <a:pos x="0" y="4"/>
                </a:cxn>
                <a:cxn ang="0">
                  <a:pos x="100" y="0"/>
                </a:cxn>
                <a:cxn ang="0">
                  <a:pos x="185" y="58"/>
                </a:cxn>
                <a:cxn ang="0">
                  <a:pos x="228" y="131"/>
                </a:cxn>
                <a:cxn ang="0">
                  <a:pos x="233" y="223"/>
                </a:cxn>
                <a:cxn ang="0">
                  <a:pos x="123" y="168"/>
                </a:cxn>
              </a:cxnLst>
              <a:rect l="0" t="0" r="r" b="b"/>
              <a:pathLst>
                <a:path w="233" h="223">
                  <a:moveTo>
                    <a:pt x="123" y="168"/>
                  </a:moveTo>
                  <a:lnTo>
                    <a:pt x="31" y="100"/>
                  </a:lnTo>
                  <a:lnTo>
                    <a:pt x="0" y="4"/>
                  </a:lnTo>
                  <a:lnTo>
                    <a:pt x="100" y="0"/>
                  </a:lnTo>
                  <a:lnTo>
                    <a:pt x="185" y="58"/>
                  </a:lnTo>
                  <a:lnTo>
                    <a:pt x="228" y="131"/>
                  </a:lnTo>
                  <a:lnTo>
                    <a:pt x="233" y="223"/>
                  </a:lnTo>
                  <a:lnTo>
                    <a:pt x="123" y="16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0" name="Freeform 197">
              <a:extLst>
                <a:ext uri="{FF2B5EF4-FFF2-40B4-BE49-F238E27FC236}">
                  <a16:creationId xmlns:a16="http://schemas.microsoft.com/office/drawing/2014/main" id="{FAFBF00E-F0FA-599B-C073-028B0C02EDB5}"/>
                </a:ext>
              </a:extLst>
            </p:cNvPr>
            <p:cNvSpPr>
              <a:spLocks/>
            </p:cNvSpPr>
            <p:nvPr/>
          </p:nvSpPr>
          <p:spPr bwMode="auto">
            <a:xfrm rot="634052">
              <a:off x="2859004" y="1778001"/>
              <a:ext cx="30162" cy="19050"/>
            </a:xfrm>
            <a:custGeom>
              <a:avLst/>
              <a:gdLst/>
              <a:ahLst/>
              <a:cxnLst>
                <a:cxn ang="0">
                  <a:pos x="161" y="140"/>
                </a:cxn>
                <a:cxn ang="0">
                  <a:pos x="48" y="121"/>
                </a:cxn>
                <a:cxn ang="0">
                  <a:pos x="0" y="51"/>
                </a:cxn>
                <a:cxn ang="0">
                  <a:pos x="65" y="0"/>
                </a:cxn>
                <a:cxn ang="0">
                  <a:pos x="167" y="14"/>
                </a:cxn>
                <a:cxn ang="0">
                  <a:pos x="238" y="59"/>
                </a:cxn>
                <a:cxn ang="0">
                  <a:pos x="272" y="163"/>
                </a:cxn>
                <a:cxn ang="0">
                  <a:pos x="161" y="140"/>
                </a:cxn>
              </a:cxnLst>
              <a:rect l="0" t="0" r="r" b="b"/>
              <a:pathLst>
                <a:path w="272" h="163">
                  <a:moveTo>
                    <a:pt x="161" y="140"/>
                  </a:moveTo>
                  <a:lnTo>
                    <a:pt x="48" y="121"/>
                  </a:lnTo>
                  <a:lnTo>
                    <a:pt x="0" y="51"/>
                  </a:lnTo>
                  <a:lnTo>
                    <a:pt x="65" y="0"/>
                  </a:lnTo>
                  <a:lnTo>
                    <a:pt x="167" y="14"/>
                  </a:lnTo>
                  <a:lnTo>
                    <a:pt x="238" y="59"/>
                  </a:lnTo>
                  <a:lnTo>
                    <a:pt x="272" y="163"/>
                  </a:lnTo>
                  <a:lnTo>
                    <a:pt x="161" y="14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1" name="Freeform 198">
              <a:extLst>
                <a:ext uri="{FF2B5EF4-FFF2-40B4-BE49-F238E27FC236}">
                  <a16:creationId xmlns:a16="http://schemas.microsoft.com/office/drawing/2014/main" id="{73CC8236-F4A2-0918-67D2-E1900C69788D}"/>
                </a:ext>
              </a:extLst>
            </p:cNvPr>
            <p:cNvSpPr>
              <a:spLocks/>
            </p:cNvSpPr>
            <p:nvPr/>
          </p:nvSpPr>
          <p:spPr bwMode="auto">
            <a:xfrm>
              <a:off x="2732005" y="4129087"/>
              <a:ext cx="463545" cy="2082800"/>
            </a:xfrm>
            <a:custGeom>
              <a:avLst/>
              <a:gdLst/>
              <a:ahLst/>
              <a:cxnLst>
                <a:cxn ang="0">
                  <a:pos x="1160" y="1600"/>
                </a:cxn>
                <a:cxn ang="0">
                  <a:pos x="1056" y="1792"/>
                </a:cxn>
                <a:cxn ang="0">
                  <a:pos x="912" y="2096"/>
                </a:cxn>
                <a:cxn ang="0">
                  <a:pos x="848" y="2384"/>
                </a:cxn>
                <a:cxn ang="0">
                  <a:pos x="880" y="2760"/>
                </a:cxn>
                <a:cxn ang="0">
                  <a:pos x="808" y="3064"/>
                </a:cxn>
                <a:cxn ang="0">
                  <a:pos x="672" y="3360"/>
                </a:cxn>
                <a:cxn ang="0">
                  <a:pos x="624" y="3784"/>
                </a:cxn>
                <a:cxn ang="0">
                  <a:pos x="544" y="4152"/>
                </a:cxn>
                <a:cxn ang="0">
                  <a:pos x="488" y="4456"/>
                </a:cxn>
                <a:cxn ang="0">
                  <a:pos x="503" y="4694"/>
                </a:cxn>
                <a:cxn ang="0">
                  <a:pos x="608" y="4872"/>
                </a:cxn>
                <a:cxn ang="0">
                  <a:pos x="528" y="5096"/>
                </a:cxn>
                <a:cxn ang="0">
                  <a:pos x="344" y="5472"/>
                </a:cxn>
                <a:cxn ang="0">
                  <a:pos x="304" y="5752"/>
                </a:cxn>
                <a:cxn ang="0">
                  <a:pos x="432" y="5912"/>
                </a:cxn>
                <a:cxn ang="0">
                  <a:pos x="872" y="6024"/>
                </a:cxn>
                <a:cxn ang="0">
                  <a:pos x="680" y="6488"/>
                </a:cxn>
                <a:cxn ang="0">
                  <a:pos x="296" y="6272"/>
                </a:cxn>
                <a:cxn ang="0">
                  <a:pos x="80" y="5848"/>
                </a:cxn>
                <a:cxn ang="0">
                  <a:pos x="32" y="5504"/>
                </a:cxn>
                <a:cxn ang="0">
                  <a:pos x="224" y="5136"/>
                </a:cxn>
                <a:cxn ang="0">
                  <a:pos x="88" y="4992"/>
                </a:cxn>
                <a:cxn ang="0">
                  <a:pos x="224" y="4936"/>
                </a:cxn>
                <a:cxn ang="0">
                  <a:pos x="328" y="4688"/>
                </a:cxn>
                <a:cxn ang="0">
                  <a:pos x="408" y="4368"/>
                </a:cxn>
                <a:cxn ang="0">
                  <a:pos x="296" y="4376"/>
                </a:cxn>
                <a:cxn ang="0">
                  <a:pos x="184" y="4376"/>
                </a:cxn>
                <a:cxn ang="0">
                  <a:pos x="280" y="3936"/>
                </a:cxn>
                <a:cxn ang="0">
                  <a:pos x="288" y="3480"/>
                </a:cxn>
                <a:cxn ang="0">
                  <a:pos x="448" y="3232"/>
                </a:cxn>
                <a:cxn ang="0">
                  <a:pos x="616" y="2808"/>
                </a:cxn>
                <a:cxn ang="0">
                  <a:pos x="632" y="2304"/>
                </a:cxn>
                <a:cxn ang="0">
                  <a:pos x="704" y="2008"/>
                </a:cxn>
                <a:cxn ang="0">
                  <a:pos x="832" y="1592"/>
                </a:cxn>
                <a:cxn ang="0">
                  <a:pos x="848" y="1264"/>
                </a:cxn>
                <a:cxn ang="0">
                  <a:pos x="920" y="872"/>
                </a:cxn>
                <a:cxn ang="0">
                  <a:pos x="920" y="376"/>
                </a:cxn>
                <a:cxn ang="0">
                  <a:pos x="1016" y="80"/>
                </a:cxn>
                <a:cxn ang="0">
                  <a:pos x="1128" y="112"/>
                </a:cxn>
                <a:cxn ang="0">
                  <a:pos x="1224" y="328"/>
                </a:cxn>
                <a:cxn ang="0">
                  <a:pos x="1208" y="568"/>
                </a:cxn>
                <a:cxn ang="0">
                  <a:pos x="1320" y="872"/>
                </a:cxn>
                <a:cxn ang="0">
                  <a:pos x="1424" y="1048"/>
                </a:cxn>
                <a:cxn ang="0">
                  <a:pos x="1224" y="1240"/>
                </a:cxn>
              </a:cxnLst>
              <a:rect l="0" t="0" r="r" b="b"/>
              <a:pathLst>
                <a:path w="1456" h="6560">
                  <a:moveTo>
                    <a:pt x="1200" y="1392"/>
                  </a:moveTo>
                  <a:lnTo>
                    <a:pt x="1200" y="1512"/>
                  </a:lnTo>
                  <a:lnTo>
                    <a:pt x="1160" y="1600"/>
                  </a:lnTo>
                  <a:lnTo>
                    <a:pt x="1224" y="1664"/>
                  </a:lnTo>
                  <a:lnTo>
                    <a:pt x="1136" y="1720"/>
                  </a:lnTo>
                  <a:lnTo>
                    <a:pt x="1056" y="1792"/>
                  </a:lnTo>
                  <a:lnTo>
                    <a:pt x="1008" y="1920"/>
                  </a:lnTo>
                  <a:lnTo>
                    <a:pt x="960" y="2000"/>
                  </a:lnTo>
                  <a:lnTo>
                    <a:pt x="912" y="2096"/>
                  </a:lnTo>
                  <a:lnTo>
                    <a:pt x="928" y="2200"/>
                  </a:lnTo>
                  <a:lnTo>
                    <a:pt x="904" y="2280"/>
                  </a:lnTo>
                  <a:lnTo>
                    <a:pt x="848" y="2384"/>
                  </a:lnTo>
                  <a:lnTo>
                    <a:pt x="808" y="2488"/>
                  </a:lnTo>
                  <a:lnTo>
                    <a:pt x="848" y="2608"/>
                  </a:lnTo>
                  <a:lnTo>
                    <a:pt x="880" y="2760"/>
                  </a:lnTo>
                  <a:lnTo>
                    <a:pt x="912" y="2864"/>
                  </a:lnTo>
                  <a:lnTo>
                    <a:pt x="904" y="2952"/>
                  </a:lnTo>
                  <a:lnTo>
                    <a:pt x="808" y="3064"/>
                  </a:lnTo>
                  <a:lnTo>
                    <a:pt x="792" y="3144"/>
                  </a:lnTo>
                  <a:lnTo>
                    <a:pt x="808" y="3248"/>
                  </a:lnTo>
                  <a:lnTo>
                    <a:pt x="672" y="3360"/>
                  </a:lnTo>
                  <a:lnTo>
                    <a:pt x="672" y="3528"/>
                  </a:lnTo>
                  <a:lnTo>
                    <a:pt x="712" y="3736"/>
                  </a:lnTo>
                  <a:lnTo>
                    <a:pt x="624" y="3784"/>
                  </a:lnTo>
                  <a:lnTo>
                    <a:pt x="600" y="3896"/>
                  </a:lnTo>
                  <a:lnTo>
                    <a:pt x="560" y="4032"/>
                  </a:lnTo>
                  <a:lnTo>
                    <a:pt x="544" y="4152"/>
                  </a:lnTo>
                  <a:lnTo>
                    <a:pt x="560" y="4280"/>
                  </a:lnTo>
                  <a:lnTo>
                    <a:pt x="504" y="4336"/>
                  </a:lnTo>
                  <a:lnTo>
                    <a:pt x="488" y="4456"/>
                  </a:lnTo>
                  <a:lnTo>
                    <a:pt x="544" y="4520"/>
                  </a:lnTo>
                  <a:lnTo>
                    <a:pt x="552" y="4616"/>
                  </a:lnTo>
                  <a:lnTo>
                    <a:pt x="503" y="4694"/>
                  </a:lnTo>
                  <a:lnTo>
                    <a:pt x="632" y="4696"/>
                  </a:lnTo>
                  <a:lnTo>
                    <a:pt x="544" y="4792"/>
                  </a:lnTo>
                  <a:lnTo>
                    <a:pt x="608" y="4872"/>
                  </a:lnTo>
                  <a:lnTo>
                    <a:pt x="536" y="4912"/>
                  </a:lnTo>
                  <a:lnTo>
                    <a:pt x="528" y="5000"/>
                  </a:lnTo>
                  <a:lnTo>
                    <a:pt x="528" y="5096"/>
                  </a:lnTo>
                  <a:lnTo>
                    <a:pt x="424" y="5272"/>
                  </a:lnTo>
                  <a:lnTo>
                    <a:pt x="424" y="5392"/>
                  </a:lnTo>
                  <a:lnTo>
                    <a:pt x="344" y="5472"/>
                  </a:lnTo>
                  <a:lnTo>
                    <a:pt x="248" y="5568"/>
                  </a:lnTo>
                  <a:lnTo>
                    <a:pt x="280" y="5664"/>
                  </a:lnTo>
                  <a:lnTo>
                    <a:pt x="304" y="5752"/>
                  </a:lnTo>
                  <a:lnTo>
                    <a:pt x="408" y="5752"/>
                  </a:lnTo>
                  <a:lnTo>
                    <a:pt x="424" y="5840"/>
                  </a:lnTo>
                  <a:lnTo>
                    <a:pt x="432" y="5912"/>
                  </a:lnTo>
                  <a:lnTo>
                    <a:pt x="520" y="5968"/>
                  </a:lnTo>
                  <a:lnTo>
                    <a:pt x="664" y="5952"/>
                  </a:lnTo>
                  <a:lnTo>
                    <a:pt x="872" y="6024"/>
                  </a:lnTo>
                  <a:lnTo>
                    <a:pt x="848" y="6256"/>
                  </a:lnTo>
                  <a:lnTo>
                    <a:pt x="816" y="6560"/>
                  </a:lnTo>
                  <a:lnTo>
                    <a:pt x="680" y="6488"/>
                  </a:lnTo>
                  <a:lnTo>
                    <a:pt x="544" y="6400"/>
                  </a:lnTo>
                  <a:lnTo>
                    <a:pt x="472" y="6320"/>
                  </a:lnTo>
                  <a:lnTo>
                    <a:pt x="296" y="6272"/>
                  </a:lnTo>
                  <a:lnTo>
                    <a:pt x="224" y="6128"/>
                  </a:lnTo>
                  <a:lnTo>
                    <a:pt x="120" y="5968"/>
                  </a:lnTo>
                  <a:lnTo>
                    <a:pt x="80" y="5848"/>
                  </a:lnTo>
                  <a:lnTo>
                    <a:pt x="80" y="5752"/>
                  </a:lnTo>
                  <a:lnTo>
                    <a:pt x="32" y="5656"/>
                  </a:lnTo>
                  <a:lnTo>
                    <a:pt x="32" y="5504"/>
                  </a:lnTo>
                  <a:lnTo>
                    <a:pt x="56" y="5336"/>
                  </a:lnTo>
                  <a:lnTo>
                    <a:pt x="136" y="5248"/>
                  </a:lnTo>
                  <a:lnTo>
                    <a:pt x="224" y="5136"/>
                  </a:lnTo>
                  <a:lnTo>
                    <a:pt x="120" y="5120"/>
                  </a:lnTo>
                  <a:lnTo>
                    <a:pt x="0" y="5136"/>
                  </a:lnTo>
                  <a:lnTo>
                    <a:pt x="88" y="4992"/>
                  </a:lnTo>
                  <a:lnTo>
                    <a:pt x="112" y="4872"/>
                  </a:lnTo>
                  <a:lnTo>
                    <a:pt x="232" y="4848"/>
                  </a:lnTo>
                  <a:lnTo>
                    <a:pt x="224" y="4936"/>
                  </a:lnTo>
                  <a:lnTo>
                    <a:pt x="272" y="5008"/>
                  </a:lnTo>
                  <a:lnTo>
                    <a:pt x="296" y="4864"/>
                  </a:lnTo>
                  <a:lnTo>
                    <a:pt x="328" y="4688"/>
                  </a:lnTo>
                  <a:lnTo>
                    <a:pt x="368" y="4568"/>
                  </a:lnTo>
                  <a:lnTo>
                    <a:pt x="384" y="4472"/>
                  </a:lnTo>
                  <a:lnTo>
                    <a:pt x="408" y="4368"/>
                  </a:lnTo>
                  <a:lnTo>
                    <a:pt x="424" y="4272"/>
                  </a:lnTo>
                  <a:lnTo>
                    <a:pt x="328" y="4288"/>
                  </a:lnTo>
                  <a:lnTo>
                    <a:pt x="296" y="4376"/>
                  </a:lnTo>
                  <a:lnTo>
                    <a:pt x="320" y="4472"/>
                  </a:lnTo>
                  <a:lnTo>
                    <a:pt x="192" y="4528"/>
                  </a:lnTo>
                  <a:lnTo>
                    <a:pt x="184" y="4376"/>
                  </a:lnTo>
                  <a:lnTo>
                    <a:pt x="264" y="4232"/>
                  </a:lnTo>
                  <a:lnTo>
                    <a:pt x="240" y="4088"/>
                  </a:lnTo>
                  <a:lnTo>
                    <a:pt x="280" y="3936"/>
                  </a:lnTo>
                  <a:lnTo>
                    <a:pt x="336" y="3816"/>
                  </a:lnTo>
                  <a:lnTo>
                    <a:pt x="312" y="3624"/>
                  </a:lnTo>
                  <a:lnTo>
                    <a:pt x="288" y="3480"/>
                  </a:lnTo>
                  <a:lnTo>
                    <a:pt x="368" y="3464"/>
                  </a:lnTo>
                  <a:lnTo>
                    <a:pt x="400" y="3360"/>
                  </a:lnTo>
                  <a:lnTo>
                    <a:pt x="448" y="3232"/>
                  </a:lnTo>
                  <a:lnTo>
                    <a:pt x="528" y="3112"/>
                  </a:lnTo>
                  <a:lnTo>
                    <a:pt x="600" y="2944"/>
                  </a:lnTo>
                  <a:lnTo>
                    <a:pt x="616" y="2808"/>
                  </a:lnTo>
                  <a:lnTo>
                    <a:pt x="640" y="2648"/>
                  </a:lnTo>
                  <a:lnTo>
                    <a:pt x="632" y="2496"/>
                  </a:lnTo>
                  <a:lnTo>
                    <a:pt x="632" y="2304"/>
                  </a:lnTo>
                  <a:lnTo>
                    <a:pt x="688" y="2192"/>
                  </a:lnTo>
                  <a:lnTo>
                    <a:pt x="672" y="2120"/>
                  </a:lnTo>
                  <a:lnTo>
                    <a:pt x="704" y="2008"/>
                  </a:lnTo>
                  <a:lnTo>
                    <a:pt x="728" y="1856"/>
                  </a:lnTo>
                  <a:lnTo>
                    <a:pt x="784" y="1712"/>
                  </a:lnTo>
                  <a:lnTo>
                    <a:pt x="832" y="1592"/>
                  </a:lnTo>
                  <a:lnTo>
                    <a:pt x="824" y="1472"/>
                  </a:lnTo>
                  <a:lnTo>
                    <a:pt x="856" y="1376"/>
                  </a:lnTo>
                  <a:lnTo>
                    <a:pt x="848" y="1264"/>
                  </a:lnTo>
                  <a:lnTo>
                    <a:pt x="856" y="1120"/>
                  </a:lnTo>
                  <a:lnTo>
                    <a:pt x="880" y="984"/>
                  </a:lnTo>
                  <a:lnTo>
                    <a:pt x="920" y="872"/>
                  </a:lnTo>
                  <a:lnTo>
                    <a:pt x="952" y="720"/>
                  </a:lnTo>
                  <a:lnTo>
                    <a:pt x="928" y="544"/>
                  </a:lnTo>
                  <a:lnTo>
                    <a:pt x="920" y="376"/>
                  </a:lnTo>
                  <a:lnTo>
                    <a:pt x="928" y="256"/>
                  </a:lnTo>
                  <a:lnTo>
                    <a:pt x="904" y="128"/>
                  </a:lnTo>
                  <a:lnTo>
                    <a:pt x="1016" y="80"/>
                  </a:lnTo>
                  <a:lnTo>
                    <a:pt x="1000" y="0"/>
                  </a:lnTo>
                  <a:lnTo>
                    <a:pt x="1072" y="16"/>
                  </a:lnTo>
                  <a:lnTo>
                    <a:pt x="1128" y="112"/>
                  </a:lnTo>
                  <a:lnTo>
                    <a:pt x="1136" y="168"/>
                  </a:lnTo>
                  <a:lnTo>
                    <a:pt x="1184" y="272"/>
                  </a:lnTo>
                  <a:lnTo>
                    <a:pt x="1224" y="328"/>
                  </a:lnTo>
                  <a:lnTo>
                    <a:pt x="1184" y="408"/>
                  </a:lnTo>
                  <a:lnTo>
                    <a:pt x="1168" y="472"/>
                  </a:lnTo>
                  <a:lnTo>
                    <a:pt x="1208" y="568"/>
                  </a:lnTo>
                  <a:lnTo>
                    <a:pt x="1264" y="640"/>
                  </a:lnTo>
                  <a:lnTo>
                    <a:pt x="1296" y="784"/>
                  </a:lnTo>
                  <a:lnTo>
                    <a:pt x="1320" y="872"/>
                  </a:lnTo>
                  <a:lnTo>
                    <a:pt x="1360" y="960"/>
                  </a:lnTo>
                  <a:lnTo>
                    <a:pt x="1456" y="936"/>
                  </a:lnTo>
                  <a:lnTo>
                    <a:pt x="1424" y="1048"/>
                  </a:lnTo>
                  <a:lnTo>
                    <a:pt x="1416" y="1160"/>
                  </a:lnTo>
                  <a:lnTo>
                    <a:pt x="1296" y="1192"/>
                  </a:lnTo>
                  <a:lnTo>
                    <a:pt x="1224" y="1240"/>
                  </a:lnTo>
                  <a:lnTo>
                    <a:pt x="1192" y="1312"/>
                  </a:lnTo>
                  <a:lnTo>
                    <a:pt x="1200" y="1392"/>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2" name="Freeform 199">
              <a:extLst>
                <a:ext uri="{FF2B5EF4-FFF2-40B4-BE49-F238E27FC236}">
                  <a16:creationId xmlns:a16="http://schemas.microsoft.com/office/drawing/2014/main" id="{441E28F4-EA89-3C68-8428-ACC99E02555F}"/>
                </a:ext>
              </a:extLst>
            </p:cNvPr>
            <p:cNvSpPr>
              <a:spLocks/>
            </p:cNvSpPr>
            <p:nvPr/>
          </p:nvSpPr>
          <p:spPr bwMode="auto">
            <a:xfrm>
              <a:off x="3066963" y="3678238"/>
              <a:ext cx="668331" cy="755650"/>
            </a:xfrm>
            <a:custGeom>
              <a:avLst/>
              <a:gdLst/>
              <a:ahLst/>
              <a:cxnLst>
                <a:cxn ang="0">
                  <a:pos x="7" y="191"/>
                </a:cxn>
                <a:cxn ang="0">
                  <a:pos x="120" y="572"/>
                </a:cxn>
                <a:cxn ang="0">
                  <a:pos x="139" y="809"/>
                </a:cxn>
                <a:cxn ang="0">
                  <a:pos x="37" y="936"/>
                </a:cxn>
                <a:cxn ang="0">
                  <a:pos x="46" y="1070"/>
                </a:cxn>
                <a:cxn ang="0">
                  <a:pos x="123" y="1175"/>
                </a:cxn>
                <a:cxn ang="0">
                  <a:pos x="0" y="1341"/>
                </a:cxn>
                <a:cxn ang="0">
                  <a:pos x="76" y="1530"/>
                </a:cxn>
                <a:cxn ang="0">
                  <a:pos x="133" y="1692"/>
                </a:cxn>
                <a:cxn ang="0">
                  <a:pos x="133" y="1829"/>
                </a:cxn>
                <a:cxn ang="0">
                  <a:pos x="156" y="1988"/>
                </a:cxn>
                <a:cxn ang="0">
                  <a:pos x="238" y="2174"/>
                </a:cxn>
                <a:cxn ang="0">
                  <a:pos x="310" y="2381"/>
                </a:cxn>
                <a:cxn ang="0">
                  <a:pos x="465" y="2256"/>
                </a:cxn>
                <a:cxn ang="0">
                  <a:pos x="574" y="2183"/>
                </a:cxn>
                <a:cxn ang="0">
                  <a:pos x="750" y="2238"/>
                </a:cxn>
                <a:cxn ang="0">
                  <a:pos x="876" y="2370"/>
                </a:cxn>
                <a:cxn ang="0">
                  <a:pos x="1060" y="2231"/>
                </a:cxn>
                <a:cxn ang="0">
                  <a:pos x="1221" y="2101"/>
                </a:cxn>
                <a:cxn ang="0">
                  <a:pos x="1314" y="1878"/>
                </a:cxn>
                <a:cxn ang="0">
                  <a:pos x="1486" y="1772"/>
                </a:cxn>
                <a:cxn ang="0">
                  <a:pos x="1797" y="1781"/>
                </a:cxn>
                <a:cxn ang="0">
                  <a:pos x="2015" y="1828"/>
                </a:cxn>
                <a:cxn ang="0">
                  <a:pos x="2109" y="1578"/>
                </a:cxn>
                <a:cxn ang="0">
                  <a:pos x="1951" y="1331"/>
                </a:cxn>
                <a:cxn ang="0">
                  <a:pos x="1699" y="1176"/>
                </a:cxn>
                <a:cxn ang="0">
                  <a:pos x="1651" y="822"/>
                </a:cxn>
                <a:cxn ang="0">
                  <a:pos x="1405" y="677"/>
                </a:cxn>
                <a:cxn ang="0">
                  <a:pos x="1150" y="519"/>
                </a:cxn>
                <a:cxn ang="0">
                  <a:pos x="889" y="414"/>
                </a:cxn>
                <a:cxn ang="0">
                  <a:pos x="774" y="149"/>
                </a:cxn>
                <a:cxn ang="0">
                  <a:pos x="684" y="6"/>
                </a:cxn>
                <a:cxn ang="0">
                  <a:pos x="525" y="36"/>
                </a:cxn>
                <a:cxn ang="0">
                  <a:pos x="295" y="158"/>
                </a:cxn>
              </a:cxnLst>
              <a:rect l="0" t="0" r="r" b="b"/>
              <a:pathLst>
                <a:path w="2109" h="2381">
                  <a:moveTo>
                    <a:pt x="172" y="219"/>
                  </a:moveTo>
                  <a:lnTo>
                    <a:pt x="7" y="191"/>
                  </a:lnTo>
                  <a:lnTo>
                    <a:pt x="183" y="476"/>
                  </a:lnTo>
                  <a:lnTo>
                    <a:pt x="120" y="572"/>
                  </a:lnTo>
                  <a:lnTo>
                    <a:pt x="117" y="692"/>
                  </a:lnTo>
                  <a:lnTo>
                    <a:pt x="139" y="809"/>
                  </a:lnTo>
                  <a:lnTo>
                    <a:pt x="75" y="863"/>
                  </a:lnTo>
                  <a:lnTo>
                    <a:pt x="37" y="936"/>
                  </a:lnTo>
                  <a:lnTo>
                    <a:pt x="70" y="993"/>
                  </a:lnTo>
                  <a:lnTo>
                    <a:pt x="46" y="1070"/>
                  </a:lnTo>
                  <a:lnTo>
                    <a:pt x="55" y="1133"/>
                  </a:lnTo>
                  <a:lnTo>
                    <a:pt x="123" y="1175"/>
                  </a:lnTo>
                  <a:lnTo>
                    <a:pt x="51" y="1277"/>
                  </a:lnTo>
                  <a:lnTo>
                    <a:pt x="0" y="1341"/>
                  </a:lnTo>
                  <a:lnTo>
                    <a:pt x="24" y="1442"/>
                  </a:lnTo>
                  <a:lnTo>
                    <a:pt x="76" y="1530"/>
                  </a:lnTo>
                  <a:lnTo>
                    <a:pt x="85" y="1587"/>
                  </a:lnTo>
                  <a:lnTo>
                    <a:pt x="133" y="1692"/>
                  </a:lnTo>
                  <a:lnTo>
                    <a:pt x="174" y="1749"/>
                  </a:lnTo>
                  <a:lnTo>
                    <a:pt x="133" y="1829"/>
                  </a:lnTo>
                  <a:lnTo>
                    <a:pt x="117" y="1896"/>
                  </a:lnTo>
                  <a:lnTo>
                    <a:pt x="156" y="1988"/>
                  </a:lnTo>
                  <a:lnTo>
                    <a:pt x="216" y="2064"/>
                  </a:lnTo>
                  <a:lnTo>
                    <a:pt x="238" y="2174"/>
                  </a:lnTo>
                  <a:lnTo>
                    <a:pt x="268" y="2291"/>
                  </a:lnTo>
                  <a:lnTo>
                    <a:pt x="310" y="2381"/>
                  </a:lnTo>
                  <a:lnTo>
                    <a:pt x="406" y="2358"/>
                  </a:lnTo>
                  <a:lnTo>
                    <a:pt x="465" y="2256"/>
                  </a:lnTo>
                  <a:lnTo>
                    <a:pt x="529" y="2240"/>
                  </a:lnTo>
                  <a:lnTo>
                    <a:pt x="574" y="2183"/>
                  </a:lnTo>
                  <a:lnTo>
                    <a:pt x="634" y="2244"/>
                  </a:lnTo>
                  <a:lnTo>
                    <a:pt x="750" y="2238"/>
                  </a:lnTo>
                  <a:lnTo>
                    <a:pt x="835" y="2282"/>
                  </a:lnTo>
                  <a:lnTo>
                    <a:pt x="876" y="2370"/>
                  </a:lnTo>
                  <a:lnTo>
                    <a:pt x="922" y="2246"/>
                  </a:lnTo>
                  <a:lnTo>
                    <a:pt x="1060" y="2231"/>
                  </a:lnTo>
                  <a:lnTo>
                    <a:pt x="1176" y="2261"/>
                  </a:lnTo>
                  <a:lnTo>
                    <a:pt x="1221" y="2101"/>
                  </a:lnTo>
                  <a:lnTo>
                    <a:pt x="1239" y="1982"/>
                  </a:lnTo>
                  <a:lnTo>
                    <a:pt x="1314" y="1878"/>
                  </a:lnTo>
                  <a:lnTo>
                    <a:pt x="1373" y="1743"/>
                  </a:lnTo>
                  <a:lnTo>
                    <a:pt x="1486" y="1772"/>
                  </a:lnTo>
                  <a:lnTo>
                    <a:pt x="1642" y="1772"/>
                  </a:lnTo>
                  <a:lnTo>
                    <a:pt x="1797" y="1781"/>
                  </a:lnTo>
                  <a:lnTo>
                    <a:pt x="1898" y="1808"/>
                  </a:lnTo>
                  <a:lnTo>
                    <a:pt x="2015" y="1828"/>
                  </a:lnTo>
                  <a:lnTo>
                    <a:pt x="2095" y="1684"/>
                  </a:lnTo>
                  <a:lnTo>
                    <a:pt x="2109" y="1578"/>
                  </a:lnTo>
                  <a:lnTo>
                    <a:pt x="2038" y="1425"/>
                  </a:lnTo>
                  <a:lnTo>
                    <a:pt x="1951" y="1331"/>
                  </a:lnTo>
                  <a:lnTo>
                    <a:pt x="1986" y="1215"/>
                  </a:lnTo>
                  <a:lnTo>
                    <a:pt x="1699" y="1176"/>
                  </a:lnTo>
                  <a:lnTo>
                    <a:pt x="1623" y="989"/>
                  </a:lnTo>
                  <a:lnTo>
                    <a:pt x="1651" y="822"/>
                  </a:lnTo>
                  <a:lnTo>
                    <a:pt x="1569" y="702"/>
                  </a:lnTo>
                  <a:lnTo>
                    <a:pt x="1405" y="677"/>
                  </a:lnTo>
                  <a:lnTo>
                    <a:pt x="1308" y="605"/>
                  </a:lnTo>
                  <a:lnTo>
                    <a:pt x="1150" y="519"/>
                  </a:lnTo>
                  <a:lnTo>
                    <a:pt x="1015" y="503"/>
                  </a:lnTo>
                  <a:lnTo>
                    <a:pt x="889" y="414"/>
                  </a:lnTo>
                  <a:lnTo>
                    <a:pt x="781" y="299"/>
                  </a:lnTo>
                  <a:lnTo>
                    <a:pt x="774" y="149"/>
                  </a:lnTo>
                  <a:lnTo>
                    <a:pt x="772" y="0"/>
                  </a:lnTo>
                  <a:lnTo>
                    <a:pt x="684" y="6"/>
                  </a:lnTo>
                  <a:lnTo>
                    <a:pt x="618" y="18"/>
                  </a:lnTo>
                  <a:lnTo>
                    <a:pt x="525" y="36"/>
                  </a:lnTo>
                  <a:lnTo>
                    <a:pt x="412" y="99"/>
                  </a:lnTo>
                  <a:lnTo>
                    <a:pt x="295" y="158"/>
                  </a:lnTo>
                  <a:lnTo>
                    <a:pt x="172" y="219"/>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3" name="Freeform 200">
              <a:extLst>
                <a:ext uri="{FF2B5EF4-FFF2-40B4-BE49-F238E27FC236}">
                  <a16:creationId xmlns:a16="http://schemas.microsoft.com/office/drawing/2014/main" id="{5AC0C550-3784-1724-A935-DD325270FA71}"/>
                </a:ext>
              </a:extLst>
            </p:cNvPr>
            <p:cNvSpPr>
              <a:spLocks/>
            </p:cNvSpPr>
            <p:nvPr/>
          </p:nvSpPr>
          <p:spPr bwMode="auto">
            <a:xfrm>
              <a:off x="3587658" y="4857750"/>
              <a:ext cx="261935" cy="280987"/>
            </a:xfrm>
            <a:custGeom>
              <a:avLst/>
              <a:gdLst/>
              <a:ahLst/>
              <a:cxnLst>
                <a:cxn ang="0">
                  <a:pos x="761" y="801"/>
                </a:cxn>
                <a:cxn ang="0">
                  <a:pos x="654" y="863"/>
                </a:cxn>
                <a:cxn ang="0">
                  <a:pos x="576" y="882"/>
                </a:cxn>
                <a:cxn ang="0">
                  <a:pos x="488" y="853"/>
                </a:cxn>
                <a:cxn ang="0">
                  <a:pos x="424" y="877"/>
                </a:cxn>
                <a:cxn ang="0">
                  <a:pos x="331" y="887"/>
                </a:cxn>
                <a:cxn ang="0">
                  <a:pos x="267" y="820"/>
                </a:cxn>
                <a:cxn ang="0">
                  <a:pos x="204" y="801"/>
                </a:cxn>
                <a:cxn ang="0">
                  <a:pos x="140" y="820"/>
                </a:cxn>
                <a:cxn ang="0">
                  <a:pos x="75" y="780"/>
                </a:cxn>
                <a:cxn ang="0">
                  <a:pos x="6" y="681"/>
                </a:cxn>
                <a:cxn ang="0">
                  <a:pos x="0" y="612"/>
                </a:cxn>
                <a:cxn ang="0">
                  <a:pos x="45" y="524"/>
                </a:cxn>
                <a:cxn ang="0">
                  <a:pos x="59" y="426"/>
                </a:cxn>
                <a:cxn ang="0">
                  <a:pos x="99" y="282"/>
                </a:cxn>
                <a:cxn ang="0">
                  <a:pos x="147" y="171"/>
                </a:cxn>
                <a:cxn ang="0">
                  <a:pos x="168" y="56"/>
                </a:cxn>
                <a:cxn ang="0">
                  <a:pos x="240" y="35"/>
                </a:cxn>
                <a:cxn ang="0">
                  <a:pos x="333" y="0"/>
                </a:cxn>
                <a:cxn ang="0">
                  <a:pos x="444" y="117"/>
                </a:cxn>
                <a:cxn ang="0">
                  <a:pos x="447" y="180"/>
                </a:cxn>
                <a:cxn ang="0">
                  <a:pos x="531" y="134"/>
                </a:cxn>
                <a:cxn ang="0">
                  <a:pos x="605" y="248"/>
                </a:cxn>
                <a:cxn ang="0">
                  <a:pos x="731" y="347"/>
                </a:cxn>
                <a:cxn ang="0">
                  <a:pos x="827" y="440"/>
                </a:cxn>
                <a:cxn ang="0">
                  <a:pos x="804" y="585"/>
                </a:cxn>
                <a:cxn ang="0">
                  <a:pos x="791" y="669"/>
                </a:cxn>
                <a:cxn ang="0">
                  <a:pos x="801" y="709"/>
                </a:cxn>
                <a:cxn ang="0">
                  <a:pos x="761" y="801"/>
                </a:cxn>
              </a:cxnLst>
              <a:rect l="0" t="0" r="r" b="b"/>
              <a:pathLst>
                <a:path w="827" h="887">
                  <a:moveTo>
                    <a:pt x="761" y="801"/>
                  </a:moveTo>
                  <a:lnTo>
                    <a:pt x="654" y="863"/>
                  </a:lnTo>
                  <a:lnTo>
                    <a:pt x="576" y="882"/>
                  </a:lnTo>
                  <a:lnTo>
                    <a:pt x="488" y="853"/>
                  </a:lnTo>
                  <a:lnTo>
                    <a:pt x="424" y="877"/>
                  </a:lnTo>
                  <a:lnTo>
                    <a:pt x="331" y="887"/>
                  </a:lnTo>
                  <a:lnTo>
                    <a:pt x="267" y="820"/>
                  </a:lnTo>
                  <a:lnTo>
                    <a:pt x="204" y="801"/>
                  </a:lnTo>
                  <a:lnTo>
                    <a:pt x="140" y="820"/>
                  </a:lnTo>
                  <a:lnTo>
                    <a:pt x="75" y="780"/>
                  </a:lnTo>
                  <a:lnTo>
                    <a:pt x="6" y="681"/>
                  </a:lnTo>
                  <a:lnTo>
                    <a:pt x="0" y="612"/>
                  </a:lnTo>
                  <a:lnTo>
                    <a:pt x="45" y="524"/>
                  </a:lnTo>
                  <a:lnTo>
                    <a:pt x="59" y="426"/>
                  </a:lnTo>
                  <a:lnTo>
                    <a:pt x="99" y="282"/>
                  </a:lnTo>
                  <a:lnTo>
                    <a:pt x="147" y="171"/>
                  </a:lnTo>
                  <a:lnTo>
                    <a:pt x="168" y="56"/>
                  </a:lnTo>
                  <a:lnTo>
                    <a:pt x="240" y="35"/>
                  </a:lnTo>
                  <a:lnTo>
                    <a:pt x="333" y="0"/>
                  </a:lnTo>
                  <a:lnTo>
                    <a:pt x="444" y="117"/>
                  </a:lnTo>
                  <a:lnTo>
                    <a:pt x="447" y="180"/>
                  </a:lnTo>
                  <a:lnTo>
                    <a:pt x="531" y="134"/>
                  </a:lnTo>
                  <a:lnTo>
                    <a:pt x="605" y="248"/>
                  </a:lnTo>
                  <a:lnTo>
                    <a:pt x="731" y="347"/>
                  </a:lnTo>
                  <a:lnTo>
                    <a:pt x="827" y="440"/>
                  </a:lnTo>
                  <a:lnTo>
                    <a:pt x="804" y="585"/>
                  </a:lnTo>
                  <a:lnTo>
                    <a:pt x="791" y="669"/>
                  </a:lnTo>
                  <a:lnTo>
                    <a:pt x="801" y="709"/>
                  </a:lnTo>
                  <a:lnTo>
                    <a:pt x="761" y="801"/>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4" name="Freeform 201">
              <a:extLst>
                <a:ext uri="{FF2B5EF4-FFF2-40B4-BE49-F238E27FC236}">
                  <a16:creationId xmlns:a16="http://schemas.microsoft.com/office/drawing/2014/main" id="{9C142507-DD21-4183-972B-88E62E775DF6}"/>
                </a:ext>
              </a:extLst>
            </p:cNvPr>
            <p:cNvSpPr>
              <a:spLocks/>
            </p:cNvSpPr>
            <p:nvPr/>
          </p:nvSpPr>
          <p:spPr bwMode="auto">
            <a:xfrm>
              <a:off x="3352710" y="6002337"/>
              <a:ext cx="76199" cy="57150"/>
            </a:xfrm>
            <a:custGeom>
              <a:avLst/>
              <a:gdLst/>
              <a:ahLst/>
              <a:cxnLst>
                <a:cxn ang="0">
                  <a:pos x="294" y="90"/>
                </a:cxn>
                <a:cxn ang="0">
                  <a:pos x="246" y="24"/>
                </a:cxn>
                <a:cxn ang="0">
                  <a:pos x="186" y="54"/>
                </a:cxn>
                <a:cxn ang="0">
                  <a:pos x="158" y="0"/>
                </a:cxn>
                <a:cxn ang="0">
                  <a:pos x="114" y="48"/>
                </a:cxn>
                <a:cxn ang="0">
                  <a:pos x="102" y="108"/>
                </a:cxn>
                <a:cxn ang="0">
                  <a:pos x="22" y="136"/>
                </a:cxn>
                <a:cxn ang="0">
                  <a:pos x="0" y="210"/>
                </a:cxn>
                <a:cxn ang="0">
                  <a:pos x="68" y="226"/>
                </a:cxn>
                <a:cxn ang="0">
                  <a:pos x="96" y="162"/>
                </a:cxn>
                <a:cxn ang="0">
                  <a:pos x="158" y="136"/>
                </a:cxn>
                <a:cxn ang="0">
                  <a:pos x="216" y="102"/>
                </a:cxn>
                <a:cxn ang="0">
                  <a:pos x="294" y="90"/>
                </a:cxn>
              </a:cxnLst>
              <a:rect l="0" t="0" r="r" b="b"/>
              <a:pathLst>
                <a:path w="294" h="226">
                  <a:moveTo>
                    <a:pt x="294" y="90"/>
                  </a:moveTo>
                  <a:lnTo>
                    <a:pt x="246" y="24"/>
                  </a:lnTo>
                  <a:lnTo>
                    <a:pt x="186" y="54"/>
                  </a:lnTo>
                  <a:lnTo>
                    <a:pt x="158" y="0"/>
                  </a:lnTo>
                  <a:lnTo>
                    <a:pt x="114" y="48"/>
                  </a:lnTo>
                  <a:lnTo>
                    <a:pt x="102" y="108"/>
                  </a:lnTo>
                  <a:lnTo>
                    <a:pt x="22" y="136"/>
                  </a:lnTo>
                  <a:lnTo>
                    <a:pt x="0" y="210"/>
                  </a:lnTo>
                  <a:lnTo>
                    <a:pt x="68" y="226"/>
                  </a:lnTo>
                  <a:lnTo>
                    <a:pt x="96" y="162"/>
                  </a:lnTo>
                  <a:lnTo>
                    <a:pt x="158" y="136"/>
                  </a:lnTo>
                  <a:lnTo>
                    <a:pt x="216" y="102"/>
                  </a:lnTo>
                  <a:lnTo>
                    <a:pt x="294" y="9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5" name="Freeform 202">
              <a:extLst>
                <a:ext uri="{FF2B5EF4-FFF2-40B4-BE49-F238E27FC236}">
                  <a16:creationId xmlns:a16="http://schemas.microsoft.com/office/drawing/2014/main" id="{EF41C0D1-531C-EB07-B7D8-BA24CB89684E}"/>
                </a:ext>
              </a:extLst>
            </p:cNvPr>
            <p:cNvSpPr>
              <a:spLocks/>
            </p:cNvSpPr>
            <p:nvPr/>
          </p:nvSpPr>
          <p:spPr bwMode="auto">
            <a:xfrm>
              <a:off x="3308261" y="6011862"/>
              <a:ext cx="61912" cy="41275"/>
            </a:xfrm>
            <a:custGeom>
              <a:avLst/>
              <a:gdLst/>
              <a:ahLst/>
              <a:cxnLst>
                <a:cxn ang="0">
                  <a:pos x="0" y="128"/>
                </a:cxn>
                <a:cxn ang="0">
                  <a:pos x="12" y="156"/>
                </a:cxn>
                <a:cxn ang="0">
                  <a:pos x="101" y="141"/>
                </a:cxn>
                <a:cxn ang="0">
                  <a:pos x="140" y="80"/>
                </a:cxn>
                <a:cxn ang="0">
                  <a:pos x="238" y="5"/>
                </a:cxn>
                <a:cxn ang="0">
                  <a:pos x="184" y="0"/>
                </a:cxn>
                <a:cxn ang="0">
                  <a:pos x="144" y="20"/>
                </a:cxn>
                <a:cxn ang="0">
                  <a:pos x="100" y="28"/>
                </a:cxn>
                <a:cxn ang="0">
                  <a:pos x="116" y="56"/>
                </a:cxn>
                <a:cxn ang="0">
                  <a:pos x="60" y="108"/>
                </a:cxn>
                <a:cxn ang="0">
                  <a:pos x="0" y="128"/>
                </a:cxn>
              </a:cxnLst>
              <a:rect l="0" t="0" r="r" b="b"/>
              <a:pathLst>
                <a:path w="238" h="156">
                  <a:moveTo>
                    <a:pt x="0" y="128"/>
                  </a:moveTo>
                  <a:lnTo>
                    <a:pt x="12" y="156"/>
                  </a:lnTo>
                  <a:lnTo>
                    <a:pt x="101" y="141"/>
                  </a:lnTo>
                  <a:lnTo>
                    <a:pt x="140" y="80"/>
                  </a:lnTo>
                  <a:lnTo>
                    <a:pt x="238" y="5"/>
                  </a:lnTo>
                  <a:lnTo>
                    <a:pt x="184" y="0"/>
                  </a:lnTo>
                  <a:lnTo>
                    <a:pt x="144" y="20"/>
                  </a:lnTo>
                  <a:lnTo>
                    <a:pt x="100" y="28"/>
                  </a:lnTo>
                  <a:lnTo>
                    <a:pt x="116" y="56"/>
                  </a:lnTo>
                  <a:lnTo>
                    <a:pt x="60" y="108"/>
                  </a:lnTo>
                  <a:lnTo>
                    <a:pt x="0" y="12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6" name="Freeform 203">
              <a:extLst>
                <a:ext uri="{FF2B5EF4-FFF2-40B4-BE49-F238E27FC236}">
                  <a16:creationId xmlns:a16="http://schemas.microsoft.com/office/drawing/2014/main" id="{84DAB28A-D2B6-1953-DB4F-F4EAA1083625}"/>
                </a:ext>
              </a:extLst>
            </p:cNvPr>
            <p:cNvSpPr>
              <a:spLocks/>
            </p:cNvSpPr>
            <p:nvPr/>
          </p:nvSpPr>
          <p:spPr bwMode="auto">
            <a:xfrm>
              <a:off x="4092478" y="6221412"/>
              <a:ext cx="60324" cy="58738"/>
            </a:xfrm>
            <a:custGeom>
              <a:avLst/>
              <a:gdLst/>
              <a:ahLst/>
              <a:cxnLst>
                <a:cxn ang="0">
                  <a:pos x="0" y="0"/>
                </a:cxn>
                <a:cxn ang="0">
                  <a:pos x="63" y="33"/>
                </a:cxn>
                <a:cxn ang="0">
                  <a:pos x="115" y="67"/>
                </a:cxn>
                <a:cxn ang="0">
                  <a:pos x="168" y="134"/>
                </a:cxn>
                <a:cxn ang="0">
                  <a:pos x="197" y="225"/>
                </a:cxn>
                <a:cxn ang="0">
                  <a:pos x="235" y="220"/>
                </a:cxn>
                <a:cxn ang="0">
                  <a:pos x="235" y="144"/>
                </a:cxn>
                <a:cxn ang="0">
                  <a:pos x="216" y="91"/>
                </a:cxn>
                <a:cxn ang="0">
                  <a:pos x="173" y="48"/>
                </a:cxn>
                <a:cxn ang="0">
                  <a:pos x="120" y="24"/>
                </a:cxn>
                <a:cxn ang="0">
                  <a:pos x="58" y="0"/>
                </a:cxn>
                <a:cxn ang="0">
                  <a:pos x="0" y="0"/>
                </a:cxn>
              </a:cxnLst>
              <a:rect l="0" t="0" r="r" b="b"/>
              <a:pathLst>
                <a:path w="235" h="225">
                  <a:moveTo>
                    <a:pt x="0" y="0"/>
                  </a:moveTo>
                  <a:lnTo>
                    <a:pt x="63" y="33"/>
                  </a:lnTo>
                  <a:lnTo>
                    <a:pt x="115" y="67"/>
                  </a:lnTo>
                  <a:lnTo>
                    <a:pt x="168" y="134"/>
                  </a:lnTo>
                  <a:lnTo>
                    <a:pt x="197" y="225"/>
                  </a:lnTo>
                  <a:lnTo>
                    <a:pt x="235" y="220"/>
                  </a:lnTo>
                  <a:lnTo>
                    <a:pt x="235" y="144"/>
                  </a:lnTo>
                  <a:lnTo>
                    <a:pt x="216" y="91"/>
                  </a:lnTo>
                  <a:lnTo>
                    <a:pt x="173" y="48"/>
                  </a:lnTo>
                  <a:lnTo>
                    <a:pt x="120" y="24"/>
                  </a:lnTo>
                  <a:lnTo>
                    <a:pt x="58" y="0"/>
                  </a:lnTo>
                  <a:lnTo>
                    <a:pt x="0" y="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7" name="Freeform 204">
              <a:extLst>
                <a:ext uri="{FF2B5EF4-FFF2-40B4-BE49-F238E27FC236}">
                  <a16:creationId xmlns:a16="http://schemas.microsoft.com/office/drawing/2014/main" id="{C388783D-89EA-169C-11D9-511EB3B3E0EF}"/>
                </a:ext>
              </a:extLst>
            </p:cNvPr>
            <p:cNvSpPr>
              <a:spLocks/>
            </p:cNvSpPr>
            <p:nvPr/>
          </p:nvSpPr>
          <p:spPr bwMode="auto">
            <a:xfrm>
              <a:off x="3246349" y="5502275"/>
              <a:ext cx="34925" cy="46037"/>
            </a:xfrm>
            <a:custGeom>
              <a:avLst/>
              <a:gdLst/>
              <a:ahLst/>
              <a:cxnLst>
                <a:cxn ang="0">
                  <a:pos x="48" y="142"/>
                </a:cxn>
                <a:cxn ang="0">
                  <a:pos x="96" y="136"/>
                </a:cxn>
                <a:cxn ang="0">
                  <a:pos x="114" y="88"/>
                </a:cxn>
                <a:cxn ang="0">
                  <a:pos x="111" y="43"/>
                </a:cxn>
                <a:cxn ang="0">
                  <a:pos x="96" y="0"/>
                </a:cxn>
                <a:cxn ang="0">
                  <a:pos x="27" y="28"/>
                </a:cxn>
                <a:cxn ang="0">
                  <a:pos x="15" y="73"/>
                </a:cxn>
                <a:cxn ang="0">
                  <a:pos x="0" y="121"/>
                </a:cxn>
                <a:cxn ang="0">
                  <a:pos x="5" y="136"/>
                </a:cxn>
                <a:cxn ang="0">
                  <a:pos x="48" y="142"/>
                </a:cxn>
              </a:cxnLst>
              <a:rect l="0" t="0" r="r" b="b"/>
              <a:pathLst>
                <a:path w="114" h="142">
                  <a:moveTo>
                    <a:pt x="48" y="142"/>
                  </a:moveTo>
                  <a:lnTo>
                    <a:pt x="96" y="136"/>
                  </a:lnTo>
                  <a:lnTo>
                    <a:pt x="114" y="88"/>
                  </a:lnTo>
                  <a:lnTo>
                    <a:pt x="111" y="43"/>
                  </a:lnTo>
                  <a:lnTo>
                    <a:pt x="96" y="0"/>
                  </a:lnTo>
                  <a:lnTo>
                    <a:pt x="27" y="28"/>
                  </a:lnTo>
                  <a:lnTo>
                    <a:pt x="15" y="73"/>
                  </a:lnTo>
                  <a:lnTo>
                    <a:pt x="0" y="121"/>
                  </a:lnTo>
                  <a:lnTo>
                    <a:pt x="5" y="136"/>
                  </a:lnTo>
                  <a:lnTo>
                    <a:pt x="48" y="142"/>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8" name="Freeform 205">
              <a:extLst>
                <a:ext uri="{FF2B5EF4-FFF2-40B4-BE49-F238E27FC236}">
                  <a16:creationId xmlns:a16="http://schemas.microsoft.com/office/drawing/2014/main" id="{9D246EF1-CC83-7721-F539-0CE1A235383D}"/>
                </a:ext>
              </a:extLst>
            </p:cNvPr>
            <p:cNvSpPr>
              <a:spLocks noChangeAspect="1"/>
            </p:cNvSpPr>
            <p:nvPr/>
          </p:nvSpPr>
          <p:spPr bwMode="auto">
            <a:xfrm>
              <a:off x="2636756" y="1654176"/>
              <a:ext cx="31750" cy="19050"/>
            </a:xfrm>
            <a:custGeom>
              <a:avLst/>
              <a:gdLst/>
              <a:ahLst/>
              <a:cxnLst>
                <a:cxn ang="0">
                  <a:pos x="34" y="38"/>
                </a:cxn>
                <a:cxn ang="0">
                  <a:pos x="3" y="33"/>
                </a:cxn>
                <a:cxn ang="0">
                  <a:pos x="0" y="26"/>
                </a:cxn>
                <a:cxn ang="0">
                  <a:pos x="1" y="11"/>
                </a:cxn>
                <a:cxn ang="0">
                  <a:pos x="13" y="0"/>
                </a:cxn>
                <a:cxn ang="0">
                  <a:pos x="33" y="8"/>
                </a:cxn>
                <a:cxn ang="0">
                  <a:pos x="49" y="20"/>
                </a:cxn>
                <a:cxn ang="0">
                  <a:pos x="66" y="36"/>
                </a:cxn>
                <a:cxn ang="0">
                  <a:pos x="34" y="38"/>
                </a:cxn>
              </a:cxnLst>
              <a:rect l="0" t="0" r="r" b="b"/>
              <a:pathLst>
                <a:path w="66" h="38">
                  <a:moveTo>
                    <a:pt x="34" y="38"/>
                  </a:moveTo>
                  <a:lnTo>
                    <a:pt x="3" y="33"/>
                  </a:lnTo>
                  <a:lnTo>
                    <a:pt x="0" y="26"/>
                  </a:lnTo>
                  <a:lnTo>
                    <a:pt x="1" y="11"/>
                  </a:lnTo>
                  <a:lnTo>
                    <a:pt x="13" y="0"/>
                  </a:lnTo>
                  <a:lnTo>
                    <a:pt x="33" y="8"/>
                  </a:lnTo>
                  <a:lnTo>
                    <a:pt x="49" y="20"/>
                  </a:lnTo>
                  <a:lnTo>
                    <a:pt x="66" y="36"/>
                  </a:lnTo>
                  <a:lnTo>
                    <a:pt x="34" y="3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grpSp>
      <p:sp>
        <p:nvSpPr>
          <p:cNvPr id="52" name="ZoneTexte 51">
            <a:extLst>
              <a:ext uri="{FF2B5EF4-FFF2-40B4-BE49-F238E27FC236}">
                <a16:creationId xmlns:a16="http://schemas.microsoft.com/office/drawing/2014/main" id="{5E154C34-67F5-E8F6-42B7-43D11CFFA2D9}"/>
              </a:ext>
            </a:extLst>
          </p:cNvPr>
          <p:cNvSpPr txBox="1"/>
          <p:nvPr/>
        </p:nvSpPr>
        <p:spPr>
          <a:xfrm>
            <a:off x="2265978" y="4713050"/>
            <a:ext cx="1958248" cy="430887"/>
          </a:xfrm>
          <a:prstGeom prst="rect">
            <a:avLst/>
          </a:prstGeom>
          <a:noFill/>
        </p:spPr>
        <p:txBody>
          <a:bodyPr wrap="square" rtlCol="0">
            <a:spAutoFit/>
          </a:bodyPr>
          <a:lstStyle/>
          <a:p>
            <a:r>
              <a:rPr lang="en-GB" sz="1100" b="1" i="1" err="1">
                <a:solidFill>
                  <a:schemeClr val="accent2"/>
                </a:solidFill>
                <a:latin typeface="Raleway" pitchFamily="2" charset="0"/>
              </a:rPr>
              <a:t>Sinergium</a:t>
            </a:r>
            <a:r>
              <a:rPr lang="en-GB" sz="1100" b="1" i="1">
                <a:solidFill>
                  <a:schemeClr val="accent2"/>
                </a:solidFill>
                <a:latin typeface="Raleway" pitchFamily="2" charset="0"/>
              </a:rPr>
              <a:t> Biotech </a:t>
            </a:r>
          </a:p>
          <a:p>
            <a:r>
              <a:rPr lang="en-GB" sz="1100" b="1">
                <a:latin typeface="Raleway" pitchFamily="2" charset="0"/>
              </a:rPr>
              <a:t>Argentina</a:t>
            </a:r>
          </a:p>
        </p:txBody>
      </p:sp>
      <p:sp>
        <p:nvSpPr>
          <p:cNvPr id="56" name="ZoneTexte 55">
            <a:extLst>
              <a:ext uri="{FF2B5EF4-FFF2-40B4-BE49-F238E27FC236}">
                <a16:creationId xmlns:a16="http://schemas.microsoft.com/office/drawing/2014/main" id="{298C4AC2-7727-79D8-DECD-8FCEE816E781}"/>
              </a:ext>
            </a:extLst>
          </p:cNvPr>
          <p:cNvSpPr txBox="1"/>
          <p:nvPr/>
        </p:nvSpPr>
        <p:spPr>
          <a:xfrm>
            <a:off x="956165" y="3194824"/>
            <a:ext cx="1355669" cy="600164"/>
          </a:xfrm>
          <a:prstGeom prst="rect">
            <a:avLst/>
          </a:prstGeom>
          <a:noFill/>
        </p:spPr>
        <p:txBody>
          <a:bodyPr wrap="square" rtlCol="0">
            <a:spAutoFit/>
          </a:bodyPr>
          <a:lstStyle/>
          <a:p>
            <a:r>
              <a:rPr lang="en-GB" sz="1100" b="1" i="1">
                <a:solidFill>
                  <a:schemeClr val="accent2"/>
                </a:solidFill>
                <a:latin typeface="Raleway" pitchFamily="2" charset="0"/>
              </a:rPr>
              <a:t>Bio-</a:t>
            </a:r>
            <a:r>
              <a:rPr lang="en-GB" sz="1100" b="1" i="1" err="1">
                <a:solidFill>
                  <a:schemeClr val="accent2"/>
                </a:solidFill>
                <a:latin typeface="Raleway" pitchFamily="2" charset="0"/>
              </a:rPr>
              <a:t>Manguinhos</a:t>
            </a:r>
            <a:endParaRPr lang="en-GB" sz="1100" b="1" i="1">
              <a:solidFill>
                <a:schemeClr val="accent2"/>
              </a:solidFill>
              <a:latin typeface="Raleway" pitchFamily="2" charset="0"/>
            </a:endParaRPr>
          </a:p>
          <a:p>
            <a:r>
              <a:rPr lang="en-GB" sz="1100" b="1">
                <a:latin typeface="Raleway" pitchFamily="2" charset="0"/>
              </a:rPr>
              <a:t>Brazil</a:t>
            </a:r>
            <a:r>
              <a:rPr lang="en-GB" sz="1100" b="1">
                <a:solidFill>
                  <a:schemeClr val="accent2"/>
                </a:solidFill>
                <a:latin typeface="Raleway" pitchFamily="2" charset="0"/>
              </a:rPr>
              <a:t> </a:t>
            </a:r>
          </a:p>
          <a:p>
            <a:endParaRPr lang="en-GB" sz="1100" b="1" i="1">
              <a:solidFill>
                <a:schemeClr val="accent2"/>
              </a:solidFill>
              <a:latin typeface="Raleway" pitchFamily="2" charset="0"/>
            </a:endParaRPr>
          </a:p>
        </p:txBody>
      </p:sp>
      <p:sp>
        <p:nvSpPr>
          <p:cNvPr id="110" name="ZoneTexte 109">
            <a:extLst>
              <a:ext uri="{FF2B5EF4-FFF2-40B4-BE49-F238E27FC236}">
                <a16:creationId xmlns:a16="http://schemas.microsoft.com/office/drawing/2014/main" id="{9AD07312-DE4E-E953-1D86-9B3580AEA0DB}"/>
              </a:ext>
            </a:extLst>
          </p:cNvPr>
          <p:cNvSpPr txBox="1"/>
          <p:nvPr/>
        </p:nvSpPr>
        <p:spPr>
          <a:xfrm>
            <a:off x="2984310" y="2485876"/>
            <a:ext cx="1213851" cy="430887"/>
          </a:xfrm>
          <a:prstGeom prst="rect">
            <a:avLst/>
          </a:prstGeom>
          <a:noFill/>
        </p:spPr>
        <p:txBody>
          <a:bodyPr wrap="square" rtlCol="0">
            <a:spAutoFit/>
          </a:bodyPr>
          <a:lstStyle/>
          <a:p>
            <a:r>
              <a:rPr lang="en-GB" sz="1100" b="1" err="1">
                <a:latin typeface="Raleway" pitchFamily="2" charset="0"/>
              </a:rPr>
              <a:t>Senai</a:t>
            </a:r>
            <a:r>
              <a:rPr lang="en-GB" sz="1100" b="1">
                <a:latin typeface="Raleway" pitchFamily="2" charset="0"/>
              </a:rPr>
              <a:t> </a:t>
            </a:r>
            <a:r>
              <a:rPr lang="en-GB" sz="1100" b="1" err="1">
                <a:latin typeface="Raleway" pitchFamily="2" charset="0"/>
              </a:rPr>
              <a:t>Cimatec</a:t>
            </a:r>
            <a:endParaRPr lang="en-GB" sz="1100" b="1">
              <a:latin typeface="Raleway" pitchFamily="2" charset="0"/>
            </a:endParaRPr>
          </a:p>
          <a:p>
            <a:r>
              <a:rPr lang="en-GB" sz="1100" b="1">
                <a:latin typeface="Raleway" pitchFamily="2" charset="0"/>
              </a:rPr>
              <a:t>Brazil</a:t>
            </a:r>
          </a:p>
        </p:txBody>
      </p:sp>
      <p:sp>
        <p:nvSpPr>
          <p:cNvPr id="134" name="Triangle isocèle 133">
            <a:extLst>
              <a:ext uri="{FF2B5EF4-FFF2-40B4-BE49-F238E27FC236}">
                <a16:creationId xmlns:a16="http://schemas.microsoft.com/office/drawing/2014/main" id="{61FFCF50-834E-C182-FBE8-6C5647F0E1B5}"/>
              </a:ext>
            </a:extLst>
          </p:cNvPr>
          <p:cNvSpPr/>
          <p:nvPr/>
        </p:nvSpPr>
        <p:spPr>
          <a:xfrm flipH="1">
            <a:off x="2859463" y="2748218"/>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5" name="Table 5">
            <a:extLst>
              <a:ext uri="{FF2B5EF4-FFF2-40B4-BE49-F238E27FC236}">
                <a16:creationId xmlns:a16="http://schemas.microsoft.com/office/drawing/2014/main" id="{F8B489D7-09AA-F8FC-B8E0-8BFB3EA41BE5}"/>
              </a:ext>
            </a:extLst>
          </p:cNvPr>
          <p:cNvGraphicFramePr>
            <a:graphicFrameLocks noGrp="1"/>
          </p:cNvGraphicFramePr>
          <p:nvPr>
            <p:extLst>
              <p:ext uri="{D42A27DB-BD31-4B8C-83A1-F6EECF244321}">
                <p14:modId xmlns:p14="http://schemas.microsoft.com/office/powerpoint/2010/main" val="33516906"/>
              </p:ext>
            </p:extLst>
          </p:nvPr>
        </p:nvGraphicFramePr>
        <p:xfrm>
          <a:off x="5033515" y="1876167"/>
          <a:ext cx="6789834" cy="2788310"/>
        </p:xfrm>
        <a:graphic>
          <a:graphicData uri="http://schemas.openxmlformats.org/drawingml/2006/table">
            <a:tbl>
              <a:tblPr firstRow="1" bandRow="1">
                <a:tableStyleId>{9D7B26C5-4107-4FEC-AEDC-1716B250A1EF}</a:tableStyleId>
              </a:tblPr>
              <a:tblGrid>
                <a:gridCol w="843819">
                  <a:extLst>
                    <a:ext uri="{9D8B030D-6E8A-4147-A177-3AD203B41FA5}">
                      <a16:colId xmlns:a16="http://schemas.microsoft.com/office/drawing/2014/main" val="1971178031"/>
                    </a:ext>
                  </a:extLst>
                </a:gridCol>
                <a:gridCol w="1164771">
                  <a:extLst>
                    <a:ext uri="{9D8B030D-6E8A-4147-A177-3AD203B41FA5}">
                      <a16:colId xmlns:a16="http://schemas.microsoft.com/office/drawing/2014/main" val="4106639385"/>
                    </a:ext>
                  </a:extLst>
                </a:gridCol>
                <a:gridCol w="1110343">
                  <a:extLst>
                    <a:ext uri="{9D8B030D-6E8A-4147-A177-3AD203B41FA5}">
                      <a16:colId xmlns:a16="http://schemas.microsoft.com/office/drawing/2014/main" val="1505498681"/>
                    </a:ext>
                  </a:extLst>
                </a:gridCol>
                <a:gridCol w="1219200">
                  <a:extLst>
                    <a:ext uri="{9D8B030D-6E8A-4147-A177-3AD203B41FA5}">
                      <a16:colId xmlns:a16="http://schemas.microsoft.com/office/drawing/2014/main" val="845154092"/>
                    </a:ext>
                  </a:extLst>
                </a:gridCol>
                <a:gridCol w="2451701">
                  <a:extLst>
                    <a:ext uri="{9D8B030D-6E8A-4147-A177-3AD203B41FA5}">
                      <a16:colId xmlns:a16="http://schemas.microsoft.com/office/drawing/2014/main" val="4158918225"/>
                    </a:ext>
                  </a:extLst>
                </a:gridCol>
              </a:tblGrid>
              <a:tr h="657280">
                <a:tc>
                  <a:txBody>
                    <a:bodyPr/>
                    <a:lstStyle/>
                    <a:p>
                      <a:r>
                        <a:rPr lang="en-US" sz="1200">
                          <a:solidFill>
                            <a:schemeClr val="bg1"/>
                          </a:solidFill>
                          <a:latin typeface="Raleway" pitchFamily="2" charset="0"/>
                        </a:rPr>
                        <a:t>Country</a:t>
                      </a:r>
                    </a:p>
                  </a:txBody>
                  <a:tcPr>
                    <a:solidFill>
                      <a:schemeClr val="tx1"/>
                    </a:solidFill>
                  </a:tcPr>
                </a:tc>
                <a:tc>
                  <a:txBody>
                    <a:bodyPr/>
                    <a:lstStyle/>
                    <a:p>
                      <a:r>
                        <a:rPr lang="en-US" sz="1200">
                          <a:solidFill>
                            <a:schemeClr val="bg1"/>
                          </a:solidFill>
                          <a:latin typeface="Raleway" pitchFamily="2" charset="0"/>
                        </a:rPr>
                        <a:t>Recipient company</a:t>
                      </a:r>
                    </a:p>
                  </a:txBody>
                  <a:tcPr>
                    <a:solidFill>
                      <a:schemeClr val="tx1"/>
                    </a:solidFill>
                  </a:tcPr>
                </a:tc>
                <a:tc>
                  <a:txBody>
                    <a:bodyPr/>
                    <a:lstStyle/>
                    <a:p>
                      <a:r>
                        <a:rPr lang="en-US" sz="1200">
                          <a:solidFill>
                            <a:schemeClr val="bg1"/>
                          </a:solidFill>
                          <a:latin typeface="Raleway" pitchFamily="2" charset="0"/>
                        </a:rPr>
                        <a:t>Developer</a:t>
                      </a:r>
                    </a:p>
                  </a:txBody>
                  <a:tcPr>
                    <a:solidFill>
                      <a:schemeClr val="tx1"/>
                    </a:solidFill>
                  </a:tcPr>
                </a:tc>
                <a:tc>
                  <a:txBody>
                    <a:bodyPr/>
                    <a:lstStyle/>
                    <a:p>
                      <a:r>
                        <a:rPr lang="en-US" sz="1200">
                          <a:solidFill>
                            <a:schemeClr val="bg1"/>
                          </a:solidFill>
                          <a:latin typeface="Raleway" pitchFamily="2" charset="0"/>
                        </a:rPr>
                        <a:t>Production type</a:t>
                      </a:r>
                    </a:p>
                  </a:txBody>
                  <a:tcPr>
                    <a:solidFill>
                      <a:schemeClr val="tx1"/>
                    </a:solidFill>
                  </a:tcPr>
                </a:tc>
                <a:tc>
                  <a:txBody>
                    <a:bodyPr/>
                    <a:lstStyle/>
                    <a:p>
                      <a:r>
                        <a:rPr lang="en-US" sz="1200">
                          <a:solidFill>
                            <a:schemeClr val="bg1"/>
                          </a:solidFill>
                          <a:latin typeface="Raleway" pitchFamily="2" charset="0"/>
                        </a:rPr>
                        <a:t>Status</a:t>
                      </a:r>
                    </a:p>
                  </a:txBody>
                  <a:tcPr>
                    <a:solidFill>
                      <a:schemeClr val="tx1"/>
                    </a:solidFill>
                  </a:tcPr>
                </a:tc>
                <a:extLst>
                  <a:ext uri="{0D108BD9-81ED-4DB2-BD59-A6C34878D82A}">
                    <a16:rowId xmlns:a16="http://schemas.microsoft.com/office/drawing/2014/main" val="3036631337"/>
                  </a:ext>
                </a:extLst>
              </a:tr>
              <a:tr h="1065515">
                <a:tc>
                  <a:txBody>
                    <a:bodyPr/>
                    <a:lstStyle/>
                    <a:p>
                      <a:r>
                        <a:rPr lang="en-US" sz="1200" b="1">
                          <a:latin typeface="Raleway" pitchFamily="2" charset="0"/>
                        </a:rPr>
                        <a:t>Brazil</a:t>
                      </a:r>
                    </a:p>
                  </a:txBody>
                  <a:tcPr/>
                </a:tc>
                <a:tc>
                  <a:txBody>
                    <a:bodyPr/>
                    <a:lstStyle/>
                    <a:p>
                      <a:r>
                        <a:rPr lang="en-US" sz="1200" err="1">
                          <a:latin typeface="Raleway" pitchFamily="2" charset="0"/>
                        </a:rPr>
                        <a:t>Senai</a:t>
                      </a:r>
                      <a:r>
                        <a:rPr lang="en-US" sz="1200">
                          <a:latin typeface="Raleway" pitchFamily="2" charset="0"/>
                        </a:rPr>
                        <a:t> </a:t>
                      </a:r>
                      <a:r>
                        <a:rPr lang="en-US" sz="1200" err="1">
                          <a:latin typeface="Raleway" pitchFamily="2" charset="0"/>
                        </a:rPr>
                        <a:t>Cimatec</a:t>
                      </a:r>
                      <a:endParaRPr lang="en-US" sz="1200">
                        <a:latin typeface="Raleway" pitchFamily="2" charset="0"/>
                      </a:endParaRPr>
                    </a:p>
                  </a:txBody>
                  <a:tcPr/>
                </a:tc>
                <a:tc>
                  <a:txBody>
                    <a:bodyPr/>
                    <a:lstStyle/>
                    <a:p>
                      <a:r>
                        <a:rPr lang="en-US" sz="1200">
                          <a:latin typeface="Raleway" pitchFamily="2" charset="0"/>
                        </a:rPr>
                        <a:t>HDT Bio</a:t>
                      </a:r>
                    </a:p>
                  </a:txBody>
                  <a:tcPr/>
                </a:tc>
                <a:tc>
                  <a:txBody>
                    <a:bodyPr/>
                    <a:lstStyle/>
                    <a:p>
                      <a:r>
                        <a:rPr lang="en-US" sz="1200">
                          <a:latin typeface="Raleway" pitchFamily="2" charset="0"/>
                        </a:rPr>
                        <a:t>End-to-End</a:t>
                      </a:r>
                    </a:p>
                  </a:txBody>
                  <a:tcPr/>
                </a:tc>
                <a:tc>
                  <a:txBody>
                    <a:bodyPr/>
                    <a:lstStyle/>
                    <a:p>
                      <a:r>
                        <a:rPr lang="en-US" sz="1050">
                          <a:latin typeface="Raleway" pitchFamily="2" charset="0"/>
                        </a:rPr>
                        <a:t>HDT Bio granted SENAI CIMATEC a non-exclusive license to its technology for the research, manufacture and sale of HDT-301 in Brazil. </a:t>
                      </a:r>
                    </a:p>
                  </a:txBody>
                  <a:tcPr/>
                </a:tc>
                <a:extLst>
                  <a:ext uri="{0D108BD9-81ED-4DB2-BD59-A6C34878D82A}">
                    <a16:rowId xmlns:a16="http://schemas.microsoft.com/office/drawing/2014/main" val="2859557857"/>
                  </a:ext>
                </a:extLst>
              </a:tr>
              <a:tr h="1065515">
                <a:tc>
                  <a:txBody>
                    <a:bodyPr/>
                    <a:lstStyle/>
                    <a:p>
                      <a:r>
                        <a:rPr lang="en-US" sz="1200" b="1">
                          <a:latin typeface="Raleway" pitchFamily="2" charset="0"/>
                        </a:rPr>
                        <a:t>Brazil</a:t>
                      </a:r>
                    </a:p>
                  </a:txBody>
                  <a:tcPr/>
                </a:tc>
                <a:tc>
                  <a:txBody>
                    <a:bodyPr/>
                    <a:lstStyle/>
                    <a:p>
                      <a:r>
                        <a:rPr lang="en-US" sz="1200" err="1">
                          <a:latin typeface="Raleway" pitchFamily="2" charset="0"/>
                        </a:rPr>
                        <a:t>Eurofarma</a:t>
                      </a:r>
                      <a:r>
                        <a:rPr lang="en-US" sz="1200">
                          <a:latin typeface="Raleway" pitchFamily="2" charset="0"/>
                        </a:rPr>
                        <a:t> laboratories</a:t>
                      </a:r>
                    </a:p>
                  </a:txBody>
                  <a:tcPr/>
                </a:tc>
                <a:tc>
                  <a:txBody>
                    <a:bodyPr/>
                    <a:lstStyle/>
                    <a:p>
                      <a:r>
                        <a:rPr lang="en-US" sz="1200">
                          <a:latin typeface="Raleway" pitchFamily="2" charset="0"/>
                        </a:rPr>
                        <a:t>BioNTech</a:t>
                      </a:r>
                    </a:p>
                  </a:txBody>
                  <a:tcPr/>
                </a:tc>
                <a:tc>
                  <a:txBody>
                    <a:bodyPr/>
                    <a:lstStyle/>
                    <a:p>
                      <a:r>
                        <a:rPr lang="en-US" sz="1200">
                          <a:latin typeface="Raleway" pitchFamily="2" charset="0"/>
                        </a:rPr>
                        <a:t>Fill &amp; Finish</a:t>
                      </a:r>
                    </a:p>
                  </a:txBody>
                  <a:tcPr/>
                </a:tc>
                <a:tc>
                  <a:txBody>
                    <a:bodyPr/>
                    <a:lstStyle/>
                    <a:p>
                      <a:r>
                        <a:rPr lang="en-US" sz="1050">
                          <a:latin typeface="Raleway" pitchFamily="2" charset="0"/>
                        </a:rPr>
                        <a:t>To facilitate </a:t>
                      </a:r>
                      <a:r>
                        <a:rPr lang="en-US" sz="1050" err="1">
                          <a:latin typeface="Raleway" pitchFamily="2" charset="0"/>
                        </a:rPr>
                        <a:t>Eurofarma’s</a:t>
                      </a:r>
                      <a:r>
                        <a:rPr lang="en-US" sz="1050">
                          <a:latin typeface="Raleway" pitchFamily="2" charset="0"/>
                        </a:rPr>
                        <a:t> involvement in the process, technical transfer, on-site development, and equipment installation activities. </a:t>
                      </a:r>
                    </a:p>
                  </a:txBody>
                  <a:tcPr/>
                </a:tc>
                <a:extLst>
                  <a:ext uri="{0D108BD9-81ED-4DB2-BD59-A6C34878D82A}">
                    <a16:rowId xmlns:a16="http://schemas.microsoft.com/office/drawing/2014/main" val="3801935204"/>
                  </a:ext>
                </a:extLst>
              </a:tr>
            </a:tbl>
          </a:graphicData>
        </a:graphic>
      </p:graphicFrame>
      <p:sp>
        <p:nvSpPr>
          <p:cNvPr id="6" name="Triangle isocèle 133">
            <a:extLst>
              <a:ext uri="{FF2B5EF4-FFF2-40B4-BE49-F238E27FC236}">
                <a16:creationId xmlns:a16="http://schemas.microsoft.com/office/drawing/2014/main" id="{0C32AB93-EF19-ACBB-37EA-CEF53371CE72}"/>
              </a:ext>
            </a:extLst>
          </p:cNvPr>
          <p:cNvSpPr/>
          <p:nvPr/>
        </p:nvSpPr>
        <p:spPr>
          <a:xfrm flipH="1">
            <a:off x="3273121" y="3357815"/>
            <a:ext cx="108000" cy="144000"/>
          </a:xfrm>
          <a:prstGeom prst="triangle">
            <a:avLst/>
          </a:prstGeom>
          <a:solidFill>
            <a:schemeClr val="accent6"/>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 name="ZoneTexte 109">
            <a:extLst>
              <a:ext uri="{FF2B5EF4-FFF2-40B4-BE49-F238E27FC236}">
                <a16:creationId xmlns:a16="http://schemas.microsoft.com/office/drawing/2014/main" id="{8096C325-2602-BF5E-5548-E3AAA7DDBB27}"/>
              </a:ext>
            </a:extLst>
          </p:cNvPr>
          <p:cNvSpPr txBox="1"/>
          <p:nvPr/>
        </p:nvSpPr>
        <p:spPr>
          <a:xfrm>
            <a:off x="2725798" y="3533459"/>
            <a:ext cx="1810496" cy="430887"/>
          </a:xfrm>
          <a:prstGeom prst="rect">
            <a:avLst/>
          </a:prstGeom>
          <a:noFill/>
        </p:spPr>
        <p:txBody>
          <a:bodyPr wrap="square" rtlCol="0">
            <a:spAutoFit/>
          </a:bodyPr>
          <a:lstStyle/>
          <a:p>
            <a:r>
              <a:rPr lang="en-GB" sz="1100" b="1" err="1">
                <a:latin typeface="Raleway" pitchFamily="2" charset="0"/>
              </a:rPr>
              <a:t>Eurofarma</a:t>
            </a:r>
            <a:r>
              <a:rPr lang="en-GB" sz="1100" b="1">
                <a:latin typeface="Raleway" pitchFamily="2" charset="0"/>
              </a:rPr>
              <a:t> laboratories</a:t>
            </a:r>
          </a:p>
          <a:p>
            <a:r>
              <a:rPr lang="en-GB" sz="1100" b="1">
                <a:latin typeface="Raleway" pitchFamily="2" charset="0"/>
              </a:rPr>
              <a:t>Brazil</a:t>
            </a:r>
          </a:p>
        </p:txBody>
      </p:sp>
      <p:sp>
        <p:nvSpPr>
          <p:cNvPr id="10" name="Title 1">
            <a:extLst>
              <a:ext uri="{FF2B5EF4-FFF2-40B4-BE49-F238E27FC236}">
                <a16:creationId xmlns:a16="http://schemas.microsoft.com/office/drawing/2014/main" id="{256E90E6-1ECD-4958-D07B-3B6A7120CA1D}"/>
              </a:ext>
            </a:extLst>
          </p:cNvPr>
          <p:cNvSpPr>
            <a:spLocks noGrp="1"/>
          </p:cNvSpPr>
          <p:nvPr>
            <p:ph type="title"/>
          </p:nvPr>
        </p:nvSpPr>
        <p:spPr/>
        <p:txBody>
          <a:bodyPr>
            <a:noAutofit/>
          </a:bodyPr>
          <a:lstStyle/>
          <a:p>
            <a:pPr>
              <a:lnSpc>
                <a:spcPct val="100000"/>
              </a:lnSpc>
            </a:pPr>
            <a:r>
              <a:rPr lang="en-US" sz="3600">
                <a:solidFill>
                  <a:srgbClr val="0070C0"/>
                </a:solidFill>
              </a:rPr>
              <a:t>Latin America</a:t>
            </a:r>
          </a:p>
        </p:txBody>
      </p:sp>
      <p:sp>
        <p:nvSpPr>
          <p:cNvPr id="14" name="ZoneTexte 161">
            <a:extLst>
              <a:ext uri="{FF2B5EF4-FFF2-40B4-BE49-F238E27FC236}">
                <a16:creationId xmlns:a16="http://schemas.microsoft.com/office/drawing/2014/main" id="{1E93C5BD-B6D0-4A36-95C5-957EBC0A75B9}"/>
              </a:ext>
            </a:extLst>
          </p:cNvPr>
          <p:cNvSpPr txBox="1"/>
          <p:nvPr/>
        </p:nvSpPr>
        <p:spPr>
          <a:xfrm>
            <a:off x="8015766" y="6129159"/>
            <a:ext cx="1373378"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End-to-End</a:t>
            </a:r>
          </a:p>
        </p:txBody>
      </p:sp>
      <p:sp>
        <p:nvSpPr>
          <p:cNvPr id="15" name="Triangle isocèle 164">
            <a:extLst>
              <a:ext uri="{FF2B5EF4-FFF2-40B4-BE49-F238E27FC236}">
                <a16:creationId xmlns:a16="http://schemas.microsoft.com/office/drawing/2014/main" id="{EC7284BA-3A09-55B9-71A2-ECE41D483F54}"/>
              </a:ext>
            </a:extLst>
          </p:cNvPr>
          <p:cNvSpPr/>
          <p:nvPr/>
        </p:nvSpPr>
        <p:spPr>
          <a:xfrm flipH="1">
            <a:off x="6698346" y="6067678"/>
            <a:ext cx="243448" cy="205479"/>
          </a:xfrm>
          <a:prstGeom prst="triangle">
            <a:avLst/>
          </a:prstGeom>
          <a:solidFill>
            <a:srgbClr val="00B050"/>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16" name="ZoneTexte 200">
            <a:extLst>
              <a:ext uri="{FF2B5EF4-FFF2-40B4-BE49-F238E27FC236}">
                <a16:creationId xmlns:a16="http://schemas.microsoft.com/office/drawing/2014/main" id="{61B4A1FA-0C92-1593-ECB5-67145236BD00}"/>
              </a:ext>
            </a:extLst>
          </p:cNvPr>
          <p:cNvSpPr txBox="1"/>
          <p:nvPr/>
        </p:nvSpPr>
        <p:spPr>
          <a:xfrm>
            <a:off x="6997772" y="6133458"/>
            <a:ext cx="743009"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Fill &amp; Finish</a:t>
            </a:r>
          </a:p>
        </p:txBody>
      </p:sp>
      <p:sp>
        <p:nvSpPr>
          <p:cNvPr id="17" name="Rectangle 16">
            <a:extLst>
              <a:ext uri="{FF2B5EF4-FFF2-40B4-BE49-F238E27FC236}">
                <a16:creationId xmlns:a16="http://schemas.microsoft.com/office/drawing/2014/main" id="{74D786A2-45A8-C4D3-760D-6B6A50DA5982}"/>
              </a:ext>
            </a:extLst>
          </p:cNvPr>
          <p:cNvSpPr/>
          <p:nvPr/>
        </p:nvSpPr>
        <p:spPr>
          <a:xfrm>
            <a:off x="4565400" y="6143343"/>
            <a:ext cx="299221" cy="131853"/>
          </a:xfrm>
          <a:prstGeom prst="rect">
            <a:avLst/>
          </a:prstGeom>
          <a:solidFill>
            <a:schemeClr val="accent2"/>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err="1">
              <a:solidFill>
                <a:schemeClr val="bg1"/>
              </a:solidFill>
              <a:latin typeface="Raleway" pitchFamily="2" charset="0"/>
            </a:endParaRPr>
          </a:p>
        </p:txBody>
      </p:sp>
      <p:sp>
        <p:nvSpPr>
          <p:cNvPr id="18" name="ZoneTexte 2">
            <a:extLst>
              <a:ext uri="{FF2B5EF4-FFF2-40B4-BE49-F238E27FC236}">
                <a16:creationId xmlns:a16="http://schemas.microsoft.com/office/drawing/2014/main" id="{C878638C-B736-836D-2113-62F58AF364D2}"/>
              </a:ext>
            </a:extLst>
          </p:cNvPr>
          <p:cNvSpPr txBox="1"/>
          <p:nvPr/>
        </p:nvSpPr>
        <p:spPr>
          <a:xfrm>
            <a:off x="4948256" y="6129159"/>
            <a:ext cx="2110733" cy="18526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i="1">
                <a:solidFill>
                  <a:srgbClr val="E86A28"/>
                </a:solidFill>
                <a:latin typeface="Raleway" pitchFamily="2" charset="0"/>
              </a:rPr>
              <a:t>mRNA </a:t>
            </a:r>
            <a:r>
              <a:rPr lang="en-US" sz="1050" b="1" i="1" err="1">
                <a:solidFill>
                  <a:srgbClr val="E86A28"/>
                </a:solidFill>
                <a:latin typeface="Raleway" pitchFamily="2" charset="0"/>
              </a:rPr>
              <a:t>programme</a:t>
            </a:r>
            <a:r>
              <a:rPr lang="en-US" sz="1050" b="1" i="1">
                <a:solidFill>
                  <a:srgbClr val="E86A28"/>
                </a:solidFill>
                <a:latin typeface="Raleway" pitchFamily="2" charset="0"/>
              </a:rPr>
              <a:t> partner</a:t>
            </a:r>
          </a:p>
        </p:txBody>
      </p:sp>
      <p:sp>
        <p:nvSpPr>
          <p:cNvPr id="19" name="Triangle isocèle 203">
            <a:extLst>
              <a:ext uri="{FF2B5EF4-FFF2-40B4-BE49-F238E27FC236}">
                <a16:creationId xmlns:a16="http://schemas.microsoft.com/office/drawing/2014/main" id="{C301C8A9-99B2-104A-9695-B6A920536B95}"/>
              </a:ext>
            </a:extLst>
          </p:cNvPr>
          <p:cNvSpPr/>
          <p:nvPr/>
        </p:nvSpPr>
        <p:spPr>
          <a:xfrm flipH="1">
            <a:off x="7747081" y="6076217"/>
            <a:ext cx="184002" cy="196472"/>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2" name="Slide Number Placeholder 1">
            <a:extLst>
              <a:ext uri="{FF2B5EF4-FFF2-40B4-BE49-F238E27FC236}">
                <a16:creationId xmlns:a16="http://schemas.microsoft.com/office/drawing/2014/main" id="{AA44A204-FDC2-259C-3544-BA146DA0BC3F}"/>
              </a:ext>
            </a:extLst>
          </p:cNvPr>
          <p:cNvSpPr>
            <a:spLocks noGrp="1"/>
          </p:cNvSpPr>
          <p:nvPr>
            <p:ph type="sldNum" sz="quarter" idx="12"/>
          </p:nvPr>
        </p:nvSpPr>
        <p:spPr/>
        <p:txBody>
          <a:bodyPr/>
          <a:lstStyle/>
          <a:p>
            <a:fld id="{1D1C8182-8BBE-B542-ADE5-8820B104469B}" type="slidenum">
              <a:rPr lang="en-RO" smtClean="0"/>
              <a:pPr/>
              <a:t>3</a:t>
            </a:fld>
            <a:endParaRPr lang="en-RO"/>
          </a:p>
        </p:txBody>
      </p:sp>
    </p:spTree>
    <p:extLst>
      <p:ext uri="{BB962C8B-B14F-4D97-AF65-F5344CB8AC3E}">
        <p14:creationId xmlns:p14="http://schemas.microsoft.com/office/powerpoint/2010/main" val="19033220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oup 120">
            <a:extLst>
              <a:ext uri="{FF2B5EF4-FFF2-40B4-BE49-F238E27FC236}">
                <a16:creationId xmlns:a16="http://schemas.microsoft.com/office/drawing/2014/main" id="{7712A898-FB2B-79F7-91F8-54535AD29178}"/>
              </a:ext>
            </a:extLst>
          </p:cNvPr>
          <p:cNvGrpSpPr/>
          <p:nvPr/>
        </p:nvGrpSpPr>
        <p:grpSpPr>
          <a:xfrm>
            <a:off x="419027" y="1333443"/>
            <a:ext cx="4503027" cy="3786466"/>
            <a:chOff x="860855" y="2184497"/>
            <a:chExt cx="4485585" cy="3580908"/>
          </a:xfrm>
          <a:solidFill>
            <a:srgbClr val="BFBFBF"/>
          </a:solidFill>
        </p:grpSpPr>
        <p:sp>
          <p:nvSpPr>
            <p:cNvPr id="63" name="Freeform 6">
              <a:extLst>
                <a:ext uri="{FF2B5EF4-FFF2-40B4-BE49-F238E27FC236}">
                  <a16:creationId xmlns:a16="http://schemas.microsoft.com/office/drawing/2014/main" id="{FEC73474-1639-AE96-EDC0-4DE01532EA45}"/>
                </a:ext>
              </a:extLst>
            </p:cNvPr>
            <p:cNvSpPr>
              <a:spLocks noEditPoints="1"/>
            </p:cNvSpPr>
            <p:nvPr/>
          </p:nvSpPr>
          <p:spPr bwMode="auto">
            <a:xfrm>
              <a:off x="2848616" y="4087248"/>
              <a:ext cx="353683" cy="739901"/>
            </a:xfrm>
            <a:custGeom>
              <a:avLst/>
              <a:gdLst/>
              <a:ahLst/>
              <a:cxnLst>
                <a:cxn ang="0">
                  <a:pos x="183" y="651"/>
                </a:cxn>
                <a:cxn ang="0">
                  <a:pos x="91" y="628"/>
                </a:cxn>
                <a:cxn ang="0">
                  <a:pos x="225" y="616"/>
                </a:cxn>
                <a:cxn ang="0">
                  <a:pos x="212" y="610"/>
                </a:cxn>
                <a:cxn ang="0">
                  <a:pos x="330" y="517"/>
                </a:cxn>
                <a:cxn ang="0">
                  <a:pos x="332" y="478"/>
                </a:cxn>
                <a:cxn ang="0">
                  <a:pos x="197" y="276"/>
                </a:cxn>
                <a:cxn ang="0">
                  <a:pos x="216" y="124"/>
                </a:cxn>
                <a:cxn ang="0">
                  <a:pos x="219" y="126"/>
                </a:cxn>
                <a:cxn ang="0">
                  <a:pos x="260" y="117"/>
                </a:cxn>
                <a:cxn ang="0">
                  <a:pos x="248" y="115"/>
                </a:cxn>
                <a:cxn ang="0">
                  <a:pos x="261" y="101"/>
                </a:cxn>
                <a:cxn ang="0">
                  <a:pos x="170" y="23"/>
                </a:cxn>
                <a:cxn ang="0">
                  <a:pos x="210" y="38"/>
                </a:cxn>
                <a:cxn ang="0">
                  <a:pos x="219" y="72"/>
                </a:cxn>
                <a:cxn ang="0">
                  <a:pos x="269" y="95"/>
                </a:cxn>
                <a:cxn ang="0">
                  <a:pos x="249" y="101"/>
                </a:cxn>
                <a:cxn ang="0">
                  <a:pos x="225" y="115"/>
                </a:cxn>
                <a:cxn ang="0">
                  <a:pos x="213" y="117"/>
                </a:cxn>
                <a:cxn ang="0">
                  <a:pos x="206" y="135"/>
                </a:cxn>
                <a:cxn ang="0">
                  <a:pos x="185" y="166"/>
                </a:cxn>
                <a:cxn ang="0">
                  <a:pos x="169" y="201"/>
                </a:cxn>
                <a:cxn ang="0">
                  <a:pos x="182" y="249"/>
                </a:cxn>
                <a:cxn ang="0">
                  <a:pos x="213" y="295"/>
                </a:cxn>
                <a:cxn ang="0">
                  <a:pos x="255" y="334"/>
                </a:cxn>
                <a:cxn ang="0">
                  <a:pos x="281" y="354"/>
                </a:cxn>
                <a:cxn ang="0">
                  <a:pos x="308" y="386"/>
                </a:cxn>
                <a:cxn ang="0">
                  <a:pos x="326" y="443"/>
                </a:cxn>
                <a:cxn ang="0">
                  <a:pos x="327" y="481"/>
                </a:cxn>
                <a:cxn ang="0">
                  <a:pos x="330" y="512"/>
                </a:cxn>
                <a:cxn ang="0">
                  <a:pos x="326" y="535"/>
                </a:cxn>
                <a:cxn ang="0">
                  <a:pos x="323" y="565"/>
                </a:cxn>
                <a:cxn ang="0">
                  <a:pos x="293" y="590"/>
                </a:cxn>
                <a:cxn ang="0">
                  <a:pos x="248" y="616"/>
                </a:cxn>
                <a:cxn ang="0">
                  <a:pos x="218" y="616"/>
                </a:cxn>
                <a:cxn ang="0">
                  <a:pos x="213" y="619"/>
                </a:cxn>
                <a:cxn ang="0">
                  <a:pos x="206" y="639"/>
                </a:cxn>
                <a:cxn ang="0">
                  <a:pos x="201" y="644"/>
                </a:cxn>
                <a:cxn ang="0">
                  <a:pos x="201" y="660"/>
                </a:cxn>
                <a:cxn ang="0">
                  <a:pos x="151" y="686"/>
                </a:cxn>
                <a:cxn ang="0">
                  <a:pos x="124" y="666"/>
                </a:cxn>
                <a:cxn ang="0">
                  <a:pos x="110" y="622"/>
                </a:cxn>
                <a:cxn ang="0">
                  <a:pos x="145" y="599"/>
                </a:cxn>
                <a:cxn ang="0">
                  <a:pos x="186" y="604"/>
                </a:cxn>
                <a:cxn ang="0">
                  <a:pos x="177" y="559"/>
                </a:cxn>
                <a:cxn ang="0">
                  <a:pos x="227" y="539"/>
                </a:cxn>
                <a:cxn ang="0">
                  <a:pos x="251" y="475"/>
                </a:cxn>
                <a:cxn ang="0">
                  <a:pos x="248" y="416"/>
                </a:cxn>
                <a:cxn ang="0">
                  <a:pos x="234" y="372"/>
                </a:cxn>
                <a:cxn ang="0">
                  <a:pos x="221" y="342"/>
                </a:cxn>
                <a:cxn ang="0">
                  <a:pos x="174" y="286"/>
                </a:cxn>
                <a:cxn ang="0">
                  <a:pos x="139" y="244"/>
                </a:cxn>
                <a:cxn ang="0">
                  <a:pos x="95" y="210"/>
                </a:cxn>
                <a:cxn ang="0">
                  <a:pos x="86" y="183"/>
                </a:cxn>
                <a:cxn ang="0">
                  <a:pos x="121" y="177"/>
                </a:cxn>
                <a:cxn ang="0">
                  <a:pos x="107" y="139"/>
                </a:cxn>
                <a:cxn ang="0">
                  <a:pos x="85" y="121"/>
                </a:cxn>
                <a:cxn ang="0">
                  <a:pos x="43" y="120"/>
                </a:cxn>
                <a:cxn ang="0">
                  <a:pos x="32" y="77"/>
                </a:cxn>
                <a:cxn ang="0">
                  <a:pos x="4" y="48"/>
                </a:cxn>
                <a:cxn ang="0">
                  <a:pos x="44" y="44"/>
                </a:cxn>
                <a:cxn ang="0">
                  <a:pos x="79" y="39"/>
                </a:cxn>
                <a:cxn ang="0">
                  <a:pos x="124" y="14"/>
                </a:cxn>
              </a:cxnLst>
              <a:rect l="0" t="0" r="r" b="b"/>
              <a:pathLst>
                <a:path w="337" h="705">
                  <a:moveTo>
                    <a:pt x="207" y="696"/>
                  </a:moveTo>
                  <a:lnTo>
                    <a:pt x="209" y="696"/>
                  </a:lnTo>
                  <a:lnTo>
                    <a:pt x="209" y="698"/>
                  </a:lnTo>
                  <a:lnTo>
                    <a:pt x="207" y="698"/>
                  </a:lnTo>
                  <a:lnTo>
                    <a:pt x="207" y="699"/>
                  </a:lnTo>
                  <a:lnTo>
                    <a:pt x="206" y="699"/>
                  </a:lnTo>
                  <a:lnTo>
                    <a:pt x="206" y="702"/>
                  </a:lnTo>
                  <a:lnTo>
                    <a:pt x="204" y="702"/>
                  </a:lnTo>
                  <a:lnTo>
                    <a:pt x="204" y="699"/>
                  </a:lnTo>
                  <a:lnTo>
                    <a:pt x="207" y="696"/>
                  </a:lnTo>
                  <a:close/>
                  <a:moveTo>
                    <a:pt x="188" y="657"/>
                  </a:moveTo>
                  <a:lnTo>
                    <a:pt x="191" y="657"/>
                  </a:lnTo>
                  <a:lnTo>
                    <a:pt x="191" y="660"/>
                  </a:lnTo>
                  <a:lnTo>
                    <a:pt x="189" y="660"/>
                  </a:lnTo>
                  <a:lnTo>
                    <a:pt x="189" y="659"/>
                  </a:lnTo>
                  <a:lnTo>
                    <a:pt x="188" y="657"/>
                  </a:lnTo>
                  <a:close/>
                  <a:moveTo>
                    <a:pt x="183" y="651"/>
                  </a:moveTo>
                  <a:lnTo>
                    <a:pt x="185" y="654"/>
                  </a:lnTo>
                  <a:lnTo>
                    <a:pt x="188" y="656"/>
                  </a:lnTo>
                  <a:lnTo>
                    <a:pt x="188" y="657"/>
                  </a:lnTo>
                  <a:lnTo>
                    <a:pt x="186" y="657"/>
                  </a:lnTo>
                  <a:lnTo>
                    <a:pt x="188" y="659"/>
                  </a:lnTo>
                  <a:lnTo>
                    <a:pt x="186" y="659"/>
                  </a:lnTo>
                  <a:lnTo>
                    <a:pt x="185" y="656"/>
                  </a:lnTo>
                  <a:lnTo>
                    <a:pt x="183" y="654"/>
                  </a:lnTo>
                  <a:lnTo>
                    <a:pt x="183" y="651"/>
                  </a:lnTo>
                  <a:close/>
                  <a:moveTo>
                    <a:pt x="182" y="650"/>
                  </a:moveTo>
                  <a:lnTo>
                    <a:pt x="183" y="651"/>
                  </a:lnTo>
                  <a:lnTo>
                    <a:pt x="182" y="651"/>
                  </a:lnTo>
                  <a:lnTo>
                    <a:pt x="182" y="650"/>
                  </a:lnTo>
                  <a:close/>
                  <a:moveTo>
                    <a:pt x="197" y="642"/>
                  </a:moveTo>
                  <a:lnTo>
                    <a:pt x="198" y="642"/>
                  </a:lnTo>
                  <a:lnTo>
                    <a:pt x="200" y="644"/>
                  </a:lnTo>
                  <a:lnTo>
                    <a:pt x="197" y="642"/>
                  </a:lnTo>
                  <a:close/>
                  <a:moveTo>
                    <a:pt x="88" y="638"/>
                  </a:moveTo>
                  <a:lnTo>
                    <a:pt x="89" y="638"/>
                  </a:lnTo>
                  <a:lnTo>
                    <a:pt x="89" y="639"/>
                  </a:lnTo>
                  <a:lnTo>
                    <a:pt x="88" y="638"/>
                  </a:lnTo>
                  <a:close/>
                  <a:moveTo>
                    <a:pt x="230" y="620"/>
                  </a:moveTo>
                  <a:lnTo>
                    <a:pt x="231" y="620"/>
                  </a:lnTo>
                  <a:lnTo>
                    <a:pt x="231" y="622"/>
                  </a:lnTo>
                  <a:lnTo>
                    <a:pt x="230" y="622"/>
                  </a:lnTo>
                  <a:lnTo>
                    <a:pt x="230" y="623"/>
                  </a:lnTo>
                  <a:lnTo>
                    <a:pt x="228" y="623"/>
                  </a:lnTo>
                  <a:lnTo>
                    <a:pt x="228" y="625"/>
                  </a:lnTo>
                  <a:lnTo>
                    <a:pt x="227" y="622"/>
                  </a:lnTo>
                  <a:lnTo>
                    <a:pt x="228" y="622"/>
                  </a:lnTo>
                  <a:lnTo>
                    <a:pt x="230" y="620"/>
                  </a:lnTo>
                  <a:close/>
                  <a:moveTo>
                    <a:pt x="85" y="619"/>
                  </a:moveTo>
                  <a:lnTo>
                    <a:pt x="86" y="619"/>
                  </a:lnTo>
                  <a:lnTo>
                    <a:pt x="91" y="622"/>
                  </a:lnTo>
                  <a:lnTo>
                    <a:pt x="91" y="628"/>
                  </a:lnTo>
                  <a:lnTo>
                    <a:pt x="88" y="632"/>
                  </a:lnTo>
                  <a:lnTo>
                    <a:pt x="88" y="635"/>
                  </a:lnTo>
                  <a:lnTo>
                    <a:pt x="89" y="636"/>
                  </a:lnTo>
                  <a:lnTo>
                    <a:pt x="88" y="636"/>
                  </a:lnTo>
                  <a:lnTo>
                    <a:pt x="88" y="638"/>
                  </a:lnTo>
                  <a:lnTo>
                    <a:pt x="86" y="638"/>
                  </a:lnTo>
                  <a:lnTo>
                    <a:pt x="86" y="632"/>
                  </a:lnTo>
                  <a:lnTo>
                    <a:pt x="85" y="629"/>
                  </a:lnTo>
                  <a:lnTo>
                    <a:pt x="79" y="623"/>
                  </a:lnTo>
                  <a:lnTo>
                    <a:pt x="79" y="622"/>
                  </a:lnTo>
                  <a:lnTo>
                    <a:pt x="82" y="623"/>
                  </a:lnTo>
                  <a:lnTo>
                    <a:pt x="83" y="623"/>
                  </a:lnTo>
                  <a:lnTo>
                    <a:pt x="83" y="622"/>
                  </a:lnTo>
                  <a:lnTo>
                    <a:pt x="85" y="622"/>
                  </a:lnTo>
                  <a:lnTo>
                    <a:pt x="85" y="619"/>
                  </a:lnTo>
                  <a:close/>
                  <a:moveTo>
                    <a:pt x="231" y="617"/>
                  </a:moveTo>
                  <a:lnTo>
                    <a:pt x="234" y="620"/>
                  </a:lnTo>
                  <a:lnTo>
                    <a:pt x="231" y="620"/>
                  </a:lnTo>
                  <a:lnTo>
                    <a:pt x="231" y="617"/>
                  </a:lnTo>
                  <a:close/>
                  <a:moveTo>
                    <a:pt x="204" y="617"/>
                  </a:moveTo>
                  <a:lnTo>
                    <a:pt x="204" y="619"/>
                  </a:lnTo>
                  <a:lnTo>
                    <a:pt x="206" y="619"/>
                  </a:lnTo>
                  <a:lnTo>
                    <a:pt x="206" y="617"/>
                  </a:lnTo>
                  <a:lnTo>
                    <a:pt x="204" y="617"/>
                  </a:lnTo>
                  <a:close/>
                  <a:moveTo>
                    <a:pt x="224" y="616"/>
                  </a:moveTo>
                  <a:lnTo>
                    <a:pt x="225" y="616"/>
                  </a:lnTo>
                  <a:lnTo>
                    <a:pt x="224" y="617"/>
                  </a:lnTo>
                  <a:lnTo>
                    <a:pt x="224" y="616"/>
                  </a:lnTo>
                  <a:close/>
                  <a:moveTo>
                    <a:pt x="312" y="614"/>
                  </a:moveTo>
                  <a:lnTo>
                    <a:pt x="314" y="614"/>
                  </a:lnTo>
                  <a:lnTo>
                    <a:pt x="314" y="616"/>
                  </a:lnTo>
                  <a:lnTo>
                    <a:pt x="312" y="616"/>
                  </a:lnTo>
                  <a:lnTo>
                    <a:pt x="312" y="614"/>
                  </a:lnTo>
                  <a:close/>
                  <a:moveTo>
                    <a:pt x="213" y="611"/>
                  </a:moveTo>
                  <a:lnTo>
                    <a:pt x="213" y="613"/>
                  </a:lnTo>
                  <a:lnTo>
                    <a:pt x="215" y="611"/>
                  </a:lnTo>
                  <a:lnTo>
                    <a:pt x="213" y="611"/>
                  </a:lnTo>
                  <a:close/>
                  <a:moveTo>
                    <a:pt x="219" y="610"/>
                  </a:moveTo>
                  <a:lnTo>
                    <a:pt x="219" y="611"/>
                  </a:lnTo>
                  <a:lnTo>
                    <a:pt x="221" y="611"/>
                  </a:lnTo>
                  <a:lnTo>
                    <a:pt x="219" y="610"/>
                  </a:lnTo>
                  <a:close/>
                  <a:moveTo>
                    <a:pt x="216" y="610"/>
                  </a:moveTo>
                  <a:lnTo>
                    <a:pt x="216" y="611"/>
                  </a:lnTo>
                  <a:lnTo>
                    <a:pt x="218" y="611"/>
                  </a:lnTo>
                  <a:lnTo>
                    <a:pt x="218" y="610"/>
                  </a:lnTo>
                  <a:lnTo>
                    <a:pt x="216" y="610"/>
                  </a:lnTo>
                  <a:close/>
                  <a:moveTo>
                    <a:pt x="213" y="608"/>
                  </a:moveTo>
                  <a:lnTo>
                    <a:pt x="215" y="610"/>
                  </a:lnTo>
                  <a:lnTo>
                    <a:pt x="215" y="608"/>
                  </a:lnTo>
                  <a:lnTo>
                    <a:pt x="213" y="608"/>
                  </a:lnTo>
                  <a:close/>
                  <a:moveTo>
                    <a:pt x="212" y="608"/>
                  </a:moveTo>
                  <a:lnTo>
                    <a:pt x="212" y="610"/>
                  </a:lnTo>
                  <a:lnTo>
                    <a:pt x="213" y="610"/>
                  </a:lnTo>
                  <a:lnTo>
                    <a:pt x="212" y="608"/>
                  </a:lnTo>
                  <a:close/>
                  <a:moveTo>
                    <a:pt x="224" y="607"/>
                  </a:moveTo>
                  <a:lnTo>
                    <a:pt x="222" y="608"/>
                  </a:lnTo>
                  <a:lnTo>
                    <a:pt x="224" y="608"/>
                  </a:lnTo>
                  <a:lnTo>
                    <a:pt x="224" y="611"/>
                  </a:lnTo>
                  <a:lnTo>
                    <a:pt x="225" y="611"/>
                  </a:lnTo>
                  <a:lnTo>
                    <a:pt x="225" y="608"/>
                  </a:lnTo>
                  <a:lnTo>
                    <a:pt x="224" y="607"/>
                  </a:lnTo>
                  <a:close/>
                  <a:moveTo>
                    <a:pt x="324" y="553"/>
                  </a:moveTo>
                  <a:lnTo>
                    <a:pt x="326" y="553"/>
                  </a:lnTo>
                  <a:lnTo>
                    <a:pt x="324" y="554"/>
                  </a:lnTo>
                  <a:lnTo>
                    <a:pt x="324" y="553"/>
                  </a:lnTo>
                  <a:close/>
                  <a:moveTo>
                    <a:pt x="323" y="541"/>
                  </a:moveTo>
                  <a:lnTo>
                    <a:pt x="324" y="542"/>
                  </a:lnTo>
                  <a:lnTo>
                    <a:pt x="324" y="544"/>
                  </a:lnTo>
                  <a:lnTo>
                    <a:pt x="326" y="545"/>
                  </a:lnTo>
                  <a:lnTo>
                    <a:pt x="324" y="542"/>
                  </a:lnTo>
                  <a:lnTo>
                    <a:pt x="324" y="541"/>
                  </a:lnTo>
                  <a:lnTo>
                    <a:pt x="323" y="541"/>
                  </a:lnTo>
                  <a:close/>
                  <a:moveTo>
                    <a:pt x="327" y="536"/>
                  </a:moveTo>
                  <a:lnTo>
                    <a:pt x="332" y="536"/>
                  </a:lnTo>
                  <a:lnTo>
                    <a:pt x="332" y="538"/>
                  </a:lnTo>
                  <a:lnTo>
                    <a:pt x="329" y="538"/>
                  </a:lnTo>
                  <a:lnTo>
                    <a:pt x="327" y="536"/>
                  </a:lnTo>
                  <a:close/>
                  <a:moveTo>
                    <a:pt x="330" y="517"/>
                  </a:moveTo>
                  <a:lnTo>
                    <a:pt x="333" y="517"/>
                  </a:lnTo>
                  <a:lnTo>
                    <a:pt x="333" y="518"/>
                  </a:lnTo>
                  <a:lnTo>
                    <a:pt x="334" y="518"/>
                  </a:lnTo>
                  <a:lnTo>
                    <a:pt x="334" y="520"/>
                  </a:lnTo>
                  <a:lnTo>
                    <a:pt x="333" y="520"/>
                  </a:lnTo>
                  <a:lnTo>
                    <a:pt x="332" y="518"/>
                  </a:lnTo>
                  <a:lnTo>
                    <a:pt x="330" y="518"/>
                  </a:lnTo>
                  <a:lnTo>
                    <a:pt x="330" y="517"/>
                  </a:lnTo>
                  <a:close/>
                  <a:moveTo>
                    <a:pt x="333" y="511"/>
                  </a:moveTo>
                  <a:lnTo>
                    <a:pt x="334" y="514"/>
                  </a:lnTo>
                  <a:lnTo>
                    <a:pt x="336" y="515"/>
                  </a:lnTo>
                  <a:lnTo>
                    <a:pt x="337" y="515"/>
                  </a:lnTo>
                  <a:lnTo>
                    <a:pt x="337" y="517"/>
                  </a:lnTo>
                  <a:lnTo>
                    <a:pt x="336" y="517"/>
                  </a:lnTo>
                  <a:lnTo>
                    <a:pt x="336" y="520"/>
                  </a:lnTo>
                  <a:lnTo>
                    <a:pt x="334" y="518"/>
                  </a:lnTo>
                  <a:lnTo>
                    <a:pt x="334" y="515"/>
                  </a:lnTo>
                  <a:lnTo>
                    <a:pt x="332" y="515"/>
                  </a:lnTo>
                  <a:lnTo>
                    <a:pt x="333" y="514"/>
                  </a:lnTo>
                  <a:lnTo>
                    <a:pt x="333" y="511"/>
                  </a:lnTo>
                  <a:close/>
                  <a:moveTo>
                    <a:pt x="329" y="487"/>
                  </a:moveTo>
                  <a:lnTo>
                    <a:pt x="330" y="487"/>
                  </a:lnTo>
                  <a:lnTo>
                    <a:pt x="330" y="488"/>
                  </a:lnTo>
                  <a:lnTo>
                    <a:pt x="329" y="487"/>
                  </a:lnTo>
                  <a:close/>
                  <a:moveTo>
                    <a:pt x="330" y="478"/>
                  </a:moveTo>
                  <a:lnTo>
                    <a:pt x="332" y="478"/>
                  </a:lnTo>
                  <a:lnTo>
                    <a:pt x="332" y="479"/>
                  </a:lnTo>
                  <a:lnTo>
                    <a:pt x="329" y="479"/>
                  </a:lnTo>
                  <a:lnTo>
                    <a:pt x="330" y="478"/>
                  </a:lnTo>
                  <a:close/>
                  <a:moveTo>
                    <a:pt x="329" y="476"/>
                  </a:moveTo>
                  <a:lnTo>
                    <a:pt x="330" y="476"/>
                  </a:lnTo>
                  <a:lnTo>
                    <a:pt x="330" y="478"/>
                  </a:lnTo>
                  <a:lnTo>
                    <a:pt x="329" y="476"/>
                  </a:lnTo>
                  <a:close/>
                  <a:moveTo>
                    <a:pt x="329" y="473"/>
                  </a:moveTo>
                  <a:lnTo>
                    <a:pt x="330" y="475"/>
                  </a:lnTo>
                  <a:lnTo>
                    <a:pt x="329" y="475"/>
                  </a:lnTo>
                  <a:lnTo>
                    <a:pt x="329" y="473"/>
                  </a:lnTo>
                  <a:close/>
                  <a:moveTo>
                    <a:pt x="329" y="472"/>
                  </a:moveTo>
                  <a:lnTo>
                    <a:pt x="330" y="472"/>
                  </a:lnTo>
                  <a:lnTo>
                    <a:pt x="330" y="473"/>
                  </a:lnTo>
                  <a:lnTo>
                    <a:pt x="329" y="473"/>
                  </a:lnTo>
                  <a:lnTo>
                    <a:pt x="329" y="472"/>
                  </a:lnTo>
                  <a:close/>
                  <a:moveTo>
                    <a:pt x="306" y="388"/>
                  </a:moveTo>
                  <a:lnTo>
                    <a:pt x="306" y="389"/>
                  </a:lnTo>
                  <a:lnTo>
                    <a:pt x="308" y="389"/>
                  </a:lnTo>
                  <a:lnTo>
                    <a:pt x="306" y="388"/>
                  </a:lnTo>
                  <a:close/>
                  <a:moveTo>
                    <a:pt x="195" y="274"/>
                  </a:moveTo>
                  <a:lnTo>
                    <a:pt x="198" y="276"/>
                  </a:lnTo>
                  <a:lnTo>
                    <a:pt x="195" y="276"/>
                  </a:lnTo>
                  <a:lnTo>
                    <a:pt x="195" y="277"/>
                  </a:lnTo>
                  <a:lnTo>
                    <a:pt x="197" y="277"/>
                  </a:lnTo>
                  <a:lnTo>
                    <a:pt x="197" y="276"/>
                  </a:lnTo>
                  <a:lnTo>
                    <a:pt x="198" y="277"/>
                  </a:lnTo>
                  <a:lnTo>
                    <a:pt x="200" y="277"/>
                  </a:lnTo>
                  <a:lnTo>
                    <a:pt x="197" y="274"/>
                  </a:lnTo>
                  <a:lnTo>
                    <a:pt x="195" y="274"/>
                  </a:lnTo>
                  <a:close/>
                  <a:moveTo>
                    <a:pt x="191" y="273"/>
                  </a:moveTo>
                  <a:lnTo>
                    <a:pt x="191" y="274"/>
                  </a:lnTo>
                  <a:lnTo>
                    <a:pt x="192" y="274"/>
                  </a:lnTo>
                  <a:lnTo>
                    <a:pt x="191" y="273"/>
                  </a:lnTo>
                  <a:close/>
                  <a:moveTo>
                    <a:pt x="197" y="256"/>
                  </a:moveTo>
                  <a:lnTo>
                    <a:pt x="198" y="256"/>
                  </a:lnTo>
                  <a:lnTo>
                    <a:pt x="198" y="258"/>
                  </a:lnTo>
                  <a:lnTo>
                    <a:pt x="197" y="258"/>
                  </a:lnTo>
                  <a:lnTo>
                    <a:pt x="197" y="256"/>
                  </a:lnTo>
                  <a:close/>
                  <a:moveTo>
                    <a:pt x="204" y="151"/>
                  </a:moveTo>
                  <a:lnTo>
                    <a:pt x="206" y="153"/>
                  </a:lnTo>
                  <a:lnTo>
                    <a:pt x="204" y="153"/>
                  </a:lnTo>
                  <a:lnTo>
                    <a:pt x="204" y="151"/>
                  </a:lnTo>
                  <a:close/>
                  <a:moveTo>
                    <a:pt x="240" y="126"/>
                  </a:moveTo>
                  <a:lnTo>
                    <a:pt x="242" y="126"/>
                  </a:lnTo>
                  <a:lnTo>
                    <a:pt x="242" y="127"/>
                  </a:lnTo>
                  <a:lnTo>
                    <a:pt x="240" y="126"/>
                  </a:lnTo>
                  <a:close/>
                  <a:moveTo>
                    <a:pt x="246" y="124"/>
                  </a:moveTo>
                  <a:lnTo>
                    <a:pt x="246" y="126"/>
                  </a:lnTo>
                  <a:lnTo>
                    <a:pt x="245" y="126"/>
                  </a:lnTo>
                  <a:lnTo>
                    <a:pt x="246" y="124"/>
                  </a:lnTo>
                  <a:close/>
                  <a:moveTo>
                    <a:pt x="216" y="124"/>
                  </a:moveTo>
                  <a:lnTo>
                    <a:pt x="219" y="127"/>
                  </a:lnTo>
                  <a:lnTo>
                    <a:pt x="216" y="127"/>
                  </a:lnTo>
                  <a:lnTo>
                    <a:pt x="216" y="124"/>
                  </a:lnTo>
                  <a:close/>
                  <a:moveTo>
                    <a:pt x="246" y="123"/>
                  </a:moveTo>
                  <a:lnTo>
                    <a:pt x="248" y="123"/>
                  </a:lnTo>
                  <a:lnTo>
                    <a:pt x="246" y="124"/>
                  </a:lnTo>
                  <a:lnTo>
                    <a:pt x="246" y="123"/>
                  </a:lnTo>
                  <a:close/>
                  <a:moveTo>
                    <a:pt x="240" y="123"/>
                  </a:moveTo>
                  <a:lnTo>
                    <a:pt x="242" y="123"/>
                  </a:lnTo>
                  <a:lnTo>
                    <a:pt x="242" y="124"/>
                  </a:lnTo>
                  <a:lnTo>
                    <a:pt x="240" y="124"/>
                  </a:lnTo>
                  <a:lnTo>
                    <a:pt x="240" y="123"/>
                  </a:lnTo>
                  <a:close/>
                  <a:moveTo>
                    <a:pt x="222" y="123"/>
                  </a:moveTo>
                  <a:lnTo>
                    <a:pt x="222" y="124"/>
                  </a:lnTo>
                  <a:lnTo>
                    <a:pt x="227" y="124"/>
                  </a:lnTo>
                  <a:lnTo>
                    <a:pt x="225" y="126"/>
                  </a:lnTo>
                  <a:lnTo>
                    <a:pt x="228" y="126"/>
                  </a:lnTo>
                  <a:lnTo>
                    <a:pt x="228" y="127"/>
                  </a:lnTo>
                  <a:lnTo>
                    <a:pt x="225" y="127"/>
                  </a:lnTo>
                  <a:lnTo>
                    <a:pt x="225" y="129"/>
                  </a:lnTo>
                  <a:lnTo>
                    <a:pt x="227" y="129"/>
                  </a:lnTo>
                  <a:lnTo>
                    <a:pt x="227" y="130"/>
                  </a:lnTo>
                  <a:lnTo>
                    <a:pt x="225" y="130"/>
                  </a:lnTo>
                  <a:lnTo>
                    <a:pt x="222" y="127"/>
                  </a:lnTo>
                  <a:lnTo>
                    <a:pt x="221" y="127"/>
                  </a:lnTo>
                  <a:lnTo>
                    <a:pt x="219" y="126"/>
                  </a:lnTo>
                  <a:lnTo>
                    <a:pt x="219" y="124"/>
                  </a:lnTo>
                  <a:lnTo>
                    <a:pt x="221" y="124"/>
                  </a:lnTo>
                  <a:lnTo>
                    <a:pt x="222" y="123"/>
                  </a:lnTo>
                  <a:close/>
                  <a:moveTo>
                    <a:pt x="242" y="121"/>
                  </a:moveTo>
                  <a:lnTo>
                    <a:pt x="243" y="121"/>
                  </a:lnTo>
                  <a:lnTo>
                    <a:pt x="242" y="123"/>
                  </a:lnTo>
                  <a:lnTo>
                    <a:pt x="242" y="121"/>
                  </a:lnTo>
                  <a:close/>
                  <a:moveTo>
                    <a:pt x="218" y="121"/>
                  </a:moveTo>
                  <a:lnTo>
                    <a:pt x="219" y="121"/>
                  </a:lnTo>
                  <a:lnTo>
                    <a:pt x="218" y="123"/>
                  </a:lnTo>
                  <a:lnTo>
                    <a:pt x="218" y="121"/>
                  </a:lnTo>
                  <a:close/>
                  <a:moveTo>
                    <a:pt x="249" y="120"/>
                  </a:moveTo>
                  <a:lnTo>
                    <a:pt x="249" y="121"/>
                  </a:lnTo>
                  <a:lnTo>
                    <a:pt x="248" y="123"/>
                  </a:lnTo>
                  <a:lnTo>
                    <a:pt x="248" y="121"/>
                  </a:lnTo>
                  <a:lnTo>
                    <a:pt x="249" y="120"/>
                  </a:lnTo>
                  <a:close/>
                  <a:moveTo>
                    <a:pt x="215" y="120"/>
                  </a:moveTo>
                  <a:lnTo>
                    <a:pt x="216" y="121"/>
                  </a:lnTo>
                  <a:lnTo>
                    <a:pt x="216" y="123"/>
                  </a:lnTo>
                  <a:lnTo>
                    <a:pt x="215" y="123"/>
                  </a:lnTo>
                  <a:lnTo>
                    <a:pt x="215" y="124"/>
                  </a:lnTo>
                  <a:lnTo>
                    <a:pt x="213" y="124"/>
                  </a:lnTo>
                  <a:lnTo>
                    <a:pt x="213" y="121"/>
                  </a:lnTo>
                  <a:lnTo>
                    <a:pt x="215" y="120"/>
                  </a:lnTo>
                  <a:close/>
                  <a:moveTo>
                    <a:pt x="258" y="117"/>
                  </a:moveTo>
                  <a:lnTo>
                    <a:pt x="260" y="117"/>
                  </a:lnTo>
                  <a:lnTo>
                    <a:pt x="260" y="120"/>
                  </a:lnTo>
                  <a:lnTo>
                    <a:pt x="258" y="120"/>
                  </a:lnTo>
                  <a:lnTo>
                    <a:pt x="258" y="117"/>
                  </a:lnTo>
                  <a:close/>
                  <a:moveTo>
                    <a:pt x="251" y="117"/>
                  </a:moveTo>
                  <a:lnTo>
                    <a:pt x="251" y="118"/>
                  </a:lnTo>
                  <a:lnTo>
                    <a:pt x="249" y="118"/>
                  </a:lnTo>
                  <a:lnTo>
                    <a:pt x="251" y="117"/>
                  </a:lnTo>
                  <a:close/>
                  <a:moveTo>
                    <a:pt x="261" y="115"/>
                  </a:moveTo>
                  <a:lnTo>
                    <a:pt x="263" y="115"/>
                  </a:lnTo>
                  <a:lnTo>
                    <a:pt x="263" y="117"/>
                  </a:lnTo>
                  <a:lnTo>
                    <a:pt x="261" y="118"/>
                  </a:lnTo>
                  <a:lnTo>
                    <a:pt x="261" y="115"/>
                  </a:lnTo>
                  <a:close/>
                  <a:moveTo>
                    <a:pt x="251" y="115"/>
                  </a:moveTo>
                  <a:lnTo>
                    <a:pt x="251" y="117"/>
                  </a:lnTo>
                  <a:lnTo>
                    <a:pt x="249" y="117"/>
                  </a:lnTo>
                  <a:lnTo>
                    <a:pt x="251" y="115"/>
                  </a:lnTo>
                  <a:close/>
                  <a:moveTo>
                    <a:pt x="248" y="115"/>
                  </a:moveTo>
                  <a:lnTo>
                    <a:pt x="249" y="115"/>
                  </a:lnTo>
                  <a:lnTo>
                    <a:pt x="249" y="118"/>
                  </a:lnTo>
                  <a:lnTo>
                    <a:pt x="248" y="120"/>
                  </a:lnTo>
                  <a:lnTo>
                    <a:pt x="248" y="121"/>
                  </a:lnTo>
                  <a:lnTo>
                    <a:pt x="243" y="121"/>
                  </a:lnTo>
                  <a:lnTo>
                    <a:pt x="245" y="120"/>
                  </a:lnTo>
                  <a:lnTo>
                    <a:pt x="246" y="120"/>
                  </a:lnTo>
                  <a:lnTo>
                    <a:pt x="246" y="117"/>
                  </a:lnTo>
                  <a:lnTo>
                    <a:pt x="248" y="115"/>
                  </a:lnTo>
                  <a:close/>
                  <a:moveTo>
                    <a:pt x="252" y="111"/>
                  </a:moveTo>
                  <a:lnTo>
                    <a:pt x="251" y="115"/>
                  </a:lnTo>
                  <a:lnTo>
                    <a:pt x="251" y="112"/>
                  </a:lnTo>
                  <a:lnTo>
                    <a:pt x="252" y="111"/>
                  </a:lnTo>
                  <a:close/>
                  <a:moveTo>
                    <a:pt x="245" y="104"/>
                  </a:moveTo>
                  <a:lnTo>
                    <a:pt x="246" y="104"/>
                  </a:lnTo>
                  <a:lnTo>
                    <a:pt x="248" y="105"/>
                  </a:lnTo>
                  <a:lnTo>
                    <a:pt x="248" y="108"/>
                  </a:lnTo>
                  <a:lnTo>
                    <a:pt x="249" y="108"/>
                  </a:lnTo>
                  <a:lnTo>
                    <a:pt x="251" y="107"/>
                  </a:lnTo>
                  <a:lnTo>
                    <a:pt x="252" y="107"/>
                  </a:lnTo>
                  <a:lnTo>
                    <a:pt x="249" y="110"/>
                  </a:lnTo>
                  <a:lnTo>
                    <a:pt x="248" y="110"/>
                  </a:lnTo>
                  <a:lnTo>
                    <a:pt x="248" y="111"/>
                  </a:lnTo>
                  <a:lnTo>
                    <a:pt x="246" y="112"/>
                  </a:lnTo>
                  <a:lnTo>
                    <a:pt x="243" y="112"/>
                  </a:lnTo>
                  <a:lnTo>
                    <a:pt x="243" y="114"/>
                  </a:lnTo>
                  <a:lnTo>
                    <a:pt x="242" y="115"/>
                  </a:lnTo>
                  <a:lnTo>
                    <a:pt x="242" y="111"/>
                  </a:lnTo>
                  <a:lnTo>
                    <a:pt x="243" y="111"/>
                  </a:lnTo>
                  <a:lnTo>
                    <a:pt x="243" y="108"/>
                  </a:lnTo>
                  <a:lnTo>
                    <a:pt x="245" y="108"/>
                  </a:lnTo>
                  <a:lnTo>
                    <a:pt x="245" y="104"/>
                  </a:lnTo>
                  <a:close/>
                  <a:moveTo>
                    <a:pt x="260" y="99"/>
                  </a:moveTo>
                  <a:lnTo>
                    <a:pt x="261" y="99"/>
                  </a:lnTo>
                  <a:lnTo>
                    <a:pt x="261" y="101"/>
                  </a:lnTo>
                  <a:lnTo>
                    <a:pt x="257" y="102"/>
                  </a:lnTo>
                  <a:lnTo>
                    <a:pt x="260" y="99"/>
                  </a:lnTo>
                  <a:close/>
                  <a:moveTo>
                    <a:pt x="264" y="98"/>
                  </a:moveTo>
                  <a:lnTo>
                    <a:pt x="270" y="98"/>
                  </a:lnTo>
                  <a:lnTo>
                    <a:pt x="269" y="99"/>
                  </a:lnTo>
                  <a:lnTo>
                    <a:pt x="266" y="99"/>
                  </a:lnTo>
                  <a:lnTo>
                    <a:pt x="263" y="101"/>
                  </a:lnTo>
                  <a:lnTo>
                    <a:pt x="263" y="99"/>
                  </a:lnTo>
                  <a:lnTo>
                    <a:pt x="264" y="98"/>
                  </a:lnTo>
                  <a:close/>
                  <a:moveTo>
                    <a:pt x="145" y="0"/>
                  </a:moveTo>
                  <a:lnTo>
                    <a:pt x="146" y="0"/>
                  </a:lnTo>
                  <a:lnTo>
                    <a:pt x="148" y="2"/>
                  </a:lnTo>
                  <a:lnTo>
                    <a:pt x="148" y="3"/>
                  </a:lnTo>
                  <a:lnTo>
                    <a:pt x="149" y="5"/>
                  </a:lnTo>
                  <a:lnTo>
                    <a:pt x="152" y="5"/>
                  </a:lnTo>
                  <a:lnTo>
                    <a:pt x="152" y="6"/>
                  </a:lnTo>
                  <a:lnTo>
                    <a:pt x="154" y="9"/>
                  </a:lnTo>
                  <a:lnTo>
                    <a:pt x="157" y="11"/>
                  </a:lnTo>
                  <a:lnTo>
                    <a:pt x="157" y="15"/>
                  </a:lnTo>
                  <a:lnTo>
                    <a:pt x="158" y="15"/>
                  </a:lnTo>
                  <a:lnTo>
                    <a:pt x="158" y="17"/>
                  </a:lnTo>
                  <a:lnTo>
                    <a:pt x="164" y="17"/>
                  </a:lnTo>
                  <a:lnTo>
                    <a:pt x="166" y="18"/>
                  </a:lnTo>
                  <a:lnTo>
                    <a:pt x="167" y="18"/>
                  </a:lnTo>
                  <a:lnTo>
                    <a:pt x="169" y="20"/>
                  </a:lnTo>
                  <a:lnTo>
                    <a:pt x="170" y="23"/>
                  </a:lnTo>
                  <a:lnTo>
                    <a:pt x="172" y="24"/>
                  </a:lnTo>
                  <a:lnTo>
                    <a:pt x="172" y="23"/>
                  </a:lnTo>
                  <a:lnTo>
                    <a:pt x="176" y="23"/>
                  </a:lnTo>
                  <a:lnTo>
                    <a:pt x="177" y="21"/>
                  </a:lnTo>
                  <a:lnTo>
                    <a:pt x="177" y="20"/>
                  </a:lnTo>
                  <a:lnTo>
                    <a:pt x="186" y="20"/>
                  </a:lnTo>
                  <a:lnTo>
                    <a:pt x="188" y="21"/>
                  </a:lnTo>
                  <a:lnTo>
                    <a:pt x="188" y="24"/>
                  </a:lnTo>
                  <a:lnTo>
                    <a:pt x="189" y="26"/>
                  </a:lnTo>
                  <a:lnTo>
                    <a:pt x="192" y="26"/>
                  </a:lnTo>
                  <a:lnTo>
                    <a:pt x="198" y="24"/>
                  </a:lnTo>
                  <a:lnTo>
                    <a:pt x="200" y="24"/>
                  </a:lnTo>
                  <a:lnTo>
                    <a:pt x="200" y="23"/>
                  </a:lnTo>
                  <a:lnTo>
                    <a:pt x="201" y="23"/>
                  </a:lnTo>
                  <a:lnTo>
                    <a:pt x="204" y="24"/>
                  </a:lnTo>
                  <a:lnTo>
                    <a:pt x="206" y="24"/>
                  </a:lnTo>
                  <a:lnTo>
                    <a:pt x="206" y="26"/>
                  </a:lnTo>
                  <a:lnTo>
                    <a:pt x="209" y="26"/>
                  </a:lnTo>
                  <a:lnTo>
                    <a:pt x="212" y="29"/>
                  </a:lnTo>
                  <a:lnTo>
                    <a:pt x="215" y="29"/>
                  </a:lnTo>
                  <a:lnTo>
                    <a:pt x="215" y="30"/>
                  </a:lnTo>
                  <a:lnTo>
                    <a:pt x="213" y="30"/>
                  </a:lnTo>
                  <a:lnTo>
                    <a:pt x="212" y="32"/>
                  </a:lnTo>
                  <a:lnTo>
                    <a:pt x="212" y="35"/>
                  </a:lnTo>
                  <a:lnTo>
                    <a:pt x="210" y="36"/>
                  </a:lnTo>
                  <a:lnTo>
                    <a:pt x="210" y="38"/>
                  </a:lnTo>
                  <a:lnTo>
                    <a:pt x="209" y="39"/>
                  </a:lnTo>
                  <a:lnTo>
                    <a:pt x="209" y="41"/>
                  </a:lnTo>
                  <a:lnTo>
                    <a:pt x="207" y="41"/>
                  </a:lnTo>
                  <a:lnTo>
                    <a:pt x="207" y="39"/>
                  </a:lnTo>
                  <a:lnTo>
                    <a:pt x="206" y="39"/>
                  </a:lnTo>
                  <a:lnTo>
                    <a:pt x="206" y="38"/>
                  </a:lnTo>
                  <a:lnTo>
                    <a:pt x="204" y="38"/>
                  </a:lnTo>
                  <a:lnTo>
                    <a:pt x="204" y="39"/>
                  </a:lnTo>
                  <a:lnTo>
                    <a:pt x="203" y="45"/>
                  </a:lnTo>
                  <a:lnTo>
                    <a:pt x="203" y="51"/>
                  </a:lnTo>
                  <a:lnTo>
                    <a:pt x="204" y="53"/>
                  </a:lnTo>
                  <a:lnTo>
                    <a:pt x="207" y="53"/>
                  </a:lnTo>
                  <a:lnTo>
                    <a:pt x="207" y="54"/>
                  </a:lnTo>
                  <a:lnTo>
                    <a:pt x="209" y="57"/>
                  </a:lnTo>
                  <a:lnTo>
                    <a:pt x="207" y="59"/>
                  </a:lnTo>
                  <a:lnTo>
                    <a:pt x="207" y="60"/>
                  </a:lnTo>
                  <a:lnTo>
                    <a:pt x="209" y="60"/>
                  </a:lnTo>
                  <a:lnTo>
                    <a:pt x="209" y="66"/>
                  </a:lnTo>
                  <a:lnTo>
                    <a:pt x="207" y="69"/>
                  </a:lnTo>
                  <a:lnTo>
                    <a:pt x="209" y="71"/>
                  </a:lnTo>
                  <a:lnTo>
                    <a:pt x="212" y="68"/>
                  </a:lnTo>
                  <a:lnTo>
                    <a:pt x="213" y="69"/>
                  </a:lnTo>
                  <a:lnTo>
                    <a:pt x="218" y="69"/>
                  </a:lnTo>
                  <a:lnTo>
                    <a:pt x="218" y="71"/>
                  </a:lnTo>
                  <a:lnTo>
                    <a:pt x="219" y="71"/>
                  </a:lnTo>
                  <a:lnTo>
                    <a:pt x="219" y="72"/>
                  </a:lnTo>
                  <a:lnTo>
                    <a:pt x="222" y="72"/>
                  </a:lnTo>
                  <a:lnTo>
                    <a:pt x="222" y="71"/>
                  </a:lnTo>
                  <a:lnTo>
                    <a:pt x="224" y="71"/>
                  </a:lnTo>
                  <a:lnTo>
                    <a:pt x="224" y="72"/>
                  </a:lnTo>
                  <a:lnTo>
                    <a:pt x="225" y="72"/>
                  </a:lnTo>
                  <a:lnTo>
                    <a:pt x="225" y="74"/>
                  </a:lnTo>
                  <a:lnTo>
                    <a:pt x="224" y="74"/>
                  </a:lnTo>
                  <a:lnTo>
                    <a:pt x="224" y="78"/>
                  </a:lnTo>
                  <a:lnTo>
                    <a:pt x="227" y="78"/>
                  </a:lnTo>
                  <a:lnTo>
                    <a:pt x="231" y="83"/>
                  </a:lnTo>
                  <a:lnTo>
                    <a:pt x="236" y="83"/>
                  </a:lnTo>
                  <a:lnTo>
                    <a:pt x="237" y="84"/>
                  </a:lnTo>
                  <a:lnTo>
                    <a:pt x="239" y="87"/>
                  </a:lnTo>
                  <a:lnTo>
                    <a:pt x="240" y="89"/>
                  </a:lnTo>
                  <a:lnTo>
                    <a:pt x="243" y="86"/>
                  </a:lnTo>
                  <a:lnTo>
                    <a:pt x="245" y="86"/>
                  </a:lnTo>
                  <a:lnTo>
                    <a:pt x="245" y="89"/>
                  </a:lnTo>
                  <a:lnTo>
                    <a:pt x="248" y="89"/>
                  </a:lnTo>
                  <a:lnTo>
                    <a:pt x="248" y="87"/>
                  </a:lnTo>
                  <a:lnTo>
                    <a:pt x="255" y="87"/>
                  </a:lnTo>
                  <a:lnTo>
                    <a:pt x="257" y="86"/>
                  </a:lnTo>
                  <a:lnTo>
                    <a:pt x="263" y="86"/>
                  </a:lnTo>
                  <a:lnTo>
                    <a:pt x="263" y="87"/>
                  </a:lnTo>
                  <a:lnTo>
                    <a:pt x="267" y="92"/>
                  </a:lnTo>
                  <a:lnTo>
                    <a:pt x="270" y="93"/>
                  </a:lnTo>
                  <a:lnTo>
                    <a:pt x="269" y="95"/>
                  </a:lnTo>
                  <a:lnTo>
                    <a:pt x="267" y="95"/>
                  </a:lnTo>
                  <a:lnTo>
                    <a:pt x="267" y="96"/>
                  </a:lnTo>
                  <a:lnTo>
                    <a:pt x="266" y="95"/>
                  </a:lnTo>
                  <a:lnTo>
                    <a:pt x="267" y="93"/>
                  </a:lnTo>
                  <a:lnTo>
                    <a:pt x="266" y="93"/>
                  </a:lnTo>
                  <a:lnTo>
                    <a:pt x="266" y="92"/>
                  </a:lnTo>
                  <a:lnTo>
                    <a:pt x="263" y="92"/>
                  </a:lnTo>
                  <a:lnTo>
                    <a:pt x="263" y="93"/>
                  </a:lnTo>
                  <a:lnTo>
                    <a:pt x="261" y="92"/>
                  </a:lnTo>
                  <a:lnTo>
                    <a:pt x="258" y="92"/>
                  </a:lnTo>
                  <a:lnTo>
                    <a:pt x="258" y="93"/>
                  </a:lnTo>
                  <a:lnTo>
                    <a:pt x="260" y="93"/>
                  </a:lnTo>
                  <a:lnTo>
                    <a:pt x="260" y="95"/>
                  </a:lnTo>
                  <a:lnTo>
                    <a:pt x="258" y="95"/>
                  </a:lnTo>
                  <a:lnTo>
                    <a:pt x="258" y="96"/>
                  </a:lnTo>
                  <a:lnTo>
                    <a:pt x="260" y="96"/>
                  </a:lnTo>
                  <a:lnTo>
                    <a:pt x="258" y="98"/>
                  </a:lnTo>
                  <a:lnTo>
                    <a:pt x="254" y="98"/>
                  </a:lnTo>
                  <a:lnTo>
                    <a:pt x="255" y="99"/>
                  </a:lnTo>
                  <a:lnTo>
                    <a:pt x="254" y="99"/>
                  </a:lnTo>
                  <a:lnTo>
                    <a:pt x="252" y="101"/>
                  </a:lnTo>
                  <a:lnTo>
                    <a:pt x="252" y="102"/>
                  </a:lnTo>
                  <a:lnTo>
                    <a:pt x="251" y="102"/>
                  </a:lnTo>
                  <a:lnTo>
                    <a:pt x="251" y="104"/>
                  </a:lnTo>
                  <a:lnTo>
                    <a:pt x="249" y="102"/>
                  </a:lnTo>
                  <a:lnTo>
                    <a:pt x="249" y="101"/>
                  </a:lnTo>
                  <a:lnTo>
                    <a:pt x="248" y="101"/>
                  </a:lnTo>
                  <a:lnTo>
                    <a:pt x="248" y="102"/>
                  </a:lnTo>
                  <a:lnTo>
                    <a:pt x="245" y="102"/>
                  </a:lnTo>
                  <a:lnTo>
                    <a:pt x="243" y="101"/>
                  </a:lnTo>
                  <a:lnTo>
                    <a:pt x="243" y="102"/>
                  </a:lnTo>
                  <a:lnTo>
                    <a:pt x="245" y="104"/>
                  </a:lnTo>
                  <a:lnTo>
                    <a:pt x="240" y="104"/>
                  </a:lnTo>
                  <a:lnTo>
                    <a:pt x="242" y="105"/>
                  </a:lnTo>
                  <a:lnTo>
                    <a:pt x="240" y="105"/>
                  </a:lnTo>
                  <a:lnTo>
                    <a:pt x="240" y="108"/>
                  </a:lnTo>
                  <a:lnTo>
                    <a:pt x="242" y="108"/>
                  </a:lnTo>
                  <a:lnTo>
                    <a:pt x="242" y="111"/>
                  </a:lnTo>
                  <a:lnTo>
                    <a:pt x="240" y="112"/>
                  </a:lnTo>
                  <a:lnTo>
                    <a:pt x="240" y="115"/>
                  </a:lnTo>
                  <a:lnTo>
                    <a:pt x="242" y="115"/>
                  </a:lnTo>
                  <a:lnTo>
                    <a:pt x="240" y="117"/>
                  </a:lnTo>
                  <a:lnTo>
                    <a:pt x="234" y="117"/>
                  </a:lnTo>
                  <a:lnTo>
                    <a:pt x="234" y="118"/>
                  </a:lnTo>
                  <a:lnTo>
                    <a:pt x="233" y="120"/>
                  </a:lnTo>
                  <a:lnTo>
                    <a:pt x="227" y="120"/>
                  </a:lnTo>
                  <a:lnTo>
                    <a:pt x="227" y="118"/>
                  </a:lnTo>
                  <a:lnTo>
                    <a:pt x="228" y="117"/>
                  </a:lnTo>
                  <a:lnTo>
                    <a:pt x="231" y="115"/>
                  </a:lnTo>
                  <a:lnTo>
                    <a:pt x="228" y="115"/>
                  </a:lnTo>
                  <a:lnTo>
                    <a:pt x="227" y="117"/>
                  </a:lnTo>
                  <a:lnTo>
                    <a:pt x="225" y="115"/>
                  </a:lnTo>
                  <a:lnTo>
                    <a:pt x="225" y="117"/>
                  </a:lnTo>
                  <a:lnTo>
                    <a:pt x="224" y="115"/>
                  </a:lnTo>
                  <a:lnTo>
                    <a:pt x="224" y="117"/>
                  </a:lnTo>
                  <a:lnTo>
                    <a:pt x="225" y="118"/>
                  </a:lnTo>
                  <a:lnTo>
                    <a:pt x="225" y="120"/>
                  </a:lnTo>
                  <a:lnTo>
                    <a:pt x="221" y="120"/>
                  </a:lnTo>
                  <a:lnTo>
                    <a:pt x="221" y="118"/>
                  </a:lnTo>
                  <a:lnTo>
                    <a:pt x="219" y="118"/>
                  </a:lnTo>
                  <a:lnTo>
                    <a:pt x="219" y="117"/>
                  </a:lnTo>
                  <a:lnTo>
                    <a:pt x="218" y="117"/>
                  </a:lnTo>
                  <a:lnTo>
                    <a:pt x="219" y="118"/>
                  </a:lnTo>
                  <a:lnTo>
                    <a:pt x="219" y="120"/>
                  </a:lnTo>
                  <a:lnTo>
                    <a:pt x="221" y="120"/>
                  </a:lnTo>
                  <a:lnTo>
                    <a:pt x="221" y="121"/>
                  </a:lnTo>
                  <a:lnTo>
                    <a:pt x="219" y="121"/>
                  </a:lnTo>
                  <a:lnTo>
                    <a:pt x="218" y="120"/>
                  </a:lnTo>
                  <a:lnTo>
                    <a:pt x="218" y="121"/>
                  </a:lnTo>
                  <a:lnTo>
                    <a:pt x="216" y="121"/>
                  </a:lnTo>
                  <a:lnTo>
                    <a:pt x="216" y="120"/>
                  </a:lnTo>
                  <a:lnTo>
                    <a:pt x="213" y="120"/>
                  </a:lnTo>
                  <a:lnTo>
                    <a:pt x="215" y="118"/>
                  </a:lnTo>
                  <a:lnTo>
                    <a:pt x="216" y="118"/>
                  </a:lnTo>
                  <a:lnTo>
                    <a:pt x="215" y="117"/>
                  </a:lnTo>
                  <a:lnTo>
                    <a:pt x="215" y="115"/>
                  </a:lnTo>
                  <a:lnTo>
                    <a:pt x="213" y="115"/>
                  </a:lnTo>
                  <a:lnTo>
                    <a:pt x="213" y="117"/>
                  </a:lnTo>
                  <a:lnTo>
                    <a:pt x="212" y="115"/>
                  </a:lnTo>
                  <a:lnTo>
                    <a:pt x="210" y="115"/>
                  </a:lnTo>
                  <a:lnTo>
                    <a:pt x="210" y="117"/>
                  </a:lnTo>
                  <a:lnTo>
                    <a:pt x="209" y="115"/>
                  </a:lnTo>
                  <a:lnTo>
                    <a:pt x="207" y="115"/>
                  </a:lnTo>
                  <a:lnTo>
                    <a:pt x="207" y="117"/>
                  </a:lnTo>
                  <a:lnTo>
                    <a:pt x="209" y="117"/>
                  </a:lnTo>
                  <a:lnTo>
                    <a:pt x="209" y="120"/>
                  </a:lnTo>
                  <a:lnTo>
                    <a:pt x="213" y="120"/>
                  </a:lnTo>
                  <a:lnTo>
                    <a:pt x="213" y="121"/>
                  </a:lnTo>
                  <a:lnTo>
                    <a:pt x="212" y="123"/>
                  </a:lnTo>
                  <a:lnTo>
                    <a:pt x="210" y="121"/>
                  </a:lnTo>
                  <a:lnTo>
                    <a:pt x="210" y="123"/>
                  </a:lnTo>
                  <a:lnTo>
                    <a:pt x="213" y="126"/>
                  </a:lnTo>
                  <a:lnTo>
                    <a:pt x="212" y="127"/>
                  </a:lnTo>
                  <a:lnTo>
                    <a:pt x="212" y="129"/>
                  </a:lnTo>
                  <a:lnTo>
                    <a:pt x="213" y="129"/>
                  </a:lnTo>
                  <a:lnTo>
                    <a:pt x="215" y="130"/>
                  </a:lnTo>
                  <a:lnTo>
                    <a:pt x="215" y="132"/>
                  </a:lnTo>
                  <a:lnTo>
                    <a:pt x="209" y="132"/>
                  </a:lnTo>
                  <a:lnTo>
                    <a:pt x="210" y="133"/>
                  </a:lnTo>
                  <a:lnTo>
                    <a:pt x="209" y="135"/>
                  </a:lnTo>
                  <a:lnTo>
                    <a:pt x="206" y="135"/>
                  </a:lnTo>
                  <a:lnTo>
                    <a:pt x="206" y="133"/>
                  </a:lnTo>
                  <a:lnTo>
                    <a:pt x="204" y="133"/>
                  </a:lnTo>
                  <a:lnTo>
                    <a:pt x="206" y="135"/>
                  </a:lnTo>
                  <a:lnTo>
                    <a:pt x="206" y="136"/>
                  </a:lnTo>
                  <a:lnTo>
                    <a:pt x="207" y="136"/>
                  </a:lnTo>
                  <a:lnTo>
                    <a:pt x="206" y="138"/>
                  </a:lnTo>
                  <a:lnTo>
                    <a:pt x="204" y="138"/>
                  </a:lnTo>
                  <a:lnTo>
                    <a:pt x="201" y="139"/>
                  </a:lnTo>
                  <a:lnTo>
                    <a:pt x="204" y="139"/>
                  </a:lnTo>
                  <a:lnTo>
                    <a:pt x="204" y="142"/>
                  </a:lnTo>
                  <a:lnTo>
                    <a:pt x="203" y="144"/>
                  </a:lnTo>
                  <a:lnTo>
                    <a:pt x="206" y="144"/>
                  </a:lnTo>
                  <a:lnTo>
                    <a:pt x="206" y="147"/>
                  </a:lnTo>
                  <a:lnTo>
                    <a:pt x="204" y="147"/>
                  </a:lnTo>
                  <a:lnTo>
                    <a:pt x="204" y="151"/>
                  </a:lnTo>
                  <a:lnTo>
                    <a:pt x="203" y="151"/>
                  </a:lnTo>
                  <a:lnTo>
                    <a:pt x="203" y="153"/>
                  </a:lnTo>
                  <a:lnTo>
                    <a:pt x="204" y="153"/>
                  </a:lnTo>
                  <a:lnTo>
                    <a:pt x="204" y="154"/>
                  </a:lnTo>
                  <a:lnTo>
                    <a:pt x="203" y="154"/>
                  </a:lnTo>
                  <a:lnTo>
                    <a:pt x="201" y="156"/>
                  </a:lnTo>
                  <a:lnTo>
                    <a:pt x="195" y="156"/>
                  </a:lnTo>
                  <a:lnTo>
                    <a:pt x="194" y="157"/>
                  </a:lnTo>
                  <a:lnTo>
                    <a:pt x="194" y="159"/>
                  </a:lnTo>
                  <a:lnTo>
                    <a:pt x="188" y="165"/>
                  </a:lnTo>
                  <a:lnTo>
                    <a:pt x="188" y="163"/>
                  </a:lnTo>
                  <a:lnTo>
                    <a:pt x="186" y="165"/>
                  </a:lnTo>
                  <a:lnTo>
                    <a:pt x="186" y="166"/>
                  </a:lnTo>
                  <a:lnTo>
                    <a:pt x="185" y="166"/>
                  </a:lnTo>
                  <a:lnTo>
                    <a:pt x="183" y="168"/>
                  </a:lnTo>
                  <a:lnTo>
                    <a:pt x="183" y="165"/>
                  </a:lnTo>
                  <a:lnTo>
                    <a:pt x="182" y="168"/>
                  </a:lnTo>
                  <a:lnTo>
                    <a:pt x="180" y="166"/>
                  </a:lnTo>
                  <a:lnTo>
                    <a:pt x="179" y="166"/>
                  </a:lnTo>
                  <a:lnTo>
                    <a:pt x="179" y="168"/>
                  </a:lnTo>
                  <a:lnTo>
                    <a:pt x="176" y="169"/>
                  </a:lnTo>
                  <a:lnTo>
                    <a:pt x="176" y="172"/>
                  </a:lnTo>
                  <a:lnTo>
                    <a:pt x="174" y="174"/>
                  </a:lnTo>
                  <a:lnTo>
                    <a:pt x="174" y="175"/>
                  </a:lnTo>
                  <a:lnTo>
                    <a:pt x="173" y="177"/>
                  </a:lnTo>
                  <a:lnTo>
                    <a:pt x="174" y="177"/>
                  </a:lnTo>
                  <a:lnTo>
                    <a:pt x="174" y="178"/>
                  </a:lnTo>
                  <a:lnTo>
                    <a:pt x="173" y="180"/>
                  </a:lnTo>
                  <a:lnTo>
                    <a:pt x="172" y="180"/>
                  </a:lnTo>
                  <a:lnTo>
                    <a:pt x="172" y="181"/>
                  </a:lnTo>
                  <a:lnTo>
                    <a:pt x="170" y="183"/>
                  </a:lnTo>
                  <a:lnTo>
                    <a:pt x="170" y="184"/>
                  </a:lnTo>
                  <a:lnTo>
                    <a:pt x="169" y="184"/>
                  </a:lnTo>
                  <a:lnTo>
                    <a:pt x="170" y="186"/>
                  </a:lnTo>
                  <a:lnTo>
                    <a:pt x="170" y="193"/>
                  </a:lnTo>
                  <a:lnTo>
                    <a:pt x="169" y="193"/>
                  </a:lnTo>
                  <a:lnTo>
                    <a:pt x="169" y="198"/>
                  </a:lnTo>
                  <a:lnTo>
                    <a:pt x="170" y="199"/>
                  </a:lnTo>
                  <a:lnTo>
                    <a:pt x="170" y="201"/>
                  </a:lnTo>
                  <a:lnTo>
                    <a:pt x="169" y="201"/>
                  </a:lnTo>
                  <a:lnTo>
                    <a:pt x="169" y="202"/>
                  </a:lnTo>
                  <a:lnTo>
                    <a:pt x="167" y="202"/>
                  </a:lnTo>
                  <a:lnTo>
                    <a:pt x="167" y="204"/>
                  </a:lnTo>
                  <a:lnTo>
                    <a:pt x="166" y="207"/>
                  </a:lnTo>
                  <a:lnTo>
                    <a:pt x="166" y="210"/>
                  </a:lnTo>
                  <a:lnTo>
                    <a:pt x="163" y="210"/>
                  </a:lnTo>
                  <a:lnTo>
                    <a:pt x="161" y="211"/>
                  </a:lnTo>
                  <a:lnTo>
                    <a:pt x="161" y="219"/>
                  </a:lnTo>
                  <a:lnTo>
                    <a:pt x="164" y="222"/>
                  </a:lnTo>
                  <a:lnTo>
                    <a:pt x="163" y="222"/>
                  </a:lnTo>
                  <a:lnTo>
                    <a:pt x="164" y="223"/>
                  </a:lnTo>
                  <a:lnTo>
                    <a:pt x="166" y="223"/>
                  </a:lnTo>
                  <a:lnTo>
                    <a:pt x="167" y="225"/>
                  </a:lnTo>
                  <a:lnTo>
                    <a:pt x="167" y="226"/>
                  </a:lnTo>
                  <a:lnTo>
                    <a:pt x="169" y="226"/>
                  </a:lnTo>
                  <a:lnTo>
                    <a:pt x="169" y="231"/>
                  </a:lnTo>
                  <a:lnTo>
                    <a:pt x="170" y="234"/>
                  </a:lnTo>
                  <a:lnTo>
                    <a:pt x="173" y="238"/>
                  </a:lnTo>
                  <a:lnTo>
                    <a:pt x="174" y="240"/>
                  </a:lnTo>
                  <a:lnTo>
                    <a:pt x="176" y="240"/>
                  </a:lnTo>
                  <a:lnTo>
                    <a:pt x="176" y="243"/>
                  </a:lnTo>
                  <a:lnTo>
                    <a:pt x="177" y="243"/>
                  </a:lnTo>
                  <a:lnTo>
                    <a:pt x="177" y="244"/>
                  </a:lnTo>
                  <a:lnTo>
                    <a:pt x="179" y="244"/>
                  </a:lnTo>
                  <a:lnTo>
                    <a:pt x="180" y="247"/>
                  </a:lnTo>
                  <a:lnTo>
                    <a:pt x="182" y="249"/>
                  </a:lnTo>
                  <a:lnTo>
                    <a:pt x="183" y="249"/>
                  </a:lnTo>
                  <a:lnTo>
                    <a:pt x="183" y="250"/>
                  </a:lnTo>
                  <a:lnTo>
                    <a:pt x="186" y="250"/>
                  </a:lnTo>
                  <a:lnTo>
                    <a:pt x="189" y="252"/>
                  </a:lnTo>
                  <a:lnTo>
                    <a:pt x="189" y="253"/>
                  </a:lnTo>
                  <a:lnTo>
                    <a:pt x="191" y="253"/>
                  </a:lnTo>
                  <a:lnTo>
                    <a:pt x="194" y="256"/>
                  </a:lnTo>
                  <a:lnTo>
                    <a:pt x="192" y="256"/>
                  </a:lnTo>
                  <a:lnTo>
                    <a:pt x="192" y="258"/>
                  </a:lnTo>
                  <a:lnTo>
                    <a:pt x="197" y="258"/>
                  </a:lnTo>
                  <a:lnTo>
                    <a:pt x="198" y="259"/>
                  </a:lnTo>
                  <a:lnTo>
                    <a:pt x="198" y="261"/>
                  </a:lnTo>
                  <a:lnTo>
                    <a:pt x="201" y="265"/>
                  </a:lnTo>
                  <a:lnTo>
                    <a:pt x="200" y="267"/>
                  </a:lnTo>
                  <a:lnTo>
                    <a:pt x="200" y="268"/>
                  </a:lnTo>
                  <a:lnTo>
                    <a:pt x="198" y="268"/>
                  </a:lnTo>
                  <a:lnTo>
                    <a:pt x="198" y="271"/>
                  </a:lnTo>
                  <a:lnTo>
                    <a:pt x="200" y="273"/>
                  </a:lnTo>
                  <a:lnTo>
                    <a:pt x="200" y="276"/>
                  </a:lnTo>
                  <a:lnTo>
                    <a:pt x="201" y="276"/>
                  </a:lnTo>
                  <a:lnTo>
                    <a:pt x="201" y="279"/>
                  </a:lnTo>
                  <a:lnTo>
                    <a:pt x="204" y="282"/>
                  </a:lnTo>
                  <a:lnTo>
                    <a:pt x="206" y="286"/>
                  </a:lnTo>
                  <a:lnTo>
                    <a:pt x="209" y="289"/>
                  </a:lnTo>
                  <a:lnTo>
                    <a:pt x="209" y="291"/>
                  </a:lnTo>
                  <a:lnTo>
                    <a:pt x="213" y="295"/>
                  </a:lnTo>
                  <a:lnTo>
                    <a:pt x="221" y="301"/>
                  </a:lnTo>
                  <a:lnTo>
                    <a:pt x="230" y="306"/>
                  </a:lnTo>
                  <a:lnTo>
                    <a:pt x="230" y="310"/>
                  </a:lnTo>
                  <a:lnTo>
                    <a:pt x="233" y="313"/>
                  </a:lnTo>
                  <a:lnTo>
                    <a:pt x="233" y="315"/>
                  </a:lnTo>
                  <a:lnTo>
                    <a:pt x="234" y="315"/>
                  </a:lnTo>
                  <a:lnTo>
                    <a:pt x="234" y="316"/>
                  </a:lnTo>
                  <a:lnTo>
                    <a:pt x="236" y="316"/>
                  </a:lnTo>
                  <a:lnTo>
                    <a:pt x="242" y="321"/>
                  </a:lnTo>
                  <a:lnTo>
                    <a:pt x="246" y="325"/>
                  </a:lnTo>
                  <a:lnTo>
                    <a:pt x="252" y="330"/>
                  </a:lnTo>
                  <a:lnTo>
                    <a:pt x="254" y="330"/>
                  </a:lnTo>
                  <a:lnTo>
                    <a:pt x="254" y="331"/>
                  </a:lnTo>
                  <a:lnTo>
                    <a:pt x="251" y="330"/>
                  </a:lnTo>
                  <a:lnTo>
                    <a:pt x="246" y="327"/>
                  </a:lnTo>
                  <a:lnTo>
                    <a:pt x="245" y="327"/>
                  </a:lnTo>
                  <a:lnTo>
                    <a:pt x="248" y="330"/>
                  </a:lnTo>
                  <a:lnTo>
                    <a:pt x="249" y="330"/>
                  </a:lnTo>
                  <a:lnTo>
                    <a:pt x="249" y="331"/>
                  </a:lnTo>
                  <a:lnTo>
                    <a:pt x="251" y="331"/>
                  </a:lnTo>
                  <a:lnTo>
                    <a:pt x="251" y="330"/>
                  </a:lnTo>
                  <a:lnTo>
                    <a:pt x="252" y="331"/>
                  </a:lnTo>
                  <a:lnTo>
                    <a:pt x="252" y="333"/>
                  </a:lnTo>
                  <a:lnTo>
                    <a:pt x="254" y="333"/>
                  </a:lnTo>
                  <a:lnTo>
                    <a:pt x="254" y="334"/>
                  </a:lnTo>
                  <a:lnTo>
                    <a:pt x="255" y="334"/>
                  </a:lnTo>
                  <a:lnTo>
                    <a:pt x="255" y="333"/>
                  </a:lnTo>
                  <a:lnTo>
                    <a:pt x="261" y="339"/>
                  </a:lnTo>
                  <a:lnTo>
                    <a:pt x="261" y="340"/>
                  </a:lnTo>
                  <a:lnTo>
                    <a:pt x="260" y="340"/>
                  </a:lnTo>
                  <a:lnTo>
                    <a:pt x="261" y="343"/>
                  </a:lnTo>
                  <a:lnTo>
                    <a:pt x="263" y="345"/>
                  </a:lnTo>
                  <a:lnTo>
                    <a:pt x="266" y="345"/>
                  </a:lnTo>
                  <a:lnTo>
                    <a:pt x="267" y="343"/>
                  </a:lnTo>
                  <a:lnTo>
                    <a:pt x="267" y="342"/>
                  </a:lnTo>
                  <a:lnTo>
                    <a:pt x="269" y="343"/>
                  </a:lnTo>
                  <a:lnTo>
                    <a:pt x="270" y="343"/>
                  </a:lnTo>
                  <a:lnTo>
                    <a:pt x="272" y="342"/>
                  </a:lnTo>
                  <a:lnTo>
                    <a:pt x="272" y="343"/>
                  </a:lnTo>
                  <a:lnTo>
                    <a:pt x="273" y="345"/>
                  </a:lnTo>
                  <a:lnTo>
                    <a:pt x="275" y="348"/>
                  </a:lnTo>
                  <a:lnTo>
                    <a:pt x="273" y="346"/>
                  </a:lnTo>
                  <a:lnTo>
                    <a:pt x="272" y="346"/>
                  </a:lnTo>
                  <a:lnTo>
                    <a:pt x="272" y="348"/>
                  </a:lnTo>
                  <a:lnTo>
                    <a:pt x="279" y="348"/>
                  </a:lnTo>
                  <a:lnTo>
                    <a:pt x="279" y="349"/>
                  </a:lnTo>
                  <a:lnTo>
                    <a:pt x="278" y="351"/>
                  </a:lnTo>
                  <a:lnTo>
                    <a:pt x="276" y="351"/>
                  </a:lnTo>
                  <a:lnTo>
                    <a:pt x="276" y="352"/>
                  </a:lnTo>
                  <a:lnTo>
                    <a:pt x="279" y="355"/>
                  </a:lnTo>
                  <a:lnTo>
                    <a:pt x="279" y="354"/>
                  </a:lnTo>
                  <a:lnTo>
                    <a:pt x="281" y="354"/>
                  </a:lnTo>
                  <a:lnTo>
                    <a:pt x="281" y="351"/>
                  </a:lnTo>
                  <a:lnTo>
                    <a:pt x="284" y="351"/>
                  </a:lnTo>
                  <a:lnTo>
                    <a:pt x="284" y="352"/>
                  </a:lnTo>
                  <a:lnTo>
                    <a:pt x="285" y="352"/>
                  </a:lnTo>
                  <a:lnTo>
                    <a:pt x="284" y="354"/>
                  </a:lnTo>
                  <a:lnTo>
                    <a:pt x="282" y="354"/>
                  </a:lnTo>
                  <a:lnTo>
                    <a:pt x="282" y="358"/>
                  </a:lnTo>
                  <a:lnTo>
                    <a:pt x="281" y="355"/>
                  </a:lnTo>
                  <a:lnTo>
                    <a:pt x="281" y="357"/>
                  </a:lnTo>
                  <a:lnTo>
                    <a:pt x="287" y="363"/>
                  </a:lnTo>
                  <a:lnTo>
                    <a:pt x="288" y="363"/>
                  </a:lnTo>
                  <a:lnTo>
                    <a:pt x="288" y="364"/>
                  </a:lnTo>
                  <a:lnTo>
                    <a:pt x="290" y="364"/>
                  </a:lnTo>
                  <a:lnTo>
                    <a:pt x="290" y="367"/>
                  </a:lnTo>
                  <a:lnTo>
                    <a:pt x="291" y="370"/>
                  </a:lnTo>
                  <a:lnTo>
                    <a:pt x="299" y="380"/>
                  </a:lnTo>
                  <a:lnTo>
                    <a:pt x="302" y="380"/>
                  </a:lnTo>
                  <a:lnTo>
                    <a:pt x="300" y="382"/>
                  </a:lnTo>
                  <a:lnTo>
                    <a:pt x="299" y="382"/>
                  </a:lnTo>
                  <a:lnTo>
                    <a:pt x="299" y="383"/>
                  </a:lnTo>
                  <a:lnTo>
                    <a:pt x="300" y="385"/>
                  </a:lnTo>
                  <a:lnTo>
                    <a:pt x="302" y="382"/>
                  </a:lnTo>
                  <a:lnTo>
                    <a:pt x="302" y="385"/>
                  </a:lnTo>
                  <a:lnTo>
                    <a:pt x="303" y="385"/>
                  </a:lnTo>
                  <a:lnTo>
                    <a:pt x="303" y="386"/>
                  </a:lnTo>
                  <a:lnTo>
                    <a:pt x="308" y="386"/>
                  </a:lnTo>
                  <a:lnTo>
                    <a:pt x="311" y="389"/>
                  </a:lnTo>
                  <a:lnTo>
                    <a:pt x="311" y="392"/>
                  </a:lnTo>
                  <a:lnTo>
                    <a:pt x="312" y="392"/>
                  </a:lnTo>
                  <a:lnTo>
                    <a:pt x="312" y="395"/>
                  </a:lnTo>
                  <a:lnTo>
                    <a:pt x="311" y="397"/>
                  </a:lnTo>
                  <a:lnTo>
                    <a:pt x="311" y="400"/>
                  </a:lnTo>
                  <a:lnTo>
                    <a:pt x="312" y="400"/>
                  </a:lnTo>
                  <a:lnTo>
                    <a:pt x="312" y="403"/>
                  </a:lnTo>
                  <a:lnTo>
                    <a:pt x="314" y="406"/>
                  </a:lnTo>
                  <a:lnTo>
                    <a:pt x="317" y="413"/>
                  </a:lnTo>
                  <a:lnTo>
                    <a:pt x="317" y="415"/>
                  </a:lnTo>
                  <a:lnTo>
                    <a:pt x="318" y="415"/>
                  </a:lnTo>
                  <a:lnTo>
                    <a:pt x="318" y="416"/>
                  </a:lnTo>
                  <a:lnTo>
                    <a:pt x="320" y="418"/>
                  </a:lnTo>
                  <a:lnTo>
                    <a:pt x="320" y="425"/>
                  </a:lnTo>
                  <a:lnTo>
                    <a:pt x="318" y="425"/>
                  </a:lnTo>
                  <a:lnTo>
                    <a:pt x="320" y="427"/>
                  </a:lnTo>
                  <a:lnTo>
                    <a:pt x="320" y="425"/>
                  </a:lnTo>
                  <a:lnTo>
                    <a:pt x="321" y="430"/>
                  </a:lnTo>
                  <a:lnTo>
                    <a:pt x="321" y="434"/>
                  </a:lnTo>
                  <a:lnTo>
                    <a:pt x="323" y="434"/>
                  </a:lnTo>
                  <a:lnTo>
                    <a:pt x="323" y="437"/>
                  </a:lnTo>
                  <a:lnTo>
                    <a:pt x="324" y="439"/>
                  </a:lnTo>
                  <a:lnTo>
                    <a:pt x="326" y="442"/>
                  </a:lnTo>
                  <a:lnTo>
                    <a:pt x="324" y="442"/>
                  </a:lnTo>
                  <a:lnTo>
                    <a:pt x="326" y="443"/>
                  </a:lnTo>
                  <a:lnTo>
                    <a:pt x="327" y="446"/>
                  </a:lnTo>
                  <a:lnTo>
                    <a:pt x="326" y="446"/>
                  </a:lnTo>
                  <a:lnTo>
                    <a:pt x="326" y="445"/>
                  </a:lnTo>
                  <a:lnTo>
                    <a:pt x="324" y="445"/>
                  </a:lnTo>
                  <a:lnTo>
                    <a:pt x="324" y="446"/>
                  </a:lnTo>
                  <a:lnTo>
                    <a:pt x="326" y="446"/>
                  </a:lnTo>
                  <a:lnTo>
                    <a:pt x="326" y="448"/>
                  </a:lnTo>
                  <a:lnTo>
                    <a:pt x="327" y="451"/>
                  </a:lnTo>
                  <a:lnTo>
                    <a:pt x="329" y="457"/>
                  </a:lnTo>
                  <a:lnTo>
                    <a:pt x="330" y="458"/>
                  </a:lnTo>
                  <a:lnTo>
                    <a:pt x="330" y="464"/>
                  </a:lnTo>
                  <a:lnTo>
                    <a:pt x="329" y="464"/>
                  </a:lnTo>
                  <a:lnTo>
                    <a:pt x="329" y="461"/>
                  </a:lnTo>
                  <a:lnTo>
                    <a:pt x="327" y="458"/>
                  </a:lnTo>
                  <a:lnTo>
                    <a:pt x="327" y="460"/>
                  </a:lnTo>
                  <a:lnTo>
                    <a:pt x="326" y="461"/>
                  </a:lnTo>
                  <a:lnTo>
                    <a:pt x="327" y="461"/>
                  </a:lnTo>
                  <a:lnTo>
                    <a:pt x="327" y="464"/>
                  </a:lnTo>
                  <a:lnTo>
                    <a:pt x="326" y="464"/>
                  </a:lnTo>
                  <a:lnTo>
                    <a:pt x="326" y="466"/>
                  </a:lnTo>
                  <a:lnTo>
                    <a:pt x="327" y="467"/>
                  </a:lnTo>
                  <a:lnTo>
                    <a:pt x="327" y="473"/>
                  </a:lnTo>
                  <a:lnTo>
                    <a:pt x="329" y="475"/>
                  </a:lnTo>
                  <a:lnTo>
                    <a:pt x="329" y="476"/>
                  </a:lnTo>
                  <a:lnTo>
                    <a:pt x="327" y="476"/>
                  </a:lnTo>
                  <a:lnTo>
                    <a:pt x="327" y="481"/>
                  </a:lnTo>
                  <a:lnTo>
                    <a:pt x="329" y="482"/>
                  </a:lnTo>
                  <a:lnTo>
                    <a:pt x="330" y="482"/>
                  </a:lnTo>
                  <a:lnTo>
                    <a:pt x="330" y="484"/>
                  </a:lnTo>
                  <a:lnTo>
                    <a:pt x="329" y="484"/>
                  </a:lnTo>
                  <a:lnTo>
                    <a:pt x="330" y="485"/>
                  </a:lnTo>
                  <a:lnTo>
                    <a:pt x="327" y="485"/>
                  </a:lnTo>
                  <a:lnTo>
                    <a:pt x="329" y="487"/>
                  </a:lnTo>
                  <a:lnTo>
                    <a:pt x="329" y="488"/>
                  </a:lnTo>
                  <a:lnTo>
                    <a:pt x="330" y="488"/>
                  </a:lnTo>
                  <a:lnTo>
                    <a:pt x="330" y="494"/>
                  </a:lnTo>
                  <a:lnTo>
                    <a:pt x="332" y="496"/>
                  </a:lnTo>
                  <a:lnTo>
                    <a:pt x="333" y="499"/>
                  </a:lnTo>
                  <a:lnTo>
                    <a:pt x="334" y="499"/>
                  </a:lnTo>
                  <a:lnTo>
                    <a:pt x="334" y="500"/>
                  </a:lnTo>
                  <a:lnTo>
                    <a:pt x="337" y="503"/>
                  </a:lnTo>
                  <a:lnTo>
                    <a:pt x="337" y="506"/>
                  </a:lnTo>
                  <a:lnTo>
                    <a:pt x="336" y="506"/>
                  </a:lnTo>
                  <a:lnTo>
                    <a:pt x="336" y="505"/>
                  </a:lnTo>
                  <a:lnTo>
                    <a:pt x="334" y="506"/>
                  </a:lnTo>
                  <a:lnTo>
                    <a:pt x="334" y="508"/>
                  </a:lnTo>
                  <a:lnTo>
                    <a:pt x="333" y="508"/>
                  </a:lnTo>
                  <a:lnTo>
                    <a:pt x="333" y="509"/>
                  </a:lnTo>
                  <a:lnTo>
                    <a:pt x="332" y="509"/>
                  </a:lnTo>
                  <a:lnTo>
                    <a:pt x="332" y="511"/>
                  </a:lnTo>
                  <a:lnTo>
                    <a:pt x="330" y="511"/>
                  </a:lnTo>
                  <a:lnTo>
                    <a:pt x="330" y="512"/>
                  </a:lnTo>
                  <a:lnTo>
                    <a:pt x="329" y="514"/>
                  </a:lnTo>
                  <a:lnTo>
                    <a:pt x="327" y="514"/>
                  </a:lnTo>
                  <a:lnTo>
                    <a:pt x="326" y="517"/>
                  </a:lnTo>
                  <a:lnTo>
                    <a:pt x="326" y="520"/>
                  </a:lnTo>
                  <a:lnTo>
                    <a:pt x="327" y="520"/>
                  </a:lnTo>
                  <a:lnTo>
                    <a:pt x="327" y="523"/>
                  </a:lnTo>
                  <a:lnTo>
                    <a:pt x="330" y="524"/>
                  </a:lnTo>
                  <a:lnTo>
                    <a:pt x="329" y="526"/>
                  </a:lnTo>
                  <a:lnTo>
                    <a:pt x="330" y="526"/>
                  </a:lnTo>
                  <a:lnTo>
                    <a:pt x="330" y="527"/>
                  </a:lnTo>
                  <a:lnTo>
                    <a:pt x="332" y="527"/>
                  </a:lnTo>
                  <a:lnTo>
                    <a:pt x="332" y="529"/>
                  </a:lnTo>
                  <a:lnTo>
                    <a:pt x="330" y="529"/>
                  </a:lnTo>
                  <a:lnTo>
                    <a:pt x="330" y="530"/>
                  </a:lnTo>
                  <a:lnTo>
                    <a:pt x="329" y="530"/>
                  </a:lnTo>
                  <a:lnTo>
                    <a:pt x="329" y="529"/>
                  </a:lnTo>
                  <a:lnTo>
                    <a:pt x="327" y="529"/>
                  </a:lnTo>
                  <a:lnTo>
                    <a:pt x="326" y="526"/>
                  </a:lnTo>
                  <a:lnTo>
                    <a:pt x="324" y="524"/>
                  </a:lnTo>
                  <a:lnTo>
                    <a:pt x="323" y="526"/>
                  </a:lnTo>
                  <a:lnTo>
                    <a:pt x="326" y="529"/>
                  </a:lnTo>
                  <a:lnTo>
                    <a:pt x="326" y="532"/>
                  </a:lnTo>
                  <a:lnTo>
                    <a:pt x="327" y="532"/>
                  </a:lnTo>
                  <a:lnTo>
                    <a:pt x="327" y="533"/>
                  </a:lnTo>
                  <a:lnTo>
                    <a:pt x="326" y="533"/>
                  </a:lnTo>
                  <a:lnTo>
                    <a:pt x="326" y="535"/>
                  </a:lnTo>
                  <a:lnTo>
                    <a:pt x="324" y="533"/>
                  </a:lnTo>
                  <a:lnTo>
                    <a:pt x="324" y="535"/>
                  </a:lnTo>
                  <a:lnTo>
                    <a:pt x="326" y="535"/>
                  </a:lnTo>
                  <a:lnTo>
                    <a:pt x="326" y="536"/>
                  </a:lnTo>
                  <a:lnTo>
                    <a:pt x="324" y="536"/>
                  </a:lnTo>
                  <a:lnTo>
                    <a:pt x="326" y="538"/>
                  </a:lnTo>
                  <a:lnTo>
                    <a:pt x="326" y="544"/>
                  </a:lnTo>
                  <a:lnTo>
                    <a:pt x="327" y="547"/>
                  </a:lnTo>
                  <a:lnTo>
                    <a:pt x="329" y="548"/>
                  </a:lnTo>
                  <a:lnTo>
                    <a:pt x="329" y="551"/>
                  </a:lnTo>
                  <a:lnTo>
                    <a:pt x="330" y="553"/>
                  </a:lnTo>
                  <a:lnTo>
                    <a:pt x="327" y="553"/>
                  </a:lnTo>
                  <a:lnTo>
                    <a:pt x="327" y="551"/>
                  </a:lnTo>
                  <a:lnTo>
                    <a:pt x="326" y="551"/>
                  </a:lnTo>
                  <a:lnTo>
                    <a:pt x="326" y="548"/>
                  </a:lnTo>
                  <a:lnTo>
                    <a:pt x="321" y="553"/>
                  </a:lnTo>
                  <a:lnTo>
                    <a:pt x="323" y="554"/>
                  </a:lnTo>
                  <a:lnTo>
                    <a:pt x="324" y="554"/>
                  </a:lnTo>
                  <a:lnTo>
                    <a:pt x="326" y="556"/>
                  </a:lnTo>
                  <a:lnTo>
                    <a:pt x="327" y="559"/>
                  </a:lnTo>
                  <a:lnTo>
                    <a:pt x="327" y="560"/>
                  </a:lnTo>
                  <a:lnTo>
                    <a:pt x="326" y="559"/>
                  </a:lnTo>
                  <a:lnTo>
                    <a:pt x="326" y="560"/>
                  </a:lnTo>
                  <a:lnTo>
                    <a:pt x="324" y="562"/>
                  </a:lnTo>
                  <a:lnTo>
                    <a:pt x="324" y="563"/>
                  </a:lnTo>
                  <a:lnTo>
                    <a:pt x="323" y="565"/>
                  </a:lnTo>
                  <a:lnTo>
                    <a:pt x="323" y="566"/>
                  </a:lnTo>
                  <a:lnTo>
                    <a:pt x="320" y="566"/>
                  </a:lnTo>
                  <a:lnTo>
                    <a:pt x="318" y="565"/>
                  </a:lnTo>
                  <a:lnTo>
                    <a:pt x="318" y="563"/>
                  </a:lnTo>
                  <a:lnTo>
                    <a:pt x="317" y="563"/>
                  </a:lnTo>
                  <a:lnTo>
                    <a:pt x="317" y="565"/>
                  </a:lnTo>
                  <a:lnTo>
                    <a:pt x="318" y="565"/>
                  </a:lnTo>
                  <a:lnTo>
                    <a:pt x="318" y="568"/>
                  </a:lnTo>
                  <a:lnTo>
                    <a:pt x="317" y="568"/>
                  </a:lnTo>
                  <a:lnTo>
                    <a:pt x="317" y="577"/>
                  </a:lnTo>
                  <a:lnTo>
                    <a:pt x="315" y="578"/>
                  </a:lnTo>
                  <a:lnTo>
                    <a:pt x="311" y="578"/>
                  </a:lnTo>
                  <a:lnTo>
                    <a:pt x="311" y="577"/>
                  </a:lnTo>
                  <a:lnTo>
                    <a:pt x="309" y="577"/>
                  </a:lnTo>
                  <a:lnTo>
                    <a:pt x="309" y="578"/>
                  </a:lnTo>
                  <a:lnTo>
                    <a:pt x="308" y="578"/>
                  </a:lnTo>
                  <a:lnTo>
                    <a:pt x="306" y="580"/>
                  </a:lnTo>
                  <a:lnTo>
                    <a:pt x="305" y="580"/>
                  </a:lnTo>
                  <a:lnTo>
                    <a:pt x="305" y="583"/>
                  </a:lnTo>
                  <a:lnTo>
                    <a:pt x="303" y="584"/>
                  </a:lnTo>
                  <a:lnTo>
                    <a:pt x="296" y="584"/>
                  </a:lnTo>
                  <a:lnTo>
                    <a:pt x="296" y="586"/>
                  </a:lnTo>
                  <a:lnTo>
                    <a:pt x="294" y="586"/>
                  </a:lnTo>
                  <a:lnTo>
                    <a:pt x="294" y="587"/>
                  </a:lnTo>
                  <a:lnTo>
                    <a:pt x="293" y="587"/>
                  </a:lnTo>
                  <a:lnTo>
                    <a:pt x="293" y="590"/>
                  </a:lnTo>
                  <a:lnTo>
                    <a:pt x="290" y="590"/>
                  </a:lnTo>
                  <a:lnTo>
                    <a:pt x="288" y="592"/>
                  </a:lnTo>
                  <a:lnTo>
                    <a:pt x="287" y="592"/>
                  </a:lnTo>
                  <a:lnTo>
                    <a:pt x="287" y="595"/>
                  </a:lnTo>
                  <a:lnTo>
                    <a:pt x="285" y="595"/>
                  </a:lnTo>
                  <a:lnTo>
                    <a:pt x="284" y="596"/>
                  </a:lnTo>
                  <a:lnTo>
                    <a:pt x="282" y="595"/>
                  </a:lnTo>
                  <a:lnTo>
                    <a:pt x="276" y="596"/>
                  </a:lnTo>
                  <a:lnTo>
                    <a:pt x="275" y="596"/>
                  </a:lnTo>
                  <a:lnTo>
                    <a:pt x="275" y="598"/>
                  </a:lnTo>
                  <a:lnTo>
                    <a:pt x="273" y="599"/>
                  </a:lnTo>
                  <a:lnTo>
                    <a:pt x="273" y="601"/>
                  </a:lnTo>
                  <a:lnTo>
                    <a:pt x="272" y="602"/>
                  </a:lnTo>
                  <a:lnTo>
                    <a:pt x="272" y="604"/>
                  </a:lnTo>
                  <a:lnTo>
                    <a:pt x="270" y="607"/>
                  </a:lnTo>
                  <a:lnTo>
                    <a:pt x="261" y="607"/>
                  </a:lnTo>
                  <a:lnTo>
                    <a:pt x="260" y="608"/>
                  </a:lnTo>
                  <a:lnTo>
                    <a:pt x="260" y="610"/>
                  </a:lnTo>
                  <a:lnTo>
                    <a:pt x="258" y="610"/>
                  </a:lnTo>
                  <a:lnTo>
                    <a:pt x="255" y="611"/>
                  </a:lnTo>
                  <a:lnTo>
                    <a:pt x="254" y="611"/>
                  </a:lnTo>
                  <a:lnTo>
                    <a:pt x="252" y="613"/>
                  </a:lnTo>
                  <a:lnTo>
                    <a:pt x="251" y="613"/>
                  </a:lnTo>
                  <a:lnTo>
                    <a:pt x="249" y="614"/>
                  </a:lnTo>
                  <a:lnTo>
                    <a:pt x="249" y="616"/>
                  </a:lnTo>
                  <a:lnTo>
                    <a:pt x="248" y="616"/>
                  </a:lnTo>
                  <a:lnTo>
                    <a:pt x="245" y="617"/>
                  </a:lnTo>
                  <a:lnTo>
                    <a:pt x="243" y="617"/>
                  </a:lnTo>
                  <a:lnTo>
                    <a:pt x="242" y="619"/>
                  </a:lnTo>
                  <a:lnTo>
                    <a:pt x="239" y="619"/>
                  </a:lnTo>
                  <a:lnTo>
                    <a:pt x="236" y="622"/>
                  </a:lnTo>
                  <a:lnTo>
                    <a:pt x="234" y="620"/>
                  </a:lnTo>
                  <a:lnTo>
                    <a:pt x="234" y="619"/>
                  </a:lnTo>
                  <a:lnTo>
                    <a:pt x="233" y="619"/>
                  </a:lnTo>
                  <a:lnTo>
                    <a:pt x="233" y="617"/>
                  </a:lnTo>
                  <a:lnTo>
                    <a:pt x="225" y="617"/>
                  </a:lnTo>
                  <a:lnTo>
                    <a:pt x="225" y="613"/>
                  </a:lnTo>
                  <a:lnTo>
                    <a:pt x="224" y="613"/>
                  </a:lnTo>
                  <a:lnTo>
                    <a:pt x="225" y="614"/>
                  </a:lnTo>
                  <a:lnTo>
                    <a:pt x="224" y="614"/>
                  </a:lnTo>
                  <a:lnTo>
                    <a:pt x="224" y="616"/>
                  </a:lnTo>
                  <a:lnTo>
                    <a:pt x="222" y="617"/>
                  </a:lnTo>
                  <a:lnTo>
                    <a:pt x="222" y="616"/>
                  </a:lnTo>
                  <a:lnTo>
                    <a:pt x="221" y="614"/>
                  </a:lnTo>
                  <a:lnTo>
                    <a:pt x="219" y="614"/>
                  </a:lnTo>
                  <a:lnTo>
                    <a:pt x="219" y="616"/>
                  </a:lnTo>
                  <a:lnTo>
                    <a:pt x="218" y="614"/>
                  </a:lnTo>
                  <a:lnTo>
                    <a:pt x="218" y="613"/>
                  </a:lnTo>
                  <a:lnTo>
                    <a:pt x="216" y="613"/>
                  </a:lnTo>
                  <a:lnTo>
                    <a:pt x="216" y="614"/>
                  </a:lnTo>
                  <a:lnTo>
                    <a:pt x="218" y="614"/>
                  </a:lnTo>
                  <a:lnTo>
                    <a:pt x="218" y="616"/>
                  </a:lnTo>
                  <a:lnTo>
                    <a:pt x="216" y="616"/>
                  </a:lnTo>
                  <a:lnTo>
                    <a:pt x="216" y="619"/>
                  </a:lnTo>
                  <a:lnTo>
                    <a:pt x="218" y="619"/>
                  </a:lnTo>
                  <a:lnTo>
                    <a:pt x="219" y="617"/>
                  </a:lnTo>
                  <a:lnTo>
                    <a:pt x="218" y="617"/>
                  </a:lnTo>
                  <a:lnTo>
                    <a:pt x="219" y="616"/>
                  </a:lnTo>
                  <a:lnTo>
                    <a:pt x="222" y="616"/>
                  </a:lnTo>
                  <a:lnTo>
                    <a:pt x="221" y="617"/>
                  </a:lnTo>
                  <a:lnTo>
                    <a:pt x="221" y="619"/>
                  </a:lnTo>
                  <a:lnTo>
                    <a:pt x="222" y="620"/>
                  </a:lnTo>
                  <a:lnTo>
                    <a:pt x="221" y="622"/>
                  </a:lnTo>
                  <a:lnTo>
                    <a:pt x="219" y="622"/>
                  </a:lnTo>
                  <a:lnTo>
                    <a:pt x="219" y="620"/>
                  </a:lnTo>
                  <a:lnTo>
                    <a:pt x="215" y="620"/>
                  </a:lnTo>
                  <a:lnTo>
                    <a:pt x="215" y="619"/>
                  </a:lnTo>
                  <a:lnTo>
                    <a:pt x="213" y="617"/>
                  </a:lnTo>
                  <a:lnTo>
                    <a:pt x="213" y="614"/>
                  </a:lnTo>
                  <a:lnTo>
                    <a:pt x="212" y="613"/>
                  </a:lnTo>
                  <a:lnTo>
                    <a:pt x="212" y="616"/>
                  </a:lnTo>
                  <a:lnTo>
                    <a:pt x="209" y="616"/>
                  </a:lnTo>
                  <a:lnTo>
                    <a:pt x="209" y="619"/>
                  </a:lnTo>
                  <a:lnTo>
                    <a:pt x="210" y="619"/>
                  </a:lnTo>
                  <a:lnTo>
                    <a:pt x="210" y="617"/>
                  </a:lnTo>
                  <a:lnTo>
                    <a:pt x="212" y="617"/>
                  </a:lnTo>
                  <a:lnTo>
                    <a:pt x="212" y="619"/>
                  </a:lnTo>
                  <a:lnTo>
                    <a:pt x="213" y="619"/>
                  </a:lnTo>
                  <a:lnTo>
                    <a:pt x="213" y="620"/>
                  </a:lnTo>
                  <a:lnTo>
                    <a:pt x="215" y="622"/>
                  </a:lnTo>
                  <a:lnTo>
                    <a:pt x="215" y="626"/>
                  </a:lnTo>
                  <a:lnTo>
                    <a:pt x="210" y="626"/>
                  </a:lnTo>
                  <a:lnTo>
                    <a:pt x="212" y="628"/>
                  </a:lnTo>
                  <a:lnTo>
                    <a:pt x="213" y="628"/>
                  </a:lnTo>
                  <a:lnTo>
                    <a:pt x="213" y="629"/>
                  </a:lnTo>
                  <a:lnTo>
                    <a:pt x="210" y="629"/>
                  </a:lnTo>
                  <a:lnTo>
                    <a:pt x="210" y="628"/>
                  </a:lnTo>
                  <a:lnTo>
                    <a:pt x="204" y="626"/>
                  </a:lnTo>
                  <a:lnTo>
                    <a:pt x="206" y="626"/>
                  </a:lnTo>
                  <a:lnTo>
                    <a:pt x="203" y="625"/>
                  </a:lnTo>
                  <a:lnTo>
                    <a:pt x="197" y="625"/>
                  </a:lnTo>
                  <a:lnTo>
                    <a:pt x="200" y="626"/>
                  </a:lnTo>
                  <a:lnTo>
                    <a:pt x="212" y="631"/>
                  </a:lnTo>
                  <a:lnTo>
                    <a:pt x="213" y="631"/>
                  </a:lnTo>
                  <a:lnTo>
                    <a:pt x="213" y="632"/>
                  </a:lnTo>
                  <a:lnTo>
                    <a:pt x="215" y="632"/>
                  </a:lnTo>
                  <a:lnTo>
                    <a:pt x="215" y="633"/>
                  </a:lnTo>
                  <a:lnTo>
                    <a:pt x="212" y="636"/>
                  </a:lnTo>
                  <a:lnTo>
                    <a:pt x="209" y="636"/>
                  </a:lnTo>
                  <a:lnTo>
                    <a:pt x="209" y="639"/>
                  </a:lnTo>
                  <a:lnTo>
                    <a:pt x="207" y="639"/>
                  </a:lnTo>
                  <a:lnTo>
                    <a:pt x="207" y="641"/>
                  </a:lnTo>
                  <a:lnTo>
                    <a:pt x="206" y="641"/>
                  </a:lnTo>
                  <a:lnTo>
                    <a:pt x="206" y="639"/>
                  </a:lnTo>
                  <a:lnTo>
                    <a:pt x="204" y="639"/>
                  </a:lnTo>
                  <a:lnTo>
                    <a:pt x="203" y="638"/>
                  </a:lnTo>
                  <a:lnTo>
                    <a:pt x="201" y="638"/>
                  </a:lnTo>
                  <a:lnTo>
                    <a:pt x="198" y="635"/>
                  </a:lnTo>
                  <a:lnTo>
                    <a:pt x="194" y="629"/>
                  </a:lnTo>
                  <a:lnTo>
                    <a:pt x="194" y="628"/>
                  </a:lnTo>
                  <a:lnTo>
                    <a:pt x="192" y="628"/>
                  </a:lnTo>
                  <a:lnTo>
                    <a:pt x="194" y="629"/>
                  </a:lnTo>
                  <a:lnTo>
                    <a:pt x="194" y="631"/>
                  </a:lnTo>
                  <a:lnTo>
                    <a:pt x="195" y="632"/>
                  </a:lnTo>
                  <a:lnTo>
                    <a:pt x="200" y="638"/>
                  </a:lnTo>
                  <a:lnTo>
                    <a:pt x="204" y="641"/>
                  </a:lnTo>
                  <a:lnTo>
                    <a:pt x="206" y="642"/>
                  </a:lnTo>
                  <a:lnTo>
                    <a:pt x="209" y="644"/>
                  </a:lnTo>
                  <a:lnTo>
                    <a:pt x="210" y="644"/>
                  </a:lnTo>
                  <a:lnTo>
                    <a:pt x="210" y="645"/>
                  </a:lnTo>
                  <a:lnTo>
                    <a:pt x="209" y="645"/>
                  </a:lnTo>
                  <a:lnTo>
                    <a:pt x="209" y="647"/>
                  </a:lnTo>
                  <a:lnTo>
                    <a:pt x="207" y="647"/>
                  </a:lnTo>
                  <a:lnTo>
                    <a:pt x="206" y="648"/>
                  </a:lnTo>
                  <a:lnTo>
                    <a:pt x="203" y="645"/>
                  </a:lnTo>
                  <a:lnTo>
                    <a:pt x="203" y="647"/>
                  </a:lnTo>
                  <a:lnTo>
                    <a:pt x="201" y="647"/>
                  </a:lnTo>
                  <a:lnTo>
                    <a:pt x="201" y="645"/>
                  </a:lnTo>
                  <a:lnTo>
                    <a:pt x="200" y="644"/>
                  </a:lnTo>
                  <a:lnTo>
                    <a:pt x="201" y="644"/>
                  </a:lnTo>
                  <a:lnTo>
                    <a:pt x="200" y="642"/>
                  </a:lnTo>
                  <a:lnTo>
                    <a:pt x="197" y="641"/>
                  </a:lnTo>
                  <a:lnTo>
                    <a:pt x="183" y="628"/>
                  </a:lnTo>
                  <a:lnTo>
                    <a:pt x="183" y="629"/>
                  </a:lnTo>
                  <a:lnTo>
                    <a:pt x="185" y="629"/>
                  </a:lnTo>
                  <a:lnTo>
                    <a:pt x="185" y="631"/>
                  </a:lnTo>
                  <a:lnTo>
                    <a:pt x="186" y="631"/>
                  </a:lnTo>
                  <a:lnTo>
                    <a:pt x="186" y="633"/>
                  </a:lnTo>
                  <a:lnTo>
                    <a:pt x="188" y="635"/>
                  </a:lnTo>
                  <a:lnTo>
                    <a:pt x="189" y="635"/>
                  </a:lnTo>
                  <a:lnTo>
                    <a:pt x="191" y="636"/>
                  </a:lnTo>
                  <a:lnTo>
                    <a:pt x="191" y="638"/>
                  </a:lnTo>
                  <a:lnTo>
                    <a:pt x="192" y="638"/>
                  </a:lnTo>
                  <a:lnTo>
                    <a:pt x="192" y="639"/>
                  </a:lnTo>
                  <a:lnTo>
                    <a:pt x="195" y="641"/>
                  </a:lnTo>
                  <a:lnTo>
                    <a:pt x="195" y="642"/>
                  </a:lnTo>
                  <a:lnTo>
                    <a:pt x="200" y="645"/>
                  </a:lnTo>
                  <a:lnTo>
                    <a:pt x="201" y="647"/>
                  </a:lnTo>
                  <a:lnTo>
                    <a:pt x="201" y="648"/>
                  </a:lnTo>
                  <a:lnTo>
                    <a:pt x="203" y="650"/>
                  </a:lnTo>
                  <a:lnTo>
                    <a:pt x="203" y="651"/>
                  </a:lnTo>
                  <a:lnTo>
                    <a:pt x="204" y="651"/>
                  </a:lnTo>
                  <a:lnTo>
                    <a:pt x="204" y="657"/>
                  </a:lnTo>
                  <a:lnTo>
                    <a:pt x="203" y="659"/>
                  </a:lnTo>
                  <a:lnTo>
                    <a:pt x="201" y="659"/>
                  </a:lnTo>
                  <a:lnTo>
                    <a:pt x="201" y="660"/>
                  </a:lnTo>
                  <a:lnTo>
                    <a:pt x="195" y="660"/>
                  </a:lnTo>
                  <a:lnTo>
                    <a:pt x="194" y="659"/>
                  </a:lnTo>
                  <a:lnTo>
                    <a:pt x="189" y="656"/>
                  </a:lnTo>
                  <a:lnTo>
                    <a:pt x="180" y="648"/>
                  </a:lnTo>
                  <a:lnTo>
                    <a:pt x="177" y="642"/>
                  </a:lnTo>
                  <a:lnTo>
                    <a:pt x="174" y="641"/>
                  </a:lnTo>
                  <a:lnTo>
                    <a:pt x="173" y="641"/>
                  </a:lnTo>
                  <a:lnTo>
                    <a:pt x="172" y="639"/>
                  </a:lnTo>
                  <a:lnTo>
                    <a:pt x="170" y="639"/>
                  </a:lnTo>
                  <a:lnTo>
                    <a:pt x="170" y="641"/>
                  </a:lnTo>
                  <a:lnTo>
                    <a:pt x="173" y="642"/>
                  </a:lnTo>
                  <a:lnTo>
                    <a:pt x="182" y="651"/>
                  </a:lnTo>
                  <a:lnTo>
                    <a:pt x="182" y="653"/>
                  </a:lnTo>
                  <a:lnTo>
                    <a:pt x="186" y="660"/>
                  </a:lnTo>
                  <a:lnTo>
                    <a:pt x="188" y="662"/>
                  </a:lnTo>
                  <a:lnTo>
                    <a:pt x="188" y="665"/>
                  </a:lnTo>
                  <a:lnTo>
                    <a:pt x="186" y="666"/>
                  </a:lnTo>
                  <a:lnTo>
                    <a:pt x="186" y="669"/>
                  </a:lnTo>
                  <a:lnTo>
                    <a:pt x="185" y="669"/>
                  </a:lnTo>
                  <a:lnTo>
                    <a:pt x="179" y="671"/>
                  </a:lnTo>
                  <a:lnTo>
                    <a:pt x="172" y="674"/>
                  </a:lnTo>
                  <a:lnTo>
                    <a:pt x="167" y="675"/>
                  </a:lnTo>
                  <a:lnTo>
                    <a:pt x="157" y="680"/>
                  </a:lnTo>
                  <a:lnTo>
                    <a:pt x="152" y="684"/>
                  </a:lnTo>
                  <a:lnTo>
                    <a:pt x="152" y="686"/>
                  </a:lnTo>
                  <a:lnTo>
                    <a:pt x="151" y="686"/>
                  </a:lnTo>
                  <a:lnTo>
                    <a:pt x="148" y="693"/>
                  </a:lnTo>
                  <a:lnTo>
                    <a:pt x="145" y="696"/>
                  </a:lnTo>
                  <a:lnTo>
                    <a:pt x="142" y="696"/>
                  </a:lnTo>
                  <a:lnTo>
                    <a:pt x="139" y="699"/>
                  </a:lnTo>
                  <a:lnTo>
                    <a:pt x="139" y="701"/>
                  </a:lnTo>
                  <a:lnTo>
                    <a:pt x="137" y="702"/>
                  </a:lnTo>
                  <a:lnTo>
                    <a:pt x="134" y="704"/>
                  </a:lnTo>
                  <a:lnTo>
                    <a:pt x="125" y="705"/>
                  </a:lnTo>
                  <a:lnTo>
                    <a:pt x="124" y="705"/>
                  </a:lnTo>
                  <a:lnTo>
                    <a:pt x="121" y="704"/>
                  </a:lnTo>
                  <a:lnTo>
                    <a:pt x="124" y="702"/>
                  </a:lnTo>
                  <a:lnTo>
                    <a:pt x="124" y="701"/>
                  </a:lnTo>
                  <a:lnTo>
                    <a:pt x="125" y="701"/>
                  </a:lnTo>
                  <a:lnTo>
                    <a:pt x="124" y="699"/>
                  </a:lnTo>
                  <a:lnTo>
                    <a:pt x="125" y="699"/>
                  </a:lnTo>
                  <a:lnTo>
                    <a:pt x="125" y="698"/>
                  </a:lnTo>
                  <a:lnTo>
                    <a:pt x="130" y="698"/>
                  </a:lnTo>
                  <a:lnTo>
                    <a:pt x="130" y="696"/>
                  </a:lnTo>
                  <a:lnTo>
                    <a:pt x="128" y="696"/>
                  </a:lnTo>
                  <a:lnTo>
                    <a:pt x="128" y="695"/>
                  </a:lnTo>
                  <a:lnTo>
                    <a:pt x="125" y="696"/>
                  </a:lnTo>
                  <a:lnTo>
                    <a:pt x="124" y="696"/>
                  </a:lnTo>
                  <a:lnTo>
                    <a:pt x="122" y="695"/>
                  </a:lnTo>
                  <a:lnTo>
                    <a:pt x="122" y="690"/>
                  </a:lnTo>
                  <a:lnTo>
                    <a:pt x="124" y="689"/>
                  </a:lnTo>
                  <a:lnTo>
                    <a:pt x="124" y="666"/>
                  </a:lnTo>
                  <a:lnTo>
                    <a:pt x="125" y="662"/>
                  </a:lnTo>
                  <a:lnTo>
                    <a:pt x="125" y="651"/>
                  </a:lnTo>
                  <a:lnTo>
                    <a:pt x="127" y="648"/>
                  </a:lnTo>
                  <a:lnTo>
                    <a:pt x="127" y="645"/>
                  </a:lnTo>
                  <a:lnTo>
                    <a:pt x="130" y="647"/>
                  </a:lnTo>
                  <a:lnTo>
                    <a:pt x="134" y="642"/>
                  </a:lnTo>
                  <a:lnTo>
                    <a:pt x="136" y="642"/>
                  </a:lnTo>
                  <a:lnTo>
                    <a:pt x="137" y="645"/>
                  </a:lnTo>
                  <a:lnTo>
                    <a:pt x="137" y="641"/>
                  </a:lnTo>
                  <a:lnTo>
                    <a:pt x="136" y="639"/>
                  </a:lnTo>
                  <a:lnTo>
                    <a:pt x="134" y="636"/>
                  </a:lnTo>
                  <a:lnTo>
                    <a:pt x="133" y="635"/>
                  </a:lnTo>
                  <a:lnTo>
                    <a:pt x="128" y="635"/>
                  </a:lnTo>
                  <a:lnTo>
                    <a:pt x="124" y="631"/>
                  </a:lnTo>
                  <a:lnTo>
                    <a:pt x="124" y="629"/>
                  </a:lnTo>
                  <a:lnTo>
                    <a:pt x="119" y="629"/>
                  </a:lnTo>
                  <a:lnTo>
                    <a:pt x="116" y="632"/>
                  </a:lnTo>
                  <a:lnTo>
                    <a:pt x="115" y="632"/>
                  </a:lnTo>
                  <a:lnTo>
                    <a:pt x="115" y="631"/>
                  </a:lnTo>
                  <a:lnTo>
                    <a:pt x="113" y="631"/>
                  </a:lnTo>
                  <a:lnTo>
                    <a:pt x="113" y="626"/>
                  </a:lnTo>
                  <a:lnTo>
                    <a:pt x="112" y="626"/>
                  </a:lnTo>
                  <a:lnTo>
                    <a:pt x="110" y="625"/>
                  </a:lnTo>
                  <a:lnTo>
                    <a:pt x="110" y="623"/>
                  </a:lnTo>
                  <a:lnTo>
                    <a:pt x="109" y="622"/>
                  </a:lnTo>
                  <a:lnTo>
                    <a:pt x="110" y="622"/>
                  </a:lnTo>
                  <a:lnTo>
                    <a:pt x="110" y="620"/>
                  </a:lnTo>
                  <a:lnTo>
                    <a:pt x="109" y="622"/>
                  </a:lnTo>
                  <a:lnTo>
                    <a:pt x="107" y="622"/>
                  </a:lnTo>
                  <a:lnTo>
                    <a:pt x="107" y="620"/>
                  </a:lnTo>
                  <a:lnTo>
                    <a:pt x="109" y="620"/>
                  </a:lnTo>
                  <a:lnTo>
                    <a:pt x="110" y="617"/>
                  </a:lnTo>
                  <a:lnTo>
                    <a:pt x="113" y="614"/>
                  </a:lnTo>
                  <a:lnTo>
                    <a:pt x="115" y="614"/>
                  </a:lnTo>
                  <a:lnTo>
                    <a:pt x="119" y="616"/>
                  </a:lnTo>
                  <a:lnTo>
                    <a:pt x="124" y="616"/>
                  </a:lnTo>
                  <a:lnTo>
                    <a:pt x="125" y="614"/>
                  </a:lnTo>
                  <a:lnTo>
                    <a:pt x="127" y="614"/>
                  </a:lnTo>
                  <a:lnTo>
                    <a:pt x="128" y="611"/>
                  </a:lnTo>
                  <a:lnTo>
                    <a:pt x="130" y="610"/>
                  </a:lnTo>
                  <a:lnTo>
                    <a:pt x="134" y="607"/>
                  </a:lnTo>
                  <a:lnTo>
                    <a:pt x="136" y="607"/>
                  </a:lnTo>
                  <a:lnTo>
                    <a:pt x="136" y="605"/>
                  </a:lnTo>
                  <a:lnTo>
                    <a:pt x="134" y="602"/>
                  </a:lnTo>
                  <a:lnTo>
                    <a:pt x="133" y="601"/>
                  </a:lnTo>
                  <a:lnTo>
                    <a:pt x="133" y="598"/>
                  </a:lnTo>
                  <a:lnTo>
                    <a:pt x="134" y="598"/>
                  </a:lnTo>
                  <a:lnTo>
                    <a:pt x="134" y="596"/>
                  </a:lnTo>
                  <a:lnTo>
                    <a:pt x="136" y="596"/>
                  </a:lnTo>
                  <a:lnTo>
                    <a:pt x="137" y="598"/>
                  </a:lnTo>
                  <a:lnTo>
                    <a:pt x="145" y="598"/>
                  </a:lnTo>
                  <a:lnTo>
                    <a:pt x="145" y="599"/>
                  </a:lnTo>
                  <a:lnTo>
                    <a:pt x="146" y="601"/>
                  </a:lnTo>
                  <a:lnTo>
                    <a:pt x="148" y="601"/>
                  </a:lnTo>
                  <a:lnTo>
                    <a:pt x="151" y="595"/>
                  </a:lnTo>
                  <a:lnTo>
                    <a:pt x="152" y="595"/>
                  </a:lnTo>
                  <a:lnTo>
                    <a:pt x="154" y="596"/>
                  </a:lnTo>
                  <a:lnTo>
                    <a:pt x="157" y="595"/>
                  </a:lnTo>
                  <a:lnTo>
                    <a:pt x="161" y="595"/>
                  </a:lnTo>
                  <a:lnTo>
                    <a:pt x="163" y="593"/>
                  </a:lnTo>
                  <a:lnTo>
                    <a:pt x="164" y="593"/>
                  </a:lnTo>
                  <a:lnTo>
                    <a:pt x="166" y="592"/>
                  </a:lnTo>
                  <a:lnTo>
                    <a:pt x="167" y="592"/>
                  </a:lnTo>
                  <a:lnTo>
                    <a:pt x="167" y="593"/>
                  </a:lnTo>
                  <a:lnTo>
                    <a:pt x="170" y="596"/>
                  </a:lnTo>
                  <a:lnTo>
                    <a:pt x="170" y="598"/>
                  </a:lnTo>
                  <a:lnTo>
                    <a:pt x="172" y="599"/>
                  </a:lnTo>
                  <a:lnTo>
                    <a:pt x="172" y="601"/>
                  </a:lnTo>
                  <a:lnTo>
                    <a:pt x="174" y="601"/>
                  </a:lnTo>
                  <a:lnTo>
                    <a:pt x="174" y="598"/>
                  </a:lnTo>
                  <a:lnTo>
                    <a:pt x="176" y="599"/>
                  </a:lnTo>
                  <a:lnTo>
                    <a:pt x="177" y="599"/>
                  </a:lnTo>
                  <a:lnTo>
                    <a:pt x="177" y="601"/>
                  </a:lnTo>
                  <a:lnTo>
                    <a:pt x="179" y="601"/>
                  </a:lnTo>
                  <a:lnTo>
                    <a:pt x="180" y="602"/>
                  </a:lnTo>
                  <a:lnTo>
                    <a:pt x="183" y="602"/>
                  </a:lnTo>
                  <a:lnTo>
                    <a:pt x="185" y="604"/>
                  </a:lnTo>
                  <a:lnTo>
                    <a:pt x="186" y="604"/>
                  </a:lnTo>
                  <a:lnTo>
                    <a:pt x="185" y="599"/>
                  </a:lnTo>
                  <a:lnTo>
                    <a:pt x="183" y="598"/>
                  </a:lnTo>
                  <a:lnTo>
                    <a:pt x="183" y="595"/>
                  </a:lnTo>
                  <a:lnTo>
                    <a:pt x="186" y="595"/>
                  </a:lnTo>
                  <a:lnTo>
                    <a:pt x="186" y="593"/>
                  </a:lnTo>
                  <a:lnTo>
                    <a:pt x="185" y="590"/>
                  </a:lnTo>
                  <a:lnTo>
                    <a:pt x="183" y="589"/>
                  </a:lnTo>
                  <a:lnTo>
                    <a:pt x="180" y="589"/>
                  </a:lnTo>
                  <a:lnTo>
                    <a:pt x="179" y="587"/>
                  </a:lnTo>
                  <a:lnTo>
                    <a:pt x="177" y="584"/>
                  </a:lnTo>
                  <a:lnTo>
                    <a:pt x="174" y="584"/>
                  </a:lnTo>
                  <a:lnTo>
                    <a:pt x="173" y="583"/>
                  </a:lnTo>
                  <a:lnTo>
                    <a:pt x="173" y="580"/>
                  </a:lnTo>
                  <a:lnTo>
                    <a:pt x="172" y="580"/>
                  </a:lnTo>
                  <a:lnTo>
                    <a:pt x="172" y="574"/>
                  </a:lnTo>
                  <a:lnTo>
                    <a:pt x="173" y="574"/>
                  </a:lnTo>
                  <a:lnTo>
                    <a:pt x="172" y="572"/>
                  </a:lnTo>
                  <a:lnTo>
                    <a:pt x="172" y="568"/>
                  </a:lnTo>
                  <a:lnTo>
                    <a:pt x="170" y="566"/>
                  </a:lnTo>
                  <a:lnTo>
                    <a:pt x="169" y="566"/>
                  </a:lnTo>
                  <a:lnTo>
                    <a:pt x="169" y="563"/>
                  </a:lnTo>
                  <a:lnTo>
                    <a:pt x="170" y="563"/>
                  </a:lnTo>
                  <a:lnTo>
                    <a:pt x="172" y="562"/>
                  </a:lnTo>
                  <a:lnTo>
                    <a:pt x="174" y="563"/>
                  </a:lnTo>
                  <a:lnTo>
                    <a:pt x="177" y="560"/>
                  </a:lnTo>
                  <a:lnTo>
                    <a:pt x="177" y="559"/>
                  </a:lnTo>
                  <a:lnTo>
                    <a:pt x="179" y="557"/>
                  </a:lnTo>
                  <a:lnTo>
                    <a:pt x="180" y="557"/>
                  </a:lnTo>
                  <a:lnTo>
                    <a:pt x="183" y="559"/>
                  </a:lnTo>
                  <a:lnTo>
                    <a:pt x="188" y="559"/>
                  </a:lnTo>
                  <a:lnTo>
                    <a:pt x="191" y="562"/>
                  </a:lnTo>
                  <a:lnTo>
                    <a:pt x="194" y="560"/>
                  </a:lnTo>
                  <a:lnTo>
                    <a:pt x="195" y="560"/>
                  </a:lnTo>
                  <a:lnTo>
                    <a:pt x="195" y="562"/>
                  </a:lnTo>
                  <a:lnTo>
                    <a:pt x="198" y="562"/>
                  </a:lnTo>
                  <a:lnTo>
                    <a:pt x="197" y="560"/>
                  </a:lnTo>
                  <a:lnTo>
                    <a:pt x="197" y="554"/>
                  </a:lnTo>
                  <a:lnTo>
                    <a:pt x="198" y="553"/>
                  </a:lnTo>
                  <a:lnTo>
                    <a:pt x="198" y="551"/>
                  </a:lnTo>
                  <a:lnTo>
                    <a:pt x="197" y="550"/>
                  </a:lnTo>
                  <a:lnTo>
                    <a:pt x="197" y="548"/>
                  </a:lnTo>
                  <a:lnTo>
                    <a:pt x="198" y="547"/>
                  </a:lnTo>
                  <a:lnTo>
                    <a:pt x="198" y="548"/>
                  </a:lnTo>
                  <a:lnTo>
                    <a:pt x="207" y="548"/>
                  </a:lnTo>
                  <a:lnTo>
                    <a:pt x="207" y="547"/>
                  </a:lnTo>
                  <a:lnTo>
                    <a:pt x="209" y="548"/>
                  </a:lnTo>
                  <a:lnTo>
                    <a:pt x="210" y="548"/>
                  </a:lnTo>
                  <a:lnTo>
                    <a:pt x="212" y="547"/>
                  </a:lnTo>
                  <a:lnTo>
                    <a:pt x="212" y="544"/>
                  </a:lnTo>
                  <a:lnTo>
                    <a:pt x="221" y="544"/>
                  </a:lnTo>
                  <a:lnTo>
                    <a:pt x="222" y="542"/>
                  </a:lnTo>
                  <a:lnTo>
                    <a:pt x="227" y="539"/>
                  </a:lnTo>
                  <a:lnTo>
                    <a:pt x="227" y="536"/>
                  </a:lnTo>
                  <a:lnTo>
                    <a:pt x="230" y="536"/>
                  </a:lnTo>
                  <a:lnTo>
                    <a:pt x="230" y="535"/>
                  </a:lnTo>
                  <a:lnTo>
                    <a:pt x="231" y="533"/>
                  </a:lnTo>
                  <a:lnTo>
                    <a:pt x="234" y="532"/>
                  </a:lnTo>
                  <a:lnTo>
                    <a:pt x="237" y="532"/>
                  </a:lnTo>
                  <a:lnTo>
                    <a:pt x="239" y="530"/>
                  </a:lnTo>
                  <a:lnTo>
                    <a:pt x="242" y="533"/>
                  </a:lnTo>
                  <a:lnTo>
                    <a:pt x="242" y="535"/>
                  </a:lnTo>
                  <a:lnTo>
                    <a:pt x="243" y="535"/>
                  </a:lnTo>
                  <a:lnTo>
                    <a:pt x="245" y="532"/>
                  </a:lnTo>
                  <a:lnTo>
                    <a:pt x="246" y="532"/>
                  </a:lnTo>
                  <a:lnTo>
                    <a:pt x="248" y="530"/>
                  </a:lnTo>
                  <a:lnTo>
                    <a:pt x="248" y="529"/>
                  </a:lnTo>
                  <a:lnTo>
                    <a:pt x="249" y="524"/>
                  </a:lnTo>
                  <a:lnTo>
                    <a:pt x="249" y="509"/>
                  </a:lnTo>
                  <a:lnTo>
                    <a:pt x="246" y="506"/>
                  </a:lnTo>
                  <a:lnTo>
                    <a:pt x="246" y="503"/>
                  </a:lnTo>
                  <a:lnTo>
                    <a:pt x="245" y="502"/>
                  </a:lnTo>
                  <a:lnTo>
                    <a:pt x="246" y="500"/>
                  </a:lnTo>
                  <a:lnTo>
                    <a:pt x="245" y="499"/>
                  </a:lnTo>
                  <a:lnTo>
                    <a:pt x="249" y="487"/>
                  </a:lnTo>
                  <a:lnTo>
                    <a:pt x="251" y="485"/>
                  </a:lnTo>
                  <a:lnTo>
                    <a:pt x="252" y="482"/>
                  </a:lnTo>
                  <a:lnTo>
                    <a:pt x="252" y="476"/>
                  </a:lnTo>
                  <a:lnTo>
                    <a:pt x="251" y="475"/>
                  </a:lnTo>
                  <a:lnTo>
                    <a:pt x="248" y="467"/>
                  </a:lnTo>
                  <a:lnTo>
                    <a:pt x="246" y="466"/>
                  </a:lnTo>
                  <a:lnTo>
                    <a:pt x="246" y="464"/>
                  </a:lnTo>
                  <a:lnTo>
                    <a:pt x="245" y="464"/>
                  </a:lnTo>
                  <a:lnTo>
                    <a:pt x="245" y="460"/>
                  </a:lnTo>
                  <a:lnTo>
                    <a:pt x="243" y="458"/>
                  </a:lnTo>
                  <a:lnTo>
                    <a:pt x="245" y="458"/>
                  </a:lnTo>
                  <a:lnTo>
                    <a:pt x="245" y="455"/>
                  </a:lnTo>
                  <a:lnTo>
                    <a:pt x="243" y="455"/>
                  </a:lnTo>
                  <a:lnTo>
                    <a:pt x="243" y="452"/>
                  </a:lnTo>
                  <a:lnTo>
                    <a:pt x="240" y="452"/>
                  </a:lnTo>
                  <a:lnTo>
                    <a:pt x="240" y="449"/>
                  </a:lnTo>
                  <a:lnTo>
                    <a:pt x="239" y="448"/>
                  </a:lnTo>
                  <a:lnTo>
                    <a:pt x="239" y="446"/>
                  </a:lnTo>
                  <a:lnTo>
                    <a:pt x="240" y="442"/>
                  </a:lnTo>
                  <a:lnTo>
                    <a:pt x="240" y="436"/>
                  </a:lnTo>
                  <a:lnTo>
                    <a:pt x="242" y="434"/>
                  </a:lnTo>
                  <a:lnTo>
                    <a:pt x="242" y="433"/>
                  </a:lnTo>
                  <a:lnTo>
                    <a:pt x="245" y="433"/>
                  </a:lnTo>
                  <a:lnTo>
                    <a:pt x="245" y="431"/>
                  </a:lnTo>
                  <a:lnTo>
                    <a:pt x="246" y="430"/>
                  </a:lnTo>
                  <a:lnTo>
                    <a:pt x="246" y="427"/>
                  </a:lnTo>
                  <a:lnTo>
                    <a:pt x="248" y="427"/>
                  </a:lnTo>
                  <a:lnTo>
                    <a:pt x="248" y="418"/>
                  </a:lnTo>
                  <a:lnTo>
                    <a:pt x="246" y="418"/>
                  </a:lnTo>
                  <a:lnTo>
                    <a:pt x="248" y="416"/>
                  </a:lnTo>
                  <a:lnTo>
                    <a:pt x="246" y="415"/>
                  </a:lnTo>
                  <a:lnTo>
                    <a:pt x="246" y="413"/>
                  </a:lnTo>
                  <a:lnTo>
                    <a:pt x="249" y="412"/>
                  </a:lnTo>
                  <a:lnTo>
                    <a:pt x="249" y="410"/>
                  </a:lnTo>
                  <a:lnTo>
                    <a:pt x="246" y="409"/>
                  </a:lnTo>
                  <a:lnTo>
                    <a:pt x="246" y="407"/>
                  </a:lnTo>
                  <a:lnTo>
                    <a:pt x="245" y="407"/>
                  </a:lnTo>
                  <a:lnTo>
                    <a:pt x="245" y="404"/>
                  </a:lnTo>
                  <a:lnTo>
                    <a:pt x="246" y="404"/>
                  </a:lnTo>
                  <a:lnTo>
                    <a:pt x="248" y="403"/>
                  </a:lnTo>
                  <a:lnTo>
                    <a:pt x="251" y="403"/>
                  </a:lnTo>
                  <a:lnTo>
                    <a:pt x="251" y="400"/>
                  </a:lnTo>
                  <a:lnTo>
                    <a:pt x="252" y="400"/>
                  </a:lnTo>
                  <a:lnTo>
                    <a:pt x="252" y="395"/>
                  </a:lnTo>
                  <a:lnTo>
                    <a:pt x="254" y="395"/>
                  </a:lnTo>
                  <a:lnTo>
                    <a:pt x="254" y="391"/>
                  </a:lnTo>
                  <a:lnTo>
                    <a:pt x="251" y="389"/>
                  </a:lnTo>
                  <a:lnTo>
                    <a:pt x="251" y="386"/>
                  </a:lnTo>
                  <a:lnTo>
                    <a:pt x="248" y="386"/>
                  </a:lnTo>
                  <a:lnTo>
                    <a:pt x="246" y="385"/>
                  </a:lnTo>
                  <a:lnTo>
                    <a:pt x="246" y="382"/>
                  </a:lnTo>
                  <a:lnTo>
                    <a:pt x="240" y="382"/>
                  </a:lnTo>
                  <a:lnTo>
                    <a:pt x="239" y="377"/>
                  </a:lnTo>
                  <a:lnTo>
                    <a:pt x="237" y="377"/>
                  </a:lnTo>
                  <a:lnTo>
                    <a:pt x="234" y="374"/>
                  </a:lnTo>
                  <a:lnTo>
                    <a:pt x="234" y="372"/>
                  </a:lnTo>
                  <a:lnTo>
                    <a:pt x="231" y="370"/>
                  </a:lnTo>
                  <a:lnTo>
                    <a:pt x="231" y="366"/>
                  </a:lnTo>
                  <a:lnTo>
                    <a:pt x="233" y="364"/>
                  </a:lnTo>
                  <a:lnTo>
                    <a:pt x="234" y="364"/>
                  </a:lnTo>
                  <a:lnTo>
                    <a:pt x="234" y="366"/>
                  </a:lnTo>
                  <a:lnTo>
                    <a:pt x="237" y="363"/>
                  </a:lnTo>
                  <a:lnTo>
                    <a:pt x="242" y="363"/>
                  </a:lnTo>
                  <a:lnTo>
                    <a:pt x="242" y="361"/>
                  </a:lnTo>
                  <a:lnTo>
                    <a:pt x="243" y="360"/>
                  </a:lnTo>
                  <a:lnTo>
                    <a:pt x="243" y="358"/>
                  </a:lnTo>
                  <a:lnTo>
                    <a:pt x="245" y="358"/>
                  </a:lnTo>
                  <a:lnTo>
                    <a:pt x="245" y="357"/>
                  </a:lnTo>
                  <a:lnTo>
                    <a:pt x="243" y="357"/>
                  </a:lnTo>
                  <a:lnTo>
                    <a:pt x="243" y="355"/>
                  </a:lnTo>
                  <a:lnTo>
                    <a:pt x="237" y="355"/>
                  </a:lnTo>
                  <a:lnTo>
                    <a:pt x="237" y="354"/>
                  </a:lnTo>
                  <a:lnTo>
                    <a:pt x="234" y="352"/>
                  </a:lnTo>
                  <a:lnTo>
                    <a:pt x="234" y="351"/>
                  </a:lnTo>
                  <a:lnTo>
                    <a:pt x="231" y="351"/>
                  </a:lnTo>
                  <a:lnTo>
                    <a:pt x="230" y="349"/>
                  </a:lnTo>
                  <a:lnTo>
                    <a:pt x="230" y="346"/>
                  </a:lnTo>
                  <a:lnTo>
                    <a:pt x="228" y="346"/>
                  </a:lnTo>
                  <a:lnTo>
                    <a:pt x="228" y="345"/>
                  </a:lnTo>
                  <a:lnTo>
                    <a:pt x="222" y="345"/>
                  </a:lnTo>
                  <a:lnTo>
                    <a:pt x="222" y="342"/>
                  </a:lnTo>
                  <a:lnTo>
                    <a:pt x="221" y="342"/>
                  </a:lnTo>
                  <a:lnTo>
                    <a:pt x="218" y="339"/>
                  </a:lnTo>
                  <a:lnTo>
                    <a:pt x="218" y="334"/>
                  </a:lnTo>
                  <a:lnTo>
                    <a:pt x="216" y="333"/>
                  </a:lnTo>
                  <a:lnTo>
                    <a:pt x="215" y="334"/>
                  </a:lnTo>
                  <a:lnTo>
                    <a:pt x="215" y="336"/>
                  </a:lnTo>
                  <a:lnTo>
                    <a:pt x="213" y="337"/>
                  </a:lnTo>
                  <a:lnTo>
                    <a:pt x="209" y="337"/>
                  </a:lnTo>
                  <a:lnTo>
                    <a:pt x="209" y="336"/>
                  </a:lnTo>
                  <a:lnTo>
                    <a:pt x="207" y="334"/>
                  </a:lnTo>
                  <a:lnTo>
                    <a:pt x="207" y="330"/>
                  </a:lnTo>
                  <a:lnTo>
                    <a:pt x="204" y="330"/>
                  </a:lnTo>
                  <a:lnTo>
                    <a:pt x="203" y="328"/>
                  </a:lnTo>
                  <a:lnTo>
                    <a:pt x="203" y="312"/>
                  </a:lnTo>
                  <a:lnTo>
                    <a:pt x="197" y="312"/>
                  </a:lnTo>
                  <a:lnTo>
                    <a:pt x="197" y="310"/>
                  </a:lnTo>
                  <a:lnTo>
                    <a:pt x="195" y="309"/>
                  </a:lnTo>
                  <a:lnTo>
                    <a:pt x="197" y="307"/>
                  </a:lnTo>
                  <a:lnTo>
                    <a:pt x="192" y="303"/>
                  </a:lnTo>
                  <a:lnTo>
                    <a:pt x="192" y="300"/>
                  </a:lnTo>
                  <a:lnTo>
                    <a:pt x="191" y="298"/>
                  </a:lnTo>
                  <a:lnTo>
                    <a:pt x="191" y="297"/>
                  </a:lnTo>
                  <a:lnTo>
                    <a:pt x="189" y="297"/>
                  </a:lnTo>
                  <a:lnTo>
                    <a:pt x="189" y="298"/>
                  </a:lnTo>
                  <a:lnTo>
                    <a:pt x="186" y="298"/>
                  </a:lnTo>
                  <a:lnTo>
                    <a:pt x="179" y="292"/>
                  </a:lnTo>
                  <a:lnTo>
                    <a:pt x="174" y="286"/>
                  </a:lnTo>
                  <a:lnTo>
                    <a:pt x="172" y="282"/>
                  </a:lnTo>
                  <a:lnTo>
                    <a:pt x="170" y="280"/>
                  </a:lnTo>
                  <a:lnTo>
                    <a:pt x="169" y="280"/>
                  </a:lnTo>
                  <a:lnTo>
                    <a:pt x="166" y="279"/>
                  </a:lnTo>
                  <a:lnTo>
                    <a:pt x="166" y="277"/>
                  </a:lnTo>
                  <a:lnTo>
                    <a:pt x="164" y="276"/>
                  </a:lnTo>
                  <a:lnTo>
                    <a:pt x="164" y="274"/>
                  </a:lnTo>
                  <a:lnTo>
                    <a:pt x="163" y="274"/>
                  </a:lnTo>
                  <a:lnTo>
                    <a:pt x="161" y="271"/>
                  </a:lnTo>
                  <a:lnTo>
                    <a:pt x="160" y="270"/>
                  </a:lnTo>
                  <a:lnTo>
                    <a:pt x="160" y="262"/>
                  </a:lnTo>
                  <a:lnTo>
                    <a:pt x="158" y="262"/>
                  </a:lnTo>
                  <a:lnTo>
                    <a:pt x="158" y="259"/>
                  </a:lnTo>
                  <a:lnTo>
                    <a:pt x="155" y="259"/>
                  </a:lnTo>
                  <a:lnTo>
                    <a:pt x="155" y="256"/>
                  </a:lnTo>
                  <a:lnTo>
                    <a:pt x="154" y="256"/>
                  </a:lnTo>
                  <a:lnTo>
                    <a:pt x="154" y="253"/>
                  </a:lnTo>
                  <a:lnTo>
                    <a:pt x="151" y="253"/>
                  </a:lnTo>
                  <a:lnTo>
                    <a:pt x="149" y="255"/>
                  </a:lnTo>
                  <a:lnTo>
                    <a:pt x="148" y="255"/>
                  </a:lnTo>
                  <a:lnTo>
                    <a:pt x="146" y="253"/>
                  </a:lnTo>
                  <a:lnTo>
                    <a:pt x="146" y="250"/>
                  </a:lnTo>
                  <a:lnTo>
                    <a:pt x="143" y="250"/>
                  </a:lnTo>
                  <a:lnTo>
                    <a:pt x="140" y="247"/>
                  </a:lnTo>
                  <a:lnTo>
                    <a:pt x="140" y="244"/>
                  </a:lnTo>
                  <a:lnTo>
                    <a:pt x="139" y="244"/>
                  </a:lnTo>
                  <a:lnTo>
                    <a:pt x="136" y="241"/>
                  </a:lnTo>
                  <a:lnTo>
                    <a:pt x="136" y="238"/>
                  </a:lnTo>
                  <a:lnTo>
                    <a:pt x="137" y="237"/>
                  </a:lnTo>
                  <a:lnTo>
                    <a:pt x="137" y="235"/>
                  </a:lnTo>
                  <a:lnTo>
                    <a:pt x="139" y="234"/>
                  </a:lnTo>
                  <a:lnTo>
                    <a:pt x="140" y="234"/>
                  </a:lnTo>
                  <a:lnTo>
                    <a:pt x="140" y="232"/>
                  </a:lnTo>
                  <a:lnTo>
                    <a:pt x="137" y="229"/>
                  </a:lnTo>
                  <a:lnTo>
                    <a:pt x="134" y="229"/>
                  </a:lnTo>
                  <a:lnTo>
                    <a:pt x="131" y="228"/>
                  </a:lnTo>
                  <a:lnTo>
                    <a:pt x="128" y="228"/>
                  </a:lnTo>
                  <a:lnTo>
                    <a:pt x="128" y="225"/>
                  </a:lnTo>
                  <a:lnTo>
                    <a:pt x="119" y="225"/>
                  </a:lnTo>
                  <a:lnTo>
                    <a:pt x="119" y="223"/>
                  </a:lnTo>
                  <a:lnTo>
                    <a:pt x="116" y="223"/>
                  </a:lnTo>
                  <a:lnTo>
                    <a:pt x="116" y="222"/>
                  </a:lnTo>
                  <a:lnTo>
                    <a:pt x="115" y="222"/>
                  </a:lnTo>
                  <a:lnTo>
                    <a:pt x="115" y="220"/>
                  </a:lnTo>
                  <a:lnTo>
                    <a:pt x="113" y="220"/>
                  </a:lnTo>
                  <a:lnTo>
                    <a:pt x="112" y="219"/>
                  </a:lnTo>
                  <a:lnTo>
                    <a:pt x="110" y="216"/>
                  </a:lnTo>
                  <a:lnTo>
                    <a:pt x="106" y="216"/>
                  </a:lnTo>
                  <a:lnTo>
                    <a:pt x="101" y="211"/>
                  </a:lnTo>
                  <a:lnTo>
                    <a:pt x="100" y="211"/>
                  </a:lnTo>
                  <a:lnTo>
                    <a:pt x="100" y="210"/>
                  </a:lnTo>
                  <a:lnTo>
                    <a:pt x="95" y="210"/>
                  </a:lnTo>
                  <a:lnTo>
                    <a:pt x="95" y="207"/>
                  </a:lnTo>
                  <a:lnTo>
                    <a:pt x="94" y="205"/>
                  </a:lnTo>
                  <a:lnTo>
                    <a:pt x="88" y="204"/>
                  </a:lnTo>
                  <a:lnTo>
                    <a:pt x="88" y="202"/>
                  </a:lnTo>
                  <a:lnTo>
                    <a:pt x="86" y="204"/>
                  </a:lnTo>
                  <a:lnTo>
                    <a:pt x="85" y="204"/>
                  </a:lnTo>
                  <a:lnTo>
                    <a:pt x="83" y="202"/>
                  </a:lnTo>
                  <a:lnTo>
                    <a:pt x="82" y="202"/>
                  </a:lnTo>
                  <a:lnTo>
                    <a:pt x="82" y="201"/>
                  </a:lnTo>
                  <a:lnTo>
                    <a:pt x="80" y="201"/>
                  </a:lnTo>
                  <a:lnTo>
                    <a:pt x="79" y="199"/>
                  </a:lnTo>
                  <a:lnTo>
                    <a:pt x="80" y="199"/>
                  </a:lnTo>
                  <a:lnTo>
                    <a:pt x="82" y="198"/>
                  </a:lnTo>
                  <a:lnTo>
                    <a:pt x="83" y="198"/>
                  </a:lnTo>
                  <a:lnTo>
                    <a:pt x="83" y="196"/>
                  </a:lnTo>
                  <a:lnTo>
                    <a:pt x="85" y="195"/>
                  </a:lnTo>
                  <a:lnTo>
                    <a:pt x="88" y="195"/>
                  </a:lnTo>
                  <a:lnTo>
                    <a:pt x="88" y="193"/>
                  </a:lnTo>
                  <a:lnTo>
                    <a:pt x="89" y="193"/>
                  </a:lnTo>
                  <a:lnTo>
                    <a:pt x="89" y="192"/>
                  </a:lnTo>
                  <a:lnTo>
                    <a:pt x="91" y="192"/>
                  </a:lnTo>
                  <a:lnTo>
                    <a:pt x="91" y="190"/>
                  </a:lnTo>
                  <a:lnTo>
                    <a:pt x="89" y="189"/>
                  </a:lnTo>
                  <a:lnTo>
                    <a:pt x="89" y="187"/>
                  </a:lnTo>
                  <a:lnTo>
                    <a:pt x="88" y="186"/>
                  </a:lnTo>
                  <a:lnTo>
                    <a:pt x="86" y="183"/>
                  </a:lnTo>
                  <a:lnTo>
                    <a:pt x="86" y="181"/>
                  </a:lnTo>
                  <a:lnTo>
                    <a:pt x="88" y="181"/>
                  </a:lnTo>
                  <a:lnTo>
                    <a:pt x="89" y="183"/>
                  </a:lnTo>
                  <a:lnTo>
                    <a:pt x="92" y="183"/>
                  </a:lnTo>
                  <a:lnTo>
                    <a:pt x="92" y="181"/>
                  </a:lnTo>
                  <a:lnTo>
                    <a:pt x="94" y="181"/>
                  </a:lnTo>
                  <a:lnTo>
                    <a:pt x="95" y="180"/>
                  </a:lnTo>
                  <a:lnTo>
                    <a:pt x="97" y="180"/>
                  </a:lnTo>
                  <a:lnTo>
                    <a:pt x="97" y="181"/>
                  </a:lnTo>
                  <a:lnTo>
                    <a:pt x="100" y="181"/>
                  </a:lnTo>
                  <a:lnTo>
                    <a:pt x="100" y="183"/>
                  </a:lnTo>
                  <a:lnTo>
                    <a:pt x="103" y="181"/>
                  </a:lnTo>
                  <a:lnTo>
                    <a:pt x="104" y="181"/>
                  </a:lnTo>
                  <a:lnTo>
                    <a:pt x="104" y="183"/>
                  </a:lnTo>
                  <a:lnTo>
                    <a:pt x="106" y="183"/>
                  </a:lnTo>
                  <a:lnTo>
                    <a:pt x="107" y="184"/>
                  </a:lnTo>
                  <a:lnTo>
                    <a:pt x="110" y="186"/>
                  </a:lnTo>
                  <a:lnTo>
                    <a:pt x="112" y="186"/>
                  </a:lnTo>
                  <a:lnTo>
                    <a:pt x="113" y="184"/>
                  </a:lnTo>
                  <a:lnTo>
                    <a:pt x="115" y="184"/>
                  </a:lnTo>
                  <a:lnTo>
                    <a:pt x="116" y="181"/>
                  </a:lnTo>
                  <a:lnTo>
                    <a:pt x="116" y="180"/>
                  </a:lnTo>
                  <a:lnTo>
                    <a:pt x="118" y="180"/>
                  </a:lnTo>
                  <a:lnTo>
                    <a:pt x="118" y="178"/>
                  </a:lnTo>
                  <a:lnTo>
                    <a:pt x="121" y="178"/>
                  </a:lnTo>
                  <a:lnTo>
                    <a:pt x="121" y="177"/>
                  </a:lnTo>
                  <a:lnTo>
                    <a:pt x="122" y="177"/>
                  </a:lnTo>
                  <a:lnTo>
                    <a:pt x="124" y="175"/>
                  </a:lnTo>
                  <a:lnTo>
                    <a:pt x="124" y="172"/>
                  </a:lnTo>
                  <a:lnTo>
                    <a:pt x="121" y="172"/>
                  </a:lnTo>
                  <a:lnTo>
                    <a:pt x="121" y="171"/>
                  </a:lnTo>
                  <a:lnTo>
                    <a:pt x="122" y="171"/>
                  </a:lnTo>
                  <a:lnTo>
                    <a:pt x="125" y="169"/>
                  </a:lnTo>
                  <a:lnTo>
                    <a:pt x="125" y="168"/>
                  </a:lnTo>
                  <a:lnTo>
                    <a:pt x="127" y="168"/>
                  </a:lnTo>
                  <a:lnTo>
                    <a:pt x="127" y="166"/>
                  </a:lnTo>
                  <a:lnTo>
                    <a:pt x="130" y="166"/>
                  </a:lnTo>
                  <a:lnTo>
                    <a:pt x="130" y="162"/>
                  </a:lnTo>
                  <a:lnTo>
                    <a:pt x="128" y="160"/>
                  </a:lnTo>
                  <a:lnTo>
                    <a:pt x="128" y="157"/>
                  </a:lnTo>
                  <a:lnTo>
                    <a:pt x="124" y="156"/>
                  </a:lnTo>
                  <a:lnTo>
                    <a:pt x="116" y="156"/>
                  </a:lnTo>
                  <a:lnTo>
                    <a:pt x="116" y="151"/>
                  </a:lnTo>
                  <a:lnTo>
                    <a:pt x="118" y="151"/>
                  </a:lnTo>
                  <a:lnTo>
                    <a:pt x="118" y="148"/>
                  </a:lnTo>
                  <a:lnTo>
                    <a:pt x="115" y="148"/>
                  </a:lnTo>
                  <a:lnTo>
                    <a:pt x="115" y="147"/>
                  </a:lnTo>
                  <a:lnTo>
                    <a:pt x="113" y="145"/>
                  </a:lnTo>
                  <a:lnTo>
                    <a:pt x="104" y="145"/>
                  </a:lnTo>
                  <a:lnTo>
                    <a:pt x="103" y="144"/>
                  </a:lnTo>
                  <a:lnTo>
                    <a:pt x="106" y="142"/>
                  </a:lnTo>
                  <a:lnTo>
                    <a:pt x="107" y="139"/>
                  </a:lnTo>
                  <a:lnTo>
                    <a:pt x="107" y="141"/>
                  </a:lnTo>
                  <a:lnTo>
                    <a:pt x="110" y="141"/>
                  </a:lnTo>
                  <a:lnTo>
                    <a:pt x="115" y="136"/>
                  </a:lnTo>
                  <a:lnTo>
                    <a:pt x="115" y="135"/>
                  </a:lnTo>
                  <a:lnTo>
                    <a:pt x="113" y="133"/>
                  </a:lnTo>
                  <a:lnTo>
                    <a:pt x="112" y="133"/>
                  </a:lnTo>
                  <a:lnTo>
                    <a:pt x="109" y="132"/>
                  </a:lnTo>
                  <a:lnTo>
                    <a:pt x="109" y="130"/>
                  </a:lnTo>
                  <a:lnTo>
                    <a:pt x="107" y="129"/>
                  </a:lnTo>
                  <a:lnTo>
                    <a:pt x="104" y="129"/>
                  </a:lnTo>
                  <a:lnTo>
                    <a:pt x="104" y="127"/>
                  </a:lnTo>
                  <a:lnTo>
                    <a:pt x="103" y="127"/>
                  </a:lnTo>
                  <a:lnTo>
                    <a:pt x="103" y="126"/>
                  </a:lnTo>
                  <a:lnTo>
                    <a:pt x="101" y="126"/>
                  </a:lnTo>
                  <a:lnTo>
                    <a:pt x="100" y="124"/>
                  </a:lnTo>
                  <a:lnTo>
                    <a:pt x="100" y="123"/>
                  </a:lnTo>
                  <a:lnTo>
                    <a:pt x="98" y="123"/>
                  </a:lnTo>
                  <a:lnTo>
                    <a:pt x="98" y="121"/>
                  </a:lnTo>
                  <a:lnTo>
                    <a:pt x="97" y="123"/>
                  </a:lnTo>
                  <a:lnTo>
                    <a:pt x="95" y="121"/>
                  </a:lnTo>
                  <a:lnTo>
                    <a:pt x="95" y="120"/>
                  </a:lnTo>
                  <a:lnTo>
                    <a:pt x="91" y="120"/>
                  </a:lnTo>
                  <a:lnTo>
                    <a:pt x="91" y="118"/>
                  </a:lnTo>
                  <a:lnTo>
                    <a:pt x="89" y="118"/>
                  </a:lnTo>
                  <a:lnTo>
                    <a:pt x="86" y="121"/>
                  </a:lnTo>
                  <a:lnTo>
                    <a:pt x="85" y="121"/>
                  </a:lnTo>
                  <a:lnTo>
                    <a:pt x="83" y="123"/>
                  </a:lnTo>
                  <a:lnTo>
                    <a:pt x="80" y="123"/>
                  </a:lnTo>
                  <a:lnTo>
                    <a:pt x="79" y="124"/>
                  </a:lnTo>
                  <a:lnTo>
                    <a:pt x="76" y="124"/>
                  </a:lnTo>
                  <a:lnTo>
                    <a:pt x="76" y="127"/>
                  </a:lnTo>
                  <a:lnTo>
                    <a:pt x="74" y="127"/>
                  </a:lnTo>
                  <a:lnTo>
                    <a:pt x="76" y="129"/>
                  </a:lnTo>
                  <a:lnTo>
                    <a:pt x="76" y="130"/>
                  </a:lnTo>
                  <a:lnTo>
                    <a:pt x="73" y="130"/>
                  </a:lnTo>
                  <a:lnTo>
                    <a:pt x="73" y="133"/>
                  </a:lnTo>
                  <a:lnTo>
                    <a:pt x="70" y="133"/>
                  </a:lnTo>
                  <a:lnTo>
                    <a:pt x="68" y="130"/>
                  </a:lnTo>
                  <a:lnTo>
                    <a:pt x="67" y="130"/>
                  </a:lnTo>
                  <a:lnTo>
                    <a:pt x="64" y="129"/>
                  </a:lnTo>
                  <a:lnTo>
                    <a:pt x="62" y="129"/>
                  </a:lnTo>
                  <a:lnTo>
                    <a:pt x="61" y="127"/>
                  </a:lnTo>
                  <a:lnTo>
                    <a:pt x="61" y="126"/>
                  </a:lnTo>
                  <a:lnTo>
                    <a:pt x="59" y="126"/>
                  </a:lnTo>
                  <a:lnTo>
                    <a:pt x="58" y="127"/>
                  </a:lnTo>
                  <a:lnTo>
                    <a:pt x="55" y="127"/>
                  </a:lnTo>
                  <a:lnTo>
                    <a:pt x="52" y="126"/>
                  </a:lnTo>
                  <a:lnTo>
                    <a:pt x="49" y="126"/>
                  </a:lnTo>
                  <a:lnTo>
                    <a:pt x="49" y="124"/>
                  </a:lnTo>
                  <a:lnTo>
                    <a:pt x="46" y="124"/>
                  </a:lnTo>
                  <a:lnTo>
                    <a:pt x="46" y="123"/>
                  </a:lnTo>
                  <a:lnTo>
                    <a:pt x="43" y="120"/>
                  </a:lnTo>
                  <a:lnTo>
                    <a:pt x="43" y="117"/>
                  </a:lnTo>
                  <a:lnTo>
                    <a:pt x="40" y="114"/>
                  </a:lnTo>
                  <a:lnTo>
                    <a:pt x="38" y="114"/>
                  </a:lnTo>
                  <a:lnTo>
                    <a:pt x="38" y="112"/>
                  </a:lnTo>
                  <a:lnTo>
                    <a:pt x="37" y="112"/>
                  </a:lnTo>
                  <a:lnTo>
                    <a:pt x="37" y="110"/>
                  </a:lnTo>
                  <a:lnTo>
                    <a:pt x="35" y="110"/>
                  </a:lnTo>
                  <a:lnTo>
                    <a:pt x="35" y="105"/>
                  </a:lnTo>
                  <a:lnTo>
                    <a:pt x="31" y="105"/>
                  </a:lnTo>
                  <a:lnTo>
                    <a:pt x="32" y="104"/>
                  </a:lnTo>
                  <a:lnTo>
                    <a:pt x="34" y="104"/>
                  </a:lnTo>
                  <a:lnTo>
                    <a:pt x="35" y="102"/>
                  </a:lnTo>
                  <a:lnTo>
                    <a:pt x="35" y="98"/>
                  </a:lnTo>
                  <a:lnTo>
                    <a:pt x="37" y="96"/>
                  </a:lnTo>
                  <a:lnTo>
                    <a:pt x="37" y="95"/>
                  </a:lnTo>
                  <a:lnTo>
                    <a:pt x="35" y="95"/>
                  </a:lnTo>
                  <a:lnTo>
                    <a:pt x="35" y="96"/>
                  </a:lnTo>
                  <a:lnTo>
                    <a:pt x="34" y="96"/>
                  </a:lnTo>
                  <a:lnTo>
                    <a:pt x="35" y="93"/>
                  </a:lnTo>
                  <a:lnTo>
                    <a:pt x="40" y="89"/>
                  </a:lnTo>
                  <a:lnTo>
                    <a:pt x="38" y="87"/>
                  </a:lnTo>
                  <a:lnTo>
                    <a:pt x="38" y="81"/>
                  </a:lnTo>
                  <a:lnTo>
                    <a:pt x="37" y="81"/>
                  </a:lnTo>
                  <a:lnTo>
                    <a:pt x="34" y="83"/>
                  </a:lnTo>
                  <a:lnTo>
                    <a:pt x="32" y="83"/>
                  </a:lnTo>
                  <a:lnTo>
                    <a:pt x="32" y="77"/>
                  </a:lnTo>
                  <a:lnTo>
                    <a:pt x="31" y="77"/>
                  </a:lnTo>
                  <a:lnTo>
                    <a:pt x="31" y="81"/>
                  </a:lnTo>
                  <a:lnTo>
                    <a:pt x="29" y="83"/>
                  </a:lnTo>
                  <a:lnTo>
                    <a:pt x="29" y="84"/>
                  </a:lnTo>
                  <a:lnTo>
                    <a:pt x="28" y="84"/>
                  </a:lnTo>
                  <a:lnTo>
                    <a:pt x="26" y="86"/>
                  </a:lnTo>
                  <a:lnTo>
                    <a:pt x="25" y="86"/>
                  </a:lnTo>
                  <a:lnTo>
                    <a:pt x="23" y="84"/>
                  </a:lnTo>
                  <a:lnTo>
                    <a:pt x="23" y="77"/>
                  </a:lnTo>
                  <a:lnTo>
                    <a:pt x="22" y="74"/>
                  </a:lnTo>
                  <a:lnTo>
                    <a:pt x="19" y="71"/>
                  </a:lnTo>
                  <a:lnTo>
                    <a:pt x="16" y="71"/>
                  </a:lnTo>
                  <a:lnTo>
                    <a:pt x="16" y="66"/>
                  </a:lnTo>
                  <a:lnTo>
                    <a:pt x="14" y="66"/>
                  </a:lnTo>
                  <a:lnTo>
                    <a:pt x="14" y="65"/>
                  </a:lnTo>
                  <a:lnTo>
                    <a:pt x="13" y="65"/>
                  </a:lnTo>
                  <a:lnTo>
                    <a:pt x="13" y="63"/>
                  </a:lnTo>
                  <a:lnTo>
                    <a:pt x="12" y="62"/>
                  </a:lnTo>
                  <a:lnTo>
                    <a:pt x="7" y="59"/>
                  </a:lnTo>
                  <a:lnTo>
                    <a:pt x="1" y="53"/>
                  </a:lnTo>
                  <a:lnTo>
                    <a:pt x="1" y="50"/>
                  </a:lnTo>
                  <a:lnTo>
                    <a:pt x="0" y="48"/>
                  </a:lnTo>
                  <a:lnTo>
                    <a:pt x="1" y="48"/>
                  </a:lnTo>
                  <a:lnTo>
                    <a:pt x="1" y="47"/>
                  </a:lnTo>
                  <a:lnTo>
                    <a:pt x="3" y="47"/>
                  </a:lnTo>
                  <a:lnTo>
                    <a:pt x="4" y="48"/>
                  </a:lnTo>
                  <a:lnTo>
                    <a:pt x="6" y="47"/>
                  </a:lnTo>
                  <a:lnTo>
                    <a:pt x="6" y="44"/>
                  </a:lnTo>
                  <a:lnTo>
                    <a:pt x="12" y="38"/>
                  </a:lnTo>
                  <a:lnTo>
                    <a:pt x="12" y="35"/>
                  </a:lnTo>
                  <a:lnTo>
                    <a:pt x="13" y="35"/>
                  </a:lnTo>
                  <a:lnTo>
                    <a:pt x="13" y="33"/>
                  </a:lnTo>
                  <a:lnTo>
                    <a:pt x="14" y="32"/>
                  </a:lnTo>
                  <a:lnTo>
                    <a:pt x="14" y="30"/>
                  </a:lnTo>
                  <a:lnTo>
                    <a:pt x="17" y="30"/>
                  </a:lnTo>
                  <a:lnTo>
                    <a:pt x="19" y="32"/>
                  </a:lnTo>
                  <a:lnTo>
                    <a:pt x="19" y="33"/>
                  </a:lnTo>
                  <a:lnTo>
                    <a:pt x="22" y="33"/>
                  </a:lnTo>
                  <a:lnTo>
                    <a:pt x="22" y="35"/>
                  </a:lnTo>
                  <a:lnTo>
                    <a:pt x="26" y="35"/>
                  </a:lnTo>
                  <a:lnTo>
                    <a:pt x="29" y="38"/>
                  </a:lnTo>
                  <a:lnTo>
                    <a:pt x="32" y="38"/>
                  </a:lnTo>
                  <a:lnTo>
                    <a:pt x="32" y="39"/>
                  </a:lnTo>
                  <a:lnTo>
                    <a:pt x="34" y="39"/>
                  </a:lnTo>
                  <a:lnTo>
                    <a:pt x="34" y="41"/>
                  </a:lnTo>
                  <a:lnTo>
                    <a:pt x="35" y="44"/>
                  </a:lnTo>
                  <a:lnTo>
                    <a:pt x="35" y="45"/>
                  </a:lnTo>
                  <a:lnTo>
                    <a:pt x="38" y="45"/>
                  </a:lnTo>
                  <a:lnTo>
                    <a:pt x="40" y="47"/>
                  </a:lnTo>
                  <a:lnTo>
                    <a:pt x="43" y="47"/>
                  </a:lnTo>
                  <a:lnTo>
                    <a:pt x="43" y="44"/>
                  </a:lnTo>
                  <a:lnTo>
                    <a:pt x="44" y="44"/>
                  </a:lnTo>
                  <a:lnTo>
                    <a:pt x="47" y="42"/>
                  </a:lnTo>
                  <a:lnTo>
                    <a:pt x="47" y="41"/>
                  </a:lnTo>
                  <a:lnTo>
                    <a:pt x="46" y="41"/>
                  </a:lnTo>
                  <a:lnTo>
                    <a:pt x="46" y="39"/>
                  </a:lnTo>
                  <a:lnTo>
                    <a:pt x="47" y="38"/>
                  </a:lnTo>
                  <a:lnTo>
                    <a:pt x="49" y="38"/>
                  </a:lnTo>
                  <a:lnTo>
                    <a:pt x="53" y="33"/>
                  </a:lnTo>
                  <a:lnTo>
                    <a:pt x="55" y="29"/>
                  </a:lnTo>
                  <a:lnTo>
                    <a:pt x="56" y="30"/>
                  </a:lnTo>
                  <a:lnTo>
                    <a:pt x="58" y="30"/>
                  </a:lnTo>
                  <a:lnTo>
                    <a:pt x="58" y="32"/>
                  </a:lnTo>
                  <a:lnTo>
                    <a:pt x="59" y="32"/>
                  </a:lnTo>
                  <a:lnTo>
                    <a:pt x="59" y="35"/>
                  </a:lnTo>
                  <a:lnTo>
                    <a:pt x="61" y="38"/>
                  </a:lnTo>
                  <a:lnTo>
                    <a:pt x="62" y="39"/>
                  </a:lnTo>
                  <a:lnTo>
                    <a:pt x="64" y="39"/>
                  </a:lnTo>
                  <a:lnTo>
                    <a:pt x="65" y="38"/>
                  </a:lnTo>
                  <a:lnTo>
                    <a:pt x="65" y="33"/>
                  </a:lnTo>
                  <a:lnTo>
                    <a:pt x="67" y="32"/>
                  </a:lnTo>
                  <a:lnTo>
                    <a:pt x="67" y="30"/>
                  </a:lnTo>
                  <a:lnTo>
                    <a:pt x="68" y="30"/>
                  </a:lnTo>
                  <a:lnTo>
                    <a:pt x="70" y="29"/>
                  </a:lnTo>
                  <a:lnTo>
                    <a:pt x="71" y="29"/>
                  </a:lnTo>
                  <a:lnTo>
                    <a:pt x="74" y="33"/>
                  </a:lnTo>
                  <a:lnTo>
                    <a:pt x="79" y="38"/>
                  </a:lnTo>
                  <a:lnTo>
                    <a:pt x="79" y="39"/>
                  </a:lnTo>
                  <a:lnTo>
                    <a:pt x="80" y="39"/>
                  </a:lnTo>
                  <a:lnTo>
                    <a:pt x="83" y="42"/>
                  </a:lnTo>
                  <a:lnTo>
                    <a:pt x="86" y="42"/>
                  </a:lnTo>
                  <a:lnTo>
                    <a:pt x="86" y="35"/>
                  </a:lnTo>
                  <a:lnTo>
                    <a:pt x="88" y="33"/>
                  </a:lnTo>
                  <a:lnTo>
                    <a:pt x="88" y="32"/>
                  </a:lnTo>
                  <a:lnTo>
                    <a:pt x="91" y="29"/>
                  </a:lnTo>
                  <a:lnTo>
                    <a:pt x="92" y="29"/>
                  </a:lnTo>
                  <a:lnTo>
                    <a:pt x="97" y="27"/>
                  </a:lnTo>
                  <a:lnTo>
                    <a:pt x="97" y="32"/>
                  </a:lnTo>
                  <a:lnTo>
                    <a:pt x="98" y="32"/>
                  </a:lnTo>
                  <a:lnTo>
                    <a:pt x="101" y="35"/>
                  </a:lnTo>
                  <a:lnTo>
                    <a:pt x="103" y="35"/>
                  </a:lnTo>
                  <a:lnTo>
                    <a:pt x="107" y="32"/>
                  </a:lnTo>
                  <a:lnTo>
                    <a:pt x="107" y="30"/>
                  </a:lnTo>
                  <a:lnTo>
                    <a:pt x="110" y="27"/>
                  </a:lnTo>
                  <a:lnTo>
                    <a:pt x="113" y="27"/>
                  </a:lnTo>
                  <a:lnTo>
                    <a:pt x="113" y="29"/>
                  </a:lnTo>
                  <a:lnTo>
                    <a:pt x="115" y="27"/>
                  </a:lnTo>
                  <a:lnTo>
                    <a:pt x="116" y="29"/>
                  </a:lnTo>
                  <a:lnTo>
                    <a:pt x="118" y="29"/>
                  </a:lnTo>
                  <a:lnTo>
                    <a:pt x="119" y="27"/>
                  </a:lnTo>
                  <a:lnTo>
                    <a:pt x="121" y="24"/>
                  </a:lnTo>
                  <a:lnTo>
                    <a:pt x="122" y="24"/>
                  </a:lnTo>
                  <a:lnTo>
                    <a:pt x="124" y="23"/>
                  </a:lnTo>
                  <a:lnTo>
                    <a:pt x="124" y="14"/>
                  </a:lnTo>
                  <a:lnTo>
                    <a:pt x="125" y="14"/>
                  </a:lnTo>
                  <a:lnTo>
                    <a:pt x="125" y="12"/>
                  </a:lnTo>
                  <a:lnTo>
                    <a:pt x="127" y="12"/>
                  </a:lnTo>
                  <a:lnTo>
                    <a:pt x="127" y="11"/>
                  </a:lnTo>
                  <a:lnTo>
                    <a:pt x="130" y="11"/>
                  </a:lnTo>
                  <a:lnTo>
                    <a:pt x="133" y="8"/>
                  </a:lnTo>
                  <a:lnTo>
                    <a:pt x="136" y="8"/>
                  </a:lnTo>
                  <a:lnTo>
                    <a:pt x="139" y="6"/>
                  </a:lnTo>
                  <a:lnTo>
                    <a:pt x="140" y="5"/>
                  </a:lnTo>
                  <a:lnTo>
                    <a:pt x="140" y="6"/>
                  </a:lnTo>
                  <a:lnTo>
                    <a:pt x="142" y="6"/>
                  </a:lnTo>
                  <a:lnTo>
                    <a:pt x="143" y="5"/>
                  </a:lnTo>
                  <a:lnTo>
                    <a:pt x="143" y="2"/>
                  </a:lnTo>
                  <a:lnTo>
                    <a:pt x="145"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8">
              <a:extLst>
                <a:ext uri="{FF2B5EF4-FFF2-40B4-BE49-F238E27FC236}">
                  <a16:creationId xmlns:a16="http://schemas.microsoft.com/office/drawing/2014/main" id="{279C570C-B6FA-B7A7-BA9E-A8475A278162}"/>
                </a:ext>
              </a:extLst>
            </p:cNvPr>
            <p:cNvSpPr>
              <a:spLocks noEditPoints="1"/>
            </p:cNvSpPr>
            <p:nvPr/>
          </p:nvSpPr>
          <p:spPr bwMode="auto">
            <a:xfrm>
              <a:off x="1766576" y="4766277"/>
              <a:ext cx="108100" cy="188911"/>
            </a:xfrm>
            <a:custGeom>
              <a:avLst/>
              <a:gdLst/>
              <a:ahLst/>
              <a:cxnLst>
                <a:cxn ang="0">
                  <a:pos x="100" y="108"/>
                </a:cxn>
                <a:cxn ang="0">
                  <a:pos x="96" y="100"/>
                </a:cxn>
                <a:cxn ang="0">
                  <a:pos x="90" y="96"/>
                </a:cxn>
                <a:cxn ang="0">
                  <a:pos x="3" y="79"/>
                </a:cxn>
                <a:cxn ang="0">
                  <a:pos x="59" y="37"/>
                </a:cxn>
                <a:cxn ang="0">
                  <a:pos x="12" y="37"/>
                </a:cxn>
                <a:cxn ang="0">
                  <a:pos x="9" y="39"/>
                </a:cxn>
                <a:cxn ang="0">
                  <a:pos x="53" y="24"/>
                </a:cxn>
                <a:cxn ang="0">
                  <a:pos x="0" y="16"/>
                </a:cxn>
                <a:cxn ang="0">
                  <a:pos x="24" y="10"/>
                </a:cxn>
                <a:cxn ang="0">
                  <a:pos x="9" y="3"/>
                </a:cxn>
                <a:cxn ang="0">
                  <a:pos x="12" y="10"/>
                </a:cxn>
                <a:cxn ang="0">
                  <a:pos x="27" y="0"/>
                </a:cxn>
                <a:cxn ang="0">
                  <a:pos x="26" y="3"/>
                </a:cxn>
                <a:cxn ang="0">
                  <a:pos x="23" y="1"/>
                </a:cxn>
                <a:cxn ang="0">
                  <a:pos x="36" y="10"/>
                </a:cxn>
                <a:cxn ang="0">
                  <a:pos x="50" y="25"/>
                </a:cxn>
                <a:cxn ang="0">
                  <a:pos x="57" y="31"/>
                </a:cxn>
                <a:cxn ang="0">
                  <a:pos x="59" y="36"/>
                </a:cxn>
                <a:cxn ang="0">
                  <a:pos x="60" y="40"/>
                </a:cxn>
                <a:cxn ang="0">
                  <a:pos x="68" y="48"/>
                </a:cxn>
                <a:cxn ang="0">
                  <a:pos x="74" y="60"/>
                </a:cxn>
                <a:cxn ang="0">
                  <a:pos x="68" y="61"/>
                </a:cxn>
                <a:cxn ang="0">
                  <a:pos x="80" y="63"/>
                </a:cxn>
                <a:cxn ang="0">
                  <a:pos x="83" y="76"/>
                </a:cxn>
                <a:cxn ang="0">
                  <a:pos x="83" y="81"/>
                </a:cxn>
                <a:cxn ang="0">
                  <a:pos x="87" y="84"/>
                </a:cxn>
                <a:cxn ang="0">
                  <a:pos x="90" y="91"/>
                </a:cxn>
                <a:cxn ang="0">
                  <a:pos x="93" y="99"/>
                </a:cxn>
                <a:cxn ang="0">
                  <a:pos x="99" y="109"/>
                </a:cxn>
                <a:cxn ang="0">
                  <a:pos x="103" y="129"/>
                </a:cxn>
                <a:cxn ang="0">
                  <a:pos x="99" y="145"/>
                </a:cxn>
                <a:cxn ang="0">
                  <a:pos x="87" y="160"/>
                </a:cxn>
                <a:cxn ang="0">
                  <a:pos x="69" y="169"/>
                </a:cxn>
                <a:cxn ang="0">
                  <a:pos x="56" y="175"/>
                </a:cxn>
                <a:cxn ang="0">
                  <a:pos x="36" y="178"/>
                </a:cxn>
                <a:cxn ang="0">
                  <a:pos x="21" y="171"/>
                </a:cxn>
                <a:cxn ang="0">
                  <a:pos x="17" y="160"/>
                </a:cxn>
                <a:cxn ang="0">
                  <a:pos x="8" y="123"/>
                </a:cxn>
                <a:cxn ang="0">
                  <a:pos x="6" y="103"/>
                </a:cxn>
                <a:cxn ang="0">
                  <a:pos x="2" y="79"/>
                </a:cxn>
                <a:cxn ang="0">
                  <a:pos x="9" y="85"/>
                </a:cxn>
                <a:cxn ang="0">
                  <a:pos x="8" y="70"/>
                </a:cxn>
                <a:cxn ang="0">
                  <a:pos x="12" y="57"/>
                </a:cxn>
                <a:cxn ang="0">
                  <a:pos x="17" y="39"/>
                </a:cxn>
                <a:cxn ang="0">
                  <a:pos x="21" y="24"/>
                </a:cxn>
                <a:cxn ang="0">
                  <a:pos x="23" y="18"/>
                </a:cxn>
                <a:cxn ang="0">
                  <a:pos x="20" y="10"/>
                </a:cxn>
                <a:cxn ang="0">
                  <a:pos x="29" y="18"/>
                </a:cxn>
                <a:cxn ang="0">
                  <a:pos x="41" y="15"/>
                </a:cxn>
                <a:cxn ang="0">
                  <a:pos x="33" y="13"/>
                </a:cxn>
                <a:cxn ang="0">
                  <a:pos x="24" y="10"/>
                </a:cxn>
                <a:cxn ang="0">
                  <a:pos x="15" y="7"/>
                </a:cxn>
                <a:cxn ang="0">
                  <a:pos x="14" y="3"/>
                </a:cxn>
              </a:cxnLst>
              <a:rect l="0" t="0" r="r" b="b"/>
              <a:pathLst>
                <a:path w="103" h="180">
                  <a:moveTo>
                    <a:pt x="96" y="99"/>
                  </a:moveTo>
                  <a:lnTo>
                    <a:pt x="97" y="99"/>
                  </a:lnTo>
                  <a:lnTo>
                    <a:pt x="97" y="100"/>
                  </a:lnTo>
                  <a:lnTo>
                    <a:pt x="99" y="102"/>
                  </a:lnTo>
                  <a:lnTo>
                    <a:pt x="99" y="103"/>
                  </a:lnTo>
                  <a:lnTo>
                    <a:pt x="100" y="108"/>
                  </a:lnTo>
                  <a:lnTo>
                    <a:pt x="99" y="109"/>
                  </a:lnTo>
                  <a:lnTo>
                    <a:pt x="99" y="108"/>
                  </a:lnTo>
                  <a:lnTo>
                    <a:pt x="97" y="108"/>
                  </a:lnTo>
                  <a:lnTo>
                    <a:pt x="99" y="105"/>
                  </a:lnTo>
                  <a:lnTo>
                    <a:pt x="97" y="103"/>
                  </a:lnTo>
                  <a:lnTo>
                    <a:pt x="96" y="100"/>
                  </a:lnTo>
                  <a:lnTo>
                    <a:pt x="96" y="99"/>
                  </a:lnTo>
                  <a:close/>
                  <a:moveTo>
                    <a:pt x="90" y="96"/>
                  </a:moveTo>
                  <a:lnTo>
                    <a:pt x="90" y="97"/>
                  </a:lnTo>
                  <a:lnTo>
                    <a:pt x="91" y="97"/>
                  </a:lnTo>
                  <a:lnTo>
                    <a:pt x="91" y="96"/>
                  </a:lnTo>
                  <a:lnTo>
                    <a:pt x="90" y="96"/>
                  </a:lnTo>
                  <a:close/>
                  <a:moveTo>
                    <a:pt x="5" y="72"/>
                  </a:moveTo>
                  <a:lnTo>
                    <a:pt x="5" y="73"/>
                  </a:lnTo>
                  <a:lnTo>
                    <a:pt x="6" y="73"/>
                  </a:lnTo>
                  <a:lnTo>
                    <a:pt x="5" y="75"/>
                  </a:lnTo>
                  <a:lnTo>
                    <a:pt x="5" y="78"/>
                  </a:lnTo>
                  <a:lnTo>
                    <a:pt x="3" y="79"/>
                  </a:lnTo>
                  <a:lnTo>
                    <a:pt x="3" y="78"/>
                  </a:lnTo>
                  <a:lnTo>
                    <a:pt x="2" y="75"/>
                  </a:lnTo>
                  <a:lnTo>
                    <a:pt x="3" y="75"/>
                  </a:lnTo>
                  <a:lnTo>
                    <a:pt x="3" y="73"/>
                  </a:lnTo>
                  <a:lnTo>
                    <a:pt x="5" y="72"/>
                  </a:lnTo>
                  <a:close/>
                  <a:moveTo>
                    <a:pt x="59" y="37"/>
                  </a:moveTo>
                  <a:lnTo>
                    <a:pt x="60" y="37"/>
                  </a:lnTo>
                  <a:lnTo>
                    <a:pt x="60" y="39"/>
                  </a:lnTo>
                  <a:lnTo>
                    <a:pt x="59" y="37"/>
                  </a:lnTo>
                  <a:close/>
                  <a:moveTo>
                    <a:pt x="3" y="34"/>
                  </a:moveTo>
                  <a:lnTo>
                    <a:pt x="9" y="34"/>
                  </a:lnTo>
                  <a:lnTo>
                    <a:pt x="12" y="37"/>
                  </a:lnTo>
                  <a:lnTo>
                    <a:pt x="11" y="37"/>
                  </a:lnTo>
                  <a:lnTo>
                    <a:pt x="12" y="39"/>
                  </a:lnTo>
                  <a:lnTo>
                    <a:pt x="12" y="40"/>
                  </a:lnTo>
                  <a:lnTo>
                    <a:pt x="11" y="40"/>
                  </a:lnTo>
                  <a:lnTo>
                    <a:pt x="11" y="39"/>
                  </a:lnTo>
                  <a:lnTo>
                    <a:pt x="9" y="39"/>
                  </a:lnTo>
                  <a:lnTo>
                    <a:pt x="9" y="37"/>
                  </a:lnTo>
                  <a:lnTo>
                    <a:pt x="6" y="36"/>
                  </a:lnTo>
                  <a:lnTo>
                    <a:pt x="5" y="36"/>
                  </a:lnTo>
                  <a:lnTo>
                    <a:pt x="3" y="34"/>
                  </a:lnTo>
                  <a:close/>
                  <a:moveTo>
                    <a:pt x="51" y="24"/>
                  </a:moveTo>
                  <a:lnTo>
                    <a:pt x="53" y="24"/>
                  </a:lnTo>
                  <a:lnTo>
                    <a:pt x="53" y="25"/>
                  </a:lnTo>
                  <a:lnTo>
                    <a:pt x="51" y="24"/>
                  </a:lnTo>
                  <a:close/>
                  <a:moveTo>
                    <a:pt x="0" y="13"/>
                  </a:moveTo>
                  <a:lnTo>
                    <a:pt x="3" y="13"/>
                  </a:lnTo>
                  <a:lnTo>
                    <a:pt x="3" y="16"/>
                  </a:lnTo>
                  <a:lnTo>
                    <a:pt x="0" y="16"/>
                  </a:lnTo>
                  <a:lnTo>
                    <a:pt x="0" y="13"/>
                  </a:lnTo>
                  <a:close/>
                  <a:moveTo>
                    <a:pt x="24" y="10"/>
                  </a:moveTo>
                  <a:lnTo>
                    <a:pt x="26" y="10"/>
                  </a:lnTo>
                  <a:lnTo>
                    <a:pt x="26" y="12"/>
                  </a:lnTo>
                  <a:lnTo>
                    <a:pt x="24" y="12"/>
                  </a:lnTo>
                  <a:lnTo>
                    <a:pt x="24" y="10"/>
                  </a:lnTo>
                  <a:close/>
                  <a:moveTo>
                    <a:pt x="14" y="9"/>
                  </a:moveTo>
                  <a:lnTo>
                    <a:pt x="15" y="9"/>
                  </a:lnTo>
                  <a:lnTo>
                    <a:pt x="15" y="10"/>
                  </a:lnTo>
                  <a:lnTo>
                    <a:pt x="14" y="10"/>
                  </a:lnTo>
                  <a:lnTo>
                    <a:pt x="14" y="9"/>
                  </a:lnTo>
                  <a:close/>
                  <a:moveTo>
                    <a:pt x="9" y="3"/>
                  </a:moveTo>
                  <a:lnTo>
                    <a:pt x="11" y="3"/>
                  </a:lnTo>
                  <a:lnTo>
                    <a:pt x="11" y="7"/>
                  </a:lnTo>
                  <a:lnTo>
                    <a:pt x="12" y="7"/>
                  </a:lnTo>
                  <a:lnTo>
                    <a:pt x="14" y="9"/>
                  </a:lnTo>
                  <a:lnTo>
                    <a:pt x="12" y="9"/>
                  </a:lnTo>
                  <a:lnTo>
                    <a:pt x="12" y="10"/>
                  </a:lnTo>
                  <a:lnTo>
                    <a:pt x="11" y="10"/>
                  </a:lnTo>
                  <a:lnTo>
                    <a:pt x="11" y="9"/>
                  </a:lnTo>
                  <a:lnTo>
                    <a:pt x="9" y="9"/>
                  </a:lnTo>
                  <a:lnTo>
                    <a:pt x="9" y="3"/>
                  </a:lnTo>
                  <a:close/>
                  <a:moveTo>
                    <a:pt x="23" y="0"/>
                  </a:moveTo>
                  <a:lnTo>
                    <a:pt x="27" y="0"/>
                  </a:lnTo>
                  <a:lnTo>
                    <a:pt x="29" y="1"/>
                  </a:lnTo>
                  <a:lnTo>
                    <a:pt x="29" y="3"/>
                  </a:lnTo>
                  <a:lnTo>
                    <a:pt x="35" y="10"/>
                  </a:lnTo>
                  <a:lnTo>
                    <a:pt x="30" y="7"/>
                  </a:lnTo>
                  <a:lnTo>
                    <a:pt x="27" y="3"/>
                  </a:lnTo>
                  <a:lnTo>
                    <a:pt x="26" y="3"/>
                  </a:lnTo>
                  <a:lnTo>
                    <a:pt x="23" y="1"/>
                  </a:lnTo>
                  <a:lnTo>
                    <a:pt x="23" y="0"/>
                  </a:lnTo>
                  <a:close/>
                  <a:moveTo>
                    <a:pt x="15" y="0"/>
                  </a:moveTo>
                  <a:lnTo>
                    <a:pt x="20" y="1"/>
                  </a:lnTo>
                  <a:lnTo>
                    <a:pt x="21" y="0"/>
                  </a:lnTo>
                  <a:lnTo>
                    <a:pt x="23" y="1"/>
                  </a:lnTo>
                  <a:lnTo>
                    <a:pt x="23" y="3"/>
                  </a:lnTo>
                  <a:lnTo>
                    <a:pt x="26" y="3"/>
                  </a:lnTo>
                  <a:lnTo>
                    <a:pt x="33" y="10"/>
                  </a:lnTo>
                  <a:lnTo>
                    <a:pt x="36" y="12"/>
                  </a:lnTo>
                  <a:lnTo>
                    <a:pt x="35" y="10"/>
                  </a:lnTo>
                  <a:lnTo>
                    <a:pt x="36" y="10"/>
                  </a:lnTo>
                  <a:lnTo>
                    <a:pt x="38" y="12"/>
                  </a:lnTo>
                  <a:lnTo>
                    <a:pt x="50" y="22"/>
                  </a:lnTo>
                  <a:lnTo>
                    <a:pt x="51" y="22"/>
                  </a:lnTo>
                  <a:lnTo>
                    <a:pt x="51" y="24"/>
                  </a:lnTo>
                  <a:lnTo>
                    <a:pt x="50" y="24"/>
                  </a:lnTo>
                  <a:lnTo>
                    <a:pt x="50" y="25"/>
                  </a:lnTo>
                  <a:lnTo>
                    <a:pt x="53" y="27"/>
                  </a:lnTo>
                  <a:lnTo>
                    <a:pt x="53" y="25"/>
                  </a:lnTo>
                  <a:lnTo>
                    <a:pt x="54" y="25"/>
                  </a:lnTo>
                  <a:lnTo>
                    <a:pt x="54" y="27"/>
                  </a:lnTo>
                  <a:lnTo>
                    <a:pt x="56" y="28"/>
                  </a:lnTo>
                  <a:lnTo>
                    <a:pt x="57" y="31"/>
                  </a:lnTo>
                  <a:lnTo>
                    <a:pt x="54" y="31"/>
                  </a:lnTo>
                  <a:lnTo>
                    <a:pt x="54" y="33"/>
                  </a:lnTo>
                  <a:lnTo>
                    <a:pt x="56" y="33"/>
                  </a:lnTo>
                  <a:lnTo>
                    <a:pt x="56" y="34"/>
                  </a:lnTo>
                  <a:lnTo>
                    <a:pt x="57" y="34"/>
                  </a:lnTo>
                  <a:lnTo>
                    <a:pt x="59" y="36"/>
                  </a:lnTo>
                  <a:lnTo>
                    <a:pt x="59" y="37"/>
                  </a:lnTo>
                  <a:lnTo>
                    <a:pt x="57" y="37"/>
                  </a:lnTo>
                  <a:lnTo>
                    <a:pt x="59" y="39"/>
                  </a:lnTo>
                  <a:lnTo>
                    <a:pt x="59" y="42"/>
                  </a:lnTo>
                  <a:lnTo>
                    <a:pt x="60" y="42"/>
                  </a:lnTo>
                  <a:lnTo>
                    <a:pt x="60" y="40"/>
                  </a:lnTo>
                  <a:lnTo>
                    <a:pt x="62" y="39"/>
                  </a:lnTo>
                  <a:lnTo>
                    <a:pt x="63" y="42"/>
                  </a:lnTo>
                  <a:lnTo>
                    <a:pt x="65" y="43"/>
                  </a:lnTo>
                  <a:lnTo>
                    <a:pt x="65" y="45"/>
                  </a:lnTo>
                  <a:lnTo>
                    <a:pt x="66" y="45"/>
                  </a:lnTo>
                  <a:lnTo>
                    <a:pt x="68" y="48"/>
                  </a:lnTo>
                  <a:lnTo>
                    <a:pt x="69" y="49"/>
                  </a:lnTo>
                  <a:lnTo>
                    <a:pt x="71" y="52"/>
                  </a:lnTo>
                  <a:lnTo>
                    <a:pt x="72" y="54"/>
                  </a:lnTo>
                  <a:lnTo>
                    <a:pt x="72" y="57"/>
                  </a:lnTo>
                  <a:lnTo>
                    <a:pt x="74" y="58"/>
                  </a:lnTo>
                  <a:lnTo>
                    <a:pt x="74" y="60"/>
                  </a:lnTo>
                  <a:lnTo>
                    <a:pt x="72" y="60"/>
                  </a:lnTo>
                  <a:lnTo>
                    <a:pt x="72" y="61"/>
                  </a:lnTo>
                  <a:lnTo>
                    <a:pt x="71" y="61"/>
                  </a:lnTo>
                  <a:lnTo>
                    <a:pt x="71" y="60"/>
                  </a:lnTo>
                  <a:lnTo>
                    <a:pt x="69" y="60"/>
                  </a:lnTo>
                  <a:lnTo>
                    <a:pt x="68" y="61"/>
                  </a:lnTo>
                  <a:lnTo>
                    <a:pt x="71" y="61"/>
                  </a:lnTo>
                  <a:lnTo>
                    <a:pt x="71" y="63"/>
                  </a:lnTo>
                  <a:lnTo>
                    <a:pt x="75" y="63"/>
                  </a:lnTo>
                  <a:lnTo>
                    <a:pt x="75" y="61"/>
                  </a:lnTo>
                  <a:lnTo>
                    <a:pt x="78" y="61"/>
                  </a:lnTo>
                  <a:lnTo>
                    <a:pt x="80" y="63"/>
                  </a:lnTo>
                  <a:lnTo>
                    <a:pt x="80" y="67"/>
                  </a:lnTo>
                  <a:lnTo>
                    <a:pt x="78" y="66"/>
                  </a:lnTo>
                  <a:lnTo>
                    <a:pt x="78" y="69"/>
                  </a:lnTo>
                  <a:lnTo>
                    <a:pt x="81" y="69"/>
                  </a:lnTo>
                  <a:lnTo>
                    <a:pt x="81" y="73"/>
                  </a:lnTo>
                  <a:lnTo>
                    <a:pt x="83" y="76"/>
                  </a:lnTo>
                  <a:lnTo>
                    <a:pt x="83" y="79"/>
                  </a:lnTo>
                  <a:lnTo>
                    <a:pt x="81" y="78"/>
                  </a:lnTo>
                  <a:lnTo>
                    <a:pt x="81" y="76"/>
                  </a:lnTo>
                  <a:lnTo>
                    <a:pt x="80" y="76"/>
                  </a:lnTo>
                  <a:lnTo>
                    <a:pt x="80" y="78"/>
                  </a:lnTo>
                  <a:lnTo>
                    <a:pt x="83" y="81"/>
                  </a:lnTo>
                  <a:lnTo>
                    <a:pt x="83" y="79"/>
                  </a:lnTo>
                  <a:lnTo>
                    <a:pt x="84" y="79"/>
                  </a:lnTo>
                  <a:lnTo>
                    <a:pt x="84" y="82"/>
                  </a:lnTo>
                  <a:lnTo>
                    <a:pt x="85" y="82"/>
                  </a:lnTo>
                  <a:lnTo>
                    <a:pt x="85" y="84"/>
                  </a:lnTo>
                  <a:lnTo>
                    <a:pt x="87" y="84"/>
                  </a:lnTo>
                  <a:lnTo>
                    <a:pt x="87" y="85"/>
                  </a:lnTo>
                  <a:lnTo>
                    <a:pt x="88" y="85"/>
                  </a:lnTo>
                  <a:lnTo>
                    <a:pt x="87" y="87"/>
                  </a:lnTo>
                  <a:lnTo>
                    <a:pt x="88" y="87"/>
                  </a:lnTo>
                  <a:lnTo>
                    <a:pt x="88" y="91"/>
                  </a:lnTo>
                  <a:lnTo>
                    <a:pt x="90" y="91"/>
                  </a:lnTo>
                  <a:lnTo>
                    <a:pt x="90" y="93"/>
                  </a:lnTo>
                  <a:lnTo>
                    <a:pt x="91" y="93"/>
                  </a:lnTo>
                  <a:lnTo>
                    <a:pt x="91" y="94"/>
                  </a:lnTo>
                  <a:lnTo>
                    <a:pt x="94" y="96"/>
                  </a:lnTo>
                  <a:lnTo>
                    <a:pt x="94" y="99"/>
                  </a:lnTo>
                  <a:lnTo>
                    <a:pt x="93" y="99"/>
                  </a:lnTo>
                  <a:lnTo>
                    <a:pt x="94" y="100"/>
                  </a:lnTo>
                  <a:lnTo>
                    <a:pt x="94" y="102"/>
                  </a:lnTo>
                  <a:lnTo>
                    <a:pt x="96" y="102"/>
                  </a:lnTo>
                  <a:lnTo>
                    <a:pt x="97" y="105"/>
                  </a:lnTo>
                  <a:lnTo>
                    <a:pt x="97" y="109"/>
                  </a:lnTo>
                  <a:lnTo>
                    <a:pt x="99" y="109"/>
                  </a:lnTo>
                  <a:lnTo>
                    <a:pt x="99" y="111"/>
                  </a:lnTo>
                  <a:lnTo>
                    <a:pt x="100" y="109"/>
                  </a:lnTo>
                  <a:lnTo>
                    <a:pt x="100" y="111"/>
                  </a:lnTo>
                  <a:lnTo>
                    <a:pt x="102" y="112"/>
                  </a:lnTo>
                  <a:lnTo>
                    <a:pt x="102" y="127"/>
                  </a:lnTo>
                  <a:lnTo>
                    <a:pt x="103" y="129"/>
                  </a:lnTo>
                  <a:lnTo>
                    <a:pt x="103" y="130"/>
                  </a:lnTo>
                  <a:lnTo>
                    <a:pt x="102" y="132"/>
                  </a:lnTo>
                  <a:lnTo>
                    <a:pt x="100" y="139"/>
                  </a:lnTo>
                  <a:lnTo>
                    <a:pt x="100" y="142"/>
                  </a:lnTo>
                  <a:lnTo>
                    <a:pt x="99" y="142"/>
                  </a:lnTo>
                  <a:lnTo>
                    <a:pt x="99" y="145"/>
                  </a:lnTo>
                  <a:lnTo>
                    <a:pt x="97" y="147"/>
                  </a:lnTo>
                  <a:lnTo>
                    <a:pt x="97" y="148"/>
                  </a:lnTo>
                  <a:lnTo>
                    <a:pt x="93" y="156"/>
                  </a:lnTo>
                  <a:lnTo>
                    <a:pt x="91" y="157"/>
                  </a:lnTo>
                  <a:lnTo>
                    <a:pt x="88" y="159"/>
                  </a:lnTo>
                  <a:lnTo>
                    <a:pt x="87" y="160"/>
                  </a:lnTo>
                  <a:lnTo>
                    <a:pt x="78" y="166"/>
                  </a:lnTo>
                  <a:lnTo>
                    <a:pt x="77" y="168"/>
                  </a:lnTo>
                  <a:lnTo>
                    <a:pt x="72" y="169"/>
                  </a:lnTo>
                  <a:lnTo>
                    <a:pt x="71" y="168"/>
                  </a:lnTo>
                  <a:lnTo>
                    <a:pt x="71" y="169"/>
                  </a:lnTo>
                  <a:lnTo>
                    <a:pt x="69" y="169"/>
                  </a:lnTo>
                  <a:lnTo>
                    <a:pt x="69" y="171"/>
                  </a:lnTo>
                  <a:lnTo>
                    <a:pt x="68" y="171"/>
                  </a:lnTo>
                  <a:lnTo>
                    <a:pt x="63" y="172"/>
                  </a:lnTo>
                  <a:lnTo>
                    <a:pt x="60" y="174"/>
                  </a:lnTo>
                  <a:lnTo>
                    <a:pt x="57" y="174"/>
                  </a:lnTo>
                  <a:lnTo>
                    <a:pt x="56" y="175"/>
                  </a:lnTo>
                  <a:lnTo>
                    <a:pt x="53" y="175"/>
                  </a:lnTo>
                  <a:lnTo>
                    <a:pt x="50" y="178"/>
                  </a:lnTo>
                  <a:lnTo>
                    <a:pt x="45" y="178"/>
                  </a:lnTo>
                  <a:lnTo>
                    <a:pt x="45" y="180"/>
                  </a:lnTo>
                  <a:lnTo>
                    <a:pt x="38" y="180"/>
                  </a:lnTo>
                  <a:lnTo>
                    <a:pt x="36" y="178"/>
                  </a:lnTo>
                  <a:lnTo>
                    <a:pt x="32" y="178"/>
                  </a:lnTo>
                  <a:lnTo>
                    <a:pt x="32" y="177"/>
                  </a:lnTo>
                  <a:lnTo>
                    <a:pt x="27" y="177"/>
                  </a:lnTo>
                  <a:lnTo>
                    <a:pt x="27" y="175"/>
                  </a:lnTo>
                  <a:lnTo>
                    <a:pt x="24" y="175"/>
                  </a:lnTo>
                  <a:lnTo>
                    <a:pt x="21" y="171"/>
                  </a:lnTo>
                  <a:lnTo>
                    <a:pt x="20" y="171"/>
                  </a:lnTo>
                  <a:lnTo>
                    <a:pt x="20" y="169"/>
                  </a:lnTo>
                  <a:lnTo>
                    <a:pt x="18" y="165"/>
                  </a:lnTo>
                  <a:lnTo>
                    <a:pt x="18" y="163"/>
                  </a:lnTo>
                  <a:lnTo>
                    <a:pt x="17" y="163"/>
                  </a:lnTo>
                  <a:lnTo>
                    <a:pt x="17" y="160"/>
                  </a:lnTo>
                  <a:lnTo>
                    <a:pt x="15" y="159"/>
                  </a:lnTo>
                  <a:lnTo>
                    <a:pt x="15" y="153"/>
                  </a:lnTo>
                  <a:lnTo>
                    <a:pt x="14" y="150"/>
                  </a:lnTo>
                  <a:lnTo>
                    <a:pt x="9" y="139"/>
                  </a:lnTo>
                  <a:lnTo>
                    <a:pt x="9" y="130"/>
                  </a:lnTo>
                  <a:lnTo>
                    <a:pt x="8" y="123"/>
                  </a:lnTo>
                  <a:lnTo>
                    <a:pt x="9" y="123"/>
                  </a:lnTo>
                  <a:lnTo>
                    <a:pt x="9" y="121"/>
                  </a:lnTo>
                  <a:lnTo>
                    <a:pt x="8" y="121"/>
                  </a:lnTo>
                  <a:lnTo>
                    <a:pt x="8" y="120"/>
                  </a:lnTo>
                  <a:lnTo>
                    <a:pt x="9" y="120"/>
                  </a:lnTo>
                  <a:lnTo>
                    <a:pt x="6" y="103"/>
                  </a:lnTo>
                  <a:lnTo>
                    <a:pt x="6" y="97"/>
                  </a:lnTo>
                  <a:lnTo>
                    <a:pt x="5" y="91"/>
                  </a:lnTo>
                  <a:lnTo>
                    <a:pt x="5" y="87"/>
                  </a:lnTo>
                  <a:lnTo>
                    <a:pt x="3" y="85"/>
                  </a:lnTo>
                  <a:lnTo>
                    <a:pt x="2" y="81"/>
                  </a:lnTo>
                  <a:lnTo>
                    <a:pt x="2" y="79"/>
                  </a:lnTo>
                  <a:lnTo>
                    <a:pt x="3" y="79"/>
                  </a:lnTo>
                  <a:lnTo>
                    <a:pt x="3" y="81"/>
                  </a:lnTo>
                  <a:lnTo>
                    <a:pt x="5" y="82"/>
                  </a:lnTo>
                  <a:lnTo>
                    <a:pt x="3" y="84"/>
                  </a:lnTo>
                  <a:lnTo>
                    <a:pt x="5" y="85"/>
                  </a:lnTo>
                  <a:lnTo>
                    <a:pt x="9" y="85"/>
                  </a:lnTo>
                  <a:lnTo>
                    <a:pt x="8" y="84"/>
                  </a:lnTo>
                  <a:lnTo>
                    <a:pt x="8" y="82"/>
                  </a:lnTo>
                  <a:lnTo>
                    <a:pt x="6" y="82"/>
                  </a:lnTo>
                  <a:lnTo>
                    <a:pt x="6" y="81"/>
                  </a:lnTo>
                  <a:lnTo>
                    <a:pt x="8" y="78"/>
                  </a:lnTo>
                  <a:lnTo>
                    <a:pt x="8" y="70"/>
                  </a:lnTo>
                  <a:lnTo>
                    <a:pt x="9" y="69"/>
                  </a:lnTo>
                  <a:lnTo>
                    <a:pt x="9" y="63"/>
                  </a:lnTo>
                  <a:lnTo>
                    <a:pt x="11" y="63"/>
                  </a:lnTo>
                  <a:lnTo>
                    <a:pt x="11" y="60"/>
                  </a:lnTo>
                  <a:lnTo>
                    <a:pt x="12" y="58"/>
                  </a:lnTo>
                  <a:lnTo>
                    <a:pt x="12" y="57"/>
                  </a:lnTo>
                  <a:lnTo>
                    <a:pt x="14" y="55"/>
                  </a:lnTo>
                  <a:lnTo>
                    <a:pt x="14" y="51"/>
                  </a:lnTo>
                  <a:lnTo>
                    <a:pt x="12" y="48"/>
                  </a:lnTo>
                  <a:lnTo>
                    <a:pt x="12" y="42"/>
                  </a:lnTo>
                  <a:lnTo>
                    <a:pt x="14" y="40"/>
                  </a:lnTo>
                  <a:lnTo>
                    <a:pt x="17" y="39"/>
                  </a:lnTo>
                  <a:lnTo>
                    <a:pt x="18" y="37"/>
                  </a:lnTo>
                  <a:lnTo>
                    <a:pt x="18" y="36"/>
                  </a:lnTo>
                  <a:lnTo>
                    <a:pt x="20" y="34"/>
                  </a:lnTo>
                  <a:lnTo>
                    <a:pt x="20" y="33"/>
                  </a:lnTo>
                  <a:lnTo>
                    <a:pt x="21" y="30"/>
                  </a:lnTo>
                  <a:lnTo>
                    <a:pt x="21" y="24"/>
                  </a:lnTo>
                  <a:lnTo>
                    <a:pt x="20" y="24"/>
                  </a:lnTo>
                  <a:lnTo>
                    <a:pt x="18" y="22"/>
                  </a:lnTo>
                  <a:lnTo>
                    <a:pt x="18" y="21"/>
                  </a:lnTo>
                  <a:lnTo>
                    <a:pt x="20" y="19"/>
                  </a:lnTo>
                  <a:lnTo>
                    <a:pt x="23" y="19"/>
                  </a:lnTo>
                  <a:lnTo>
                    <a:pt x="23" y="18"/>
                  </a:lnTo>
                  <a:lnTo>
                    <a:pt x="24" y="18"/>
                  </a:lnTo>
                  <a:lnTo>
                    <a:pt x="24" y="15"/>
                  </a:lnTo>
                  <a:lnTo>
                    <a:pt x="23" y="13"/>
                  </a:lnTo>
                  <a:lnTo>
                    <a:pt x="20" y="12"/>
                  </a:lnTo>
                  <a:lnTo>
                    <a:pt x="18" y="10"/>
                  </a:lnTo>
                  <a:lnTo>
                    <a:pt x="20" y="10"/>
                  </a:lnTo>
                  <a:lnTo>
                    <a:pt x="21" y="12"/>
                  </a:lnTo>
                  <a:lnTo>
                    <a:pt x="24" y="13"/>
                  </a:lnTo>
                  <a:lnTo>
                    <a:pt x="27" y="13"/>
                  </a:lnTo>
                  <a:lnTo>
                    <a:pt x="27" y="15"/>
                  </a:lnTo>
                  <a:lnTo>
                    <a:pt x="29" y="15"/>
                  </a:lnTo>
                  <a:lnTo>
                    <a:pt x="29" y="18"/>
                  </a:lnTo>
                  <a:lnTo>
                    <a:pt x="32" y="16"/>
                  </a:lnTo>
                  <a:lnTo>
                    <a:pt x="36" y="15"/>
                  </a:lnTo>
                  <a:lnTo>
                    <a:pt x="42" y="18"/>
                  </a:lnTo>
                  <a:lnTo>
                    <a:pt x="44" y="18"/>
                  </a:lnTo>
                  <a:lnTo>
                    <a:pt x="41" y="16"/>
                  </a:lnTo>
                  <a:lnTo>
                    <a:pt x="41" y="15"/>
                  </a:lnTo>
                  <a:lnTo>
                    <a:pt x="38" y="15"/>
                  </a:lnTo>
                  <a:lnTo>
                    <a:pt x="38" y="13"/>
                  </a:lnTo>
                  <a:lnTo>
                    <a:pt x="36" y="13"/>
                  </a:lnTo>
                  <a:lnTo>
                    <a:pt x="36" y="15"/>
                  </a:lnTo>
                  <a:lnTo>
                    <a:pt x="35" y="13"/>
                  </a:lnTo>
                  <a:lnTo>
                    <a:pt x="33" y="13"/>
                  </a:lnTo>
                  <a:lnTo>
                    <a:pt x="30" y="12"/>
                  </a:lnTo>
                  <a:lnTo>
                    <a:pt x="29" y="10"/>
                  </a:lnTo>
                  <a:lnTo>
                    <a:pt x="27" y="10"/>
                  </a:lnTo>
                  <a:lnTo>
                    <a:pt x="26" y="9"/>
                  </a:lnTo>
                  <a:lnTo>
                    <a:pt x="24" y="9"/>
                  </a:lnTo>
                  <a:lnTo>
                    <a:pt x="24" y="10"/>
                  </a:lnTo>
                  <a:lnTo>
                    <a:pt x="23" y="10"/>
                  </a:lnTo>
                  <a:lnTo>
                    <a:pt x="21" y="9"/>
                  </a:lnTo>
                  <a:lnTo>
                    <a:pt x="21" y="10"/>
                  </a:lnTo>
                  <a:lnTo>
                    <a:pt x="20" y="10"/>
                  </a:lnTo>
                  <a:lnTo>
                    <a:pt x="17" y="7"/>
                  </a:lnTo>
                  <a:lnTo>
                    <a:pt x="15" y="7"/>
                  </a:lnTo>
                  <a:lnTo>
                    <a:pt x="15" y="6"/>
                  </a:lnTo>
                  <a:lnTo>
                    <a:pt x="14" y="6"/>
                  </a:lnTo>
                  <a:lnTo>
                    <a:pt x="14" y="4"/>
                  </a:lnTo>
                  <a:lnTo>
                    <a:pt x="12" y="4"/>
                  </a:lnTo>
                  <a:lnTo>
                    <a:pt x="12" y="3"/>
                  </a:lnTo>
                  <a:lnTo>
                    <a:pt x="14" y="3"/>
                  </a:lnTo>
                  <a:lnTo>
                    <a:pt x="15" y="1"/>
                  </a:lnTo>
                  <a:lnTo>
                    <a:pt x="15"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9">
              <a:extLst>
                <a:ext uri="{FF2B5EF4-FFF2-40B4-BE49-F238E27FC236}">
                  <a16:creationId xmlns:a16="http://schemas.microsoft.com/office/drawing/2014/main" id="{4225D145-D606-1349-3D8E-1530C9A75AC8}"/>
                </a:ext>
              </a:extLst>
            </p:cNvPr>
            <p:cNvSpPr>
              <a:spLocks noEditPoints="1"/>
            </p:cNvSpPr>
            <p:nvPr/>
          </p:nvSpPr>
          <p:spPr bwMode="auto">
            <a:xfrm>
              <a:off x="3932754" y="3229803"/>
              <a:ext cx="302257" cy="322198"/>
            </a:xfrm>
            <a:custGeom>
              <a:avLst/>
              <a:gdLst/>
              <a:ahLst/>
              <a:cxnLst>
                <a:cxn ang="0">
                  <a:pos x="82" y="304"/>
                </a:cxn>
                <a:cxn ang="0">
                  <a:pos x="93" y="287"/>
                </a:cxn>
                <a:cxn ang="0">
                  <a:pos x="93" y="256"/>
                </a:cxn>
                <a:cxn ang="0">
                  <a:pos x="104" y="251"/>
                </a:cxn>
                <a:cxn ang="0">
                  <a:pos x="67" y="247"/>
                </a:cxn>
                <a:cxn ang="0">
                  <a:pos x="110" y="241"/>
                </a:cxn>
                <a:cxn ang="0">
                  <a:pos x="130" y="236"/>
                </a:cxn>
                <a:cxn ang="0">
                  <a:pos x="79" y="232"/>
                </a:cxn>
                <a:cxn ang="0">
                  <a:pos x="66" y="230"/>
                </a:cxn>
                <a:cxn ang="0">
                  <a:pos x="167" y="227"/>
                </a:cxn>
                <a:cxn ang="0">
                  <a:pos x="37" y="226"/>
                </a:cxn>
                <a:cxn ang="0">
                  <a:pos x="58" y="220"/>
                </a:cxn>
                <a:cxn ang="0">
                  <a:pos x="79" y="217"/>
                </a:cxn>
                <a:cxn ang="0">
                  <a:pos x="69" y="214"/>
                </a:cxn>
                <a:cxn ang="0">
                  <a:pos x="76" y="211"/>
                </a:cxn>
                <a:cxn ang="0">
                  <a:pos x="157" y="224"/>
                </a:cxn>
                <a:cxn ang="0">
                  <a:pos x="188" y="218"/>
                </a:cxn>
                <a:cxn ang="0">
                  <a:pos x="184" y="212"/>
                </a:cxn>
                <a:cxn ang="0">
                  <a:pos x="76" y="203"/>
                </a:cxn>
                <a:cxn ang="0">
                  <a:pos x="78" y="193"/>
                </a:cxn>
                <a:cxn ang="0">
                  <a:pos x="79" y="118"/>
                </a:cxn>
                <a:cxn ang="0">
                  <a:pos x="88" y="96"/>
                </a:cxn>
                <a:cxn ang="0">
                  <a:pos x="82" y="81"/>
                </a:cxn>
                <a:cxn ang="0">
                  <a:pos x="87" y="67"/>
                </a:cxn>
                <a:cxn ang="0">
                  <a:pos x="78" y="52"/>
                </a:cxn>
                <a:cxn ang="0">
                  <a:pos x="82" y="57"/>
                </a:cxn>
                <a:cxn ang="0">
                  <a:pos x="3" y="45"/>
                </a:cxn>
                <a:cxn ang="0">
                  <a:pos x="197" y="48"/>
                </a:cxn>
                <a:cxn ang="0">
                  <a:pos x="223" y="109"/>
                </a:cxn>
                <a:cxn ang="0">
                  <a:pos x="226" y="154"/>
                </a:cxn>
                <a:cxn ang="0">
                  <a:pos x="212" y="188"/>
                </a:cxn>
                <a:cxn ang="0">
                  <a:pos x="188" y="200"/>
                </a:cxn>
                <a:cxn ang="0">
                  <a:pos x="179" y="200"/>
                </a:cxn>
                <a:cxn ang="0">
                  <a:pos x="169" y="211"/>
                </a:cxn>
                <a:cxn ang="0">
                  <a:pos x="139" y="212"/>
                </a:cxn>
                <a:cxn ang="0">
                  <a:pos x="137" y="223"/>
                </a:cxn>
                <a:cxn ang="0">
                  <a:pos x="125" y="220"/>
                </a:cxn>
                <a:cxn ang="0">
                  <a:pos x="119" y="232"/>
                </a:cxn>
                <a:cxn ang="0">
                  <a:pos x="125" y="223"/>
                </a:cxn>
                <a:cxn ang="0">
                  <a:pos x="104" y="239"/>
                </a:cxn>
                <a:cxn ang="0">
                  <a:pos x="91" y="241"/>
                </a:cxn>
                <a:cxn ang="0">
                  <a:pos x="81" y="233"/>
                </a:cxn>
                <a:cxn ang="0">
                  <a:pos x="82" y="226"/>
                </a:cxn>
                <a:cxn ang="0">
                  <a:pos x="87" y="218"/>
                </a:cxn>
                <a:cxn ang="0">
                  <a:pos x="81" y="209"/>
                </a:cxn>
                <a:cxn ang="0">
                  <a:pos x="82" y="200"/>
                </a:cxn>
                <a:cxn ang="0">
                  <a:pos x="91" y="175"/>
                </a:cxn>
                <a:cxn ang="0">
                  <a:pos x="100" y="158"/>
                </a:cxn>
                <a:cxn ang="0">
                  <a:pos x="96" y="149"/>
                </a:cxn>
                <a:cxn ang="0">
                  <a:pos x="90" y="133"/>
                </a:cxn>
                <a:cxn ang="0">
                  <a:pos x="84" y="117"/>
                </a:cxn>
                <a:cxn ang="0">
                  <a:pos x="73" y="112"/>
                </a:cxn>
                <a:cxn ang="0">
                  <a:pos x="76" y="100"/>
                </a:cxn>
                <a:cxn ang="0">
                  <a:pos x="81" y="94"/>
                </a:cxn>
                <a:cxn ang="0">
                  <a:pos x="85" y="93"/>
                </a:cxn>
                <a:cxn ang="0">
                  <a:pos x="102" y="99"/>
                </a:cxn>
                <a:cxn ang="0">
                  <a:pos x="104" y="93"/>
                </a:cxn>
                <a:cxn ang="0">
                  <a:pos x="99" y="81"/>
                </a:cxn>
                <a:cxn ang="0">
                  <a:pos x="90" y="67"/>
                </a:cxn>
                <a:cxn ang="0">
                  <a:pos x="94" y="57"/>
                </a:cxn>
                <a:cxn ang="0">
                  <a:pos x="110" y="21"/>
                </a:cxn>
              </a:cxnLst>
              <a:rect l="0" t="0" r="r" b="b"/>
              <a:pathLst>
                <a:path w="288" h="307">
                  <a:moveTo>
                    <a:pt x="97" y="286"/>
                  </a:moveTo>
                  <a:lnTo>
                    <a:pt x="100" y="286"/>
                  </a:lnTo>
                  <a:lnTo>
                    <a:pt x="102" y="287"/>
                  </a:lnTo>
                  <a:lnTo>
                    <a:pt x="104" y="289"/>
                  </a:lnTo>
                  <a:lnTo>
                    <a:pt x="104" y="292"/>
                  </a:lnTo>
                  <a:lnTo>
                    <a:pt x="106" y="292"/>
                  </a:lnTo>
                  <a:lnTo>
                    <a:pt x="106" y="295"/>
                  </a:lnTo>
                  <a:lnTo>
                    <a:pt x="104" y="295"/>
                  </a:lnTo>
                  <a:lnTo>
                    <a:pt x="103" y="296"/>
                  </a:lnTo>
                  <a:lnTo>
                    <a:pt x="103" y="298"/>
                  </a:lnTo>
                  <a:lnTo>
                    <a:pt x="102" y="299"/>
                  </a:lnTo>
                  <a:lnTo>
                    <a:pt x="102" y="301"/>
                  </a:lnTo>
                  <a:lnTo>
                    <a:pt x="99" y="301"/>
                  </a:lnTo>
                  <a:lnTo>
                    <a:pt x="97" y="302"/>
                  </a:lnTo>
                  <a:lnTo>
                    <a:pt x="93" y="302"/>
                  </a:lnTo>
                  <a:lnTo>
                    <a:pt x="91" y="304"/>
                  </a:lnTo>
                  <a:lnTo>
                    <a:pt x="87" y="304"/>
                  </a:lnTo>
                  <a:lnTo>
                    <a:pt x="85" y="305"/>
                  </a:lnTo>
                  <a:lnTo>
                    <a:pt x="82" y="304"/>
                  </a:lnTo>
                  <a:lnTo>
                    <a:pt x="78" y="304"/>
                  </a:lnTo>
                  <a:lnTo>
                    <a:pt x="76" y="305"/>
                  </a:lnTo>
                  <a:lnTo>
                    <a:pt x="76" y="307"/>
                  </a:lnTo>
                  <a:lnTo>
                    <a:pt x="75" y="307"/>
                  </a:lnTo>
                  <a:lnTo>
                    <a:pt x="75" y="305"/>
                  </a:lnTo>
                  <a:lnTo>
                    <a:pt x="73" y="304"/>
                  </a:lnTo>
                  <a:lnTo>
                    <a:pt x="72" y="304"/>
                  </a:lnTo>
                  <a:lnTo>
                    <a:pt x="70" y="302"/>
                  </a:lnTo>
                  <a:lnTo>
                    <a:pt x="70" y="301"/>
                  </a:lnTo>
                  <a:lnTo>
                    <a:pt x="72" y="298"/>
                  </a:lnTo>
                  <a:lnTo>
                    <a:pt x="72" y="296"/>
                  </a:lnTo>
                  <a:lnTo>
                    <a:pt x="75" y="296"/>
                  </a:lnTo>
                  <a:lnTo>
                    <a:pt x="75" y="293"/>
                  </a:lnTo>
                  <a:lnTo>
                    <a:pt x="76" y="293"/>
                  </a:lnTo>
                  <a:lnTo>
                    <a:pt x="79" y="290"/>
                  </a:lnTo>
                  <a:lnTo>
                    <a:pt x="84" y="290"/>
                  </a:lnTo>
                  <a:lnTo>
                    <a:pt x="85" y="289"/>
                  </a:lnTo>
                  <a:lnTo>
                    <a:pt x="90" y="289"/>
                  </a:lnTo>
                  <a:lnTo>
                    <a:pt x="93" y="287"/>
                  </a:lnTo>
                  <a:lnTo>
                    <a:pt x="94" y="287"/>
                  </a:lnTo>
                  <a:lnTo>
                    <a:pt x="97" y="286"/>
                  </a:lnTo>
                  <a:close/>
                  <a:moveTo>
                    <a:pt x="121" y="259"/>
                  </a:moveTo>
                  <a:lnTo>
                    <a:pt x="122" y="259"/>
                  </a:lnTo>
                  <a:lnTo>
                    <a:pt x="122" y="260"/>
                  </a:lnTo>
                  <a:lnTo>
                    <a:pt x="121" y="260"/>
                  </a:lnTo>
                  <a:lnTo>
                    <a:pt x="121" y="259"/>
                  </a:lnTo>
                  <a:close/>
                  <a:moveTo>
                    <a:pt x="21" y="257"/>
                  </a:moveTo>
                  <a:lnTo>
                    <a:pt x="22" y="257"/>
                  </a:lnTo>
                  <a:lnTo>
                    <a:pt x="24" y="259"/>
                  </a:lnTo>
                  <a:lnTo>
                    <a:pt x="24" y="260"/>
                  </a:lnTo>
                  <a:lnTo>
                    <a:pt x="22" y="260"/>
                  </a:lnTo>
                  <a:lnTo>
                    <a:pt x="22" y="259"/>
                  </a:lnTo>
                  <a:lnTo>
                    <a:pt x="21" y="259"/>
                  </a:lnTo>
                  <a:lnTo>
                    <a:pt x="21" y="257"/>
                  </a:lnTo>
                  <a:close/>
                  <a:moveTo>
                    <a:pt x="93" y="253"/>
                  </a:moveTo>
                  <a:lnTo>
                    <a:pt x="94" y="254"/>
                  </a:lnTo>
                  <a:lnTo>
                    <a:pt x="94" y="256"/>
                  </a:lnTo>
                  <a:lnTo>
                    <a:pt x="93" y="256"/>
                  </a:lnTo>
                  <a:lnTo>
                    <a:pt x="93" y="253"/>
                  </a:lnTo>
                  <a:close/>
                  <a:moveTo>
                    <a:pt x="90" y="253"/>
                  </a:moveTo>
                  <a:lnTo>
                    <a:pt x="91" y="253"/>
                  </a:lnTo>
                  <a:lnTo>
                    <a:pt x="91" y="254"/>
                  </a:lnTo>
                  <a:lnTo>
                    <a:pt x="90" y="253"/>
                  </a:lnTo>
                  <a:close/>
                  <a:moveTo>
                    <a:pt x="87" y="253"/>
                  </a:moveTo>
                  <a:lnTo>
                    <a:pt x="90" y="253"/>
                  </a:lnTo>
                  <a:lnTo>
                    <a:pt x="90" y="254"/>
                  </a:lnTo>
                  <a:lnTo>
                    <a:pt x="88" y="254"/>
                  </a:lnTo>
                  <a:lnTo>
                    <a:pt x="88" y="256"/>
                  </a:lnTo>
                  <a:lnTo>
                    <a:pt x="87" y="256"/>
                  </a:lnTo>
                  <a:lnTo>
                    <a:pt x="87" y="253"/>
                  </a:lnTo>
                  <a:close/>
                  <a:moveTo>
                    <a:pt x="93" y="251"/>
                  </a:moveTo>
                  <a:lnTo>
                    <a:pt x="94" y="251"/>
                  </a:lnTo>
                  <a:lnTo>
                    <a:pt x="94" y="253"/>
                  </a:lnTo>
                  <a:lnTo>
                    <a:pt x="93" y="253"/>
                  </a:lnTo>
                  <a:lnTo>
                    <a:pt x="93" y="251"/>
                  </a:lnTo>
                  <a:close/>
                  <a:moveTo>
                    <a:pt x="103" y="250"/>
                  </a:moveTo>
                  <a:lnTo>
                    <a:pt x="104" y="251"/>
                  </a:lnTo>
                  <a:lnTo>
                    <a:pt x="106" y="251"/>
                  </a:lnTo>
                  <a:lnTo>
                    <a:pt x="104" y="253"/>
                  </a:lnTo>
                  <a:lnTo>
                    <a:pt x="104" y="254"/>
                  </a:lnTo>
                  <a:lnTo>
                    <a:pt x="103" y="254"/>
                  </a:lnTo>
                  <a:lnTo>
                    <a:pt x="103" y="253"/>
                  </a:lnTo>
                  <a:lnTo>
                    <a:pt x="102" y="254"/>
                  </a:lnTo>
                  <a:lnTo>
                    <a:pt x="102" y="251"/>
                  </a:lnTo>
                  <a:lnTo>
                    <a:pt x="103" y="251"/>
                  </a:lnTo>
                  <a:lnTo>
                    <a:pt x="103" y="250"/>
                  </a:lnTo>
                  <a:close/>
                  <a:moveTo>
                    <a:pt x="88" y="250"/>
                  </a:moveTo>
                  <a:lnTo>
                    <a:pt x="91" y="250"/>
                  </a:lnTo>
                  <a:lnTo>
                    <a:pt x="91" y="251"/>
                  </a:lnTo>
                  <a:lnTo>
                    <a:pt x="90" y="251"/>
                  </a:lnTo>
                  <a:lnTo>
                    <a:pt x="90" y="253"/>
                  </a:lnTo>
                  <a:lnTo>
                    <a:pt x="88" y="251"/>
                  </a:lnTo>
                  <a:lnTo>
                    <a:pt x="88" y="250"/>
                  </a:lnTo>
                  <a:close/>
                  <a:moveTo>
                    <a:pt x="64" y="245"/>
                  </a:moveTo>
                  <a:lnTo>
                    <a:pt x="67" y="245"/>
                  </a:lnTo>
                  <a:lnTo>
                    <a:pt x="67" y="247"/>
                  </a:lnTo>
                  <a:lnTo>
                    <a:pt x="64" y="247"/>
                  </a:lnTo>
                  <a:lnTo>
                    <a:pt x="64" y="245"/>
                  </a:lnTo>
                  <a:close/>
                  <a:moveTo>
                    <a:pt x="110" y="242"/>
                  </a:moveTo>
                  <a:lnTo>
                    <a:pt x="112" y="242"/>
                  </a:lnTo>
                  <a:lnTo>
                    <a:pt x="113" y="244"/>
                  </a:lnTo>
                  <a:lnTo>
                    <a:pt x="112" y="244"/>
                  </a:lnTo>
                  <a:lnTo>
                    <a:pt x="110" y="245"/>
                  </a:lnTo>
                  <a:lnTo>
                    <a:pt x="110" y="242"/>
                  </a:lnTo>
                  <a:close/>
                  <a:moveTo>
                    <a:pt x="102" y="242"/>
                  </a:moveTo>
                  <a:lnTo>
                    <a:pt x="103" y="242"/>
                  </a:lnTo>
                  <a:lnTo>
                    <a:pt x="103" y="245"/>
                  </a:lnTo>
                  <a:lnTo>
                    <a:pt x="102" y="245"/>
                  </a:lnTo>
                  <a:lnTo>
                    <a:pt x="102" y="244"/>
                  </a:lnTo>
                  <a:lnTo>
                    <a:pt x="100" y="244"/>
                  </a:lnTo>
                  <a:lnTo>
                    <a:pt x="102" y="242"/>
                  </a:lnTo>
                  <a:close/>
                  <a:moveTo>
                    <a:pt x="110" y="241"/>
                  </a:moveTo>
                  <a:lnTo>
                    <a:pt x="110" y="242"/>
                  </a:lnTo>
                  <a:lnTo>
                    <a:pt x="109" y="242"/>
                  </a:lnTo>
                  <a:lnTo>
                    <a:pt x="110" y="241"/>
                  </a:lnTo>
                  <a:close/>
                  <a:moveTo>
                    <a:pt x="94" y="239"/>
                  </a:moveTo>
                  <a:lnTo>
                    <a:pt x="97" y="242"/>
                  </a:lnTo>
                  <a:lnTo>
                    <a:pt x="97" y="244"/>
                  </a:lnTo>
                  <a:lnTo>
                    <a:pt x="99" y="245"/>
                  </a:lnTo>
                  <a:lnTo>
                    <a:pt x="99" y="247"/>
                  </a:lnTo>
                  <a:lnTo>
                    <a:pt x="96" y="247"/>
                  </a:lnTo>
                  <a:lnTo>
                    <a:pt x="96" y="245"/>
                  </a:lnTo>
                  <a:lnTo>
                    <a:pt x="94" y="244"/>
                  </a:lnTo>
                  <a:lnTo>
                    <a:pt x="93" y="244"/>
                  </a:lnTo>
                  <a:lnTo>
                    <a:pt x="93" y="241"/>
                  </a:lnTo>
                  <a:lnTo>
                    <a:pt x="94" y="241"/>
                  </a:lnTo>
                  <a:lnTo>
                    <a:pt x="94" y="239"/>
                  </a:lnTo>
                  <a:close/>
                  <a:moveTo>
                    <a:pt x="130" y="236"/>
                  </a:moveTo>
                  <a:lnTo>
                    <a:pt x="131" y="236"/>
                  </a:lnTo>
                  <a:lnTo>
                    <a:pt x="133" y="238"/>
                  </a:lnTo>
                  <a:lnTo>
                    <a:pt x="131" y="239"/>
                  </a:lnTo>
                  <a:lnTo>
                    <a:pt x="131" y="238"/>
                  </a:lnTo>
                  <a:lnTo>
                    <a:pt x="130" y="238"/>
                  </a:lnTo>
                  <a:lnTo>
                    <a:pt x="130" y="236"/>
                  </a:lnTo>
                  <a:close/>
                  <a:moveTo>
                    <a:pt x="116" y="235"/>
                  </a:moveTo>
                  <a:lnTo>
                    <a:pt x="119" y="235"/>
                  </a:lnTo>
                  <a:lnTo>
                    <a:pt x="119" y="238"/>
                  </a:lnTo>
                  <a:lnTo>
                    <a:pt x="118" y="239"/>
                  </a:lnTo>
                  <a:lnTo>
                    <a:pt x="115" y="239"/>
                  </a:lnTo>
                  <a:lnTo>
                    <a:pt x="113" y="238"/>
                  </a:lnTo>
                  <a:lnTo>
                    <a:pt x="115" y="238"/>
                  </a:lnTo>
                  <a:lnTo>
                    <a:pt x="115" y="236"/>
                  </a:lnTo>
                  <a:lnTo>
                    <a:pt x="116" y="235"/>
                  </a:lnTo>
                  <a:close/>
                  <a:moveTo>
                    <a:pt x="142" y="232"/>
                  </a:moveTo>
                  <a:lnTo>
                    <a:pt x="143" y="232"/>
                  </a:lnTo>
                  <a:lnTo>
                    <a:pt x="145" y="233"/>
                  </a:lnTo>
                  <a:lnTo>
                    <a:pt x="145" y="235"/>
                  </a:lnTo>
                  <a:lnTo>
                    <a:pt x="142" y="235"/>
                  </a:lnTo>
                  <a:lnTo>
                    <a:pt x="142" y="232"/>
                  </a:lnTo>
                  <a:close/>
                  <a:moveTo>
                    <a:pt x="76" y="232"/>
                  </a:moveTo>
                  <a:lnTo>
                    <a:pt x="78" y="232"/>
                  </a:lnTo>
                  <a:lnTo>
                    <a:pt x="78" y="233"/>
                  </a:lnTo>
                  <a:lnTo>
                    <a:pt x="79" y="232"/>
                  </a:lnTo>
                  <a:lnTo>
                    <a:pt x="81" y="235"/>
                  </a:lnTo>
                  <a:lnTo>
                    <a:pt x="81" y="238"/>
                  </a:lnTo>
                  <a:lnTo>
                    <a:pt x="79" y="239"/>
                  </a:lnTo>
                  <a:lnTo>
                    <a:pt x="76" y="239"/>
                  </a:lnTo>
                  <a:lnTo>
                    <a:pt x="73" y="242"/>
                  </a:lnTo>
                  <a:lnTo>
                    <a:pt x="70" y="242"/>
                  </a:lnTo>
                  <a:lnTo>
                    <a:pt x="70" y="241"/>
                  </a:lnTo>
                  <a:lnTo>
                    <a:pt x="69" y="239"/>
                  </a:lnTo>
                  <a:lnTo>
                    <a:pt x="69" y="241"/>
                  </a:lnTo>
                  <a:lnTo>
                    <a:pt x="67" y="239"/>
                  </a:lnTo>
                  <a:lnTo>
                    <a:pt x="73" y="233"/>
                  </a:lnTo>
                  <a:lnTo>
                    <a:pt x="75" y="233"/>
                  </a:lnTo>
                  <a:lnTo>
                    <a:pt x="76" y="232"/>
                  </a:lnTo>
                  <a:close/>
                  <a:moveTo>
                    <a:pt x="75" y="230"/>
                  </a:moveTo>
                  <a:lnTo>
                    <a:pt x="76" y="230"/>
                  </a:lnTo>
                  <a:lnTo>
                    <a:pt x="76" y="232"/>
                  </a:lnTo>
                  <a:lnTo>
                    <a:pt x="75" y="232"/>
                  </a:lnTo>
                  <a:lnTo>
                    <a:pt x="75" y="230"/>
                  </a:lnTo>
                  <a:close/>
                  <a:moveTo>
                    <a:pt x="66" y="230"/>
                  </a:moveTo>
                  <a:lnTo>
                    <a:pt x="67" y="230"/>
                  </a:lnTo>
                  <a:lnTo>
                    <a:pt x="67" y="232"/>
                  </a:lnTo>
                  <a:lnTo>
                    <a:pt x="66" y="232"/>
                  </a:lnTo>
                  <a:lnTo>
                    <a:pt x="66" y="233"/>
                  </a:lnTo>
                  <a:lnTo>
                    <a:pt x="64" y="233"/>
                  </a:lnTo>
                  <a:lnTo>
                    <a:pt x="64" y="232"/>
                  </a:lnTo>
                  <a:lnTo>
                    <a:pt x="66" y="230"/>
                  </a:lnTo>
                  <a:close/>
                  <a:moveTo>
                    <a:pt x="64" y="229"/>
                  </a:moveTo>
                  <a:lnTo>
                    <a:pt x="66" y="229"/>
                  </a:lnTo>
                  <a:lnTo>
                    <a:pt x="66" y="230"/>
                  </a:lnTo>
                  <a:lnTo>
                    <a:pt x="64" y="230"/>
                  </a:lnTo>
                  <a:lnTo>
                    <a:pt x="64" y="229"/>
                  </a:lnTo>
                  <a:close/>
                  <a:moveTo>
                    <a:pt x="66" y="227"/>
                  </a:moveTo>
                  <a:lnTo>
                    <a:pt x="67" y="227"/>
                  </a:lnTo>
                  <a:lnTo>
                    <a:pt x="67" y="230"/>
                  </a:lnTo>
                  <a:lnTo>
                    <a:pt x="66" y="229"/>
                  </a:lnTo>
                  <a:lnTo>
                    <a:pt x="66" y="227"/>
                  </a:lnTo>
                  <a:close/>
                  <a:moveTo>
                    <a:pt x="166" y="226"/>
                  </a:moveTo>
                  <a:lnTo>
                    <a:pt x="167" y="227"/>
                  </a:lnTo>
                  <a:lnTo>
                    <a:pt x="164" y="227"/>
                  </a:lnTo>
                  <a:lnTo>
                    <a:pt x="166" y="226"/>
                  </a:lnTo>
                  <a:close/>
                  <a:moveTo>
                    <a:pt x="34" y="226"/>
                  </a:moveTo>
                  <a:lnTo>
                    <a:pt x="36" y="226"/>
                  </a:lnTo>
                  <a:lnTo>
                    <a:pt x="36" y="227"/>
                  </a:lnTo>
                  <a:lnTo>
                    <a:pt x="34" y="226"/>
                  </a:lnTo>
                  <a:close/>
                  <a:moveTo>
                    <a:pt x="145" y="224"/>
                  </a:moveTo>
                  <a:lnTo>
                    <a:pt x="145" y="226"/>
                  </a:lnTo>
                  <a:lnTo>
                    <a:pt x="146" y="226"/>
                  </a:lnTo>
                  <a:lnTo>
                    <a:pt x="146" y="230"/>
                  </a:lnTo>
                  <a:lnTo>
                    <a:pt x="145" y="230"/>
                  </a:lnTo>
                  <a:lnTo>
                    <a:pt x="142" y="227"/>
                  </a:lnTo>
                  <a:lnTo>
                    <a:pt x="145" y="224"/>
                  </a:lnTo>
                  <a:close/>
                  <a:moveTo>
                    <a:pt x="143" y="223"/>
                  </a:moveTo>
                  <a:lnTo>
                    <a:pt x="145" y="223"/>
                  </a:lnTo>
                  <a:lnTo>
                    <a:pt x="145" y="224"/>
                  </a:lnTo>
                  <a:lnTo>
                    <a:pt x="143" y="223"/>
                  </a:lnTo>
                  <a:close/>
                  <a:moveTo>
                    <a:pt x="37" y="223"/>
                  </a:moveTo>
                  <a:lnTo>
                    <a:pt x="37" y="226"/>
                  </a:lnTo>
                  <a:lnTo>
                    <a:pt x="36" y="226"/>
                  </a:lnTo>
                  <a:lnTo>
                    <a:pt x="36" y="224"/>
                  </a:lnTo>
                  <a:lnTo>
                    <a:pt x="37" y="223"/>
                  </a:lnTo>
                  <a:close/>
                  <a:moveTo>
                    <a:pt x="61" y="221"/>
                  </a:moveTo>
                  <a:lnTo>
                    <a:pt x="63" y="221"/>
                  </a:lnTo>
                  <a:lnTo>
                    <a:pt x="63" y="226"/>
                  </a:lnTo>
                  <a:lnTo>
                    <a:pt x="60" y="226"/>
                  </a:lnTo>
                  <a:lnTo>
                    <a:pt x="60" y="224"/>
                  </a:lnTo>
                  <a:lnTo>
                    <a:pt x="61" y="223"/>
                  </a:lnTo>
                  <a:lnTo>
                    <a:pt x="61" y="221"/>
                  </a:lnTo>
                  <a:close/>
                  <a:moveTo>
                    <a:pt x="61" y="218"/>
                  </a:moveTo>
                  <a:lnTo>
                    <a:pt x="63" y="218"/>
                  </a:lnTo>
                  <a:lnTo>
                    <a:pt x="63" y="220"/>
                  </a:lnTo>
                  <a:lnTo>
                    <a:pt x="60" y="220"/>
                  </a:lnTo>
                  <a:lnTo>
                    <a:pt x="61" y="218"/>
                  </a:lnTo>
                  <a:close/>
                  <a:moveTo>
                    <a:pt x="60" y="218"/>
                  </a:moveTo>
                  <a:lnTo>
                    <a:pt x="60" y="223"/>
                  </a:lnTo>
                  <a:lnTo>
                    <a:pt x="58" y="223"/>
                  </a:lnTo>
                  <a:lnTo>
                    <a:pt x="58" y="220"/>
                  </a:lnTo>
                  <a:lnTo>
                    <a:pt x="60" y="218"/>
                  </a:lnTo>
                  <a:close/>
                  <a:moveTo>
                    <a:pt x="172" y="217"/>
                  </a:moveTo>
                  <a:lnTo>
                    <a:pt x="175" y="217"/>
                  </a:lnTo>
                  <a:lnTo>
                    <a:pt x="175" y="220"/>
                  </a:lnTo>
                  <a:lnTo>
                    <a:pt x="173" y="220"/>
                  </a:lnTo>
                  <a:lnTo>
                    <a:pt x="173" y="218"/>
                  </a:lnTo>
                  <a:lnTo>
                    <a:pt x="172" y="218"/>
                  </a:lnTo>
                  <a:lnTo>
                    <a:pt x="172" y="217"/>
                  </a:lnTo>
                  <a:close/>
                  <a:moveTo>
                    <a:pt x="170" y="215"/>
                  </a:moveTo>
                  <a:lnTo>
                    <a:pt x="172" y="217"/>
                  </a:lnTo>
                  <a:lnTo>
                    <a:pt x="170" y="217"/>
                  </a:lnTo>
                  <a:lnTo>
                    <a:pt x="170" y="215"/>
                  </a:lnTo>
                  <a:close/>
                  <a:moveTo>
                    <a:pt x="164" y="215"/>
                  </a:moveTo>
                  <a:lnTo>
                    <a:pt x="166" y="215"/>
                  </a:lnTo>
                  <a:lnTo>
                    <a:pt x="166" y="218"/>
                  </a:lnTo>
                  <a:lnTo>
                    <a:pt x="164" y="218"/>
                  </a:lnTo>
                  <a:lnTo>
                    <a:pt x="164" y="215"/>
                  </a:lnTo>
                  <a:close/>
                  <a:moveTo>
                    <a:pt x="79" y="215"/>
                  </a:moveTo>
                  <a:lnTo>
                    <a:pt x="79" y="217"/>
                  </a:lnTo>
                  <a:lnTo>
                    <a:pt x="78" y="217"/>
                  </a:lnTo>
                  <a:lnTo>
                    <a:pt x="79" y="215"/>
                  </a:lnTo>
                  <a:close/>
                  <a:moveTo>
                    <a:pt x="66" y="215"/>
                  </a:moveTo>
                  <a:lnTo>
                    <a:pt x="69" y="215"/>
                  </a:lnTo>
                  <a:lnTo>
                    <a:pt x="69" y="218"/>
                  </a:lnTo>
                  <a:lnTo>
                    <a:pt x="70" y="217"/>
                  </a:lnTo>
                  <a:lnTo>
                    <a:pt x="70" y="221"/>
                  </a:lnTo>
                  <a:lnTo>
                    <a:pt x="72" y="223"/>
                  </a:lnTo>
                  <a:lnTo>
                    <a:pt x="67" y="223"/>
                  </a:lnTo>
                  <a:lnTo>
                    <a:pt x="67" y="221"/>
                  </a:lnTo>
                  <a:lnTo>
                    <a:pt x="66" y="220"/>
                  </a:lnTo>
                  <a:lnTo>
                    <a:pt x="69" y="220"/>
                  </a:lnTo>
                  <a:lnTo>
                    <a:pt x="67" y="218"/>
                  </a:lnTo>
                  <a:lnTo>
                    <a:pt x="67" y="217"/>
                  </a:lnTo>
                  <a:lnTo>
                    <a:pt x="66" y="215"/>
                  </a:lnTo>
                  <a:close/>
                  <a:moveTo>
                    <a:pt x="69" y="214"/>
                  </a:moveTo>
                  <a:lnTo>
                    <a:pt x="70" y="214"/>
                  </a:lnTo>
                  <a:lnTo>
                    <a:pt x="69" y="215"/>
                  </a:lnTo>
                  <a:lnTo>
                    <a:pt x="69" y="214"/>
                  </a:lnTo>
                  <a:close/>
                  <a:moveTo>
                    <a:pt x="155" y="211"/>
                  </a:moveTo>
                  <a:lnTo>
                    <a:pt x="155" y="214"/>
                  </a:lnTo>
                  <a:lnTo>
                    <a:pt x="157" y="212"/>
                  </a:lnTo>
                  <a:lnTo>
                    <a:pt x="157" y="214"/>
                  </a:lnTo>
                  <a:lnTo>
                    <a:pt x="158" y="215"/>
                  </a:lnTo>
                  <a:lnTo>
                    <a:pt x="154" y="215"/>
                  </a:lnTo>
                  <a:lnTo>
                    <a:pt x="152" y="214"/>
                  </a:lnTo>
                  <a:lnTo>
                    <a:pt x="154" y="214"/>
                  </a:lnTo>
                  <a:lnTo>
                    <a:pt x="154" y="212"/>
                  </a:lnTo>
                  <a:lnTo>
                    <a:pt x="155" y="211"/>
                  </a:lnTo>
                  <a:close/>
                  <a:moveTo>
                    <a:pt x="76" y="211"/>
                  </a:moveTo>
                  <a:lnTo>
                    <a:pt x="78" y="211"/>
                  </a:lnTo>
                  <a:lnTo>
                    <a:pt x="78" y="214"/>
                  </a:lnTo>
                  <a:lnTo>
                    <a:pt x="79" y="214"/>
                  </a:lnTo>
                  <a:lnTo>
                    <a:pt x="79" y="215"/>
                  </a:lnTo>
                  <a:lnTo>
                    <a:pt x="73" y="215"/>
                  </a:lnTo>
                  <a:lnTo>
                    <a:pt x="73" y="214"/>
                  </a:lnTo>
                  <a:lnTo>
                    <a:pt x="76" y="214"/>
                  </a:lnTo>
                  <a:lnTo>
                    <a:pt x="76" y="211"/>
                  </a:lnTo>
                  <a:close/>
                  <a:moveTo>
                    <a:pt x="66" y="211"/>
                  </a:moveTo>
                  <a:lnTo>
                    <a:pt x="67" y="211"/>
                  </a:lnTo>
                  <a:lnTo>
                    <a:pt x="67" y="214"/>
                  </a:lnTo>
                  <a:lnTo>
                    <a:pt x="63" y="214"/>
                  </a:lnTo>
                  <a:lnTo>
                    <a:pt x="64" y="212"/>
                  </a:lnTo>
                  <a:lnTo>
                    <a:pt x="66" y="212"/>
                  </a:lnTo>
                  <a:lnTo>
                    <a:pt x="66" y="211"/>
                  </a:lnTo>
                  <a:close/>
                  <a:moveTo>
                    <a:pt x="149" y="209"/>
                  </a:moveTo>
                  <a:lnTo>
                    <a:pt x="151" y="211"/>
                  </a:lnTo>
                  <a:lnTo>
                    <a:pt x="152" y="211"/>
                  </a:lnTo>
                  <a:lnTo>
                    <a:pt x="152" y="212"/>
                  </a:lnTo>
                  <a:lnTo>
                    <a:pt x="151" y="212"/>
                  </a:lnTo>
                  <a:lnTo>
                    <a:pt x="151" y="217"/>
                  </a:lnTo>
                  <a:lnTo>
                    <a:pt x="158" y="217"/>
                  </a:lnTo>
                  <a:lnTo>
                    <a:pt x="158" y="218"/>
                  </a:lnTo>
                  <a:lnTo>
                    <a:pt x="157" y="220"/>
                  </a:lnTo>
                  <a:lnTo>
                    <a:pt x="158" y="221"/>
                  </a:lnTo>
                  <a:lnTo>
                    <a:pt x="157" y="221"/>
                  </a:lnTo>
                  <a:lnTo>
                    <a:pt x="157" y="224"/>
                  </a:lnTo>
                  <a:lnTo>
                    <a:pt x="155" y="223"/>
                  </a:lnTo>
                  <a:lnTo>
                    <a:pt x="152" y="223"/>
                  </a:lnTo>
                  <a:lnTo>
                    <a:pt x="152" y="220"/>
                  </a:lnTo>
                  <a:lnTo>
                    <a:pt x="151" y="220"/>
                  </a:lnTo>
                  <a:lnTo>
                    <a:pt x="151" y="223"/>
                  </a:lnTo>
                  <a:lnTo>
                    <a:pt x="148" y="223"/>
                  </a:lnTo>
                  <a:lnTo>
                    <a:pt x="148" y="220"/>
                  </a:lnTo>
                  <a:lnTo>
                    <a:pt x="146" y="215"/>
                  </a:lnTo>
                  <a:lnTo>
                    <a:pt x="146" y="214"/>
                  </a:lnTo>
                  <a:lnTo>
                    <a:pt x="148" y="212"/>
                  </a:lnTo>
                  <a:lnTo>
                    <a:pt x="148" y="211"/>
                  </a:lnTo>
                  <a:lnTo>
                    <a:pt x="149" y="211"/>
                  </a:lnTo>
                  <a:lnTo>
                    <a:pt x="149" y="209"/>
                  </a:lnTo>
                  <a:close/>
                  <a:moveTo>
                    <a:pt x="187" y="205"/>
                  </a:moveTo>
                  <a:lnTo>
                    <a:pt x="188" y="205"/>
                  </a:lnTo>
                  <a:lnTo>
                    <a:pt x="188" y="212"/>
                  </a:lnTo>
                  <a:lnTo>
                    <a:pt x="187" y="214"/>
                  </a:lnTo>
                  <a:lnTo>
                    <a:pt x="188" y="214"/>
                  </a:lnTo>
                  <a:lnTo>
                    <a:pt x="188" y="218"/>
                  </a:lnTo>
                  <a:lnTo>
                    <a:pt x="187" y="218"/>
                  </a:lnTo>
                  <a:lnTo>
                    <a:pt x="187" y="217"/>
                  </a:lnTo>
                  <a:lnTo>
                    <a:pt x="185" y="218"/>
                  </a:lnTo>
                  <a:lnTo>
                    <a:pt x="185" y="221"/>
                  </a:lnTo>
                  <a:lnTo>
                    <a:pt x="182" y="223"/>
                  </a:lnTo>
                  <a:lnTo>
                    <a:pt x="181" y="223"/>
                  </a:lnTo>
                  <a:lnTo>
                    <a:pt x="182" y="221"/>
                  </a:lnTo>
                  <a:lnTo>
                    <a:pt x="182" y="220"/>
                  </a:lnTo>
                  <a:lnTo>
                    <a:pt x="181" y="220"/>
                  </a:lnTo>
                  <a:lnTo>
                    <a:pt x="181" y="218"/>
                  </a:lnTo>
                  <a:lnTo>
                    <a:pt x="182" y="218"/>
                  </a:lnTo>
                  <a:lnTo>
                    <a:pt x="182" y="215"/>
                  </a:lnTo>
                  <a:lnTo>
                    <a:pt x="181" y="217"/>
                  </a:lnTo>
                  <a:lnTo>
                    <a:pt x="178" y="217"/>
                  </a:lnTo>
                  <a:lnTo>
                    <a:pt x="178" y="215"/>
                  </a:lnTo>
                  <a:lnTo>
                    <a:pt x="176" y="214"/>
                  </a:lnTo>
                  <a:lnTo>
                    <a:pt x="178" y="214"/>
                  </a:lnTo>
                  <a:lnTo>
                    <a:pt x="178" y="212"/>
                  </a:lnTo>
                  <a:lnTo>
                    <a:pt x="184" y="212"/>
                  </a:lnTo>
                  <a:lnTo>
                    <a:pt x="182" y="211"/>
                  </a:lnTo>
                  <a:lnTo>
                    <a:pt x="182" y="209"/>
                  </a:lnTo>
                  <a:lnTo>
                    <a:pt x="184" y="209"/>
                  </a:lnTo>
                  <a:lnTo>
                    <a:pt x="187" y="208"/>
                  </a:lnTo>
                  <a:lnTo>
                    <a:pt x="185" y="206"/>
                  </a:lnTo>
                  <a:lnTo>
                    <a:pt x="187" y="205"/>
                  </a:lnTo>
                  <a:close/>
                  <a:moveTo>
                    <a:pt x="191" y="203"/>
                  </a:moveTo>
                  <a:lnTo>
                    <a:pt x="193" y="203"/>
                  </a:lnTo>
                  <a:lnTo>
                    <a:pt x="193" y="206"/>
                  </a:lnTo>
                  <a:lnTo>
                    <a:pt x="191" y="205"/>
                  </a:lnTo>
                  <a:lnTo>
                    <a:pt x="191" y="203"/>
                  </a:lnTo>
                  <a:close/>
                  <a:moveTo>
                    <a:pt x="73" y="203"/>
                  </a:moveTo>
                  <a:lnTo>
                    <a:pt x="75" y="203"/>
                  </a:lnTo>
                  <a:lnTo>
                    <a:pt x="75" y="205"/>
                  </a:lnTo>
                  <a:lnTo>
                    <a:pt x="73" y="205"/>
                  </a:lnTo>
                  <a:lnTo>
                    <a:pt x="73" y="203"/>
                  </a:lnTo>
                  <a:close/>
                  <a:moveTo>
                    <a:pt x="76" y="202"/>
                  </a:moveTo>
                  <a:lnTo>
                    <a:pt x="78" y="203"/>
                  </a:lnTo>
                  <a:lnTo>
                    <a:pt x="76" y="203"/>
                  </a:lnTo>
                  <a:lnTo>
                    <a:pt x="76" y="202"/>
                  </a:lnTo>
                  <a:close/>
                  <a:moveTo>
                    <a:pt x="70" y="200"/>
                  </a:moveTo>
                  <a:lnTo>
                    <a:pt x="72" y="200"/>
                  </a:lnTo>
                  <a:lnTo>
                    <a:pt x="72" y="202"/>
                  </a:lnTo>
                  <a:lnTo>
                    <a:pt x="73" y="200"/>
                  </a:lnTo>
                  <a:lnTo>
                    <a:pt x="73" y="203"/>
                  </a:lnTo>
                  <a:lnTo>
                    <a:pt x="72" y="203"/>
                  </a:lnTo>
                  <a:lnTo>
                    <a:pt x="72" y="205"/>
                  </a:lnTo>
                  <a:lnTo>
                    <a:pt x="69" y="205"/>
                  </a:lnTo>
                  <a:lnTo>
                    <a:pt x="69" y="203"/>
                  </a:lnTo>
                  <a:lnTo>
                    <a:pt x="70" y="203"/>
                  </a:lnTo>
                  <a:lnTo>
                    <a:pt x="70" y="200"/>
                  </a:lnTo>
                  <a:close/>
                  <a:moveTo>
                    <a:pt x="69" y="199"/>
                  </a:moveTo>
                  <a:lnTo>
                    <a:pt x="69" y="203"/>
                  </a:lnTo>
                  <a:lnTo>
                    <a:pt x="66" y="203"/>
                  </a:lnTo>
                  <a:lnTo>
                    <a:pt x="66" y="200"/>
                  </a:lnTo>
                  <a:lnTo>
                    <a:pt x="67" y="200"/>
                  </a:lnTo>
                  <a:lnTo>
                    <a:pt x="69" y="199"/>
                  </a:lnTo>
                  <a:close/>
                  <a:moveTo>
                    <a:pt x="78" y="193"/>
                  </a:moveTo>
                  <a:lnTo>
                    <a:pt x="79" y="193"/>
                  </a:lnTo>
                  <a:lnTo>
                    <a:pt x="78" y="194"/>
                  </a:lnTo>
                  <a:lnTo>
                    <a:pt x="78" y="193"/>
                  </a:lnTo>
                  <a:close/>
                  <a:moveTo>
                    <a:pt x="75" y="173"/>
                  </a:moveTo>
                  <a:lnTo>
                    <a:pt x="76" y="173"/>
                  </a:lnTo>
                  <a:lnTo>
                    <a:pt x="76" y="175"/>
                  </a:lnTo>
                  <a:lnTo>
                    <a:pt x="75" y="175"/>
                  </a:lnTo>
                  <a:lnTo>
                    <a:pt x="75" y="173"/>
                  </a:lnTo>
                  <a:close/>
                  <a:moveTo>
                    <a:pt x="76" y="172"/>
                  </a:moveTo>
                  <a:lnTo>
                    <a:pt x="78" y="172"/>
                  </a:lnTo>
                  <a:lnTo>
                    <a:pt x="76" y="173"/>
                  </a:lnTo>
                  <a:lnTo>
                    <a:pt x="76" y="172"/>
                  </a:lnTo>
                  <a:close/>
                  <a:moveTo>
                    <a:pt x="76" y="111"/>
                  </a:moveTo>
                  <a:lnTo>
                    <a:pt x="78" y="112"/>
                  </a:lnTo>
                  <a:lnTo>
                    <a:pt x="78" y="115"/>
                  </a:lnTo>
                  <a:lnTo>
                    <a:pt x="79" y="117"/>
                  </a:lnTo>
                  <a:lnTo>
                    <a:pt x="81" y="117"/>
                  </a:lnTo>
                  <a:lnTo>
                    <a:pt x="81" y="118"/>
                  </a:lnTo>
                  <a:lnTo>
                    <a:pt x="79" y="118"/>
                  </a:lnTo>
                  <a:lnTo>
                    <a:pt x="81" y="120"/>
                  </a:lnTo>
                  <a:lnTo>
                    <a:pt x="81" y="123"/>
                  </a:lnTo>
                  <a:lnTo>
                    <a:pt x="82" y="124"/>
                  </a:lnTo>
                  <a:lnTo>
                    <a:pt x="82" y="127"/>
                  </a:lnTo>
                  <a:lnTo>
                    <a:pt x="79" y="127"/>
                  </a:lnTo>
                  <a:lnTo>
                    <a:pt x="79" y="124"/>
                  </a:lnTo>
                  <a:lnTo>
                    <a:pt x="78" y="124"/>
                  </a:lnTo>
                  <a:lnTo>
                    <a:pt x="78" y="117"/>
                  </a:lnTo>
                  <a:lnTo>
                    <a:pt x="76" y="117"/>
                  </a:lnTo>
                  <a:lnTo>
                    <a:pt x="76" y="115"/>
                  </a:lnTo>
                  <a:lnTo>
                    <a:pt x="75" y="112"/>
                  </a:lnTo>
                  <a:lnTo>
                    <a:pt x="76" y="111"/>
                  </a:lnTo>
                  <a:close/>
                  <a:moveTo>
                    <a:pt x="72" y="100"/>
                  </a:moveTo>
                  <a:lnTo>
                    <a:pt x="73" y="100"/>
                  </a:lnTo>
                  <a:lnTo>
                    <a:pt x="73" y="102"/>
                  </a:lnTo>
                  <a:lnTo>
                    <a:pt x="72" y="102"/>
                  </a:lnTo>
                  <a:lnTo>
                    <a:pt x="72" y="100"/>
                  </a:lnTo>
                  <a:close/>
                  <a:moveTo>
                    <a:pt x="87" y="94"/>
                  </a:moveTo>
                  <a:lnTo>
                    <a:pt x="88" y="96"/>
                  </a:lnTo>
                  <a:lnTo>
                    <a:pt x="90" y="96"/>
                  </a:lnTo>
                  <a:lnTo>
                    <a:pt x="90" y="94"/>
                  </a:lnTo>
                  <a:lnTo>
                    <a:pt x="87" y="94"/>
                  </a:lnTo>
                  <a:close/>
                  <a:moveTo>
                    <a:pt x="102" y="84"/>
                  </a:moveTo>
                  <a:lnTo>
                    <a:pt x="102" y="85"/>
                  </a:lnTo>
                  <a:lnTo>
                    <a:pt x="103" y="85"/>
                  </a:lnTo>
                  <a:lnTo>
                    <a:pt x="103" y="84"/>
                  </a:lnTo>
                  <a:lnTo>
                    <a:pt x="102" y="84"/>
                  </a:lnTo>
                  <a:close/>
                  <a:moveTo>
                    <a:pt x="88" y="78"/>
                  </a:moveTo>
                  <a:lnTo>
                    <a:pt x="90" y="78"/>
                  </a:lnTo>
                  <a:lnTo>
                    <a:pt x="90" y="79"/>
                  </a:lnTo>
                  <a:lnTo>
                    <a:pt x="91" y="79"/>
                  </a:lnTo>
                  <a:lnTo>
                    <a:pt x="91" y="81"/>
                  </a:lnTo>
                  <a:lnTo>
                    <a:pt x="88" y="82"/>
                  </a:lnTo>
                  <a:lnTo>
                    <a:pt x="88" y="78"/>
                  </a:lnTo>
                  <a:close/>
                  <a:moveTo>
                    <a:pt x="84" y="78"/>
                  </a:moveTo>
                  <a:lnTo>
                    <a:pt x="85" y="78"/>
                  </a:lnTo>
                  <a:lnTo>
                    <a:pt x="85" y="81"/>
                  </a:lnTo>
                  <a:lnTo>
                    <a:pt x="82" y="81"/>
                  </a:lnTo>
                  <a:lnTo>
                    <a:pt x="82" y="79"/>
                  </a:lnTo>
                  <a:lnTo>
                    <a:pt x="84" y="78"/>
                  </a:lnTo>
                  <a:close/>
                  <a:moveTo>
                    <a:pt x="67" y="78"/>
                  </a:moveTo>
                  <a:lnTo>
                    <a:pt x="70" y="81"/>
                  </a:lnTo>
                  <a:lnTo>
                    <a:pt x="67" y="81"/>
                  </a:lnTo>
                  <a:lnTo>
                    <a:pt x="67" y="78"/>
                  </a:lnTo>
                  <a:close/>
                  <a:moveTo>
                    <a:pt x="284" y="63"/>
                  </a:moveTo>
                  <a:lnTo>
                    <a:pt x="288" y="63"/>
                  </a:lnTo>
                  <a:lnTo>
                    <a:pt x="288" y="66"/>
                  </a:lnTo>
                  <a:lnTo>
                    <a:pt x="287" y="67"/>
                  </a:lnTo>
                  <a:lnTo>
                    <a:pt x="284" y="67"/>
                  </a:lnTo>
                  <a:lnTo>
                    <a:pt x="284" y="63"/>
                  </a:lnTo>
                  <a:close/>
                  <a:moveTo>
                    <a:pt x="85" y="63"/>
                  </a:moveTo>
                  <a:lnTo>
                    <a:pt x="87" y="63"/>
                  </a:lnTo>
                  <a:lnTo>
                    <a:pt x="87" y="64"/>
                  </a:lnTo>
                  <a:lnTo>
                    <a:pt x="90" y="64"/>
                  </a:lnTo>
                  <a:lnTo>
                    <a:pt x="90" y="66"/>
                  </a:lnTo>
                  <a:lnTo>
                    <a:pt x="88" y="66"/>
                  </a:lnTo>
                  <a:lnTo>
                    <a:pt x="87" y="67"/>
                  </a:lnTo>
                  <a:lnTo>
                    <a:pt x="85" y="67"/>
                  </a:lnTo>
                  <a:lnTo>
                    <a:pt x="85" y="69"/>
                  </a:lnTo>
                  <a:lnTo>
                    <a:pt x="84" y="70"/>
                  </a:lnTo>
                  <a:lnTo>
                    <a:pt x="82" y="70"/>
                  </a:lnTo>
                  <a:lnTo>
                    <a:pt x="82" y="69"/>
                  </a:lnTo>
                  <a:lnTo>
                    <a:pt x="81" y="69"/>
                  </a:lnTo>
                  <a:lnTo>
                    <a:pt x="79" y="67"/>
                  </a:lnTo>
                  <a:lnTo>
                    <a:pt x="79" y="66"/>
                  </a:lnTo>
                  <a:lnTo>
                    <a:pt x="81" y="67"/>
                  </a:lnTo>
                  <a:lnTo>
                    <a:pt x="82" y="66"/>
                  </a:lnTo>
                  <a:lnTo>
                    <a:pt x="85" y="66"/>
                  </a:lnTo>
                  <a:lnTo>
                    <a:pt x="85" y="63"/>
                  </a:lnTo>
                  <a:close/>
                  <a:moveTo>
                    <a:pt x="48" y="55"/>
                  </a:moveTo>
                  <a:lnTo>
                    <a:pt x="49" y="55"/>
                  </a:lnTo>
                  <a:lnTo>
                    <a:pt x="49" y="57"/>
                  </a:lnTo>
                  <a:lnTo>
                    <a:pt x="48" y="55"/>
                  </a:lnTo>
                  <a:close/>
                  <a:moveTo>
                    <a:pt x="76" y="51"/>
                  </a:moveTo>
                  <a:lnTo>
                    <a:pt x="78" y="51"/>
                  </a:lnTo>
                  <a:lnTo>
                    <a:pt x="78" y="52"/>
                  </a:lnTo>
                  <a:lnTo>
                    <a:pt x="81" y="55"/>
                  </a:lnTo>
                  <a:lnTo>
                    <a:pt x="79" y="55"/>
                  </a:lnTo>
                  <a:lnTo>
                    <a:pt x="76" y="54"/>
                  </a:lnTo>
                  <a:lnTo>
                    <a:pt x="76" y="51"/>
                  </a:lnTo>
                  <a:close/>
                  <a:moveTo>
                    <a:pt x="82" y="46"/>
                  </a:moveTo>
                  <a:lnTo>
                    <a:pt x="84" y="46"/>
                  </a:lnTo>
                  <a:lnTo>
                    <a:pt x="84" y="48"/>
                  </a:lnTo>
                  <a:lnTo>
                    <a:pt x="85" y="48"/>
                  </a:lnTo>
                  <a:lnTo>
                    <a:pt x="87" y="49"/>
                  </a:lnTo>
                  <a:lnTo>
                    <a:pt x="87" y="57"/>
                  </a:lnTo>
                  <a:lnTo>
                    <a:pt x="88" y="57"/>
                  </a:lnTo>
                  <a:lnTo>
                    <a:pt x="87" y="58"/>
                  </a:lnTo>
                  <a:lnTo>
                    <a:pt x="87" y="60"/>
                  </a:lnTo>
                  <a:lnTo>
                    <a:pt x="85" y="60"/>
                  </a:lnTo>
                  <a:lnTo>
                    <a:pt x="85" y="58"/>
                  </a:lnTo>
                  <a:lnTo>
                    <a:pt x="84" y="58"/>
                  </a:lnTo>
                  <a:lnTo>
                    <a:pt x="82" y="60"/>
                  </a:lnTo>
                  <a:lnTo>
                    <a:pt x="79" y="57"/>
                  </a:lnTo>
                  <a:lnTo>
                    <a:pt x="82" y="57"/>
                  </a:lnTo>
                  <a:lnTo>
                    <a:pt x="82" y="55"/>
                  </a:lnTo>
                  <a:lnTo>
                    <a:pt x="79" y="52"/>
                  </a:lnTo>
                  <a:lnTo>
                    <a:pt x="79" y="49"/>
                  </a:lnTo>
                  <a:lnTo>
                    <a:pt x="82" y="46"/>
                  </a:lnTo>
                  <a:close/>
                  <a:moveTo>
                    <a:pt x="75" y="46"/>
                  </a:moveTo>
                  <a:lnTo>
                    <a:pt x="76" y="46"/>
                  </a:lnTo>
                  <a:lnTo>
                    <a:pt x="76" y="48"/>
                  </a:lnTo>
                  <a:lnTo>
                    <a:pt x="79" y="48"/>
                  </a:lnTo>
                  <a:lnTo>
                    <a:pt x="78" y="49"/>
                  </a:lnTo>
                  <a:lnTo>
                    <a:pt x="73" y="49"/>
                  </a:lnTo>
                  <a:lnTo>
                    <a:pt x="73" y="48"/>
                  </a:lnTo>
                  <a:lnTo>
                    <a:pt x="75" y="46"/>
                  </a:lnTo>
                  <a:close/>
                  <a:moveTo>
                    <a:pt x="3" y="45"/>
                  </a:moveTo>
                  <a:lnTo>
                    <a:pt x="4" y="45"/>
                  </a:lnTo>
                  <a:lnTo>
                    <a:pt x="4" y="48"/>
                  </a:lnTo>
                  <a:lnTo>
                    <a:pt x="3" y="48"/>
                  </a:lnTo>
                  <a:lnTo>
                    <a:pt x="1" y="46"/>
                  </a:lnTo>
                  <a:lnTo>
                    <a:pt x="3" y="46"/>
                  </a:lnTo>
                  <a:lnTo>
                    <a:pt x="3" y="45"/>
                  </a:lnTo>
                  <a:close/>
                  <a:moveTo>
                    <a:pt x="0" y="37"/>
                  </a:moveTo>
                  <a:lnTo>
                    <a:pt x="6" y="37"/>
                  </a:lnTo>
                  <a:lnTo>
                    <a:pt x="6" y="39"/>
                  </a:lnTo>
                  <a:lnTo>
                    <a:pt x="3" y="39"/>
                  </a:lnTo>
                  <a:lnTo>
                    <a:pt x="3" y="40"/>
                  </a:lnTo>
                  <a:lnTo>
                    <a:pt x="1" y="40"/>
                  </a:lnTo>
                  <a:lnTo>
                    <a:pt x="0" y="39"/>
                  </a:lnTo>
                  <a:lnTo>
                    <a:pt x="0" y="37"/>
                  </a:lnTo>
                  <a:close/>
                  <a:moveTo>
                    <a:pt x="172" y="0"/>
                  </a:moveTo>
                  <a:lnTo>
                    <a:pt x="173" y="3"/>
                  </a:lnTo>
                  <a:lnTo>
                    <a:pt x="175" y="7"/>
                  </a:lnTo>
                  <a:lnTo>
                    <a:pt x="175" y="9"/>
                  </a:lnTo>
                  <a:lnTo>
                    <a:pt x="176" y="12"/>
                  </a:lnTo>
                  <a:lnTo>
                    <a:pt x="181" y="19"/>
                  </a:lnTo>
                  <a:lnTo>
                    <a:pt x="184" y="28"/>
                  </a:lnTo>
                  <a:lnTo>
                    <a:pt x="185" y="31"/>
                  </a:lnTo>
                  <a:lnTo>
                    <a:pt x="187" y="33"/>
                  </a:lnTo>
                  <a:lnTo>
                    <a:pt x="194" y="43"/>
                  </a:lnTo>
                  <a:lnTo>
                    <a:pt x="197" y="48"/>
                  </a:lnTo>
                  <a:lnTo>
                    <a:pt x="202" y="52"/>
                  </a:lnTo>
                  <a:lnTo>
                    <a:pt x="203" y="55"/>
                  </a:lnTo>
                  <a:lnTo>
                    <a:pt x="203" y="58"/>
                  </a:lnTo>
                  <a:lnTo>
                    <a:pt x="206" y="60"/>
                  </a:lnTo>
                  <a:lnTo>
                    <a:pt x="208" y="64"/>
                  </a:lnTo>
                  <a:lnTo>
                    <a:pt x="208" y="66"/>
                  </a:lnTo>
                  <a:lnTo>
                    <a:pt x="209" y="66"/>
                  </a:lnTo>
                  <a:lnTo>
                    <a:pt x="209" y="67"/>
                  </a:lnTo>
                  <a:lnTo>
                    <a:pt x="211" y="70"/>
                  </a:lnTo>
                  <a:lnTo>
                    <a:pt x="214" y="73"/>
                  </a:lnTo>
                  <a:lnTo>
                    <a:pt x="214" y="75"/>
                  </a:lnTo>
                  <a:lnTo>
                    <a:pt x="215" y="78"/>
                  </a:lnTo>
                  <a:lnTo>
                    <a:pt x="217" y="79"/>
                  </a:lnTo>
                  <a:lnTo>
                    <a:pt x="217" y="84"/>
                  </a:lnTo>
                  <a:lnTo>
                    <a:pt x="220" y="90"/>
                  </a:lnTo>
                  <a:lnTo>
                    <a:pt x="220" y="100"/>
                  </a:lnTo>
                  <a:lnTo>
                    <a:pt x="221" y="102"/>
                  </a:lnTo>
                  <a:lnTo>
                    <a:pt x="223" y="106"/>
                  </a:lnTo>
                  <a:lnTo>
                    <a:pt x="223" y="109"/>
                  </a:lnTo>
                  <a:lnTo>
                    <a:pt x="221" y="111"/>
                  </a:lnTo>
                  <a:lnTo>
                    <a:pt x="221" y="114"/>
                  </a:lnTo>
                  <a:lnTo>
                    <a:pt x="220" y="115"/>
                  </a:lnTo>
                  <a:lnTo>
                    <a:pt x="220" y="118"/>
                  </a:lnTo>
                  <a:lnTo>
                    <a:pt x="221" y="120"/>
                  </a:lnTo>
                  <a:lnTo>
                    <a:pt x="221" y="129"/>
                  </a:lnTo>
                  <a:lnTo>
                    <a:pt x="218" y="132"/>
                  </a:lnTo>
                  <a:lnTo>
                    <a:pt x="218" y="141"/>
                  </a:lnTo>
                  <a:lnTo>
                    <a:pt x="220" y="141"/>
                  </a:lnTo>
                  <a:lnTo>
                    <a:pt x="220" y="147"/>
                  </a:lnTo>
                  <a:lnTo>
                    <a:pt x="218" y="147"/>
                  </a:lnTo>
                  <a:lnTo>
                    <a:pt x="218" y="148"/>
                  </a:lnTo>
                  <a:lnTo>
                    <a:pt x="220" y="149"/>
                  </a:lnTo>
                  <a:lnTo>
                    <a:pt x="220" y="151"/>
                  </a:lnTo>
                  <a:lnTo>
                    <a:pt x="221" y="151"/>
                  </a:lnTo>
                  <a:lnTo>
                    <a:pt x="226" y="147"/>
                  </a:lnTo>
                  <a:lnTo>
                    <a:pt x="227" y="147"/>
                  </a:lnTo>
                  <a:lnTo>
                    <a:pt x="227" y="151"/>
                  </a:lnTo>
                  <a:lnTo>
                    <a:pt x="226" y="154"/>
                  </a:lnTo>
                  <a:lnTo>
                    <a:pt x="226" y="155"/>
                  </a:lnTo>
                  <a:lnTo>
                    <a:pt x="224" y="160"/>
                  </a:lnTo>
                  <a:lnTo>
                    <a:pt x="223" y="163"/>
                  </a:lnTo>
                  <a:lnTo>
                    <a:pt x="223" y="169"/>
                  </a:lnTo>
                  <a:lnTo>
                    <a:pt x="221" y="170"/>
                  </a:lnTo>
                  <a:lnTo>
                    <a:pt x="221" y="172"/>
                  </a:lnTo>
                  <a:lnTo>
                    <a:pt x="223" y="173"/>
                  </a:lnTo>
                  <a:lnTo>
                    <a:pt x="221" y="175"/>
                  </a:lnTo>
                  <a:lnTo>
                    <a:pt x="221" y="179"/>
                  </a:lnTo>
                  <a:lnTo>
                    <a:pt x="220" y="179"/>
                  </a:lnTo>
                  <a:lnTo>
                    <a:pt x="218" y="178"/>
                  </a:lnTo>
                  <a:lnTo>
                    <a:pt x="218" y="176"/>
                  </a:lnTo>
                  <a:lnTo>
                    <a:pt x="217" y="178"/>
                  </a:lnTo>
                  <a:lnTo>
                    <a:pt x="218" y="178"/>
                  </a:lnTo>
                  <a:lnTo>
                    <a:pt x="218" y="181"/>
                  </a:lnTo>
                  <a:lnTo>
                    <a:pt x="217" y="181"/>
                  </a:lnTo>
                  <a:lnTo>
                    <a:pt x="217" y="187"/>
                  </a:lnTo>
                  <a:lnTo>
                    <a:pt x="215" y="188"/>
                  </a:lnTo>
                  <a:lnTo>
                    <a:pt x="212" y="188"/>
                  </a:lnTo>
                  <a:lnTo>
                    <a:pt x="212" y="194"/>
                  </a:lnTo>
                  <a:lnTo>
                    <a:pt x="209" y="197"/>
                  </a:lnTo>
                  <a:lnTo>
                    <a:pt x="208" y="197"/>
                  </a:lnTo>
                  <a:lnTo>
                    <a:pt x="206" y="199"/>
                  </a:lnTo>
                  <a:lnTo>
                    <a:pt x="206" y="200"/>
                  </a:lnTo>
                  <a:lnTo>
                    <a:pt x="205" y="202"/>
                  </a:lnTo>
                  <a:lnTo>
                    <a:pt x="205" y="200"/>
                  </a:lnTo>
                  <a:lnTo>
                    <a:pt x="203" y="200"/>
                  </a:lnTo>
                  <a:lnTo>
                    <a:pt x="202" y="202"/>
                  </a:lnTo>
                  <a:lnTo>
                    <a:pt x="202" y="203"/>
                  </a:lnTo>
                  <a:lnTo>
                    <a:pt x="199" y="203"/>
                  </a:lnTo>
                  <a:lnTo>
                    <a:pt x="199" y="200"/>
                  </a:lnTo>
                  <a:lnTo>
                    <a:pt x="197" y="202"/>
                  </a:lnTo>
                  <a:lnTo>
                    <a:pt x="191" y="202"/>
                  </a:lnTo>
                  <a:lnTo>
                    <a:pt x="191" y="200"/>
                  </a:lnTo>
                  <a:lnTo>
                    <a:pt x="190" y="200"/>
                  </a:lnTo>
                  <a:lnTo>
                    <a:pt x="190" y="202"/>
                  </a:lnTo>
                  <a:lnTo>
                    <a:pt x="188" y="202"/>
                  </a:lnTo>
                  <a:lnTo>
                    <a:pt x="188" y="200"/>
                  </a:lnTo>
                  <a:lnTo>
                    <a:pt x="187" y="200"/>
                  </a:lnTo>
                  <a:lnTo>
                    <a:pt x="187" y="199"/>
                  </a:lnTo>
                  <a:lnTo>
                    <a:pt x="185" y="199"/>
                  </a:lnTo>
                  <a:lnTo>
                    <a:pt x="185" y="200"/>
                  </a:lnTo>
                  <a:lnTo>
                    <a:pt x="184" y="199"/>
                  </a:lnTo>
                  <a:lnTo>
                    <a:pt x="182" y="199"/>
                  </a:lnTo>
                  <a:lnTo>
                    <a:pt x="184" y="197"/>
                  </a:lnTo>
                  <a:lnTo>
                    <a:pt x="182" y="197"/>
                  </a:lnTo>
                  <a:lnTo>
                    <a:pt x="182" y="196"/>
                  </a:lnTo>
                  <a:lnTo>
                    <a:pt x="181" y="196"/>
                  </a:lnTo>
                  <a:lnTo>
                    <a:pt x="181" y="197"/>
                  </a:lnTo>
                  <a:lnTo>
                    <a:pt x="182" y="197"/>
                  </a:lnTo>
                  <a:lnTo>
                    <a:pt x="182" y="200"/>
                  </a:lnTo>
                  <a:lnTo>
                    <a:pt x="184" y="202"/>
                  </a:lnTo>
                  <a:lnTo>
                    <a:pt x="184" y="203"/>
                  </a:lnTo>
                  <a:lnTo>
                    <a:pt x="182" y="203"/>
                  </a:lnTo>
                  <a:lnTo>
                    <a:pt x="182" y="202"/>
                  </a:lnTo>
                  <a:lnTo>
                    <a:pt x="181" y="202"/>
                  </a:lnTo>
                  <a:lnTo>
                    <a:pt x="179" y="200"/>
                  </a:lnTo>
                  <a:lnTo>
                    <a:pt x="178" y="200"/>
                  </a:lnTo>
                  <a:lnTo>
                    <a:pt x="176" y="202"/>
                  </a:lnTo>
                  <a:lnTo>
                    <a:pt x="176" y="203"/>
                  </a:lnTo>
                  <a:lnTo>
                    <a:pt x="172" y="203"/>
                  </a:lnTo>
                  <a:lnTo>
                    <a:pt x="172" y="206"/>
                  </a:lnTo>
                  <a:lnTo>
                    <a:pt x="176" y="203"/>
                  </a:lnTo>
                  <a:lnTo>
                    <a:pt x="178" y="205"/>
                  </a:lnTo>
                  <a:lnTo>
                    <a:pt x="178" y="206"/>
                  </a:lnTo>
                  <a:lnTo>
                    <a:pt x="176" y="208"/>
                  </a:lnTo>
                  <a:lnTo>
                    <a:pt x="175" y="208"/>
                  </a:lnTo>
                  <a:lnTo>
                    <a:pt x="175" y="212"/>
                  </a:lnTo>
                  <a:lnTo>
                    <a:pt x="176" y="212"/>
                  </a:lnTo>
                  <a:lnTo>
                    <a:pt x="176" y="214"/>
                  </a:lnTo>
                  <a:lnTo>
                    <a:pt x="175" y="215"/>
                  </a:lnTo>
                  <a:lnTo>
                    <a:pt x="173" y="215"/>
                  </a:lnTo>
                  <a:lnTo>
                    <a:pt x="173" y="214"/>
                  </a:lnTo>
                  <a:lnTo>
                    <a:pt x="170" y="214"/>
                  </a:lnTo>
                  <a:lnTo>
                    <a:pt x="170" y="209"/>
                  </a:lnTo>
                  <a:lnTo>
                    <a:pt x="169" y="211"/>
                  </a:lnTo>
                  <a:lnTo>
                    <a:pt x="169" y="212"/>
                  </a:lnTo>
                  <a:lnTo>
                    <a:pt x="167" y="212"/>
                  </a:lnTo>
                  <a:lnTo>
                    <a:pt x="166" y="211"/>
                  </a:lnTo>
                  <a:lnTo>
                    <a:pt x="164" y="211"/>
                  </a:lnTo>
                  <a:lnTo>
                    <a:pt x="164" y="212"/>
                  </a:lnTo>
                  <a:lnTo>
                    <a:pt x="160" y="212"/>
                  </a:lnTo>
                  <a:lnTo>
                    <a:pt x="160" y="211"/>
                  </a:lnTo>
                  <a:lnTo>
                    <a:pt x="157" y="211"/>
                  </a:lnTo>
                  <a:lnTo>
                    <a:pt x="157" y="203"/>
                  </a:lnTo>
                  <a:lnTo>
                    <a:pt x="158" y="203"/>
                  </a:lnTo>
                  <a:lnTo>
                    <a:pt x="158" y="202"/>
                  </a:lnTo>
                  <a:lnTo>
                    <a:pt x="155" y="205"/>
                  </a:lnTo>
                  <a:lnTo>
                    <a:pt x="155" y="208"/>
                  </a:lnTo>
                  <a:lnTo>
                    <a:pt x="152" y="208"/>
                  </a:lnTo>
                  <a:lnTo>
                    <a:pt x="152" y="206"/>
                  </a:lnTo>
                  <a:lnTo>
                    <a:pt x="151" y="205"/>
                  </a:lnTo>
                  <a:lnTo>
                    <a:pt x="151" y="209"/>
                  </a:lnTo>
                  <a:lnTo>
                    <a:pt x="142" y="209"/>
                  </a:lnTo>
                  <a:lnTo>
                    <a:pt x="139" y="212"/>
                  </a:lnTo>
                  <a:lnTo>
                    <a:pt x="137" y="212"/>
                  </a:lnTo>
                  <a:lnTo>
                    <a:pt x="136" y="209"/>
                  </a:lnTo>
                  <a:lnTo>
                    <a:pt x="136" y="211"/>
                  </a:lnTo>
                  <a:lnTo>
                    <a:pt x="134" y="211"/>
                  </a:lnTo>
                  <a:lnTo>
                    <a:pt x="134" y="212"/>
                  </a:lnTo>
                  <a:lnTo>
                    <a:pt x="136" y="214"/>
                  </a:lnTo>
                  <a:lnTo>
                    <a:pt x="136" y="215"/>
                  </a:lnTo>
                  <a:lnTo>
                    <a:pt x="137" y="215"/>
                  </a:lnTo>
                  <a:lnTo>
                    <a:pt x="137" y="217"/>
                  </a:lnTo>
                  <a:lnTo>
                    <a:pt x="139" y="217"/>
                  </a:lnTo>
                  <a:lnTo>
                    <a:pt x="140" y="215"/>
                  </a:lnTo>
                  <a:lnTo>
                    <a:pt x="145" y="215"/>
                  </a:lnTo>
                  <a:lnTo>
                    <a:pt x="145" y="217"/>
                  </a:lnTo>
                  <a:lnTo>
                    <a:pt x="143" y="217"/>
                  </a:lnTo>
                  <a:lnTo>
                    <a:pt x="143" y="221"/>
                  </a:lnTo>
                  <a:lnTo>
                    <a:pt x="140" y="223"/>
                  </a:lnTo>
                  <a:lnTo>
                    <a:pt x="140" y="221"/>
                  </a:lnTo>
                  <a:lnTo>
                    <a:pt x="139" y="221"/>
                  </a:lnTo>
                  <a:lnTo>
                    <a:pt x="137" y="223"/>
                  </a:lnTo>
                  <a:lnTo>
                    <a:pt x="137" y="224"/>
                  </a:lnTo>
                  <a:lnTo>
                    <a:pt x="139" y="227"/>
                  </a:lnTo>
                  <a:lnTo>
                    <a:pt x="136" y="227"/>
                  </a:lnTo>
                  <a:lnTo>
                    <a:pt x="134" y="226"/>
                  </a:lnTo>
                  <a:lnTo>
                    <a:pt x="134" y="221"/>
                  </a:lnTo>
                  <a:lnTo>
                    <a:pt x="136" y="221"/>
                  </a:lnTo>
                  <a:lnTo>
                    <a:pt x="136" y="220"/>
                  </a:lnTo>
                  <a:lnTo>
                    <a:pt x="134" y="220"/>
                  </a:lnTo>
                  <a:lnTo>
                    <a:pt x="134" y="218"/>
                  </a:lnTo>
                  <a:lnTo>
                    <a:pt x="133" y="218"/>
                  </a:lnTo>
                  <a:lnTo>
                    <a:pt x="133" y="212"/>
                  </a:lnTo>
                  <a:lnTo>
                    <a:pt x="131" y="214"/>
                  </a:lnTo>
                  <a:lnTo>
                    <a:pt x="131" y="215"/>
                  </a:lnTo>
                  <a:lnTo>
                    <a:pt x="130" y="215"/>
                  </a:lnTo>
                  <a:lnTo>
                    <a:pt x="128" y="217"/>
                  </a:lnTo>
                  <a:lnTo>
                    <a:pt x="127" y="217"/>
                  </a:lnTo>
                  <a:lnTo>
                    <a:pt x="128" y="218"/>
                  </a:lnTo>
                  <a:lnTo>
                    <a:pt x="127" y="218"/>
                  </a:lnTo>
                  <a:lnTo>
                    <a:pt x="125" y="220"/>
                  </a:lnTo>
                  <a:lnTo>
                    <a:pt x="127" y="220"/>
                  </a:lnTo>
                  <a:lnTo>
                    <a:pt x="127" y="223"/>
                  </a:lnTo>
                  <a:lnTo>
                    <a:pt x="131" y="227"/>
                  </a:lnTo>
                  <a:lnTo>
                    <a:pt x="131" y="230"/>
                  </a:lnTo>
                  <a:lnTo>
                    <a:pt x="130" y="230"/>
                  </a:lnTo>
                  <a:lnTo>
                    <a:pt x="127" y="229"/>
                  </a:lnTo>
                  <a:lnTo>
                    <a:pt x="125" y="229"/>
                  </a:lnTo>
                  <a:lnTo>
                    <a:pt x="125" y="230"/>
                  </a:lnTo>
                  <a:lnTo>
                    <a:pt x="124" y="230"/>
                  </a:lnTo>
                  <a:lnTo>
                    <a:pt x="125" y="232"/>
                  </a:lnTo>
                  <a:lnTo>
                    <a:pt x="128" y="232"/>
                  </a:lnTo>
                  <a:lnTo>
                    <a:pt x="127" y="235"/>
                  </a:lnTo>
                  <a:lnTo>
                    <a:pt x="125" y="235"/>
                  </a:lnTo>
                  <a:lnTo>
                    <a:pt x="124" y="236"/>
                  </a:lnTo>
                  <a:lnTo>
                    <a:pt x="124" y="238"/>
                  </a:lnTo>
                  <a:lnTo>
                    <a:pt x="122" y="238"/>
                  </a:lnTo>
                  <a:lnTo>
                    <a:pt x="121" y="235"/>
                  </a:lnTo>
                  <a:lnTo>
                    <a:pt x="121" y="233"/>
                  </a:lnTo>
                  <a:lnTo>
                    <a:pt x="119" y="232"/>
                  </a:lnTo>
                  <a:lnTo>
                    <a:pt x="118" y="232"/>
                  </a:lnTo>
                  <a:lnTo>
                    <a:pt x="116" y="233"/>
                  </a:lnTo>
                  <a:lnTo>
                    <a:pt x="115" y="233"/>
                  </a:lnTo>
                  <a:lnTo>
                    <a:pt x="115" y="230"/>
                  </a:lnTo>
                  <a:lnTo>
                    <a:pt x="116" y="230"/>
                  </a:lnTo>
                  <a:lnTo>
                    <a:pt x="116" y="229"/>
                  </a:lnTo>
                  <a:lnTo>
                    <a:pt x="118" y="227"/>
                  </a:lnTo>
                  <a:lnTo>
                    <a:pt x="118" y="230"/>
                  </a:lnTo>
                  <a:lnTo>
                    <a:pt x="119" y="230"/>
                  </a:lnTo>
                  <a:lnTo>
                    <a:pt x="121" y="229"/>
                  </a:lnTo>
                  <a:lnTo>
                    <a:pt x="121" y="227"/>
                  </a:lnTo>
                  <a:lnTo>
                    <a:pt x="119" y="226"/>
                  </a:lnTo>
                  <a:lnTo>
                    <a:pt x="119" y="224"/>
                  </a:lnTo>
                  <a:lnTo>
                    <a:pt x="121" y="223"/>
                  </a:lnTo>
                  <a:lnTo>
                    <a:pt x="122" y="223"/>
                  </a:lnTo>
                  <a:lnTo>
                    <a:pt x="122" y="226"/>
                  </a:lnTo>
                  <a:lnTo>
                    <a:pt x="124" y="226"/>
                  </a:lnTo>
                  <a:lnTo>
                    <a:pt x="125" y="224"/>
                  </a:lnTo>
                  <a:lnTo>
                    <a:pt x="125" y="223"/>
                  </a:lnTo>
                  <a:lnTo>
                    <a:pt x="124" y="223"/>
                  </a:lnTo>
                  <a:lnTo>
                    <a:pt x="124" y="221"/>
                  </a:lnTo>
                  <a:lnTo>
                    <a:pt x="122" y="221"/>
                  </a:lnTo>
                  <a:lnTo>
                    <a:pt x="122" y="223"/>
                  </a:lnTo>
                  <a:lnTo>
                    <a:pt x="119" y="220"/>
                  </a:lnTo>
                  <a:lnTo>
                    <a:pt x="119" y="221"/>
                  </a:lnTo>
                  <a:lnTo>
                    <a:pt x="118" y="223"/>
                  </a:lnTo>
                  <a:lnTo>
                    <a:pt x="118" y="224"/>
                  </a:lnTo>
                  <a:lnTo>
                    <a:pt x="115" y="224"/>
                  </a:lnTo>
                  <a:lnTo>
                    <a:pt x="112" y="227"/>
                  </a:lnTo>
                  <a:lnTo>
                    <a:pt x="110" y="227"/>
                  </a:lnTo>
                  <a:lnTo>
                    <a:pt x="109" y="229"/>
                  </a:lnTo>
                  <a:lnTo>
                    <a:pt x="109" y="230"/>
                  </a:lnTo>
                  <a:lnTo>
                    <a:pt x="107" y="232"/>
                  </a:lnTo>
                  <a:lnTo>
                    <a:pt x="109" y="232"/>
                  </a:lnTo>
                  <a:lnTo>
                    <a:pt x="106" y="235"/>
                  </a:lnTo>
                  <a:lnTo>
                    <a:pt x="106" y="238"/>
                  </a:lnTo>
                  <a:lnTo>
                    <a:pt x="104" y="236"/>
                  </a:lnTo>
                  <a:lnTo>
                    <a:pt x="104" y="239"/>
                  </a:lnTo>
                  <a:lnTo>
                    <a:pt x="103" y="239"/>
                  </a:lnTo>
                  <a:lnTo>
                    <a:pt x="102" y="238"/>
                  </a:lnTo>
                  <a:lnTo>
                    <a:pt x="102" y="239"/>
                  </a:lnTo>
                  <a:lnTo>
                    <a:pt x="103" y="241"/>
                  </a:lnTo>
                  <a:lnTo>
                    <a:pt x="97" y="241"/>
                  </a:lnTo>
                  <a:lnTo>
                    <a:pt x="100" y="238"/>
                  </a:lnTo>
                  <a:lnTo>
                    <a:pt x="100" y="230"/>
                  </a:lnTo>
                  <a:lnTo>
                    <a:pt x="97" y="230"/>
                  </a:lnTo>
                  <a:lnTo>
                    <a:pt x="97" y="232"/>
                  </a:lnTo>
                  <a:lnTo>
                    <a:pt x="99" y="233"/>
                  </a:lnTo>
                  <a:lnTo>
                    <a:pt x="97" y="233"/>
                  </a:lnTo>
                  <a:lnTo>
                    <a:pt x="97" y="236"/>
                  </a:lnTo>
                  <a:lnTo>
                    <a:pt x="96" y="236"/>
                  </a:lnTo>
                  <a:lnTo>
                    <a:pt x="96" y="238"/>
                  </a:lnTo>
                  <a:lnTo>
                    <a:pt x="94" y="238"/>
                  </a:lnTo>
                  <a:lnTo>
                    <a:pt x="94" y="239"/>
                  </a:lnTo>
                  <a:lnTo>
                    <a:pt x="93" y="239"/>
                  </a:lnTo>
                  <a:lnTo>
                    <a:pt x="93" y="241"/>
                  </a:lnTo>
                  <a:lnTo>
                    <a:pt x="91" y="241"/>
                  </a:lnTo>
                  <a:lnTo>
                    <a:pt x="91" y="245"/>
                  </a:lnTo>
                  <a:lnTo>
                    <a:pt x="90" y="245"/>
                  </a:lnTo>
                  <a:lnTo>
                    <a:pt x="87" y="247"/>
                  </a:lnTo>
                  <a:lnTo>
                    <a:pt x="87" y="242"/>
                  </a:lnTo>
                  <a:lnTo>
                    <a:pt x="85" y="242"/>
                  </a:lnTo>
                  <a:lnTo>
                    <a:pt x="85" y="241"/>
                  </a:lnTo>
                  <a:lnTo>
                    <a:pt x="87" y="239"/>
                  </a:lnTo>
                  <a:lnTo>
                    <a:pt x="87" y="238"/>
                  </a:lnTo>
                  <a:lnTo>
                    <a:pt x="85" y="238"/>
                  </a:lnTo>
                  <a:lnTo>
                    <a:pt x="85" y="236"/>
                  </a:lnTo>
                  <a:lnTo>
                    <a:pt x="84" y="236"/>
                  </a:lnTo>
                  <a:lnTo>
                    <a:pt x="87" y="233"/>
                  </a:lnTo>
                  <a:lnTo>
                    <a:pt x="87" y="232"/>
                  </a:lnTo>
                  <a:lnTo>
                    <a:pt x="88" y="232"/>
                  </a:lnTo>
                  <a:lnTo>
                    <a:pt x="88" y="230"/>
                  </a:lnTo>
                  <a:lnTo>
                    <a:pt x="87" y="230"/>
                  </a:lnTo>
                  <a:lnTo>
                    <a:pt x="87" y="232"/>
                  </a:lnTo>
                  <a:lnTo>
                    <a:pt x="82" y="232"/>
                  </a:lnTo>
                  <a:lnTo>
                    <a:pt x="81" y="233"/>
                  </a:lnTo>
                  <a:lnTo>
                    <a:pt x="81" y="232"/>
                  </a:lnTo>
                  <a:lnTo>
                    <a:pt x="79" y="230"/>
                  </a:lnTo>
                  <a:lnTo>
                    <a:pt x="76" y="230"/>
                  </a:lnTo>
                  <a:lnTo>
                    <a:pt x="76" y="229"/>
                  </a:lnTo>
                  <a:lnTo>
                    <a:pt x="78" y="229"/>
                  </a:lnTo>
                  <a:lnTo>
                    <a:pt x="78" y="227"/>
                  </a:lnTo>
                  <a:lnTo>
                    <a:pt x="75" y="227"/>
                  </a:lnTo>
                  <a:lnTo>
                    <a:pt x="75" y="224"/>
                  </a:lnTo>
                  <a:lnTo>
                    <a:pt x="76" y="223"/>
                  </a:lnTo>
                  <a:lnTo>
                    <a:pt x="76" y="220"/>
                  </a:lnTo>
                  <a:lnTo>
                    <a:pt x="78" y="220"/>
                  </a:lnTo>
                  <a:lnTo>
                    <a:pt x="78" y="221"/>
                  </a:lnTo>
                  <a:lnTo>
                    <a:pt x="79" y="223"/>
                  </a:lnTo>
                  <a:lnTo>
                    <a:pt x="79" y="229"/>
                  </a:lnTo>
                  <a:lnTo>
                    <a:pt x="82" y="229"/>
                  </a:lnTo>
                  <a:lnTo>
                    <a:pt x="84" y="230"/>
                  </a:lnTo>
                  <a:lnTo>
                    <a:pt x="85" y="229"/>
                  </a:lnTo>
                  <a:lnTo>
                    <a:pt x="82" y="229"/>
                  </a:lnTo>
                  <a:lnTo>
                    <a:pt x="82" y="226"/>
                  </a:lnTo>
                  <a:lnTo>
                    <a:pt x="81" y="226"/>
                  </a:lnTo>
                  <a:lnTo>
                    <a:pt x="81" y="223"/>
                  </a:lnTo>
                  <a:lnTo>
                    <a:pt x="84" y="223"/>
                  </a:lnTo>
                  <a:lnTo>
                    <a:pt x="84" y="226"/>
                  </a:lnTo>
                  <a:lnTo>
                    <a:pt x="85" y="226"/>
                  </a:lnTo>
                  <a:lnTo>
                    <a:pt x="87" y="227"/>
                  </a:lnTo>
                  <a:lnTo>
                    <a:pt x="88" y="227"/>
                  </a:lnTo>
                  <a:lnTo>
                    <a:pt x="87" y="226"/>
                  </a:lnTo>
                  <a:lnTo>
                    <a:pt x="88" y="226"/>
                  </a:lnTo>
                  <a:lnTo>
                    <a:pt x="88" y="224"/>
                  </a:lnTo>
                  <a:lnTo>
                    <a:pt x="85" y="221"/>
                  </a:lnTo>
                  <a:lnTo>
                    <a:pt x="79" y="221"/>
                  </a:lnTo>
                  <a:lnTo>
                    <a:pt x="81" y="220"/>
                  </a:lnTo>
                  <a:lnTo>
                    <a:pt x="82" y="220"/>
                  </a:lnTo>
                  <a:lnTo>
                    <a:pt x="84" y="218"/>
                  </a:lnTo>
                  <a:lnTo>
                    <a:pt x="87" y="221"/>
                  </a:lnTo>
                  <a:lnTo>
                    <a:pt x="88" y="221"/>
                  </a:lnTo>
                  <a:lnTo>
                    <a:pt x="87" y="220"/>
                  </a:lnTo>
                  <a:lnTo>
                    <a:pt x="87" y="218"/>
                  </a:lnTo>
                  <a:lnTo>
                    <a:pt x="91" y="218"/>
                  </a:lnTo>
                  <a:lnTo>
                    <a:pt x="93" y="217"/>
                  </a:lnTo>
                  <a:lnTo>
                    <a:pt x="90" y="217"/>
                  </a:lnTo>
                  <a:lnTo>
                    <a:pt x="90" y="212"/>
                  </a:lnTo>
                  <a:lnTo>
                    <a:pt x="88" y="212"/>
                  </a:lnTo>
                  <a:lnTo>
                    <a:pt x="88" y="217"/>
                  </a:lnTo>
                  <a:lnTo>
                    <a:pt x="87" y="218"/>
                  </a:lnTo>
                  <a:lnTo>
                    <a:pt x="84" y="218"/>
                  </a:lnTo>
                  <a:lnTo>
                    <a:pt x="82" y="217"/>
                  </a:lnTo>
                  <a:lnTo>
                    <a:pt x="82" y="218"/>
                  </a:lnTo>
                  <a:lnTo>
                    <a:pt x="79" y="218"/>
                  </a:lnTo>
                  <a:lnTo>
                    <a:pt x="82" y="215"/>
                  </a:lnTo>
                  <a:lnTo>
                    <a:pt x="82" y="212"/>
                  </a:lnTo>
                  <a:lnTo>
                    <a:pt x="81" y="211"/>
                  </a:lnTo>
                  <a:lnTo>
                    <a:pt x="78" y="211"/>
                  </a:lnTo>
                  <a:lnTo>
                    <a:pt x="78" y="209"/>
                  </a:lnTo>
                  <a:lnTo>
                    <a:pt x="76" y="208"/>
                  </a:lnTo>
                  <a:lnTo>
                    <a:pt x="79" y="208"/>
                  </a:lnTo>
                  <a:lnTo>
                    <a:pt x="81" y="209"/>
                  </a:lnTo>
                  <a:lnTo>
                    <a:pt x="82" y="209"/>
                  </a:lnTo>
                  <a:lnTo>
                    <a:pt x="82" y="208"/>
                  </a:lnTo>
                  <a:lnTo>
                    <a:pt x="79" y="208"/>
                  </a:lnTo>
                  <a:lnTo>
                    <a:pt x="79" y="206"/>
                  </a:lnTo>
                  <a:lnTo>
                    <a:pt x="81" y="206"/>
                  </a:lnTo>
                  <a:lnTo>
                    <a:pt x="78" y="203"/>
                  </a:lnTo>
                  <a:lnTo>
                    <a:pt x="78" y="202"/>
                  </a:lnTo>
                  <a:lnTo>
                    <a:pt x="76" y="202"/>
                  </a:lnTo>
                  <a:lnTo>
                    <a:pt x="75" y="200"/>
                  </a:lnTo>
                  <a:lnTo>
                    <a:pt x="75" y="199"/>
                  </a:lnTo>
                  <a:lnTo>
                    <a:pt x="78" y="199"/>
                  </a:lnTo>
                  <a:lnTo>
                    <a:pt x="79" y="197"/>
                  </a:lnTo>
                  <a:lnTo>
                    <a:pt x="79" y="202"/>
                  </a:lnTo>
                  <a:lnTo>
                    <a:pt x="81" y="203"/>
                  </a:lnTo>
                  <a:lnTo>
                    <a:pt x="82" y="203"/>
                  </a:lnTo>
                  <a:lnTo>
                    <a:pt x="82" y="205"/>
                  </a:lnTo>
                  <a:lnTo>
                    <a:pt x="84" y="203"/>
                  </a:lnTo>
                  <a:lnTo>
                    <a:pt x="84" y="200"/>
                  </a:lnTo>
                  <a:lnTo>
                    <a:pt x="82" y="200"/>
                  </a:lnTo>
                  <a:lnTo>
                    <a:pt x="82" y="199"/>
                  </a:lnTo>
                  <a:lnTo>
                    <a:pt x="79" y="196"/>
                  </a:lnTo>
                  <a:lnTo>
                    <a:pt x="81" y="196"/>
                  </a:lnTo>
                  <a:lnTo>
                    <a:pt x="81" y="194"/>
                  </a:lnTo>
                  <a:lnTo>
                    <a:pt x="79" y="194"/>
                  </a:lnTo>
                  <a:lnTo>
                    <a:pt x="79" y="191"/>
                  </a:lnTo>
                  <a:lnTo>
                    <a:pt x="81" y="191"/>
                  </a:lnTo>
                  <a:lnTo>
                    <a:pt x="81" y="187"/>
                  </a:lnTo>
                  <a:lnTo>
                    <a:pt x="82" y="185"/>
                  </a:lnTo>
                  <a:lnTo>
                    <a:pt x="82" y="187"/>
                  </a:lnTo>
                  <a:lnTo>
                    <a:pt x="84" y="187"/>
                  </a:lnTo>
                  <a:lnTo>
                    <a:pt x="82" y="185"/>
                  </a:lnTo>
                  <a:lnTo>
                    <a:pt x="82" y="184"/>
                  </a:lnTo>
                  <a:lnTo>
                    <a:pt x="84" y="182"/>
                  </a:lnTo>
                  <a:lnTo>
                    <a:pt x="85" y="179"/>
                  </a:lnTo>
                  <a:lnTo>
                    <a:pt x="85" y="178"/>
                  </a:lnTo>
                  <a:lnTo>
                    <a:pt x="87" y="176"/>
                  </a:lnTo>
                  <a:lnTo>
                    <a:pt x="91" y="176"/>
                  </a:lnTo>
                  <a:lnTo>
                    <a:pt x="91" y="175"/>
                  </a:lnTo>
                  <a:lnTo>
                    <a:pt x="93" y="175"/>
                  </a:lnTo>
                  <a:lnTo>
                    <a:pt x="94" y="176"/>
                  </a:lnTo>
                  <a:lnTo>
                    <a:pt x="94" y="173"/>
                  </a:lnTo>
                  <a:lnTo>
                    <a:pt x="93" y="173"/>
                  </a:lnTo>
                  <a:lnTo>
                    <a:pt x="87" y="175"/>
                  </a:lnTo>
                  <a:lnTo>
                    <a:pt x="84" y="173"/>
                  </a:lnTo>
                  <a:lnTo>
                    <a:pt x="84" y="170"/>
                  </a:lnTo>
                  <a:lnTo>
                    <a:pt x="85" y="170"/>
                  </a:lnTo>
                  <a:lnTo>
                    <a:pt x="91" y="164"/>
                  </a:lnTo>
                  <a:lnTo>
                    <a:pt x="91" y="163"/>
                  </a:lnTo>
                  <a:lnTo>
                    <a:pt x="93" y="163"/>
                  </a:lnTo>
                  <a:lnTo>
                    <a:pt x="96" y="161"/>
                  </a:lnTo>
                  <a:lnTo>
                    <a:pt x="97" y="163"/>
                  </a:lnTo>
                  <a:lnTo>
                    <a:pt x="99" y="163"/>
                  </a:lnTo>
                  <a:lnTo>
                    <a:pt x="99" y="161"/>
                  </a:lnTo>
                  <a:lnTo>
                    <a:pt x="97" y="161"/>
                  </a:lnTo>
                  <a:lnTo>
                    <a:pt x="96" y="160"/>
                  </a:lnTo>
                  <a:lnTo>
                    <a:pt x="96" y="158"/>
                  </a:lnTo>
                  <a:lnTo>
                    <a:pt x="100" y="158"/>
                  </a:lnTo>
                  <a:lnTo>
                    <a:pt x="100" y="157"/>
                  </a:lnTo>
                  <a:lnTo>
                    <a:pt x="102" y="157"/>
                  </a:lnTo>
                  <a:lnTo>
                    <a:pt x="102" y="155"/>
                  </a:lnTo>
                  <a:lnTo>
                    <a:pt x="100" y="155"/>
                  </a:lnTo>
                  <a:lnTo>
                    <a:pt x="97" y="157"/>
                  </a:lnTo>
                  <a:lnTo>
                    <a:pt x="91" y="157"/>
                  </a:lnTo>
                  <a:lnTo>
                    <a:pt x="91" y="154"/>
                  </a:lnTo>
                  <a:lnTo>
                    <a:pt x="87" y="154"/>
                  </a:lnTo>
                  <a:lnTo>
                    <a:pt x="87" y="152"/>
                  </a:lnTo>
                  <a:lnTo>
                    <a:pt x="91" y="152"/>
                  </a:lnTo>
                  <a:lnTo>
                    <a:pt x="93" y="151"/>
                  </a:lnTo>
                  <a:lnTo>
                    <a:pt x="99" y="151"/>
                  </a:lnTo>
                  <a:lnTo>
                    <a:pt x="102" y="148"/>
                  </a:lnTo>
                  <a:lnTo>
                    <a:pt x="103" y="148"/>
                  </a:lnTo>
                  <a:lnTo>
                    <a:pt x="103" y="147"/>
                  </a:lnTo>
                  <a:lnTo>
                    <a:pt x="100" y="148"/>
                  </a:lnTo>
                  <a:lnTo>
                    <a:pt x="99" y="148"/>
                  </a:lnTo>
                  <a:lnTo>
                    <a:pt x="99" y="149"/>
                  </a:lnTo>
                  <a:lnTo>
                    <a:pt x="96" y="149"/>
                  </a:lnTo>
                  <a:lnTo>
                    <a:pt x="94" y="151"/>
                  </a:lnTo>
                  <a:lnTo>
                    <a:pt x="94" y="148"/>
                  </a:lnTo>
                  <a:lnTo>
                    <a:pt x="93" y="148"/>
                  </a:lnTo>
                  <a:lnTo>
                    <a:pt x="93" y="145"/>
                  </a:lnTo>
                  <a:lnTo>
                    <a:pt x="91" y="145"/>
                  </a:lnTo>
                  <a:lnTo>
                    <a:pt x="90" y="144"/>
                  </a:lnTo>
                  <a:lnTo>
                    <a:pt x="88" y="144"/>
                  </a:lnTo>
                  <a:lnTo>
                    <a:pt x="88" y="142"/>
                  </a:lnTo>
                  <a:lnTo>
                    <a:pt x="87" y="142"/>
                  </a:lnTo>
                  <a:lnTo>
                    <a:pt x="87" y="144"/>
                  </a:lnTo>
                  <a:lnTo>
                    <a:pt x="85" y="144"/>
                  </a:lnTo>
                  <a:lnTo>
                    <a:pt x="85" y="142"/>
                  </a:lnTo>
                  <a:lnTo>
                    <a:pt x="87" y="141"/>
                  </a:lnTo>
                  <a:lnTo>
                    <a:pt x="91" y="141"/>
                  </a:lnTo>
                  <a:lnTo>
                    <a:pt x="90" y="139"/>
                  </a:lnTo>
                  <a:lnTo>
                    <a:pt x="88" y="139"/>
                  </a:lnTo>
                  <a:lnTo>
                    <a:pt x="88" y="136"/>
                  </a:lnTo>
                  <a:lnTo>
                    <a:pt x="90" y="135"/>
                  </a:lnTo>
                  <a:lnTo>
                    <a:pt x="90" y="133"/>
                  </a:lnTo>
                  <a:lnTo>
                    <a:pt x="87" y="133"/>
                  </a:lnTo>
                  <a:lnTo>
                    <a:pt x="87" y="132"/>
                  </a:lnTo>
                  <a:lnTo>
                    <a:pt x="90" y="132"/>
                  </a:lnTo>
                  <a:lnTo>
                    <a:pt x="90" y="130"/>
                  </a:lnTo>
                  <a:lnTo>
                    <a:pt x="87" y="130"/>
                  </a:lnTo>
                  <a:lnTo>
                    <a:pt x="87" y="129"/>
                  </a:lnTo>
                  <a:lnTo>
                    <a:pt x="85" y="127"/>
                  </a:lnTo>
                  <a:lnTo>
                    <a:pt x="87" y="126"/>
                  </a:lnTo>
                  <a:lnTo>
                    <a:pt x="88" y="126"/>
                  </a:lnTo>
                  <a:lnTo>
                    <a:pt x="88" y="124"/>
                  </a:lnTo>
                  <a:lnTo>
                    <a:pt x="87" y="126"/>
                  </a:lnTo>
                  <a:lnTo>
                    <a:pt x="85" y="126"/>
                  </a:lnTo>
                  <a:lnTo>
                    <a:pt x="85" y="123"/>
                  </a:lnTo>
                  <a:lnTo>
                    <a:pt x="87" y="121"/>
                  </a:lnTo>
                  <a:lnTo>
                    <a:pt x="87" y="120"/>
                  </a:lnTo>
                  <a:lnTo>
                    <a:pt x="85" y="121"/>
                  </a:lnTo>
                  <a:lnTo>
                    <a:pt x="85" y="118"/>
                  </a:lnTo>
                  <a:lnTo>
                    <a:pt x="84" y="118"/>
                  </a:lnTo>
                  <a:lnTo>
                    <a:pt x="84" y="117"/>
                  </a:lnTo>
                  <a:lnTo>
                    <a:pt x="87" y="117"/>
                  </a:lnTo>
                  <a:lnTo>
                    <a:pt x="87" y="115"/>
                  </a:lnTo>
                  <a:lnTo>
                    <a:pt x="85" y="115"/>
                  </a:lnTo>
                  <a:lnTo>
                    <a:pt x="85" y="114"/>
                  </a:lnTo>
                  <a:lnTo>
                    <a:pt x="87" y="112"/>
                  </a:lnTo>
                  <a:lnTo>
                    <a:pt x="85" y="112"/>
                  </a:lnTo>
                  <a:lnTo>
                    <a:pt x="85" y="109"/>
                  </a:lnTo>
                  <a:lnTo>
                    <a:pt x="84" y="109"/>
                  </a:lnTo>
                  <a:lnTo>
                    <a:pt x="84" y="115"/>
                  </a:lnTo>
                  <a:lnTo>
                    <a:pt x="79" y="115"/>
                  </a:lnTo>
                  <a:lnTo>
                    <a:pt x="81" y="112"/>
                  </a:lnTo>
                  <a:lnTo>
                    <a:pt x="81" y="111"/>
                  </a:lnTo>
                  <a:lnTo>
                    <a:pt x="79" y="111"/>
                  </a:lnTo>
                  <a:lnTo>
                    <a:pt x="79" y="109"/>
                  </a:lnTo>
                  <a:lnTo>
                    <a:pt x="78" y="109"/>
                  </a:lnTo>
                  <a:lnTo>
                    <a:pt x="78" y="111"/>
                  </a:lnTo>
                  <a:lnTo>
                    <a:pt x="76" y="111"/>
                  </a:lnTo>
                  <a:lnTo>
                    <a:pt x="76" y="109"/>
                  </a:lnTo>
                  <a:lnTo>
                    <a:pt x="73" y="112"/>
                  </a:lnTo>
                  <a:lnTo>
                    <a:pt x="70" y="112"/>
                  </a:lnTo>
                  <a:lnTo>
                    <a:pt x="70" y="111"/>
                  </a:lnTo>
                  <a:lnTo>
                    <a:pt x="73" y="111"/>
                  </a:lnTo>
                  <a:lnTo>
                    <a:pt x="73" y="109"/>
                  </a:lnTo>
                  <a:lnTo>
                    <a:pt x="72" y="109"/>
                  </a:lnTo>
                  <a:lnTo>
                    <a:pt x="72" y="108"/>
                  </a:lnTo>
                  <a:lnTo>
                    <a:pt x="70" y="108"/>
                  </a:lnTo>
                  <a:lnTo>
                    <a:pt x="70" y="111"/>
                  </a:lnTo>
                  <a:lnTo>
                    <a:pt x="69" y="111"/>
                  </a:lnTo>
                  <a:lnTo>
                    <a:pt x="69" y="108"/>
                  </a:lnTo>
                  <a:lnTo>
                    <a:pt x="70" y="106"/>
                  </a:lnTo>
                  <a:lnTo>
                    <a:pt x="70" y="105"/>
                  </a:lnTo>
                  <a:lnTo>
                    <a:pt x="72" y="106"/>
                  </a:lnTo>
                  <a:lnTo>
                    <a:pt x="72" y="105"/>
                  </a:lnTo>
                  <a:lnTo>
                    <a:pt x="73" y="105"/>
                  </a:lnTo>
                  <a:lnTo>
                    <a:pt x="72" y="103"/>
                  </a:lnTo>
                  <a:lnTo>
                    <a:pt x="73" y="102"/>
                  </a:lnTo>
                  <a:lnTo>
                    <a:pt x="75" y="102"/>
                  </a:lnTo>
                  <a:lnTo>
                    <a:pt x="76" y="100"/>
                  </a:lnTo>
                  <a:lnTo>
                    <a:pt x="76" y="96"/>
                  </a:lnTo>
                  <a:lnTo>
                    <a:pt x="78" y="96"/>
                  </a:lnTo>
                  <a:lnTo>
                    <a:pt x="78" y="102"/>
                  </a:lnTo>
                  <a:lnTo>
                    <a:pt x="76" y="102"/>
                  </a:lnTo>
                  <a:lnTo>
                    <a:pt x="76" y="106"/>
                  </a:lnTo>
                  <a:lnTo>
                    <a:pt x="78" y="105"/>
                  </a:lnTo>
                  <a:lnTo>
                    <a:pt x="79" y="106"/>
                  </a:lnTo>
                  <a:lnTo>
                    <a:pt x="78" y="103"/>
                  </a:lnTo>
                  <a:lnTo>
                    <a:pt x="79" y="102"/>
                  </a:lnTo>
                  <a:lnTo>
                    <a:pt x="79" y="103"/>
                  </a:lnTo>
                  <a:lnTo>
                    <a:pt x="81" y="102"/>
                  </a:lnTo>
                  <a:lnTo>
                    <a:pt x="81" y="100"/>
                  </a:lnTo>
                  <a:lnTo>
                    <a:pt x="82" y="100"/>
                  </a:lnTo>
                  <a:lnTo>
                    <a:pt x="82" y="97"/>
                  </a:lnTo>
                  <a:lnTo>
                    <a:pt x="79" y="97"/>
                  </a:lnTo>
                  <a:lnTo>
                    <a:pt x="79" y="96"/>
                  </a:lnTo>
                  <a:lnTo>
                    <a:pt x="81" y="96"/>
                  </a:lnTo>
                  <a:lnTo>
                    <a:pt x="79" y="94"/>
                  </a:lnTo>
                  <a:lnTo>
                    <a:pt x="81" y="94"/>
                  </a:lnTo>
                  <a:lnTo>
                    <a:pt x="81" y="93"/>
                  </a:lnTo>
                  <a:lnTo>
                    <a:pt x="82" y="93"/>
                  </a:lnTo>
                  <a:lnTo>
                    <a:pt x="84" y="94"/>
                  </a:lnTo>
                  <a:lnTo>
                    <a:pt x="84" y="96"/>
                  </a:lnTo>
                  <a:lnTo>
                    <a:pt x="82" y="96"/>
                  </a:lnTo>
                  <a:lnTo>
                    <a:pt x="84" y="97"/>
                  </a:lnTo>
                  <a:lnTo>
                    <a:pt x="84" y="96"/>
                  </a:lnTo>
                  <a:lnTo>
                    <a:pt x="85" y="96"/>
                  </a:lnTo>
                  <a:lnTo>
                    <a:pt x="85" y="99"/>
                  </a:lnTo>
                  <a:lnTo>
                    <a:pt x="84" y="99"/>
                  </a:lnTo>
                  <a:lnTo>
                    <a:pt x="84" y="102"/>
                  </a:lnTo>
                  <a:lnTo>
                    <a:pt x="85" y="102"/>
                  </a:lnTo>
                  <a:lnTo>
                    <a:pt x="87" y="99"/>
                  </a:lnTo>
                  <a:lnTo>
                    <a:pt x="87" y="97"/>
                  </a:lnTo>
                  <a:lnTo>
                    <a:pt x="90" y="100"/>
                  </a:lnTo>
                  <a:lnTo>
                    <a:pt x="90" y="97"/>
                  </a:lnTo>
                  <a:lnTo>
                    <a:pt x="88" y="97"/>
                  </a:lnTo>
                  <a:lnTo>
                    <a:pt x="85" y="94"/>
                  </a:lnTo>
                  <a:lnTo>
                    <a:pt x="85" y="93"/>
                  </a:lnTo>
                  <a:lnTo>
                    <a:pt x="87" y="93"/>
                  </a:lnTo>
                  <a:lnTo>
                    <a:pt x="87" y="91"/>
                  </a:lnTo>
                  <a:lnTo>
                    <a:pt x="88" y="91"/>
                  </a:lnTo>
                  <a:lnTo>
                    <a:pt x="91" y="94"/>
                  </a:lnTo>
                  <a:lnTo>
                    <a:pt x="93" y="94"/>
                  </a:lnTo>
                  <a:lnTo>
                    <a:pt x="91" y="96"/>
                  </a:lnTo>
                  <a:lnTo>
                    <a:pt x="91" y="97"/>
                  </a:lnTo>
                  <a:lnTo>
                    <a:pt x="93" y="97"/>
                  </a:lnTo>
                  <a:lnTo>
                    <a:pt x="91" y="99"/>
                  </a:lnTo>
                  <a:lnTo>
                    <a:pt x="93" y="99"/>
                  </a:lnTo>
                  <a:lnTo>
                    <a:pt x="93" y="96"/>
                  </a:lnTo>
                  <a:lnTo>
                    <a:pt x="94" y="94"/>
                  </a:lnTo>
                  <a:lnTo>
                    <a:pt x="97" y="94"/>
                  </a:lnTo>
                  <a:lnTo>
                    <a:pt x="99" y="96"/>
                  </a:lnTo>
                  <a:lnTo>
                    <a:pt x="100" y="96"/>
                  </a:lnTo>
                  <a:lnTo>
                    <a:pt x="100" y="97"/>
                  </a:lnTo>
                  <a:lnTo>
                    <a:pt x="99" y="100"/>
                  </a:lnTo>
                  <a:lnTo>
                    <a:pt x="100" y="99"/>
                  </a:lnTo>
                  <a:lnTo>
                    <a:pt x="102" y="99"/>
                  </a:lnTo>
                  <a:lnTo>
                    <a:pt x="102" y="106"/>
                  </a:lnTo>
                  <a:lnTo>
                    <a:pt x="103" y="106"/>
                  </a:lnTo>
                  <a:lnTo>
                    <a:pt x="103" y="103"/>
                  </a:lnTo>
                  <a:lnTo>
                    <a:pt x="104" y="103"/>
                  </a:lnTo>
                  <a:lnTo>
                    <a:pt x="103" y="102"/>
                  </a:lnTo>
                  <a:lnTo>
                    <a:pt x="103" y="100"/>
                  </a:lnTo>
                  <a:lnTo>
                    <a:pt x="106" y="100"/>
                  </a:lnTo>
                  <a:lnTo>
                    <a:pt x="109" y="97"/>
                  </a:lnTo>
                  <a:lnTo>
                    <a:pt x="109" y="96"/>
                  </a:lnTo>
                  <a:lnTo>
                    <a:pt x="110" y="96"/>
                  </a:lnTo>
                  <a:lnTo>
                    <a:pt x="110" y="94"/>
                  </a:lnTo>
                  <a:lnTo>
                    <a:pt x="107" y="94"/>
                  </a:lnTo>
                  <a:lnTo>
                    <a:pt x="107" y="97"/>
                  </a:lnTo>
                  <a:lnTo>
                    <a:pt x="106" y="99"/>
                  </a:lnTo>
                  <a:lnTo>
                    <a:pt x="104" y="97"/>
                  </a:lnTo>
                  <a:lnTo>
                    <a:pt x="103" y="97"/>
                  </a:lnTo>
                  <a:lnTo>
                    <a:pt x="100" y="94"/>
                  </a:lnTo>
                  <a:lnTo>
                    <a:pt x="103" y="93"/>
                  </a:lnTo>
                  <a:lnTo>
                    <a:pt x="104" y="93"/>
                  </a:lnTo>
                  <a:lnTo>
                    <a:pt x="104" y="91"/>
                  </a:lnTo>
                  <a:lnTo>
                    <a:pt x="103" y="90"/>
                  </a:lnTo>
                  <a:lnTo>
                    <a:pt x="102" y="91"/>
                  </a:lnTo>
                  <a:lnTo>
                    <a:pt x="97" y="91"/>
                  </a:lnTo>
                  <a:lnTo>
                    <a:pt x="97" y="88"/>
                  </a:lnTo>
                  <a:lnTo>
                    <a:pt x="99" y="87"/>
                  </a:lnTo>
                  <a:lnTo>
                    <a:pt x="99" y="85"/>
                  </a:lnTo>
                  <a:lnTo>
                    <a:pt x="100" y="85"/>
                  </a:lnTo>
                  <a:lnTo>
                    <a:pt x="100" y="84"/>
                  </a:lnTo>
                  <a:lnTo>
                    <a:pt x="97" y="84"/>
                  </a:lnTo>
                  <a:lnTo>
                    <a:pt x="96" y="87"/>
                  </a:lnTo>
                  <a:lnTo>
                    <a:pt x="94" y="87"/>
                  </a:lnTo>
                  <a:lnTo>
                    <a:pt x="94" y="82"/>
                  </a:lnTo>
                  <a:lnTo>
                    <a:pt x="96" y="82"/>
                  </a:lnTo>
                  <a:lnTo>
                    <a:pt x="96" y="81"/>
                  </a:lnTo>
                  <a:lnTo>
                    <a:pt x="94" y="82"/>
                  </a:lnTo>
                  <a:lnTo>
                    <a:pt x="94" y="79"/>
                  </a:lnTo>
                  <a:lnTo>
                    <a:pt x="99" y="79"/>
                  </a:lnTo>
                  <a:lnTo>
                    <a:pt x="99" y="81"/>
                  </a:lnTo>
                  <a:lnTo>
                    <a:pt x="100" y="81"/>
                  </a:lnTo>
                  <a:lnTo>
                    <a:pt x="100" y="78"/>
                  </a:lnTo>
                  <a:lnTo>
                    <a:pt x="102" y="78"/>
                  </a:lnTo>
                  <a:lnTo>
                    <a:pt x="102" y="79"/>
                  </a:lnTo>
                  <a:lnTo>
                    <a:pt x="103" y="78"/>
                  </a:lnTo>
                  <a:lnTo>
                    <a:pt x="102" y="78"/>
                  </a:lnTo>
                  <a:lnTo>
                    <a:pt x="100" y="76"/>
                  </a:lnTo>
                  <a:lnTo>
                    <a:pt x="97" y="76"/>
                  </a:lnTo>
                  <a:lnTo>
                    <a:pt x="94" y="75"/>
                  </a:lnTo>
                  <a:lnTo>
                    <a:pt x="96" y="73"/>
                  </a:lnTo>
                  <a:lnTo>
                    <a:pt x="96" y="72"/>
                  </a:lnTo>
                  <a:lnTo>
                    <a:pt x="94" y="72"/>
                  </a:lnTo>
                  <a:lnTo>
                    <a:pt x="93" y="73"/>
                  </a:lnTo>
                  <a:lnTo>
                    <a:pt x="91" y="72"/>
                  </a:lnTo>
                  <a:lnTo>
                    <a:pt x="91" y="70"/>
                  </a:lnTo>
                  <a:lnTo>
                    <a:pt x="93" y="70"/>
                  </a:lnTo>
                  <a:lnTo>
                    <a:pt x="91" y="69"/>
                  </a:lnTo>
                  <a:lnTo>
                    <a:pt x="90" y="69"/>
                  </a:lnTo>
                  <a:lnTo>
                    <a:pt x="90" y="67"/>
                  </a:lnTo>
                  <a:lnTo>
                    <a:pt x="91" y="66"/>
                  </a:lnTo>
                  <a:lnTo>
                    <a:pt x="93" y="66"/>
                  </a:lnTo>
                  <a:lnTo>
                    <a:pt x="93" y="64"/>
                  </a:lnTo>
                  <a:lnTo>
                    <a:pt x="90" y="64"/>
                  </a:lnTo>
                  <a:lnTo>
                    <a:pt x="91" y="63"/>
                  </a:lnTo>
                  <a:lnTo>
                    <a:pt x="90" y="61"/>
                  </a:lnTo>
                  <a:lnTo>
                    <a:pt x="90" y="60"/>
                  </a:lnTo>
                  <a:lnTo>
                    <a:pt x="88" y="58"/>
                  </a:lnTo>
                  <a:lnTo>
                    <a:pt x="88" y="55"/>
                  </a:lnTo>
                  <a:lnTo>
                    <a:pt x="87" y="51"/>
                  </a:lnTo>
                  <a:lnTo>
                    <a:pt x="88" y="49"/>
                  </a:lnTo>
                  <a:lnTo>
                    <a:pt x="91" y="51"/>
                  </a:lnTo>
                  <a:lnTo>
                    <a:pt x="93" y="49"/>
                  </a:lnTo>
                  <a:lnTo>
                    <a:pt x="93" y="51"/>
                  </a:lnTo>
                  <a:lnTo>
                    <a:pt x="94" y="51"/>
                  </a:lnTo>
                  <a:lnTo>
                    <a:pt x="94" y="52"/>
                  </a:lnTo>
                  <a:lnTo>
                    <a:pt x="93" y="54"/>
                  </a:lnTo>
                  <a:lnTo>
                    <a:pt x="93" y="55"/>
                  </a:lnTo>
                  <a:lnTo>
                    <a:pt x="94" y="57"/>
                  </a:lnTo>
                  <a:lnTo>
                    <a:pt x="97" y="57"/>
                  </a:lnTo>
                  <a:lnTo>
                    <a:pt x="94" y="54"/>
                  </a:lnTo>
                  <a:lnTo>
                    <a:pt x="94" y="52"/>
                  </a:lnTo>
                  <a:lnTo>
                    <a:pt x="96" y="51"/>
                  </a:lnTo>
                  <a:lnTo>
                    <a:pt x="94" y="51"/>
                  </a:lnTo>
                  <a:lnTo>
                    <a:pt x="94" y="46"/>
                  </a:lnTo>
                  <a:lnTo>
                    <a:pt x="93" y="42"/>
                  </a:lnTo>
                  <a:lnTo>
                    <a:pt x="94" y="40"/>
                  </a:lnTo>
                  <a:lnTo>
                    <a:pt x="94" y="39"/>
                  </a:lnTo>
                  <a:lnTo>
                    <a:pt x="96" y="39"/>
                  </a:lnTo>
                  <a:lnTo>
                    <a:pt x="97" y="37"/>
                  </a:lnTo>
                  <a:lnTo>
                    <a:pt x="102" y="31"/>
                  </a:lnTo>
                  <a:lnTo>
                    <a:pt x="103" y="30"/>
                  </a:lnTo>
                  <a:lnTo>
                    <a:pt x="104" y="30"/>
                  </a:lnTo>
                  <a:lnTo>
                    <a:pt x="104" y="28"/>
                  </a:lnTo>
                  <a:lnTo>
                    <a:pt x="106" y="25"/>
                  </a:lnTo>
                  <a:lnTo>
                    <a:pt x="106" y="24"/>
                  </a:lnTo>
                  <a:lnTo>
                    <a:pt x="107" y="24"/>
                  </a:lnTo>
                  <a:lnTo>
                    <a:pt x="110" y="21"/>
                  </a:lnTo>
                  <a:lnTo>
                    <a:pt x="116" y="18"/>
                  </a:lnTo>
                  <a:lnTo>
                    <a:pt x="125" y="18"/>
                  </a:lnTo>
                  <a:lnTo>
                    <a:pt x="130" y="19"/>
                  </a:lnTo>
                  <a:lnTo>
                    <a:pt x="131" y="19"/>
                  </a:lnTo>
                  <a:lnTo>
                    <a:pt x="134" y="18"/>
                  </a:lnTo>
                  <a:lnTo>
                    <a:pt x="145" y="18"/>
                  </a:lnTo>
                  <a:lnTo>
                    <a:pt x="145" y="19"/>
                  </a:lnTo>
                  <a:lnTo>
                    <a:pt x="148" y="18"/>
                  </a:lnTo>
                  <a:lnTo>
                    <a:pt x="154" y="19"/>
                  </a:lnTo>
                  <a:lnTo>
                    <a:pt x="157" y="18"/>
                  </a:lnTo>
                  <a:lnTo>
                    <a:pt x="160" y="18"/>
                  </a:lnTo>
                  <a:lnTo>
                    <a:pt x="167" y="10"/>
                  </a:lnTo>
                  <a:lnTo>
                    <a:pt x="167" y="1"/>
                  </a:lnTo>
                  <a:lnTo>
                    <a:pt x="169" y="1"/>
                  </a:lnTo>
                  <a:lnTo>
                    <a:pt x="172"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10">
              <a:extLst>
                <a:ext uri="{FF2B5EF4-FFF2-40B4-BE49-F238E27FC236}">
                  <a16:creationId xmlns:a16="http://schemas.microsoft.com/office/drawing/2014/main" id="{163C2F08-A91A-7B45-E371-4DB7E6D8856A}"/>
                </a:ext>
              </a:extLst>
            </p:cNvPr>
            <p:cNvSpPr>
              <a:spLocks/>
            </p:cNvSpPr>
            <p:nvPr/>
          </p:nvSpPr>
          <p:spPr bwMode="auto">
            <a:xfrm>
              <a:off x="2922083" y="5170336"/>
              <a:ext cx="16792" cy="9446"/>
            </a:xfrm>
            <a:custGeom>
              <a:avLst/>
              <a:gdLst/>
              <a:ahLst/>
              <a:cxnLst>
                <a:cxn ang="0">
                  <a:pos x="7" y="0"/>
                </a:cxn>
                <a:cxn ang="0">
                  <a:pos x="10" y="0"/>
                </a:cxn>
                <a:cxn ang="0">
                  <a:pos x="13" y="3"/>
                </a:cxn>
                <a:cxn ang="0">
                  <a:pos x="16" y="3"/>
                </a:cxn>
                <a:cxn ang="0">
                  <a:pos x="16" y="4"/>
                </a:cxn>
                <a:cxn ang="0">
                  <a:pos x="15" y="6"/>
                </a:cxn>
                <a:cxn ang="0">
                  <a:pos x="12" y="6"/>
                </a:cxn>
                <a:cxn ang="0">
                  <a:pos x="12" y="7"/>
                </a:cxn>
                <a:cxn ang="0">
                  <a:pos x="9" y="7"/>
                </a:cxn>
                <a:cxn ang="0">
                  <a:pos x="9" y="9"/>
                </a:cxn>
                <a:cxn ang="0">
                  <a:pos x="7" y="9"/>
                </a:cxn>
                <a:cxn ang="0">
                  <a:pos x="6" y="7"/>
                </a:cxn>
                <a:cxn ang="0">
                  <a:pos x="4" y="7"/>
                </a:cxn>
                <a:cxn ang="0">
                  <a:pos x="3" y="6"/>
                </a:cxn>
                <a:cxn ang="0">
                  <a:pos x="0" y="6"/>
                </a:cxn>
                <a:cxn ang="0">
                  <a:pos x="0" y="4"/>
                </a:cxn>
                <a:cxn ang="0">
                  <a:pos x="1" y="3"/>
                </a:cxn>
                <a:cxn ang="0">
                  <a:pos x="1" y="1"/>
                </a:cxn>
                <a:cxn ang="0">
                  <a:pos x="6" y="1"/>
                </a:cxn>
                <a:cxn ang="0">
                  <a:pos x="7" y="0"/>
                </a:cxn>
              </a:cxnLst>
              <a:rect l="0" t="0" r="r" b="b"/>
              <a:pathLst>
                <a:path w="16" h="9">
                  <a:moveTo>
                    <a:pt x="7" y="0"/>
                  </a:moveTo>
                  <a:lnTo>
                    <a:pt x="10" y="0"/>
                  </a:lnTo>
                  <a:lnTo>
                    <a:pt x="13" y="3"/>
                  </a:lnTo>
                  <a:lnTo>
                    <a:pt x="16" y="3"/>
                  </a:lnTo>
                  <a:lnTo>
                    <a:pt x="16" y="4"/>
                  </a:lnTo>
                  <a:lnTo>
                    <a:pt x="15" y="6"/>
                  </a:lnTo>
                  <a:lnTo>
                    <a:pt x="12" y="6"/>
                  </a:lnTo>
                  <a:lnTo>
                    <a:pt x="12" y="7"/>
                  </a:lnTo>
                  <a:lnTo>
                    <a:pt x="9" y="7"/>
                  </a:lnTo>
                  <a:lnTo>
                    <a:pt x="9" y="9"/>
                  </a:lnTo>
                  <a:lnTo>
                    <a:pt x="7" y="9"/>
                  </a:lnTo>
                  <a:lnTo>
                    <a:pt x="6" y="7"/>
                  </a:lnTo>
                  <a:lnTo>
                    <a:pt x="4" y="7"/>
                  </a:lnTo>
                  <a:lnTo>
                    <a:pt x="3" y="6"/>
                  </a:lnTo>
                  <a:lnTo>
                    <a:pt x="0" y="6"/>
                  </a:lnTo>
                  <a:lnTo>
                    <a:pt x="0" y="4"/>
                  </a:lnTo>
                  <a:lnTo>
                    <a:pt x="1" y="3"/>
                  </a:lnTo>
                  <a:lnTo>
                    <a:pt x="1" y="1"/>
                  </a:lnTo>
                  <a:lnTo>
                    <a:pt x="6" y="1"/>
                  </a:lnTo>
                  <a:lnTo>
                    <a:pt x="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12">
              <a:extLst>
                <a:ext uri="{FF2B5EF4-FFF2-40B4-BE49-F238E27FC236}">
                  <a16:creationId xmlns:a16="http://schemas.microsoft.com/office/drawing/2014/main" id="{4427A6F0-2622-81EE-D2BA-166B1C783B64}"/>
                </a:ext>
              </a:extLst>
            </p:cNvPr>
            <p:cNvSpPr>
              <a:spLocks noEditPoints="1"/>
            </p:cNvSpPr>
            <p:nvPr/>
          </p:nvSpPr>
          <p:spPr bwMode="auto">
            <a:xfrm>
              <a:off x="2618773" y="4238377"/>
              <a:ext cx="400910" cy="730455"/>
            </a:xfrm>
            <a:custGeom>
              <a:avLst/>
              <a:gdLst/>
              <a:ahLst/>
              <a:cxnLst>
                <a:cxn ang="0">
                  <a:pos x="93" y="621"/>
                </a:cxn>
                <a:cxn ang="0">
                  <a:pos x="132" y="597"/>
                </a:cxn>
                <a:cxn ang="0">
                  <a:pos x="144" y="623"/>
                </a:cxn>
                <a:cxn ang="0">
                  <a:pos x="56" y="590"/>
                </a:cxn>
                <a:cxn ang="0">
                  <a:pos x="48" y="591"/>
                </a:cxn>
                <a:cxn ang="0">
                  <a:pos x="42" y="548"/>
                </a:cxn>
                <a:cxn ang="0">
                  <a:pos x="106" y="518"/>
                </a:cxn>
                <a:cxn ang="0">
                  <a:pos x="121" y="509"/>
                </a:cxn>
                <a:cxn ang="0">
                  <a:pos x="251" y="409"/>
                </a:cxn>
                <a:cxn ang="0">
                  <a:pos x="229" y="404"/>
                </a:cxn>
                <a:cxn ang="0">
                  <a:pos x="141" y="10"/>
                </a:cxn>
                <a:cxn ang="0">
                  <a:pos x="160" y="42"/>
                </a:cxn>
                <a:cxn ang="0">
                  <a:pos x="183" y="69"/>
                </a:cxn>
                <a:cxn ang="0">
                  <a:pos x="174" y="108"/>
                </a:cxn>
                <a:cxn ang="0">
                  <a:pos x="172" y="144"/>
                </a:cxn>
                <a:cxn ang="0">
                  <a:pos x="201" y="123"/>
                </a:cxn>
                <a:cxn ang="0">
                  <a:pos x="241" y="126"/>
                </a:cxn>
                <a:cxn ang="0">
                  <a:pos x="272" y="105"/>
                </a:cxn>
                <a:cxn ang="0">
                  <a:pos x="311" y="115"/>
                </a:cxn>
                <a:cxn ang="0">
                  <a:pos x="340" y="165"/>
                </a:cxn>
                <a:cxn ang="0">
                  <a:pos x="355" y="208"/>
                </a:cxn>
                <a:cxn ang="0">
                  <a:pos x="374" y="244"/>
                </a:cxn>
                <a:cxn ang="0">
                  <a:pos x="373" y="286"/>
                </a:cxn>
                <a:cxn ang="0">
                  <a:pos x="329" y="292"/>
                </a:cxn>
                <a:cxn ang="0">
                  <a:pos x="271" y="292"/>
                </a:cxn>
                <a:cxn ang="0">
                  <a:pos x="239" y="328"/>
                </a:cxn>
                <a:cxn ang="0">
                  <a:pos x="247" y="385"/>
                </a:cxn>
                <a:cxn ang="0">
                  <a:pos x="228" y="388"/>
                </a:cxn>
                <a:cxn ang="0">
                  <a:pos x="214" y="377"/>
                </a:cxn>
                <a:cxn ang="0">
                  <a:pos x="162" y="370"/>
                </a:cxn>
                <a:cxn ang="0">
                  <a:pos x="163" y="341"/>
                </a:cxn>
                <a:cxn ang="0">
                  <a:pos x="124" y="335"/>
                </a:cxn>
                <a:cxn ang="0">
                  <a:pos x="121" y="382"/>
                </a:cxn>
                <a:cxn ang="0">
                  <a:pos x="103" y="433"/>
                </a:cxn>
                <a:cxn ang="0">
                  <a:pos x="88" y="479"/>
                </a:cxn>
                <a:cxn ang="0">
                  <a:pos x="85" y="516"/>
                </a:cxn>
                <a:cxn ang="0">
                  <a:pos x="120" y="560"/>
                </a:cxn>
                <a:cxn ang="0">
                  <a:pos x="148" y="623"/>
                </a:cxn>
                <a:cxn ang="0">
                  <a:pos x="204" y="657"/>
                </a:cxn>
                <a:cxn ang="0">
                  <a:pos x="190" y="684"/>
                </a:cxn>
                <a:cxn ang="0">
                  <a:pos x="171" y="672"/>
                </a:cxn>
                <a:cxn ang="0">
                  <a:pos x="138" y="654"/>
                </a:cxn>
                <a:cxn ang="0">
                  <a:pos x="112" y="642"/>
                </a:cxn>
                <a:cxn ang="0">
                  <a:pos x="99" y="621"/>
                </a:cxn>
                <a:cxn ang="0">
                  <a:pos x="76" y="590"/>
                </a:cxn>
                <a:cxn ang="0">
                  <a:pos x="57" y="570"/>
                </a:cxn>
                <a:cxn ang="0">
                  <a:pos x="41" y="563"/>
                </a:cxn>
                <a:cxn ang="0">
                  <a:pos x="54" y="515"/>
                </a:cxn>
                <a:cxn ang="0">
                  <a:pos x="60" y="491"/>
                </a:cxn>
                <a:cxn ang="0">
                  <a:pos x="84" y="445"/>
                </a:cxn>
                <a:cxn ang="0">
                  <a:pos x="96" y="395"/>
                </a:cxn>
                <a:cxn ang="0">
                  <a:pos x="82" y="356"/>
                </a:cxn>
                <a:cxn ang="0">
                  <a:pos x="60" y="296"/>
                </a:cxn>
                <a:cxn ang="0">
                  <a:pos x="48" y="250"/>
                </a:cxn>
                <a:cxn ang="0">
                  <a:pos x="69" y="204"/>
                </a:cxn>
                <a:cxn ang="0">
                  <a:pos x="53" y="174"/>
                </a:cxn>
                <a:cxn ang="0">
                  <a:pos x="26" y="139"/>
                </a:cxn>
                <a:cxn ang="0">
                  <a:pos x="6" y="105"/>
                </a:cxn>
                <a:cxn ang="0">
                  <a:pos x="15" y="73"/>
                </a:cxn>
                <a:cxn ang="0">
                  <a:pos x="36" y="33"/>
                </a:cxn>
                <a:cxn ang="0">
                  <a:pos x="76" y="19"/>
                </a:cxn>
                <a:cxn ang="0">
                  <a:pos x="114" y="1"/>
                </a:cxn>
              </a:cxnLst>
              <a:rect l="0" t="0" r="r" b="b"/>
              <a:pathLst>
                <a:path w="382" h="696">
                  <a:moveTo>
                    <a:pt x="85" y="653"/>
                  </a:moveTo>
                  <a:lnTo>
                    <a:pt x="87" y="653"/>
                  </a:lnTo>
                  <a:lnTo>
                    <a:pt x="88" y="654"/>
                  </a:lnTo>
                  <a:lnTo>
                    <a:pt x="87" y="654"/>
                  </a:lnTo>
                  <a:lnTo>
                    <a:pt x="85" y="656"/>
                  </a:lnTo>
                  <a:lnTo>
                    <a:pt x="84" y="654"/>
                  </a:lnTo>
                  <a:lnTo>
                    <a:pt x="85" y="654"/>
                  </a:lnTo>
                  <a:lnTo>
                    <a:pt x="85" y="653"/>
                  </a:lnTo>
                  <a:close/>
                  <a:moveTo>
                    <a:pt x="106" y="647"/>
                  </a:moveTo>
                  <a:lnTo>
                    <a:pt x="108" y="648"/>
                  </a:lnTo>
                  <a:lnTo>
                    <a:pt x="106" y="651"/>
                  </a:lnTo>
                  <a:lnTo>
                    <a:pt x="108" y="653"/>
                  </a:lnTo>
                  <a:lnTo>
                    <a:pt x="108" y="656"/>
                  </a:lnTo>
                  <a:lnTo>
                    <a:pt x="106" y="656"/>
                  </a:lnTo>
                  <a:lnTo>
                    <a:pt x="106" y="657"/>
                  </a:lnTo>
                  <a:lnTo>
                    <a:pt x="105" y="656"/>
                  </a:lnTo>
                  <a:lnTo>
                    <a:pt x="105" y="654"/>
                  </a:lnTo>
                  <a:lnTo>
                    <a:pt x="103" y="653"/>
                  </a:lnTo>
                  <a:lnTo>
                    <a:pt x="103" y="651"/>
                  </a:lnTo>
                  <a:lnTo>
                    <a:pt x="105" y="651"/>
                  </a:lnTo>
                  <a:lnTo>
                    <a:pt x="105" y="648"/>
                  </a:lnTo>
                  <a:lnTo>
                    <a:pt x="106" y="647"/>
                  </a:lnTo>
                  <a:close/>
                  <a:moveTo>
                    <a:pt x="93" y="621"/>
                  </a:moveTo>
                  <a:lnTo>
                    <a:pt x="94" y="621"/>
                  </a:lnTo>
                  <a:lnTo>
                    <a:pt x="96" y="623"/>
                  </a:lnTo>
                  <a:lnTo>
                    <a:pt x="94" y="623"/>
                  </a:lnTo>
                  <a:lnTo>
                    <a:pt x="94" y="624"/>
                  </a:lnTo>
                  <a:lnTo>
                    <a:pt x="93" y="624"/>
                  </a:lnTo>
                  <a:lnTo>
                    <a:pt x="93" y="621"/>
                  </a:lnTo>
                  <a:close/>
                  <a:moveTo>
                    <a:pt x="78" y="603"/>
                  </a:moveTo>
                  <a:lnTo>
                    <a:pt x="81" y="603"/>
                  </a:lnTo>
                  <a:lnTo>
                    <a:pt x="82" y="605"/>
                  </a:lnTo>
                  <a:lnTo>
                    <a:pt x="81" y="606"/>
                  </a:lnTo>
                  <a:lnTo>
                    <a:pt x="79" y="606"/>
                  </a:lnTo>
                  <a:lnTo>
                    <a:pt x="79" y="609"/>
                  </a:lnTo>
                  <a:lnTo>
                    <a:pt x="81" y="611"/>
                  </a:lnTo>
                  <a:lnTo>
                    <a:pt x="81" y="612"/>
                  </a:lnTo>
                  <a:lnTo>
                    <a:pt x="79" y="612"/>
                  </a:lnTo>
                  <a:lnTo>
                    <a:pt x="78" y="611"/>
                  </a:lnTo>
                  <a:lnTo>
                    <a:pt x="78" y="608"/>
                  </a:lnTo>
                  <a:lnTo>
                    <a:pt x="76" y="608"/>
                  </a:lnTo>
                  <a:lnTo>
                    <a:pt x="78" y="606"/>
                  </a:lnTo>
                  <a:lnTo>
                    <a:pt x="76" y="605"/>
                  </a:lnTo>
                  <a:lnTo>
                    <a:pt x="79" y="605"/>
                  </a:lnTo>
                  <a:lnTo>
                    <a:pt x="78" y="603"/>
                  </a:lnTo>
                  <a:close/>
                  <a:moveTo>
                    <a:pt x="132" y="597"/>
                  </a:moveTo>
                  <a:lnTo>
                    <a:pt x="129" y="600"/>
                  </a:lnTo>
                  <a:lnTo>
                    <a:pt x="129" y="605"/>
                  </a:lnTo>
                  <a:lnTo>
                    <a:pt x="130" y="608"/>
                  </a:lnTo>
                  <a:lnTo>
                    <a:pt x="130" y="611"/>
                  </a:lnTo>
                  <a:lnTo>
                    <a:pt x="132" y="611"/>
                  </a:lnTo>
                  <a:lnTo>
                    <a:pt x="132" y="615"/>
                  </a:lnTo>
                  <a:lnTo>
                    <a:pt x="136" y="618"/>
                  </a:lnTo>
                  <a:lnTo>
                    <a:pt x="139" y="618"/>
                  </a:lnTo>
                  <a:lnTo>
                    <a:pt x="139" y="621"/>
                  </a:lnTo>
                  <a:lnTo>
                    <a:pt x="141" y="621"/>
                  </a:lnTo>
                  <a:lnTo>
                    <a:pt x="141" y="623"/>
                  </a:lnTo>
                  <a:lnTo>
                    <a:pt x="139" y="623"/>
                  </a:lnTo>
                  <a:lnTo>
                    <a:pt x="139" y="624"/>
                  </a:lnTo>
                  <a:lnTo>
                    <a:pt x="141" y="624"/>
                  </a:lnTo>
                  <a:lnTo>
                    <a:pt x="141" y="626"/>
                  </a:lnTo>
                  <a:lnTo>
                    <a:pt x="142" y="626"/>
                  </a:lnTo>
                  <a:lnTo>
                    <a:pt x="142" y="627"/>
                  </a:lnTo>
                  <a:lnTo>
                    <a:pt x="147" y="627"/>
                  </a:lnTo>
                  <a:lnTo>
                    <a:pt x="148" y="626"/>
                  </a:lnTo>
                  <a:lnTo>
                    <a:pt x="148" y="624"/>
                  </a:lnTo>
                  <a:lnTo>
                    <a:pt x="147" y="624"/>
                  </a:lnTo>
                  <a:lnTo>
                    <a:pt x="145" y="623"/>
                  </a:lnTo>
                  <a:lnTo>
                    <a:pt x="144" y="623"/>
                  </a:lnTo>
                  <a:lnTo>
                    <a:pt x="144" y="621"/>
                  </a:lnTo>
                  <a:lnTo>
                    <a:pt x="141" y="621"/>
                  </a:lnTo>
                  <a:lnTo>
                    <a:pt x="142" y="620"/>
                  </a:lnTo>
                  <a:lnTo>
                    <a:pt x="141" y="618"/>
                  </a:lnTo>
                  <a:lnTo>
                    <a:pt x="141" y="609"/>
                  </a:lnTo>
                  <a:lnTo>
                    <a:pt x="139" y="608"/>
                  </a:lnTo>
                  <a:lnTo>
                    <a:pt x="136" y="608"/>
                  </a:lnTo>
                  <a:lnTo>
                    <a:pt x="136" y="609"/>
                  </a:lnTo>
                  <a:lnTo>
                    <a:pt x="135" y="609"/>
                  </a:lnTo>
                  <a:lnTo>
                    <a:pt x="135" y="608"/>
                  </a:lnTo>
                  <a:lnTo>
                    <a:pt x="136" y="606"/>
                  </a:lnTo>
                  <a:lnTo>
                    <a:pt x="136" y="599"/>
                  </a:lnTo>
                  <a:lnTo>
                    <a:pt x="135" y="597"/>
                  </a:lnTo>
                  <a:lnTo>
                    <a:pt x="132" y="597"/>
                  </a:lnTo>
                  <a:close/>
                  <a:moveTo>
                    <a:pt x="54" y="582"/>
                  </a:moveTo>
                  <a:lnTo>
                    <a:pt x="56" y="582"/>
                  </a:lnTo>
                  <a:lnTo>
                    <a:pt x="57" y="584"/>
                  </a:lnTo>
                  <a:lnTo>
                    <a:pt x="57" y="585"/>
                  </a:lnTo>
                  <a:lnTo>
                    <a:pt x="59" y="587"/>
                  </a:lnTo>
                  <a:lnTo>
                    <a:pt x="59" y="591"/>
                  </a:lnTo>
                  <a:lnTo>
                    <a:pt x="57" y="593"/>
                  </a:lnTo>
                  <a:lnTo>
                    <a:pt x="57" y="591"/>
                  </a:lnTo>
                  <a:lnTo>
                    <a:pt x="56" y="590"/>
                  </a:lnTo>
                  <a:lnTo>
                    <a:pt x="56" y="588"/>
                  </a:lnTo>
                  <a:lnTo>
                    <a:pt x="57" y="588"/>
                  </a:lnTo>
                  <a:lnTo>
                    <a:pt x="57" y="587"/>
                  </a:lnTo>
                  <a:lnTo>
                    <a:pt x="56" y="587"/>
                  </a:lnTo>
                  <a:lnTo>
                    <a:pt x="56" y="585"/>
                  </a:lnTo>
                  <a:lnTo>
                    <a:pt x="54" y="584"/>
                  </a:lnTo>
                  <a:lnTo>
                    <a:pt x="54" y="582"/>
                  </a:lnTo>
                  <a:close/>
                  <a:moveTo>
                    <a:pt x="59" y="579"/>
                  </a:moveTo>
                  <a:lnTo>
                    <a:pt x="60" y="579"/>
                  </a:lnTo>
                  <a:lnTo>
                    <a:pt x="59" y="582"/>
                  </a:lnTo>
                  <a:lnTo>
                    <a:pt x="59" y="584"/>
                  </a:lnTo>
                  <a:lnTo>
                    <a:pt x="57" y="582"/>
                  </a:lnTo>
                  <a:lnTo>
                    <a:pt x="57" y="581"/>
                  </a:lnTo>
                  <a:lnTo>
                    <a:pt x="59" y="579"/>
                  </a:lnTo>
                  <a:close/>
                  <a:moveTo>
                    <a:pt x="44" y="579"/>
                  </a:moveTo>
                  <a:lnTo>
                    <a:pt x="45" y="579"/>
                  </a:lnTo>
                  <a:lnTo>
                    <a:pt x="45" y="582"/>
                  </a:lnTo>
                  <a:lnTo>
                    <a:pt x="47" y="582"/>
                  </a:lnTo>
                  <a:lnTo>
                    <a:pt x="48" y="584"/>
                  </a:lnTo>
                  <a:lnTo>
                    <a:pt x="50" y="584"/>
                  </a:lnTo>
                  <a:lnTo>
                    <a:pt x="50" y="588"/>
                  </a:lnTo>
                  <a:lnTo>
                    <a:pt x="48" y="588"/>
                  </a:lnTo>
                  <a:lnTo>
                    <a:pt x="48" y="591"/>
                  </a:lnTo>
                  <a:lnTo>
                    <a:pt x="50" y="593"/>
                  </a:lnTo>
                  <a:lnTo>
                    <a:pt x="48" y="594"/>
                  </a:lnTo>
                  <a:lnTo>
                    <a:pt x="48" y="596"/>
                  </a:lnTo>
                  <a:lnTo>
                    <a:pt x="45" y="596"/>
                  </a:lnTo>
                  <a:lnTo>
                    <a:pt x="45" y="599"/>
                  </a:lnTo>
                  <a:lnTo>
                    <a:pt x="44" y="599"/>
                  </a:lnTo>
                  <a:lnTo>
                    <a:pt x="44" y="594"/>
                  </a:lnTo>
                  <a:lnTo>
                    <a:pt x="42" y="594"/>
                  </a:lnTo>
                  <a:lnTo>
                    <a:pt x="42" y="593"/>
                  </a:lnTo>
                  <a:lnTo>
                    <a:pt x="44" y="593"/>
                  </a:lnTo>
                  <a:lnTo>
                    <a:pt x="44" y="591"/>
                  </a:lnTo>
                  <a:lnTo>
                    <a:pt x="42" y="591"/>
                  </a:lnTo>
                  <a:lnTo>
                    <a:pt x="42" y="588"/>
                  </a:lnTo>
                  <a:lnTo>
                    <a:pt x="44" y="588"/>
                  </a:lnTo>
                  <a:lnTo>
                    <a:pt x="44" y="587"/>
                  </a:lnTo>
                  <a:lnTo>
                    <a:pt x="42" y="587"/>
                  </a:lnTo>
                  <a:lnTo>
                    <a:pt x="42" y="584"/>
                  </a:lnTo>
                  <a:lnTo>
                    <a:pt x="44" y="584"/>
                  </a:lnTo>
                  <a:lnTo>
                    <a:pt x="44" y="579"/>
                  </a:lnTo>
                  <a:close/>
                  <a:moveTo>
                    <a:pt x="42" y="540"/>
                  </a:moveTo>
                  <a:lnTo>
                    <a:pt x="44" y="540"/>
                  </a:lnTo>
                  <a:lnTo>
                    <a:pt x="44" y="545"/>
                  </a:lnTo>
                  <a:lnTo>
                    <a:pt x="42" y="548"/>
                  </a:lnTo>
                  <a:lnTo>
                    <a:pt x="42" y="540"/>
                  </a:lnTo>
                  <a:close/>
                  <a:moveTo>
                    <a:pt x="42" y="534"/>
                  </a:moveTo>
                  <a:lnTo>
                    <a:pt x="44" y="534"/>
                  </a:lnTo>
                  <a:lnTo>
                    <a:pt x="44" y="536"/>
                  </a:lnTo>
                  <a:lnTo>
                    <a:pt x="45" y="536"/>
                  </a:lnTo>
                  <a:lnTo>
                    <a:pt x="45" y="537"/>
                  </a:lnTo>
                  <a:lnTo>
                    <a:pt x="42" y="540"/>
                  </a:lnTo>
                  <a:lnTo>
                    <a:pt x="41" y="539"/>
                  </a:lnTo>
                  <a:lnTo>
                    <a:pt x="42" y="534"/>
                  </a:lnTo>
                  <a:close/>
                  <a:moveTo>
                    <a:pt x="23" y="522"/>
                  </a:moveTo>
                  <a:lnTo>
                    <a:pt x="24" y="522"/>
                  </a:lnTo>
                  <a:lnTo>
                    <a:pt x="24" y="524"/>
                  </a:lnTo>
                  <a:lnTo>
                    <a:pt x="23" y="522"/>
                  </a:lnTo>
                  <a:close/>
                  <a:moveTo>
                    <a:pt x="24" y="519"/>
                  </a:moveTo>
                  <a:lnTo>
                    <a:pt x="26" y="519"/>
                  </a:lnTo>
                  <a:lnTo>
                    <a:pt x="26" y="521"/>
                  </a:lnTo>
                  <a:lnTo>
                    <a:pt x="24" y="521"/>
                  </a:lnTo>
                  <a:lnTo>
                    <a:pt x="24" y="522"/>
                  </a:lnTo>
                  <a:lnTo>
                    <a:pt x="23" y="521"/>
                  </a:lnTo>
                  <a:lnTo>
                    <a:pt x="24" y="519"/>
                  </a:lnTo>
                  <a:close/>
                  <a:moveTo>
                    <a:pt x="108" y="516"/>
                  </a:moveTo>
                  <a:lnTo>
                    <a:pt x="108" y="518"/>
                  </a:lnTo>
                  <a:lnTo>
                    <a:pt x="106" y="518"/>
                  </a:lnTo>
                  <a:lnTo>
                    <a:pt x="108" y="516"/>
                  </a:lnTo>
                  <a:close/>
                  <a:moveTo>
                    <a:pt x="118" y="515"/>
                  </a:moveTo>
                  <a:lnTo>
                    <a:pt x="126" y="515"/>
                  </a:lnTo>
                  <a:lnTo>
                    <a:pt x="126" y="518"/>
                  </a:lnTo>
                  <a:lnTo>
                    <a:pt x="123" y="521"/>
                  </a:lnTo>
                  <a:lnTo>
                    <a:pt x="123" y="522"/>
                  </a:lnTo>
                  <a:lnTo>
                    <a:pt x="120" y="522"/>
                  </a:lnTo>
                  <a:lnTo>
                    <a:pt x="118" y="521"/>
                  </a:lnTo>
                  <a:lnTo>
                    <a:pt x="118" y="519"/>
                  </a:lnTo>
                  <a:lnTo>
                    <a:pt x="120" y="518"/>
                  </a:lnTo>
                  <a:lnTo>
                    <a:pt x="118" y="516"/>
                  </a:lnTo>
                  <a:lnTo>
                    <a:pt x="118" y="515"/>
                  </a:lnTo>
                  <a:close/>
                  <a:moveTo>
                    <a:pt x="48" y="506"/>
                  </a:moveTo>
                  <a:lnTo>
                    <a:pt x="50" y="506"/>
                  </a:lnTo>
                  <a:lnTo>
                    <a:pt x="50" y="507"/>
                  </a:lnTo>
                  <a:lnTo>
                    <a:pt x="48" y="509"/>
                  </a:lnTo>
                  <a:lnTo>
                    <a:pt x="48" y="506"/>
                  </a:lnTo>
                  <a:close/>
                  <a:moveTo>
                    <a:pt x="121" y="504"/>
                  </a:moveTo>
                  <a:lnTo>
                    <a:pt x="123" y="504"/>
                  </a:lnTo>
                  <a:lnTo>
                    <a:pt x="126" y="507"/>
                  </a:lnTo>
                  <a:lnTo>
                    <a:pt x="126" y="510"/>
                  </a:lnTo>
                  <a:lnTo>
                    <a:pt x="124" y="510"/>
                  </a:lnTo>
                  <a:lnTo>
                    <a:pt x="121" y="509"/>
                  </a:lnTo>
                  <a:lnTo>
                    <a:pt x="121" y="507"/>
                  </a:lnTo>
                  <a:lnTo>
                    <a:pt x="120" y="506"/>
                  </a:lnTo>
                  <a:lnTo>
                    <a:pt x="121" y="504"/>
                  </a:lnTo>
                  <a:close/>
                  <a:moveTo>
                    <a:pt x="256" y="416"/>
                  </a:moveTo>
                  <a:lnTo>
                    <a:pt x="256" y="419"/>
                  </a:lnTo>
                  <a:lnTo>
                    <a:pt x="254" y="418"/>
                  </a:lnTo>
                  <a:lnTo>
                    <a:pt x="256" y="416"/>
                  </a:lnTo>
                  <a:close/>
                  <a:moveTo>
                    <a:pt x="239" y="413"/>
                  </a:moveTo>
                  <a:lnTo>
                    <a:pt x="239" y="416"/>
                  </a:lnTo>
                  <a:lnTo>
                    <a:pt x="241" y="416"/>
                  </a:lnTo>
                  <a:lnTo>
                    <a:pt x="241" y="422"/>
                  </a:lnTo>
                  <a:lnTo>
                    <a:pt x="239" y="422"/>
                  </a:lnTo>
                  <a:lnTo>
                    <a:pt x="239" y="421"/>
                  </a:lnTo>
                  <a:lnTo>
                    <a:pt x="238" y="421"/>
                  </a:lnTo>
                  <a:lnTo>
                    <a:pt x="238" y="418"/>
                  </a:lnTo>
                  <a:lnTo>
                    <a:pt x="239" y="413"/>
                  </a:lnTo>
                  <a:close/>
                  <a:moveTo>
                    <a:pt x="250" y="404"/>
                  </a:moveTo>
                  <a:lnTo>
                    <a:pt x="253" y="409"/>
                  </a:lnTo>
                  <a:lnTo>
                    <a:pt x="254" y="412"/>
                  </a:lnTo>
                  <a:lnTo>
                    <a:pt x="256" y="413"/>
                  </a:lnTo>
                  <a:lnTo>
                    <a:pt x="256" y="415"/>
                  </a:lnTo>
                  <a:lnTo>
                    <a:pt x="254" y="413"/>
                  </a:lnTo>
                  <a:lnTo>
                    <a:pt x="251" y="409"/>
                  </a:lnTo>
                  <a:lnTo>
                    <a:pt x="250" y="407"/>
                  </a:lnTo>
                  <a:lnTo>
                    <a:pt x="250" y="404"/>
                  </a:lnTo>
                  <a:close/>
                  <a:moveTo>
                    <a:pt x="248" y="401"/>
                  </a:moveTo>
                  <a:lnTo>
                    <a:pt x="250" y="403"/>
                  </a:lnTo>
                  <a:lnTo>
                    <a:pt x="250" y="404"/>
                  </a:lnTo>
                  <a:lnTo>
                    <a:pt x="248" y="401"/>
                  </a:lnTo>
                  <a:close/>
                  <a:moveTo>
                    <a:pt x="239" y="398"/>
                  </a:moveTo>
                  <a:lnTo>
                    <a:pt x="241" y="400"/>
                  </a:lnTo>
                  <a:lnTo>
                    <a:pt x="239" y="400"/>
                  </a:lnTo>
                  <a:lnTo>
                    <a:pt x="239" y="398"/>
                  </a:lnTo>
                  <a:close/>
                  <a:moveTo>
                    <a:pt x="226" y="395"/>
                  </a:moveTo>
                  <a:lnTo>
                    <a:pt x="228" y="395"/>
                  </a:lnTo>
                  <a:lnTo>
                    <a:pt x="229" y="397"/>
                  </a:lnTo>
                  <a:lnTo>
                    <a:pt x="231" y="397"/>
                  </a:lnTo>
                  <a:lnTo>
                    <a:pt x="231" y="400"/>
                  </a:lnTo>
                  <a:lnTo>
                    <a:pt x="232" y="400"/>
                  </a:lnTo>
                  <a:lnTo>
                    <a:pt x="232" y="401"/>
                  </a:lnTo>
                  <a:lnTo>
                    <a:pt x="233" y="403"/>
                  </a:lnTo>
                  <a:lnTo>
                    <a:pt x="233" y="404"/>
                  </a:lnTo>
                  <a:lnTo>
                    <a:pt x="232" y="404"/>
                  </a:lnTo>
                  <a:lnTo>
                    <a:pt x="231" y="403"/>
                  </a:lnTo>
                  <a:lnTo>
                    <a:pt x="231" y="404"/>
                  </a:lnTo>
                  <a:lnTo>
                    <a:pt x="229" y="404"/>
                  </a:lnTo>
                  <a:lnTo>
                    <a:pt x="228" y="403"/>
                  </a:lnTo>
                  <a:lnTo>
                    <a:pt x="228" y="400"/>
                  </a:lnTo>
                  <a:lnTo>
                    <a:pt x="226" y="400"/>
                  </a:lnTo>
                  <a:lnTo>
                    <a:pt x="226" y="395"/>
                  </a:lnTo>
                  <a:close/>
                  <a:moveTo>
                    <a:pt x="118" y="0"/>
                  </a:moveTo>
                  <a:lnTo>
                    <a:pt x="120" y="0"/>
                  </a:lnTo>
                  <a:lnTo>
                    <a:pt x="120" y="1"/>
                  </a:lnTo>
                  <a:lnTo>
                    <a:pt x="121" y="3"/>
                  </a:lnTo>
                  <a:lnTo>
                    <a:pt x="123" y="3"/>
                  </a:lnTo>
                  <a:lnTo>
                    <a:pt x="123" y="4"/>
                  </a:lnTo>
                  <a:lnTo>
                    <a:pt x="124" y="4"/>
                  </a:lnTo>
                  <a:lnTo>
                    <a:pt x="124" y="6"/>
                  </a:lnTo>
                  <a:lnTo>
                    <a:pt x="126" y="6"/>
                  </a:lnTo>
                  <a:lnTo>
                    <a:pt x="126" y="9"/>
                  </a:lnTo>
                  <a:lnTo>
                    <a:pt x="127" y="10"/>
                  </a:lnTo>
                  <a:lnTo>
                    <a:pt x="129" y="10"/>
                  </a:lnTo>
                  <a:lnTo>
                    <a:pt x="129" y="7"/>
                  </a:lnTo>
                  <a:lnTo>
                    <a:pt x="132" y="7"/>
                  </a:lnTo>
                  <a:lnTo>
                    <a:pt x="132" y="4"/>
                  </a:lnTo>
                  <a:lnTo>
                    <a:pt x="135" y="3"/>
                  </a:lnTo>
                  <a:lnTo>
                    <a:pt x="138" y="3"/>
                  </a:lnTo>
                  <a:lnTo>
                    <a:pt x="138" y="4"/>
                  </a:lnTo>
                  <a:lnTo>
                    <a:pt x="141" y="10"/>
                  </a:lnTo>
                  <a:lnTo>
                    <a:pt x="142" y="12"/>
                  </a:lnTo>
                  <a:lnTo>
                    <a:pt x="142" y="13"/>
                  </a:lnTo>
                  <a:lnTo>
                    <a:pt x="145" y="13"/>
                  </a:lnTo>
                  <a:lnTo>
                    <a:pt x="145" y="15"/>
                  </a:lnTo>
                  <a:lnTo>
                    <a:pt x="147" y="15"/>
                  </a:lnTo>
                  <a:lnTo>
                    <a:pt x="147" y="19"/>
                  </a:lnTo>
                  <a:lnTo>
                    <a:pt x="144" y="25"/>
                  </a:lnTo>
                  <a:lnTo>
                    <a:pt x="144" y="28"/>
                  </a:lnTo>
                  <a:lnTo>
                    <a:pt x="139" y="33"/>
                  </a:lnTo>
                  <a:lnTo>
                    <a:pt x="139" y="36"/>
                  </a:lnTo>
                  <a:lnTo>
                    <a:pt x="141" y="36"/>
                  </a:lnTo>
                  <a:lnTo>
                    <a:pt x="141" y="40"/>
                  </a:lnTo>
                  <a:lnTo>
                    <a:pt x="142" y="42"/>
                  </a:lnTo>
                  <a:lnTo>
                    <a:pt x="142" y="45"/>
                  </a:lnTo>
                  <a:lnTo>
                    <a:pt x="144" y="45"/>
                  </a:lnTo>
                  <a:lnTo>
                    <a:pt x="145" y="46"/>
                  </a:lnTo>
                  <a:lnTo>
                    <a:pt x="148" y="46"/>
                  </a:lnTo>
                  <a:lnTo>
                    <a:pt x="148" y="45"/>
                  </a:lnTo>
                  <a:lnTo>
                    <a:pt x="151" y="45"/>
                  </a:lnTo>
                  <a:lnTo>
                    <a:pt x="154" y="46"/>
                  </a:lnTo>
                  <a:lnTo>
                    <a:pt x="157" y="46"/>
                  </a:lnTo>
                  <a:lnTo>
                    <a:pt x="159" y="45"/>
                  </a:lnTo>
                  <a:lnTo>
                    <a:pt x="160" y="42"/>
                  </a:lnTo>
                  <a:lnTo>
                    <a:pt x="162" y="42"/>
                  </a:lnTo>
                  <a:lnTo>
                    <a:pt x="162" y="40"/>
                  </a:lnTo>
                  <a:lnTo>
                    <a:pt x="168" y="40"/>
                  </a:lnTo>
                  <a:lnTo>
                    <a:pt x="169" y="42"/>
                  </a:lnTo>
                  <a:lnTo>
                    <a:pt x="171" y="42"/>
                  </a:lnTo>
                  <a:lnTo>
                    <a:pt x="172" y="43"/>
                  </a:lnTo>
                  <a:lnTo>
                    <a:pt x="175" y="43"/>
                  </a:lnTo>
                  <a:lnTo>
                    <a:pt x="177" y="42"/>
                  </a:lnTo>
                  <a:lnTo>
                    <a:pt x="178" y="42"/>
                  </a:lnTo>
                  <a:lnTo>
                    <a:pt x="180" y="43"/>
                  </a:lnTo>
                  <a:lnTo>
                    <a:pt x="180" y="46"/>
                  </a:lnTo>
                  <a:lnTo>
                    <a:pt x="178" y="48"/>
                  </a:lnTo>
                  <a:lnTo>
                    <a:pt x="177" y="48"/>
                  </a:lnTo>
                  <a:lnTo>
                    <a:pt x="175" y="51"/>
                  </a:lnTo>
                  <a:lnTo>
                    <a:pt x="175" y="54"/>
                  </a:lnTo>
                  <a:lnTo>
                    <a:pt x="177" y="54"/>
                  </a:lnTo>
                  <a:lnTo>
                    <a:pt x="177" y="55"/>
                  </a:lnTo>
                  <a:lnTo>
                    <a:pt x="178" y="60"/>
                  </a:lnTo>
                  <a:lnTo>
                    <a:pt x="178" y="64"/>
                  </a:lnTo>
                  <a:lnTo>
                    <a:pt x="180" y="64"/>
                  </a:lnTo>
                  <a:lnTo>
                    <a:pt x="181" y="67"/>
                  </a:lnTo>
                  <a:lnTo>
                    <a:pt x="183" y="67"/>
                  </a:lnTo>
                  <a:lnTo>
                    <a:pt x="183" y="69"/>
                  </a:lnTo>
                  <a:lnTo>
                    <a:pt x="181" y="72"/>
                  </a:lnTo>
                  <a:lnTo>
                    <a:pt x="180" y="72"/>
                  </a:lnTo>
                  <a:lnTo>
                    <a:pt x="180" y="75"/>
                  </a:lnTo>
                  <a:lnTo>
                    <a:pt x="178" y="76"/>
                  </a:lnTo>
                  <a:lnTo>
                    <a:pt x="178" y="81"/>
                  </a:lnTo>
                  <a:lnTo>
                    <a:pt x="177" y="82"/>
                  </a:lnTo>
                  <a:lnTo>
                    <a:pt x="177" y="84"/>
                  </a:lnTo>
                  <a:lnTo>
                    <a:pt x="178" y="85"/>
                  </a:lnTo>
                  <a:lnTo>
                    <a:pt x="178" y="88"/>
                  </a:lnTo>
                  <a:lnTo>
                    <a:pt x="177" y="88"/>
                  </a:lnTo>
                  <a:lnTo>
                    <a:pt x="177" y="90"/>
                  </a:lnTo>
                  <a:lnTo>
                    <a:pt x="175" y="90"/>
                  </a:lnTo>
                  <a:lnTo>
                    <a:pt x="175" y="91"/>
                  </a:lnTo>
                  <a:lnTo>
                    <a:pt x="174" y="93"/>
                  </a:lnTo>
                  <a:lnTo>
                    <a:pt x="171" y="94"/>
                  </a:lnTo>
                  <a:lnTo>
                    <a:pt x="171" y="96"/>
                  </a:lnTo>
                  <a:lnTo>
                    <a:pt x="169" y="97"/>
                  </a:lnTo>
                  <a:lnTo>
                    <a:pt x="169" y="99"/>
                  </a:lnTo>
                  <a:lnTo>
                    <a:pt x="172" y="102"/>
                  </a:lnTo>
                  <a:lnTo>
                    <a:pt x="174" y="102"/>
                  </a:lnTo>
                  <a:lnTo>
                    <a:pt x="175" y="103"/>
                  </a:lnTo>
                  <a:lnTo>
                    <a:pt x="174" y="105"/>
                  </a:lnTo>
                  <a:lnTo>
                    <a:pt x="174" y="108"/>
                  </a:lnTo>
                  <a:lnTo>
                    <a:pt x="175" y="109"/>
                  </a:lnTo>
                  <a:lnTo>
                    <a:pt x="174" y="112"/>
                  </a:lnTo>
                  <a:lnTo>
                    <a:pt x="174" y="114"/>
                  </a:lnTo>
                  <a:lnTo>
                    <a:pt x="175" y="115"/>
                  </a:lnTo>
                  <a:lnTo>
                    <a:pt x="175" y="117"/>
                  </a:lnTo>
                  <a:lnTo>
                    <a:pt x="174" y="118"/>
                  </a:lnTo>
                  <a:lnTo>
                    <a:pt x="172" y="118"/>
                  </a:lnTo>
                  <a:lnTo>
                    <a:pt x="172" y="121"/>
                  </a:lnTo>
                  <a:lnTo>
                    <a:pt x="171" y="121"/>
                  </a:lnTo>
                  <a:lnTo>
                    <a:pt x="168" y="124"/>
                  </a:lnTo>
                  <a:lnTo>
                    <a:pt x="168" y="127"/>
                  </a:lnTo>
                  <a:lnTo>
                    <a:pt x="166" y="127"/>
                  </a:lnTo>
                  <a:lnTo>
                    <a:pt x="166" y="133"/>
                  </a:lnTo>
                  <a:lnTo>
                    <a:pt x="165" y="135"/>
                  </a:lnTo>
                  <a:lnTo>
                    <a:pt x="163" y="138"/>
                  </a:lnTo>
                  <a:lnTo>
                    <a:pt x="162" y="138"/>
                  </a:lnTo>
                  <a:lnTo>
                    <a:pt x="163" y="139"/>
                  </a:lnTo>
                  <a:lnTo>
                    <a:pt x="165" y="139"/>
                  </a:lnTo>
                  <a:lnTo>
                    <a:pt x="166" y="141"/>
                  </a:lnTo>
                  <a:lnTo>
                    <a:pt x="169" y="141"/>
                  </a:lnTo>
                  <a:lnTo>
                    <a:pt x="169" y="142"/>
                  </a:lnTo>
                  <a:lnTo>
                    <a:pt x="171" y="142"/>
                  </a:lnTo>
                  <a:lnTo>
                    <a:pt x="172" y="144"/>
                  </a:lnTo>
                  <a:lnTo>
                    <a:pt x="175" y="144"/>
                  </a:lnTo>
                  <a:lnTo>
                    <a:pt x="175" y="142"/>
                  </a:lnTo>
                  <a:lnTo>
                    <a:pt x="177" y="142"/>
                  </a:lnTo>
                  <a:lnTo>
                    <a:pt x="177" y="141"/>
                  </a:lnTo>
                  <a:lnTo>
                    <a:pt x="180" y="138"/>
                  </a:lnTo>
                  <a:lnTo>
                    <a:pt x="184" y="135"/>
                  </a:lnTo>
                  <a:lnTo>
                    <a:pt x="184" y="133"/>
                  </a:lnTo>
                  <a:lnTo>
                    <a:pt x="186" y="133"/>
                  </a:lnTo>
                  <a:lnTo>
                    <a:pt x="186" y="132"/>
                  </a:lnTo>
                  <a:lnTo>
                    <a:pt x="187" y="132"/>
                  </a:lnTo>
                  <a:lnTo>
                    <a:pt x="189" y="130"/>
                  </a:lnTo>
                  <a:lnTo>
                    <a:pt x="189" y="132"/>
                  </a:lnTo>
                  <a:lnTo>
                    <a:pt x="190" y="132"/>
                  </a:lnTo>
                  <a:lnTo>
                    <a:pt x="190" y="130"/>
                  </a:lnTo>
                  <a:lnTo>
                    <a:pt x="192" y="129"/>
                  </a:lnTo>
                  <a:lnTo>
                    <a:pt x="193" y="129"/>
                  </a:lnTo>
                  <a:lnTo>
                    <a:pt x="192" y="127"/>
                  </a:lnTo>
                  <a:lnTo>
                    <a:pt x="195" y="127"/>
                  </a:lnTo>
                  <a:lnTo>
                    <a:pt x="195" y="126"/>
                  </a:lnTo>
                  <a:lnTo>
                    <a:pt x="196" y="126"/>
                  </a:lnTo>
                  <a:lnTo>
                    <a:pt x="196" y="124"/>
                  </a:lnTo>
                  <a:lnTo>
                    <a:pt x="198" y="124"/>
                  </a:lnTo>
                  <a:lnTo>
                    <a:pt x="201" y="123"/>
                  </a:lnTo>
                  <a:lnTo>
                    <a:pt x="201" y="121"/>
                  </a:lnTo>
                  <a:lnTo>
                    <a:pt x="202" y="118"/>
                  </a:lnTo>
                  <a:lnTo>
                    <a:pt x="202" y="117"/>
                  </a:lnTo>
                  <a:lnTo>
                    <a:pt x="204" y="115"/>
                  </a:lnTo>
                  <a:lnTo>
                    <a:pt x="205" y="115"/>
                  </a:lnTo>
                  <a:lnTo>
                    <a:pt x="207" y="117"/>
                  </a:lnTo>
                  <a:lnTo>
                    <a:pt x="210" y="117"/>
                  </a:lnTo>
                  <a:lnTo>
                    <a:pt x="216" y="109"/>
                  </a:lnTo>
                  <a:lnTo>
                    <a:pt x="217" y="109"/>
                  </a:lnTo>
                  <a:lnTo>
                    <a:pt x="217" y="108"/>
                  </a:lnTo>
                  <a:lnTo>
                    <a:pt x="220" y="108"/>
                  </a:lnTo>
                  <a:lnTo>
                    <a:pt x="222" y="109"/>
                  </a:lnTo>
                  <a:lnTo>
                    <a:pt x="222" y="111"/>
                  </a:lnTo>
                  <a:lnTo>
                    <a:pt x="223" y="111"/>
                  </a:lnTo>
                  <a:lnTo>
                    <a:pt x="223" y="112"/>
                  </a:lnTo>
                  <a:lnTo>
                    <a:pt x="225" y="112"/>
                  </a:lnTo>
                  <a:lnTo>
                    <a:pt x="226" y="114"/>
                  </a:lnTo>
                  <a:lnTo>
                    <a:pt x="228" y="117"/>
                  </a:lnTo>
                  <a:lnTo>
                    <a:pt x="231" y="117"/>
                  </a:lnTo>
                  <a:lnTo>
                    <a:pt x="233" y="120"/>
                  </a:lnTo>
                  <a:lnTo>
                    <a:pt x="239" y="120"/>
                  </a:lnTo>
                  <a:lnTo>
                    <a:pt x="241" y="121"/>
                  </a:lnTo>
                  <a:lnTo>
                    <a:pt x="241" y="126"/>
                  </a:lnTo>
                  <a:lnTo>
                    <a:pt x="244" y="127"/>
                  </a:lnTo>
                  <a:lnTo>
                    <a:pt x="244" y="126"/>
                  </a:lnTo>
                  <a:lnTo>
                    <a:pt x="245" y="124"/>
                  </a:lnTo>
                  <a:lnTo>
                    <a:pt x="247" y="124"/>
                  </a:lnTo>
                  <a:lnTo>
                    <a:pt x="248" y="123"/>
                  </a:lnTo>
                  <a:lnTo>
                    <a:pt x="251" y="121"/>
                  </a:lnTo>
                  <a:lnTo>
                    <a:pt x="251" y="120"/>
                  </a:lnTo>
                  <a:lnTo>
                    <a:pt x="253" y="120"/>
                  </a:lnTo>
                  <a:lnTo>
                    <a:pt x="256" y="118"/>
                  </a:lnTo>
                  <a:lnTo>
                    <a:pt x="259" y="118"/>
                  </a:lnTo>
                  <a:lnTo>
                    <a:pt x="259" y="120"/>
                  </a:lnTo>
                  <a:lnTo>
                    <a:pt x="262" y="120"/>
                  </a:lnTo>
                  <a:lnTo>
                    <a:pt x="262" y="117"/>
                  </a:lnTo>
                  <a:lnTo>
                    <a:pt x="263" y="117"/>
                  </a:lnTo>
                  <a:lnTo>
                    <a:pt x="262" y="114"/>
                  </a:lnTo>
                  <a:lnTo>
                    <a:pt x="263" y="112"/>
                  </a:lnTo>
                  <a:lnTo>
                    <a:pt x="265" y="112"/>
                  </a:lnTo>
                  <a:lnTo>
                    <a:pt x="265" y="111"/>
                  </a:lnTo>
                  <a:lnTo>
                    <a:pt x="266" y="111"/>
                  </a:lnTo>
                  <a:lnTo>
                    <a:pt x="266" y="108"/>
                  </a:lnTo>
                  <a:lnTo>
                    <a:pt x="268" y="106"/>
                  </a:lnTo>
                  <a:lnTo>
                    <a:pt x="271" y="106"/>
                  </a:lnTo>
                  <a:lnTo>
                    <a:pt x="272" y="105"/>
                  </a:lnTo>
                  <a:lnTo>
                    <a:pt x="272" y="103"/>
                  </a:lnTo>
                  <a:lnTo>
                    <a:pt x="271" y="103"/>
                  </a:lnTo>
                  <a:lnTo>
                    <a:pt x="271" y="99"/>
                  </a:lnTo>
                  <a:lnTo>
                    <a:pt x="274" y="99"/>
                  </a:lnTo>
                  <a:lnTo>
                    <a:pt x="277" y="97"/>
                  </a:lnTo>
                  <a:lnTo>
                    <a:pt x="278" y="97"/>
                  </a:lnTo>
                  <a:lnTo>
                    <a:pt x="280" y="99"/>
                  </a:lnTo>
                  <a:lnTo>
                    <a:pt x="287" y="99"/>
                  </a:lnTo>
                  <a:lnTo>
                    <a:pt x="287" y="100"/>
                  </a:lnTo>
                  <a:lnTo>
                    <a:pt x="289" y="100"/>
                  </a:lnTo>
                  <a:lnTo>
                    <a:pt x="292" y="102"/>
                  </a:lnTo>
                  <a:lnTo>
                    <a:pt x="296" y="102"/>
                  </a:lnTo>
                  <a:lnTo>
                    <a:pt x="296" y="103"/>
                  </a:lnTo>
                  <a:lnTo>
                    <a:pt x="298" y="103"/>
                  </a:lnTo>
                  <a:lnTo>
                    <a:pt x="298" y="105"/>
                  </a:lnTo>
                  <a:lnTo>
                    <a:pt x="301" y="105"/>
                  </a:lnTo>
                  <a:lnTo>
                    <a:pt x="301" y="103"/>
                  </a:lnTo>
                  <a:lnTo>
                    <a:pt x="305" y="103"/>
                  </a:lnTo>
                  <a:lnTo>
                    <a:pt x="307" y="105"/>
                  </a:lnTo>
                  <a:lnTo>
                    <a:pt x="308" y="108"/>
                  </a:lnTo>
                  <a:lnTo>
                    <a:pt x="310" y="114"/>
                  </a:lnTo>
                  <a:lnTo>
                    <a:pt x="311" y="114"/>
                  </a:lnTo>
                  <a:lnTo>
                    <a:pt x="311" y="115"/>
                  </a:lnTo>
                  <a:lnTo>
                    <a:pt x="314" y="117"/>
                  </a:lnTo>
                  <a:lnTo>
                    <a:pt x="314" y="118"/>
                  </a:lnTo>
                  <a:lnTo>
                    <a:pt x="316" y="118"/>
                  </a:lnTo>
                  <a:lnTo>
                    <a:pt x="317" y="123"/>
                  </a:lnTo>
                  <a:lnTo>
                    <a:pt x="317" y="124"/>
                  </a:lnTo>
                  <a:lnTo>
                    <a:pt x="319" y="126"/>
                  </a:lnTo>
                  <a:lnTo>
                    <a:pt x="322" y="127"/>
                  </a:lnTo>
                  <a:lnTo>
                    <a:pt x="322" y="129"/>
                  </a:lnTo>
                  <a:lnTo>
                    <a:pt x="323" y="130"/>
                  </a:lnTo>
                  <a:lnTo>
                    <a:pt x="323" y="132"/>
                  </a:lnTo>
                  <a:lnTo>
                    <a:pt x="325" y="132"/>
                  </a:lnTo>
                  <a:lnTo>
                    <a:pt x="325" y="133"/>
                  </a:lnTo>
                  <a:lnTo>
                    <a:pt x="328" y="136"/>
                  </a:lnTo>
                  <a:lnTo>
                    <a:pt x="335" y="139"/>
                  </a:lnTo>
                  <a:lnTo>
                    <a:pt x="338" y="141"/>
                  </a:lnTo>
                  <a:lnTo>
                    <a:pt x="338" y="142"/>
                  </a:lnTo>
                  <a:lnTo>
                    <a:pt x="340" y="144"/>
                  </a:lnTo>
                  <a:lnTo>
                    <a:pt x="340" y="145"/>
                  </a:lnTo>
                  <a:lnTo>
                    <a:pt x="341" y="145"/>
                  </a:lnTo>
                  <a:lnTo>
                    <a:pt x="341" y="147"/>
                  </a:lnTo>
                  <a:lnTo>
                    <a:pt x="343" y="148"/>
                  </a:lnTo>
                  <a:lnTo>
                    <a:pt x="343" y="159"/>
                  </a:lnTo>
                  <a:lnTo>
                    <a:pt x="340" y="165"/>
                  </a:lnTo>
                  <a:lnTo>
                    <a:pt x="340" y="172"/>
                  </a:lnTo>
                  <a:lnTo>
                    <a:pt x="341" y="172"/>
                  </a:lnTo>
                  <a:lnTo>
                    <a:pt x="341" y="174"/>
                  </a:lnTo>
                  <a:lnTo>
                    <a:pt x="340" y="175"/>
                  </a:lnTo>
                  <a:lnTo>
                    <a:pt x="340" y="177"/>
                  </a:lnTo>
                  <a:lnTo>
                    <a:pt x="341" y="180"/>
                  </a:lnTo>
                  <a:lnTo>
                    <a:pt x="341" y="181"/>
                  </a:lnTo>
                  <a:lnTo>
                    <a:pt x="340" y="183"/>
                  </a:lnTo>
                  <a:lnTo>
                    <a:pt x="340" y="189"/>
                  </a:lnTo>
                  <a:lnTo>
                    <a:pt x="341" y="190"/>
                  </a:lnTo>
                  <a:lnTo>
                    <a:pt x="344" y="192"/>
                  </a:lnTo>
                  <a:lnTo>
                    <a:pt x="344" y="193"/>
                  </a:lnTo>
                  <a:lnTo>
                    <a:pt x="346" y="193"/>
                  </a:lnTo>
                  <a:lnTo>
                    <a:pt x="346" y="195"/>
                  </a:lnTo>
                  <a:lnTo>
                    <a:pt x="347" y="196"/>
                  </a:lnTo>
                  <a:lnTo>
                    <a:pt x="347" y="198"/>
                  </a:lnTo>
                  <a:lnTo>
                    <a:pt x="349" y="199"/>
                  </a:lnTo>
                  <a:lnTo>
                    <a:pt x="350" y="199"/>
                  </a:lnTo>
                  <a:lnTo>
                    <a:pt x="350" y="201"/>
                  </a:lnTo>
                  <a:lnTo>
                    <a:pt x="352" y="201"/>
                  </a:lnTo>
                  <a:lnTo>
                    <a:pt x="353" y="202"/>
                  </a:lnTo>
                  <a:lnTo>
                    <a:pt x="353" y="208"/>
                  </a:lnTo>
                  <a:lnTo>
                    <a:pt x="355" y="208"/>
                  </a:lnTo>
                  <a:lnTo>
                    <a:pt x="355" y="210"/>
                  </a:lnTo>
                  <a:lnTo>
                    <a:pt x="356" y="210"/>
                  </a:lnTo>
                  <a:lnTo>
                    <a:pt x="362" y="211"/>
                  </a:lnTo>
                  <a:lnTo>
                    <a:pt x="365" y="213"/>
                  </a:lnTo>
                  <a:lnTo>
                    <a:pt x="370" y="213"/>
                  </a:lnTo>
                  <a:lnTo>
                    <a:pt x="370" y="216"/>
                  </a:lnTo>
                  <a:lnTo>
                    <a:pt x="368" y="216"/>
                  </a:lnTo>
                  <a:lnTo>
                    <a:pt x="368" y="220"/>
                  </a:lnTo>
                  <a:lnTo>
                    <a:pt x="370" y="223"/>
                  </a:lnTo>
                  <a:lnTo>
                    <a:pt x="373" y="226"/>
                  </a:lnTo>
                  <a:lnTo>
                    <a:pt x="374" y="225"/>
                  </a:lnTo>
                  <a:lnTo>
                    <a:pt x="376" y="226"/>
                  </a:lnTo>
                  <a:lnTo>
                    <a:pt x="377" y="226"/>
                  </a:lnTo>
                  <a:lnTo>
                    <a:pt x="380" y="228"/>
                  </a:lnTo>
                  <a:lnTo>
                    <a:pt x="380" y="229"/>
                  </a:lnTo>
                  <a:lnTo>
                    <a:pt x="382" y="232"/>
                  </a:lnTo>
                  <a:lnTo>
                    <a:pt x="380" y="233"/>
                  </a:lnTo>
                  <a:lnTo>
                    <a:pt x="380" y="238"/>
                  </a:lnTo>
                  <a:lnTo>
                    <a:pt x="379" y="239"/>
                  </a:lnTo>
                  <a:lnTo>
                    <a:pt x="379" y="241"/>
                  </a:lnTo>
                  <a:lnTo>
                    <a:pt x="377" y="242"/>
                  </a:lnTo>
                  <a:lnTo>
                    <a:pt x="374" y="242"/>
                  </a:lnTo>
                  <a:lnTo>
                    <a:pt x="374" y="244"/>
                  </a:lnTo>
                  <a:lnTo>
                    <a:pt x="373" y="245"/>
                  </a:lnTo>
                  <a:lnTo>
                    <a:pt x="374" y="245"/>
                  </a:lnTo>
                  <a:lnTo>
                    <a:pt x="376" y="247"/>
                  </a:lnTo>
                  <a:lnTo>
                    <a:pt x="377" y="245"/>
                  </a:lnTo>
                  <a:lnTo>
                    <a:pt x="377" y="248"/>
                  </a:lnTo>
                  <a:lnTo>
                    <a:pt x="376" y="250"/>
                  </a:lnTo>
                  <a:lnTo>
                    <a:pt x="374" y="250"/>
                  </a:lnTo>
                  <a:lnTo>
                    <a:pt x="373" y="253"/>
                  </a:lnTo>
                  <a:lnTo>
                    <a:pt x="371" y="254"/>
                  </a:lnTo>
                  <a:lnTo>
                    <a:pt x="371" y="256"/>
                  </a:lnTo>
                  <a:lnTo>
                    <a:pt x="374" y="259"/>
                  </a:lnTo>
                  <a:lnTo>
                    <a:pt x="376" y="259"/>
                  </a:lnTo>
                  <a:lnTo>
                    <a:pt x="377" y="260"/>
                  </a:lnTo>
                  <a:lnTo>
                    <a:pt x="377" y="262"/>
                  </a:lnTo>
                  <a:lnTo>
                    <a:pt x="379" y="262"/>
                  </a:lnTo>
                  <a:lnTo>
                    <a:pt x="376" y="263"/>
                  </a:lnTo>
                  <a:lnTo>
                    <a:pt x="376" y="265"/>
                  </a:lnTo>
                  <a:lnTo>
                    <a:pt x="377" y="266"/>
                  </a:lnTo>
                  <a:lnTo>
                    <a:pt x="376" y="266"/>
                  </a:lnTo>
                  <a:lnTo>
                    <a:pt x="376" y="269"/>
                  </a:lnTo>
                  <a:lnTo>
                    <a:pt x="374" y="269"/>
                  </a:lnTo>
                  <a:lnTo>
                    <a:pt x="374" y="283"/>
                  </a:lnTo>
                  <a:lnTo>
                    <a:pt x="373" y="286"/>
                  </a:lnTo>
                  <a:lnTo>
                    <a:pt x="371" y="286"/>
                  </a:lnTo>
                  <a:lnTo>
                    <a:pt x="371" y="287"/>
                  </a:lnTo>
                  <a:lnTo>
                    <a:pt x="370" y="289"/>
                  </a:lnTo>
                  <a:lnTo>
                    <a:pt x="368" y="289"/>
                  </a:lnTo>
                  <a:lnTo>
                    <a:pt x="367" y="290"/>
                  </a:lnTo>
                  <a:lnTo>
                    <a:pt x="364" y="290"/>
                  </a:lnTo>
                  <a:lnTo>
                    <a:pt x="364" y="292"/>
                  </a:lnTo>
                  <a:lnTo>
                    <a:pt x="359" y="292"/>
                  </a:lnTo>
                  <a:lnTo>
                    <a:pt x="358" y="293"/>
                  </a:lnTo>
                  <a:lnTo>
                    <a:pt x="358" y="295"/>
                  </a:lnTo>
                  <a:lnTo>
                    <a:pt x="356" y="298"/>
                  </a:lnTo>
                  <a:lnTo>
                    <a:pt x="353" y="298"/>
                  </a:lnTo>
                  <a:lnTo>
                    <a:pt x="350" y="295"/>
                  </a:lnTo>
                  <a:lnTo>
                    <a:pt x="350" y="290"/>
                  </a:lnTo>
                  <a:lnTo>
                    <a:pt x="346" y="290"/>
                  </a:lnTo>
                  <a:lnTo>
                    <a:pt x="346" y="289"/>
                  </a:lnTo>
                  <a:lnTo>
                    <a:pt x="343" y="289"/>
                  </a:lnTo>
                  <a:lnTo>
                    <a:pt x="341" y="287"/>
                  </a:lnTo>
                  <a:lnTo>
                    <a:pt x="340" y="289"/>
                  </a:lnTo>
                  <a:lnTo>
                    <a:pt x="332" y="289"/>
                  </a:lnTo>
                  <a:lnTo>
                    <a:pt x="332" y="290"/>
                  </a:lnTo>
                  <a:lnTo>
                    <a:pt x="331" y="292"/>
                  </a:lnTo>
                  <a:lnTo>
                    <a:pt x="329" y="292"/>
                  </a:lnTo>
                  <a:lnTo>
                    <a:pt x="328" y="290"/>
                  </a:lnTo>
                  <a:lnTo>
                    <a:pt x="328" y="292"/>
                  </a:lnTo>
                  <a:lnTo>
                    <a:pt x="326" y="292"/>
                  </a:lnTo>
                  <a:lnTo>
                    <a:pt x="320" y="290"/>
                  </a:lnTo>
                  <a:lnTo>
                    <a:pt x="314" y="290"/>
                  </a:lnTo>
                  <a:lnTo>
                    <a:pt x="314" y="289"/>
                  </a:lnTo>
                  <a:lnTo>
                    <a:pt x="313" y="289"/>
                  </a:lnTo>
                  <a:lnTo>
                    <a:pt x="313" y="292"/>
                  </a:lnTo>
                  <a:lnTo>
                    <a:pt x="311" y="292"/>
                  </a:lnTo>
                  <a:lnTo>
                    <a:pt x="311" y="290"/>
                  </a:lnTo>
                  <a:lnTo>
                    <a:pt x="310" y="290"/>
                  </a:lnTo>
                  <a:lnTo>
                    <a:pt x="308" y="292"/>
                  </a:lnTo>
                  <a:lnTo>
                    <a:pt x="295" y="292"/>
                  </a:lnTo>
                  <a:lnTo>
                    <a:pt x="292" y="290"/>
                  </a:lnTo>
                  <a:lnTo>
                    <a:pt x="290" y="290"/>
                  </a:lnTo>
                  <a:lnTo>
                    <a:pt x="290" y="287"/>
                  </a:lnTo>
                  <a:lnTo>
                    <a:pt x="289" y="287"/>
                  </a:lnTo>
                  <a:lnTo>
                    <a:pt x="289" y="289"/>
                  </a:lnTo>
                  <a:lnTo>
                    <a:pt x="284" y="289"/>
                  </a:lnTo>
                  <a:lnTo>
                    <a:pt x="283" y="290"/>
                  </a:lnTo>
                  <a:lnTo>
                    <a:pt x="278" y="290"/>
                  </a:lnTo>
                  <a:lnTo>
                    <a:pt x="277" y="292"/>
                  </a:lnTo>
                  <a:lnTo>
                    <a:pt x="271" y="292"/>
                  </a:lnTo>
                  <a:lnTo>
                    <a:pt x="268" y="293"/>
                  </a:lnTo>
                  <a:lnTo>
                    <a:pt x="265" y="293"/>
                  </a:lnTo>
                  <a:lnTo>
                    <a:pt x="260" y="298"/>
                  </a:lnTo>
                  <a:lnTo>
                    <a:pt x="259" y="298"/>
                  </a:lnTo>
                  <a:lnTo>
                    <a:pt x="257" y="299"/>
                  </a:lnTo>
                  <a:lnTo>
                    <a:pt x="256" y="299"/>
                  </a:lnTo>
                  <a:lnTo>
                    <a:pt x="256" y="302"/>
                  </a:lnTo>
                  <a:lnTo>
                    <a:pt x="254" y="304"/>
                  </a:lnTo>
                  <a:lnTo>
                    <a:pt x="254" y="305"/>
                  </a:lnTo>
                  <a:lnTo>
                    <a:pt x="253" y="307"/>
                  </a:lnTo>
                  <a:lnTo>
                    <a:pt x="253" y="308"/>
                  </a:lnTo>
                  <a:lnTo>
                    <a:pt x="250" y="310"/>
                  </a:lnTo>
                  <a:lnTo>
                    <a:pt x="248" y="311"/>
                  </a:lnTo>
                  <a:lnTo>
                    <a:pt x="248" y="313"/>
                  </a:lnTo>
                  <a:lnTo>
                    <a:pt x="247" y="316"/>
                  </a:lnTo>
                  <a:lnTo>
                    <a:pt x="247" y="317"/>
                  </a:lnTo>
                  <a:lnTo>
                    <a:pt x="245" y="317"/>
                  </a:lnTo>
                  <a:lnTo>
                    <a:pt x="245" y="320"/>
                  </a:lnTo>
                  <a:lnTo>
                    <a:pt x="244" y="320"/>
                  </a:lnTo>
                  <a:lnTo>
                    <a:pt x="239" y="323"/>
                  </a:lnTo>
                  <a:lnTo>
                    <a:pt x="238" y="325"/>
                  </a:lnTo>
                  <a:lnTo>
                    <a:pt x="241" y="328"/>
                  </a:lnTo>
                  <a:lnTo>
                    <a:pt x="239" y="328"/>
                  </a:lnTo>
                  <a:lnTo>
                    <a:pt x="238" y="329"/>
                  </a:lnTo>
                  <a:lnTo>
                    <a:pt x="229" y="329"/>
                  </a:lnTo>
                  <a:lnTo>
                    <a:pt x="228" y="331"/>
                  </a:lnTo>
                  <a:lnTo>
                    <a:pt x="229" y="331"/>
                  </a:lnTo>
                  <a:lnTo>
                    <a:pt x="229" y="343"/>
                  </a:lnTo>
                  <a:lnTo>
                    <a:pt x="231" y="349"/>
                  </a:lnTo>
                  <a:lnTo>
                    <a:pt x="232" y="350"/>
                  </a:lnTo>
                  <a:lnTo>
                    <a:pt x="233" y="353"/>
                  </a:lnTo>
                  <a:lnTo>
                    <a:pt x="236" y="356"/>
                  </a:lnTo>
                  <a:lnTo>
                    <a:pt x="235" y="356"/>
                  </a:lnTo>
                  <a:lnTo>
                    <a:pt x="235" y="361"/>
                  </a:lnTo>
                  <a:lnTo>
                    <a:pt x="236" y="362"/>
                  </a:lnTo>
                  <a:lnTo>
                    <a:pt x="236" y="367"/>
                  </a:lnTo>
                  <a:lnTo>
                    <a:pt x="235" y="368"/>
                  </a:lnTo>
                  <a:lnTo>
                    <a:pt x="235" y="371"/>
                  </a:lnTo>
                  <a:lnTo>
                    <a:pt x="236" y="371"/>
                  </a:lnTo>
                  <a:lnTo>
                    <a:pt x="239" y="373"/>
                  </a:lnTo>
                  <a:lnTo>
                    <a:pt x="245" y="379"/>
                  </a:lnTo>
                  <a:lnTo>
                    <a:pt x="245" y="380"/>
                  </a:lnTo>
                  <a:lnTo>
                    <a:pt x="247" y="380"/>
                  </a:lnTo>
                  <a:lnTo>
                    <a:pt x="248" y="382"/>
                  </a:lnTo>
                  <a:lnTo>
                    <a:pt x="248" y="383"/>
                  </a:lnTo>
                  <a:lnTo>
                    <a:pt x="247" y="385"/>
                  </a:lnTo>
                  <a:lnTo>
                    <a:pt x="247" y="386"/>
                  </a:lnTo>
                  <a:lnTo>
                    <a:pt x="245" y="394"/>
                  </a:lnTo>
                  <a:lnTo>
                    <a:pt x="245" y="395"/>
                  </a:lnTo>
                  <a:lnTo>
                    <a:pt x="248" y="400"/>
                  </a:lnTo>
                  <a:lnTo>
                    <a:pt x="242" y="395"/>
                  </a:lnTo>
                  <a:lnTo>
                    <a:pt x="244" y="395"/>
                  </a:lnTo>
                  <a:lnTo>
                    <a:pt x="241" y="392"/>
                  </a:lnTo>
                  <a:lnTo>
                    <a:pt x="239" y="392"/>
                  </a:lnTo>
                  <a:lnTo>
                    <a:pt x="239" y="398"/>
                  </a:lnTo>
                  <a:lnTo>
                    <a:pt x="238" y="397"/>
                  </a:lnTo>
                  <a:lnTo>
                    <a:pt x="236" y="397"/>
                  </a:lnTo>
                  <a:lnTo>
                    <a:pt x="235" y="395"/>
                  </a:lnTo>
                  <a:lnTo>
                    <a:pt x="231" y="394"/>
                  </a:lnTo>
                  <a:lnTo>
                    <a:pt x="228" y="394"/>
                  </a:lnTo>
                  <a:lnTo>
                    <a:pt x="226" y="392"/>
                  </a:lnTo>
                  <a:lnTo>
                    <a:pt x="228" y="392"/>
                  </a:lnTo>
                  <a:lnTo>
                    <a:pt x="226" y="391"/>
                  </a:lnTo>
                  <a:lnTo>
                    <a:pt x="226" y="389"/>
                  </a:lnTo>
                  <a:lnTo>
                    <a:pt x="228" y="389"/>
                  </a:lnTo>
                  <a:lnTo>
                    <a:pt x="231" y="386"/>
                  </a:lnTo>
                  <a:lnTo>
                    <a:pt x="229" y="385"/>
                  </a:lnTo>
                  <a:lnTo>
                    <a:pt x="229" y="388"/>
                  </a:lnTo>
                  <a:lnTo>
                    <a:pt x="228" y="388"/>
                  </a:lnTo>
                  <a:lnTo>
                    <a:pt x="226" y="386"/>
                  </a:lnTo>
                  <a:lnTo>
                    <a:pt x="226" y="382"/>
                  </a:lnTo>
                  <a:lnTo>
                    <a:pt x="223" y="382"/>
                  </a:lnTo>
                  <a:lnTo>
                    <a:pt x="223" y="383"/>
                  </a:lnTo>
                  <a:lnTo>
                    <a:pt x="225" y="383"/>
                  </a:lnTo>
                  <a:lnTo>
                    <a:pt x="225" y="385"/>
                  </a:lnTo>
                  <a:lnTo>
                    <a:pt x="226" y="386"/>
                  </a:lnTo>
                  <a:lnTo>
                    <a:pt x="226" y="388"/>
                  </a:lnTo>
                  <a:lnTo>
                    <a:pt x="225" y="388"/>
                  </a:lnTo>
                  <a:lnTo>
                    <a:pt x="217" y="380"/>
                  </a:lnTo>
                  <a:lnTo>
                    <a:pt x="217" y="379"/>
                  </a:lnTo>
                  <a:lnTo>
                    <a:pt x="219" y="379"/>
                  </a:lnTo>
                  <a:lnTo>
                    <a:pt x="219" y="377"/>
                  </a:lnTo>
                  <a:lnTo>
                    <a:pt x="217" y="377"/>
                  </a:lnTo>
                  <a:lnTo>
                    <a:pt x="217" y="379"/>
                  </a:lnTo>
                  <a:lnTo>
                    <a:pt x="216" y="379"/>
                  </a:lnTo>
                  <a:lnTo>
                    <a:pt x="216" y="380"/>
                  </a:lnTo>
                  <a:lnTo>
                    <a:pt x="214" y="379"/>
                  </a:lnTo>
                  <a:lnTo>
                    <a:pt x="214" y="377"/>
                  </a:lnTo>
                  <a:lnTo>
                    <a:pt x="216" y="377"/>
                  </a:lnTo>
                  <a:lnTo>
                    <a:pt x="217" y="376"/>
                  </a:lnTo>
                  <a:lnTo>
                    <a:pt x="214" y="376"/>
                  </a:lnTo>
                  <a:lnTo>
                    <a:pt x="214" y="377"/>
                  </a:lnTo>
                  <a:lnTo>
                    <a:pt x="211" y="377"/>
                  </a:lnTo>
                  <a:lnTo>
                    <a:pt x="210" y="376"/>
                  </a:lnTo>
                  <a:lnTo>
                    <a:pt x="210" y="374"/>
                  </a:lnTo>
                  <a:lnTo>
                    <a:pt x="208" y="374"/>
                  </a:lnTo>
                  <a:lnTo>
                    <a:pt x="208" y="373"/>
                  </a:lnTo>
                  <a:lnTo>
                    <a:pt x="207" y="371"/>
                  </a:lnTo>
                  <a:lnTo>
                    <a:pt x="205" y="371"/>
                  </a:lnTo>
                  <a:lnTo>
                    <a:pt x="205" y="370"/>
                  </a:lnTo>
                  <a:lnTo>
                    <a:pt x="199" y="370"/>
                  </a:lnTo>
                  <a:lnTo>
                    <a:pt x="199" y="371"/>
                  </a:lnTo>
                  <a:lnTo>
                    <a:pt x="195" y="371"/>
                  </a:lnTo>
                  <a:lnTo>
                    <a:pt x="195" y="373"/>
                  </a:lnTo>
                  <a:lnTo>
                    <a:pt x="189" y="373"/>
                  </a:lnTo>
                  <a:lnTo>
                    <a:pt x="187" y="374"/>
                  </a:lnTo>
                  <a:lnTo>
                    <a:pt x="186" y="374"/>
                  </a:lnTo>
                  <a:lnTo>
                    <a:pt x="180" y="371"/>
                  </a:lnTo>
                  <a:lnTo>
                    <a:pt x="168" y="371"/>
                  </a:lnTo>
                  <a:lnTo>
                    <a:pt x="166" y="373"/>
                  </a:lnTo>
                  <a:lnTo>
                    <a:pt x="166" y="374"/>
                  </a:lnTo>
                  <a:lnTo>
                    <a:pt x="165" y="373"/>
                  </a:lnTo>
                  <a:lnTo>
                    <a:pt x="165" y="371"/>
                  </a:lnTo>
                  <a:lnTo>
                    <a:pt x="162" y="371"/>
                  </a:lnTo>
                  <a:lnTo>
                    <a:pt x="162" y="370"/>
                  </a:lnTo>
                  <a:lnTo>
                    <a:pt x="160" y="370"/>
                  </a:lnTo>
                  <a:lnTo>
                    <a:pt x="162" y="367"/>
                  </a:lnTo>
                  <a:lnTo>
                    <a:pt x="163" y="367"/>
                  </a:lnTo>
                  <a:lnTo>
                    <a:pt x="163" y="365"/>
                  </a:lnTo>
                  <a:lnTo>
                    <a:pt x="165" y="364"/>
                  </a:lnTo>
                  <a:lnTo>
                    <a:pt x="163" y="364"/>
                  </a:lnTo>
                  <a:lnTo>
                    <a:pt x="163" y="362"/>
                  </a:lnTo>
                  <a:lnTo>
                    <a:pt x="162" y="359"/>
                  </a:lnTo>
                  <a:lnTo>
                    <a:pt x="162" y="358"/>
                  </a:lnTo>
                  <a:lnTo>
                    <a:pt x="163" y="358"/>
                  </a:lnTo>
                  <a:lnTo>
                    <a:pt x="163" y="356"/>
                  </a:lnTo>
                  <a:lnTo>
                    <a:pt x="165" y="356"/>
                  </a:lnTo>
                  <a:lnTo>
                    <a:pt x="165" y="353"/>
                  </a:lnTo>
                  <a:lnTo>
                    <a:pt x="163" y="353"/>
                  </a:lnTo>
                  <a:lnTo>
                    <a:pt x="163" y="352"/>
                  </a:lnTo>
                  <a:lnTo>
                    <a:pt x="162" y="352"/>
                  </a:lnTo>
                  <a:lnTo>
                    <a:pt x="162" y="350"/>
                  </a:lnTo>
                  <a:lnTo>
                    <a:pt x="163" y="350"/>
                  </a:lnTo>
                  <a:lnTo>
                    <a:pt x="163" y="349"/>
                  </a:lnTo>
                  <a:lnTo>
                    <a:pt x="165" y="347"/>
                  </a:lnTo>
                  <a:lnTo>
                    <a:pt x="165" y="343"/>
                  </a:lnTo>
                  <a:lnTo>
                    <a:pt x="163" y="343"/>
                  </a:lnTo>
                  <a:lnTo>
                    <a:pt x="163" y="341"/>
                  </a:lnTo>
                  <a:lnTo>
                    <a:pt x="165" y="341"/>
                  </a:lnTo>
                  <a:lnTo>
                    <a:pt x="165" y="340"/>
                  </a:lnTo>
                  <a:lnTo>
                    <a:pt x="166" y="340"/>
                  </a:lnTo>
                  <a:lnTo>
                    <a:pt x="166" y="338"/>
                  </a:lnTo>
                  <a:lnTo>
                    <a:pt x="168" y="338"/>
                  </a:lnTo>
                  <a:lnTo>
                    <a:pt x="168" y="335"/>
                  </a:lnTo>
                  <a:lnTo>
                    <a:pt x="166" y="335"/>
                  </a:lnTo>
                  <a:lnTo>
                    <a:pt x="166" y="334"/>
                  </a:lnTo>
                  <a:lnTo>
                    <a:pt x="162" y="334"/>
                  </a:lnTo>
                  <a:lnTo>
                    <a:pt x="159" y="332"/>
                  </a:lnTo>
                  <a:lnTo>
                    <a:pt x="153" y="332"/>
                  </a:lnTo>
                  <a:lnTo>
                    <a:pt x="150" y="329"/>
                  </a:lnTo>
                  <a:lnTo>
                    <a:pt x="148" y="329"/>
                  </a:lnTo>
                  <a:lnTo>
                    <a:pt x="150" y="328"/>
                  </a:lnTo>
                  <a:lnTo>
                    <a:pt x="150" y="326"/>
                  </a:lnTo>
                  <a:lnTo>
                    <a:pt x="148" y="328"/>
                  </a:lnTo>
                  <a:lnTo>
                    <a:pt x="148" y="331"/>
                  </a:lnTo>
                  <a:lnTo>
                    <a:pt x="147" y="332"/>
                  </a:lnTo>
                  <a:lnTo>
                    <a:pt x="135" y="332"/>
                  </a:lnTo>
                  <a:lnTo>
                    <a:pt x="135" y="331"/>
                  </a:lnTo>
                  <a:lnTo>
                    <a:pt x="132" y="334"/>
                  </a:lnTo>
                  <a:lnTo>
                    <a:pt x="129" y="335"/>
                  </a:lnTo>
                  <a:lnTo>
                    <a:pt x="124" y="335"/>
                  </a:lnTo>
                  <a:lnTo>
                    <a:pt x="124" y="337"/>
                  </a:lnTo>
                  <a:lnTo>
                    <a:pt x="123" y="338"/>
                  </a:lnTo>
                  <a:lnTo>
                    <a:pt x="123" y="340"/>
                  </a:lnTo>
                  <a:lnTo>
                    <a:pt x="121" y="340"/>
                  </a:lnTo>
                  <a:lnTo>
                    <a:pt x="121" y="341"/>
                  </a:lnTo>
                  <a:lnTo>
                    <a:pt x="120" y="341"/>
                  </a:lnTo>
                  <a:lnTo>
                    <a:pt x="120" y="343"/>
                  </a:lnTo>
                  <a:lnTo>
                    <a:pt x="121" y="346"/>
                  </a:lnTo>
                  <a:lnTo>
                    <a:pt x="124" y="347"/>
                  </a:lnTo>
                  <a:lnTo>
                    <a:pt x="124" y="349"/>
                  </a:lnTo>
                  <a:lnTo>
                    <a:pt x="126" y="349"/>
                  </a:lnTo>
                  <a:lnTo>
                    <a:pt x="126" y="352"/>
                  </a:lnTo>
                  <a:lnTo>
                    <a:pt x="127" y="353"/>
                  </a:lnTo>
                  <a:lnTo>
                    <a:pt x="126" y="353"/>
                  </a:lnTo>
                  <a:lnTo>
                    <a:pt x="126" y="355"/>
                  </a:lnTo>
                  <a:lnTo>
                    <a:pt x="124" y="356"/>
                  </a:lnTo>
                  <a:lnTo>
                    <a:pt x="124" y="359"/>
                  </a:lnTo>
                  <a:lnTo>
                    <a:pt x="121" y="365"/>
                  </a:lnTo>
                  <a:lnTo>
                    <a:pt x="121" y="367"/>
                  </a:lnTo>
                  <a:lnTo>
                    <a:pt x="120" y="370"/>
                  </a:lnTo>
                  <a:lnTo>
                    <a:pt x="120" y="373"/>
                  </a:lnTo>
                  <a:lnTo>
                    <a:pt x="121" y="376"/>
                  </a:lnTo>
                  <a:lnTo>
                    <a:pt x="121" y="382"/>
                  </a:lnTo>
                  <a:lnTo>
                    <a:pt x="123" y="385"/>
                  </a:lnTo>
                  <a:lnTo>
                    <a:pt x="121" y="386"/>
                  </a:lnTo>
                  <a:lnTo>
                    <a:pt x="121" y="391"/>
                  </a:lnTo>
                  <a:lnTo>
                    <a:pt x="123" y="391"/>
                  </a:lnTo>
                  <a:lnTo>
                    <a:pt x="123" y="394"/>
                  </a:lnTo>
                  <a:lnTo>
                    <a:pt x="121" y="395"/>
                  </a:lnTo>
                  <a:lnTo>
                    <a:pt x="121" y="397"/>
                  </a:lnTo>
                  <a:lnTo>
                    <a:pt x="120" y="398"/>
                  </a:lnTo>
                  <a:lnTo>
                    <a:pt x="115" y="404"/>
                  </a:lnTo>
                  <a:lnTo>
                    <a:pt x="114" y="406"/>
                  </a:lnTo>
                  <a:lnTo>
                    <a:pt x="114" y="410"/>
                  </a:lnTo>
                  <a:lnTo>
                    <a:pt x="112" y="410"/>
                  </a:lnTo>
                  <a:lnTo>
                    <a:pt x="112" y="412"/>
                  </a:lnTo>
                  <a:lnTo>
                    <a:pt x="114" y="413"/>
                  </a:lnTo>
                  <a:lnTo>
                    <a:pt x="114" y="415"/>
                  </a:lnTo>
                  <a:lnTo>
                    <a:pt x="112" y="415"/>
                  </a:lnTo>
                  <a:lnTo>
                    <a:pt x="111" y="416"/>
                  </a:lnTo>
                  <a:lnTo>
                    <a:pt x="106" y="422"/>
                  </a:lnTo>
                  <a:lnTo>
                    <a:pt x="106" y="424"/>
                  </a:lnTo>
                  <a:lnTo>
                    <a:pt x="105" y="425"/>
                  </a:lnTo>
                  <a:lnTo>
                    <a:pt x="105" y="428"/>
                  </a:lnTo>
                  <a:lnTo>
                    <a:pt x="103" y="431"/>
                  </a:lnTo>
                  <a:lnTo>
                    <a:pt x="103" y="433"/>
                  </a:lnTo>
                  <a:lnTo>
                    <a:pt x="102" y="433"/>
                  </a:lnTo>
                  <a:lnTo>
                    <a:pt x="102" y="437"/>
                  </a:lnTo>
                  <a:lnTo>
                    <a:pt x="103" y="439"/>
                  </a:lnTo>
                  <a:lnTo>
                    <a:pt x="103" y="440"/>
                  </a:lnTo>
                  <a:lnTo>
                    <a:pt x="99" y="440"/>
                  </a:lnTo>
                  <a:lnTo>
                    <a:pt x="99" y="455"/>
                  </a:lnTo>
                  <a:lnTo>
                    <a:pt x="96" y="455"/>
                  </a:lnTo>
                  <a:lnTo>
                    <a:pt x="96" y="458"/>
                  </a:lnTo>
                  <a:lnTo>
                    <a:pt x="93" y="463"/>
                  </a:lnTo>
                  <a:lnTo>
                    <a:pt x="93" y="464"/>
                  </a:lnTo>
                  <a:lnTo>
                    <a:pt x="91" y="464"/>
                  </a:lnTo>
                  <a:lnTo>
                    <a:pt x="90" y="466"/>
                  </a:lnTo>
                  <a:lnTo>
                    <a:pt x="90" y="467"/>
                  </a:lnTo>
                  <a:lnTo>
                    <a:pt x="88" y="469"/>
                  </a:lnTo>
                  <a:lnTo>
                    <a:pt x="88" y="470"/>
                  </a:lnTo>
                  <a:lnTo>
                    <a:pt x="87" y="470"/>
                  </a:lnTo>
                  <a:lnTo>
                    <a:pt x="87" y="472"/>
                  </a:lnTo>
                  <a:lnTo>
                    <a:pt x="88" y="472"/>
                  </a:lnTo>
                  <a:lnTo>
                    <a:pt x="88" y="473"/>
                  </a:lnTo>
                  <a:lnTo>
                    <a:pt x="87" y="473"/>
                  </a:lnTo>
                  <a:lnTo>
                    <a:pt x="87" y="475"/>
                  </a:lnTo>
                  <a:lnTo>
                    <a:pt x="90" y="478"/>
                  </a:lnTo>
                  <a:lnTo>
                    <a:pt x="88" y="479"/>
                  </a:lnTo>
                  <a:lnTo>
                    <a:pt x="85" y="479"/>
                  </a:lnTo>
                  <a:lnTo>
                    <a:pt x="85" y="478"/>
                  </a:lnTo>
                  <a:lnTo>
                    <a:pt x="84" y="478"/>
                  </a:lnTo>
                  <a:lnTo>
                    <a:pt x="82" y="479"/>
                  </a:lnTo>
                  <a:lnTo>
                    <a:pt x="82" y="481"/>
                  </a:lnTo>
                  <a:lnTo>
                    <a:pt x="87" y="485"/>
                  </a:lnTo>
                  <a:lnTo>
                    <a:pt x="85" y="485"/>
                  </a:lnTo>
                  <a:lnTo>
                    <a:pt x="85" y="487"/>
                  </a:lnTo>
                  <a:lnTo>
                    <a:pt x="84" y="488"/>
                  </a:lnTo>
                  <a:lnTo>
                    <a:pt x="84" y="489"/>
                  </a:lnTo>
                  <a:lnTo>
                    <a:pt x="82" y="491"/>
                  </a:lnTo>
                  <a:lnTo>
                    <a:pt x="82" y="492"/>
                  </a:lnTo>
                  <a:lnTo>
                    <a:pt x="84" y="492"/>
                  </a:lnTo>
                  <a:lnTo>
                    <a:pt x="84" y="495"/>
                  </a:lnTo>
                  <a:lnTo>
                    <a:pt x="82" y="495"/>
                  </a:lnTo>
                  <a:lnTo>
                    <a:pt x="84" y="498"/>
                  </a:lnTo>
                  <a:lnTo>
                    <a:pt x="84" y="503"/>
                  </a:lnTo>
                  <a:lnTo>
                    <a:pt x="82" y="503"/>
                  </a:lnTo>
                  <a:lnTo>
                    <a:pt x="82" y="506"/>
                  </a:lnTo>
                  <a:lnTo>
                    <a:pt x="84" y="507"/>
                  </a:lnTo>
                  <a:lnTo>
                    <a:pt x="84" y="512"/>
                  </a:lnTo>
                  <a:lnTo>
                    <a:pt x="85" y="513"/>
                  </a:lnTo>
                  <a:lnTo>
                    <a:pt x="85" y="516"/>
                  </a:lnTo>
                  <a:lnTo>
                    <a:pt x="88" y="519"/>
                  </a:lnTo>
                  <a:lnTo>
                    <a:pt x="91" y="524"/>
                  </a:lnTo>
                  <a:lnTo>
                    <a:pt x="88" y="524"/>
                  </a:lnTo>
                  <a:lnTo>
                    <a:pt x="88" y="525"/>
                  </a:lnTo>
                  <a:lnTo>
                    <a:pt x="87" y="525"/>
                  </a:lnTo>
                  <a:lnTo>
                    <a:pt x="87" y="531"/>
                  </a:lnTo>
                  <a:lnTo>
                    <a:pt x="91" y="531"/>
                  </a:lnTo>
                  <a:lnTo>
                    <a:pt x="93" y="533"/>
                  </a:lnTo>
                  <a:lnTo>
                    <a:pt x="97" y="533"/>
                  </a:lnTo>
                  <a:lnTo>
                    <a:pt x="99" y="531"/>
                  </a:lnTo>
                  <a:lnTo>
                    <a:pt x="99" y="530"/>
                  </a:lnTo>
                  <a:lnTo>
                    <a:pt x="100" y="528"/>
                  </a:lnTo>
                  <a:lnTo>
                    <a:pt x="105" y="528"/>
                  </a:lnTo>
                  <a:lnTo>
                    <a:pt x="106" y="527"/>
                  </a:lnTo>
                  <a:lnTo>
                    <a:pt x="114" y="527"/>
                  </a:lnTo>
                  <a:lnTo>
                    <a:pt x="115" y="528"/>
                  </a:lnTo>
                  <a:lnTo>
                    <a:pt x="115" y="530"/>
                  </a:lnTo>
                  <a:lnTo>
                    <a:pt x="117" y="531"/>
                  </a:lnTo>
                  <a:lnTo>
                    <a:pt x="117" y="536"/>
                  </a:lnTo>
                  <a:lnTo>
                    <a:pt x="118" y="536"/>
                  </a:lnTo>
                  <a:lnTo>
                    <a:pt x="118" y="549"/>
                  </a:lnTo>
                  <a:lnTo>
                    <a:pt x="120" y="558"/>
                  </a:lnTo>
                  <a:lnTo>
                    <a:pt x="120" y="560"/>
                  </a:lnTo>
                  <a:lnTo>
                    <a:pt x="121" y="561"/>
                  </a:lnTo>
                  <a:lnTo>
                    <a:pt x="124" y="563"/>
                  </a:lnTo>
                  <a:lnTo>
                    <a:pt x="124" y="564"/>
                  </a:lnTo>
                  <a:lnTo>
                    <a:pt x="126" y="566"/>
                  </a:lnTo>
                  <a:lnTo>
                    <a:pt x="126" y="567"/>
                  </a:lnTo>
                  <a:lnTo>
                    <a:pt x="127" y="569"/>
                  </a:lnTo>
                  <a:lnTo>
                    <a:pt x="129" y="569"/>
                  </a:lnTo>
                  <a:lnTo>
                    <a:pt x="129" y="570"/>
                  </a:lnTo>
                  <a:lnTo>
                    <a:pt x="130" y="570"/>
                  </a:lnTo>
                  <a:lnTo>
                    <a:pt x="130" y="566"/>
                  </a:lnTo>
                  <a:lnTo>
                    <a:pt x="129" y="564"/>
                  </a:lnTo>
                  <a:lnTo>
                    <a:pt x="127" y="564"/>
                  </a:lnTo>
                  <a:lnTo>
                    <a:pt x="129" y="563"/>
                  </a:lnTo>
                  <a:lnTo>
                    <a:pt x="132" y="566"/>
                  </a:lnTo>
                  <a:lnTo>
                    <a:pt x="132" y="567"/>
                  </a:lnTo>
                  <a:lnTo>
                    <a:pt x="135" y="573"/>
                  </a:lnTo>
                  <a:lnTo>
                    <a:pt x="136" y="582"/>
                  </a:lnTo>
                  <a:lnTo>
                    <a:pt x="138" y="590"/>
                  </a:lnTo>
                  <a:lnTo>
                    <a:pt x="139" y="596"/>
                  </a:lnTo>
                  <a:lnTo>
                    <a:pt x="142" y="612"/>
                  </a:lnTo>
                  <a:lnTo>
                    <a:pt x="145" y="618"/>
                  </a:lnTo>
                  <a:lnTo>
                    <a:pt x="147" y="623"/>
                  </a:lnTo>
                  <a:lnTo>
                    <a:pt x="148" y="623"/>
                  </a:lnTo>
                  <a:lnTo>
                    <a:pt x="150" y="624"/>
                  </a:lnTo>
                  <a:lnTo>
                    <a:pt x="157" y="635"/>
                  </a:lnTo>
                  <a:lnTo>
                    <a:pt x="159" y="636"/>
                  </a:lnTo>
                  <a:lnTo>
                    <a:pt x="162" y="636"/>
                  </a:lnTo>
                  <a:lnTo>
                    <a:pt x="165" y="639"/>
                  </a:lnTo>
                  <a:lnTo>
                    <a:pt x="168" y="641"/>
                  </a:lnTo>
                  <a:lnTo>
                    <a:pt x="177" y="641"/>
                  </a:lnTo>
                  <a:lnTo>
                    <a:pt x="178" y="639"/>
                  </a:lnTo>
                  <a:lnTo>
                    <a:pt x="178" y="638"/>
                  </a:lnTo>
                  <a:lnTo>
                    <a:pt x="181" y="639"/>
                  </a:lnTo>
                  <a:lnTo>
                    <a:pt x="184" y="639"/>
                  </a:lnTo>
                  <a:lnTo>
                    <a:pt x="183" y="638"/>
                  </a:lnTo>
                  <a:lnTo>
                    <a:pt x="180" y="636"/>
                  </a:lnTo>
                  <a:lnTo>
                    <a:pt x="183" y="636"/>
                  </a:lnTo>
                  <a:lnTo>
                    <a:pt x="184" y="638"/>
                  </a:lnTo>
                  <a:lnTo>
                    <a:pt x="186" y="638"/>
                  </a:lnTo>
                  <a:lnTo>
                    <a:pt x="187" y="639"/>
                  </a:lnTo>
                  <a:lnTo>
                    <a:pt x="190" y="639"/>
                  </a:lnTo>
                  <a:lnTo>
                    <a:pt x="192" y="641"/>
                  </a:lnTo>
                  <a:lnTo>
                    <a:pt x="193" y="641"/>
                  </a:lnTo>
                  <a:lnTo>
                    <a:pt x="199" y="650"/>
                  </a:lnTo>
                  <a:lnTo>
                    <a:pt x="201" y="653"/>
                  </a:lnTo>
                  <a:lnTo>
                    <a:pt x="204" y="657"/>
                  </a:lnTo>
                  <a:lnTo>
                    <a:pt x="205" y="659"/>
                  </a:lnTo>
                  <a:lnTo>
                    <a:pt x="210" y="662"/>
                  </a:lnTo>
                  <a:lnTo>
                    <a:pt x="214" y="666"/>
                  </a:lnTo>
                  <a:lnTo>
                    <a:pt x="217" y="668"/>
                  </a:lnTo>
                  <a:lnTo>
                    <a:pt x="217" y="675"/>
                  </a:lnTo>
                  <a:lnTo>
                    <a:pt x="216" y="677"/>
                  </a:lnTo>
                  <a:lnTo>
                    <a:pt x="211" y="680"/>
                  </a:lnTo>
                  <a:lnTo>
                    <a:pt x="211" y="681"/>
                  </a:lnTo>
                  <a:lnTo>
                    <a:pt x="210" y="683"/>
                  </a:lnTo>
                  <a:lnTo>
                    <a:pt x="210" y="686"/>
                  </a:lnTo>
                  <a:lnTo>
                    <a:pt x="208" y="687"/>
                  </a:lnTo>
                  <a:lnTo>
                    <a:pt x="208" y="689"/>
                  </a:lnTo>
                  <a:lnTo>
                    <a:pt x="207" y="689"/>
                  </a:lnTo>
                  <a:lnTo>
                    <a:pt x="205" y="690"/>
                  </a:lnTo>
                  <a:lnTo>
                    <a:pt x="205" y="692"/>
                  </a:lnTo>
                  <a:lnTo>
                    <a:pt x="202" y="692"/>
                  </a:lnTo>
                  <a:lnTo>
                    <a:pt x="202" y="690"/>
                  </a:lnTo>
                  <a:lnTo>
                    <a:pt x="198" y="690"/>
                  </a:lnTo>
                  <a:lnTo>
                    <a:pt x="196" y="687"/>
                  </a:lnTo>
                  <a:lnTo>
                    <a:pt x="196" y="686"/>
                  </a:lnTo>
                  <a:lnTo>
                    <a:pt x="195" y="686"/>
                  </a:lnTo>
                  <a:lnTo>
                    <a:pt x="195" y="684"/>
                  </a:lnTo>
                  <a:lnTo>
                    <a:pt x="190" y="684"/>
                  </a:lnTo>
                  <a:lnTo>
                    <a:pt x="186" y="687"/>
                  </a:lnTo>
                  <a:lnTo>
                    <a:pt x="184" y="687"/>
                  </a:lnTo>
                  <a:lnTo>
                    <a:pt x="183" y="689"/>
                  </a:lnTo>
                  <a:lnTo>
                    <a:pt x="181" y="689"/>
                  </a:lnTo>
                  <a:lnTo>
                    <a:pt x="178" y="692"/>
                  </a:lnTo>
                  <a:lnTo>
                    <a:pt x="178" y="695"/>
                  </a:lnTo>
                  <a:lnTo>
                    <a:pt x="177" y="695"/>
                  </a:lnTo>
                  <a:lnTo>
                    <a:pt x="175" y="696"/>
                  </a:lnTo>
                  <a:lnTo>
                    <a:pt x="172" y="696"/>
                  </a:lnTo>
                  <a:lnTo>
                    <a:pt x="172" y="695"/>
                  </a:lnTo>
                  <a:lnTo>
                    <a:pt x="171" y="695"/>
                  </a:lnTo>
                  <a:lnTo>
                    <a:pt x="171" y="693"/>
                  </a:lnTo>
                  <a:lnTo>
                    <a:pt x="169" y="692"/>
                  </a:lnTo>
                  <a:lnTo>
                    <a:pt x="168" y="692"/>
                  </a:lnTo>
                  <a:lnTo>
                    <a:pt x="166" y="690"/>
                  </a:lnTo>
                  <a:lnTo>
                    <a:pt x="166" y="689"/>
                  </a:lnTo>
                  <a:lnTo>
                    <a:pt x="168" y="684"/>
                  </a:lnTo>
                  <a:lnTo>
                    <a:pt x="171" y="684"/>
                  </a:lnTo>
                  <a:lnTo>
                    <a:pt x="171" y="681"/>
                  </a:lnTo>
                  <a:lnTo>
                    <a:pt x="172" y="680"/>
                  </a:lnTo>
                  <a:lnTo>
                    <a:pt x="172" y="675"/>
                  </a:lnTo>
                  <a:lnTo>
                    <a:pt x="171" y="674"/>
                  </a:lnTo>
                  <a:lnTo>
                    <a:pt x="171" y="672"/>
                  </a:lnTo>
                  <a:lnTo>
                    <a:pt x="172" y="671"/>
                  </a:lnTo>
                  <a:lnTo>
                    <a:pt x="172" y="668"/>
                  </a:lnTo>
                  <a:lnTo>
                    <a:pt x="171" y="668"/>
                  </a:lnTo>
                  <a:lnTo>
                    <a:pt x="169" y="669"/>
                  </a:lnTo>
                  <a:lnTo>
                    <a:pt x="168" y="668"/>
                  </a:lnTo>
                  <a:lnTo>
                    <a:pt x="166" y="668"/>
                  </a:lnTo>
                  <a:lnTo>
                    <a:pt x="165" y="669"/>
                  </a:lnTo>
                  <a:lnTo>
                    <a:pt x="163" y="669"/>
                  </a:lnTo>
                  <a:lnTo>
                    <a:pt x="162" y="668"/>
                  </a:lnTo>
                  <a:lnTo>
                    <a:pt x="160" y="669"/>
                  </a:lnTo>
                  <a:lnTo>
                    <a:pt x="160" y="665"/>
                  </a:lnTo>
                  <a:lnTo>
                    <a:pt x="159" y="663"/>
                  </a:lnTo>
                  <a:lnTo>
                    <a:pt x="159" y="660"/>
                  </a:lnTo>
                  <a:lnTo>
                    <a:pt x="157" y="659"/>
                  </a:lnTo>
                  <a:lnTo>
                    <a:pt x="156" y="659"/>
                  </a:lnTo>
                  <a:lnTo>
                    <a:pt x="156" y="657"/>
                  </a:lnTo>
                  <a:lnTo>
                    <a:pt x="154" y="657"/>
                  </a:lnTo>
                  <a:lnTo>
                    <a:pt x="151" y="659"/>
                  </a:lnTo>
                  <a:lnTo>
                    <a:pt x="148" y="659"/>
                  </a:lnTo>
                  <a:lnTo>
                    <a:pt x="145" y="657"/>
                  </a:lnTo>
                  <a:lnTo>
                    <a:pt x="144" y="656"/>
                  </a:lnTo>
                  <a:lnTo>
                    <a:pt x="139" y="656"/>
                  </a:lnTo>
                  <a:lnTo>
                    <a:pt x="138" y="654"/>
                  </a:lnTo>
                  <a:lnTo>
                    <a:pt x="136" y="654"/>
                  </a:lnTo>
                  <a:lnTo>
                    <a:pt x="136" y="653"/>
                  </a:lnTo>
                  <a:lnTo>
                    <a:pt x="135" y="648"/>
                  </a:lnTo>
                  <a:lnTo>
                    <a:pt x="130" y="648"/>
                  </a:lnTo>
                  <a:lnTo>
                    <a:pt x="130" y="647"/>
                  </a:lnTo>
                  <a:lnTo>
                    <a:pt x="129" y="648"/>
                  </a:lnTo>
                  <a:lnTo>
                    <a:pt x="129" y="657"/>
                  </a:lnTo>
                  <a:lnTo>
                    <a:pt x="127" y="659"/>
                  </a:lnTo>
                  <a:lnTo>
                    <a:pt x="127" y="657"/>
                  </a:lnTo>
                  <a:lnTo>
                    <a:pt x="126" y="657"/>
                  </a:lnTo>
                  <a:lnTo>
                    <a:pt x="126" y="656"/>
                  </a:lnTo>
                  <a:lnTo>
                    <a:pt x="123" y="656"/>
                  </a:lnTo>
                  <a:lnTo>
                    <a:pt x="121" y="654"/>
                  </a:lnTo>
                  <a:lnTo>
                    <a:pt x="121" y="653"/>
                  </a:lnTo>
                  <a:lnTo>
                    <a:pt x="120" y="653"/>
                  </a:lnTo>
                  <a:lnTo>
                    <a:pt x="120" y="650"/>
                  </a:lnTo>
                  <a:lnTo>
                    <a:pt x="118" y="650"/>
                  </a:lnTo>
                  <a:lnTo>
                    <a:pt x="118" y="647"/>
                  </a:lnTo>
                  <a:lnTo>
                    <a:pt x="117" y="647"/>
                  </a:lnTo>
                  <a:lnTo>
                    <a:pt x="115" y="645"/>
                  </a:lnTo>
                  <a:lnTo>
                    <a:pt x="115" y="644"/>
                  </a:lnTo>
                  <a:lnTo>
                    <a:pt x="114" y="644"/>
                  </a:lnTo>
                  <a:lnTo>
                    <a:pt x="112" y="642"/>
                  </a:lnTo>
                  <a:lnTo>
                    <a:pt x="108" y="641"/>
                  </a:lnTo>
                  <a:lnTo>
                    <a:pt x="108" y="633"/>
                  </a:lnTo>
                  <a:lnTo>
                    <a:pt x="106" y="633"/>
                  </a:lnTo>
                  <a:lnTo>
                    <a:pt x="108" y="632"/>
                  </a:lnTo>
                  <a:lnTo>
                    <a:pt x="108" y="630"/>
                  </a:lnTo>
                  <a:lnTo>
                    <a:pt x="109" y="630"/>
                  </a:lnTo>
                  <a:lnTo>
                    <a:pt x="111" y="627"/>
                  </a:lnTo>
                  <a:lnTo>
                    <a:pt x="109" y="627"/>
                  </a:lnTo>
                  <a:lnTo>
                    <a:pt x="108" y="629"/>
                  </a:lnTo>
                  <a:lnTo>
                    <a:pt x="106" y="629"/>
                  </a:lnTo>
                  <a:lnTo>
                    <a:pt x="106" y="626"/>
                  </a:lnTo>
                  <a:lnTo>
                    <a:pt x="105" y="627"/>
                  </a:lnTo>
                  <a:lnTo>
                    <a:pt x="103" y="627"/>
                  </a:lnTo>
                  <a:lnTo>
                    <a:pt x="102" y="624"/>
                  </a:lnTo>
                  <a:lnTo>
                    <a:pt x="100" y="623"/>
                  </a:lnTo>
                  <a:lnTo>
                    <a:pt x="100" y="621"/>
                  </a:lnTo>
                  <a:lnTo>
                    <a:pt x="102" y="621"/>
                  </a:lnTo>
                  <a:lnTo>
                    <a:pt x="103" y="620"/>
                  </a:lnTo>
                  <a:lnTo>
                    <a:pt x="103" y="617"/>
                  </a:lnTo>
                  <a:lnTo>
                    <a:pt x="100" y="620"/>
                  </a:lnTo>
                  <a:lnTo>
                    <a:pt x="100" y="617"/>
                  </a:lnTo>
                  <a:lnTo>
                    <a:pt x="99" y="617"/>
                  </a:lnTo>
                  <a:lnTo>
                    <a:pt x="99" y="621"/>
                  </a:lnTo>
                  <a:lnTo>
                    <a:pt x="97" y="621"/>
                  </a:lnTo>
                  <a:lnTo>
                    <a:pt x="96" y="620"/>
                  </a:lnTo>
                  <a:lnTo>
                    <a:pt x="94" y="620"/>
                  </a:lnTo>
                  <a:lnTo>
                    <a:pt x="91" y="617"/>
                  </a:lnTo>
                  <a:lnTo>
                    <a:pt x="91" y="611"/>
                  </a:lnTo>
                  <a:lnTo>
                    <a:pt x="90" y="611"/>
                  </a:lnTo>
                  <a:lnTo>
                    <a:pt x="90" y="605"/>
                  </a:lnTo>
                  <a:lnTo>
                    <a:pt x="88" y="605"/>
                  </a:lnTo>
                  <a:lnTo>
                    <a:pt x="84" y="600"/>
                  </a:lnTo>
                  <a:lnTo>
                    <a:pt x="82" y="600"/>
                  </a:lnTo>
                  <a:lnTo>
                    <a:pt x="82" y="599"/>
                  </a:lnTo>
                  <a:lnTo>
                    <a:pt x="81" y="599"/>
                  </a:lnTo>
                  <a:lnTo>
                    <a:pt x="81" y="602"/>
                  </a:lnTo>
                  <a:lnTo>
                    <a:pt x="78" y="602"/>
                  </a:lnTo>
                  <a:lnTo>
                    <a:pt x="78" y="600"/>
                  </a:lnTo>
                  <a:lnTo>
                    <a:pt x="76" y="597"/>
                  </a:lnTo>
                  <a:lnTo>
                    <a:pt x="76" y="596"/>
                  </a:lnTo>
                  <a:lnTo>
                    <a:pt x="78" y="594"/>
                  </a:lnTo>
                  <a:lnTo>
                    <a:pt x="79" y="594"/>
                  </a:lnTo>
                  <a:lnTo>
                    <a:pt x="79" y="591"/>
                  </a:lnTo>
                  <a:lnTo>
                    <a:pt x="78" y="593"/>
                  </a:lnTo>
                  <a:lnTo>
                    <a:pt x="76" y="593"/>
                  </a:lnTo>
                  <a:lnTo>
                    <a:pt x="76" y="590"/>
                  </a:lnTo>
                  <a:lnTo>
                    <a:pt x="75" y="590"/>
                  </a:lnTo>
                  <a:lnTo>
                    <a:pt x="73" y="588"/>
                  </a:lnTo>
                  <a:lnTo>
                    <a:pt x="75" y="588"/>
                  </a:lnTo>
                  <a:lnTo>
                    <a:pt x="73" y="587"/>
                  </a:lnTo>
                  <a:lnTo>
                    <a:pt x="72" y="587"/>
                  </a:lnTo>
                  <a:lnTo>
                    <a:pt x="72" y="585"/>
                  </a:lnTo>
                  <a:lnTo>
                    <a:pt x="71" y="587"/>
                  </a:lnTo>
                  <a:lnTo>
                    <a:pt x="69" y="587"/>
                  </a:lnTo>
                  <a:lnTo>
                    <a:pt x="69" y="588"/>
                  </a:lnTo>
                  <a:lnTo>
                    <a:pt x="68" y="587"/>
                  </a:lnTo>
                  <a:lnTo>
                    <a:pt x="68" y="585"/>
                  </a:lnTo>
                  <a:lnTo>
                    <a:pt x="65" y="585"/>
                  </a:lnTo>
                  <a:lnTo>
                    <a:pt x="65" y="578"/>
                  </a:lnTo>
                  <a:lnTo>
                    <a:pt x="63" y="576"/>
                  </a:lnTo>
                  <a:lnTo>
                    <a:pt x="63" y="573"/>
                  </a:lnTo>
                  <a:lnTo>
                    <a:pt x="62" y="573"/>
                  </a:lnTo>
                  <a:lnTo>
                    <a:pt x="60" y="575"/>
                  </a:lnTo>
                  <a:lnTo>
                    <a:pt x="59" y="575"/>
                  </a:lnTo>
                  <a:lnTo>
                    <a:pt x="59" y="572"/>
                  </a:lnTo>
                  <a:lnTo>
                    <a:pt x="60" y="570"/>
                  </a:lnTo>
                  <a:lnTo>
                    <a:pt x="59" y="570"/>
                  </a:lnTo>
                  <a:lnTo>
                    <a:pt x="57" y="569"/>
                  </a:lnTo>
                  <a:lnTo>
                    <a:pt x="57" y="570"/>
                  </a:lnTo>
                  <a:lnTo>
                    <a:pt x="56" y="570"/>
                  </a:lnTo>
                  <a:lnTo>
                    <a:pt x="56" y="572"/>
                  </a:lnTo>
                  <a:lnTo>
                    <a:pt x="53" y="572"/>
                  </a:lnTo>
                  <a:lnTo>
                    <a:pt x="53" y="573"/>
                  </a:lnTo>
                  <a:lnTo>
                    <a:pt x="51" y="572"/>
                  </a:lnTo>
                  <a:lnTo>
                    <a:pt x="51" y="573"/>
                  </a:lnTo>
                  <a:lnTo>
                    <a:pt x="50" y="573"/>
                  </a:lnTo>
                  <a:lnTo>
                    <a:pt x="51" y="575"/>
                  </a:lnTo>
                  <a:lnTo>
                    <a:pt x="51" y="579"/>
                  </a:lnTo>
                  <a:lnTo>
                    <a:pt x="50" y="581"/>
                  </a:lnTo>
                  <a:lnTo>
                    <a:pt x="47" y="581"/>
                  </a:lnTo>
                  <a:lnTo>
                    <a:pt x="47" y="579"/>
                  </a:lnTo>
                  <a:lnTo>
                    <a:pt x="45" y="579"/>
                  </a:lnTo>
                  <a:lnTo>
                    <a:pt x="45" y="578"/>
                  </a:lnTo>
                  <a:lnTo>
                    <a:pt x="44" y="578"/>
                  </a:lnTo>
                  <a:lnTo>
                    <a:pt x="42" y="576"/>
                  </a:lnTo>
                  <a:lnTo>
                    <a:pt x="42" y="573"/>
                  </a:lnTo>
                  <a:lnTo>
                    <a:pt x="41" y="569"/>
                  </a:lnTo>
                  <a:lnTo>
                    <a:pt x="39" y="563"/>
                  </a:lnTo>
                  <a:lnTo>
                    <a:pt x="39" y="561"/>
                  </a:lnTo>
                  <a:lnTo>
                    <a:pt x="42" y="564"/>
                  </a:lnTo>
                  <a:lnTo>
                    <a:pt x="42" y="563"/>
                  </a:lnTo>
                  <a:lnTo>
                    <a:pt x="41" y="563"/>
                  </a:lnTo>
                  <a:lnTo>
                    <a:pt x="41" y="554"/>
                  </a:lnTo>
                  <a:lnTo>
                    <a:pt x="42" y="552"/>
                  </a:lnTo>
                  <a:lnTo>
                    <a:pt x="42" y="548"/>
                  </a:lnTo>
                  <a:lnTo>
                    <a:pt x="44" y="546"/>
                  </a:lnTo>
                  <a:lnTo>
                    <a:pt x="44" y="545"/>
                  </a:lnTo>
                  <a:lnTo>
                    <a:pt x="45" y="543"/>
                  </a:lnTo>
                  <a:lnTo>
                    <a:pt x="45" y="542"/>
                  </a:lnTo>
                  <a:lnTo>
                    <a:pt x="47" y="543"/>
                  </a:lnTo>
                  <a:lnTo>
                    <a:pt x="47" y="540"/>
                  </a:lnTo>
                  <a:lnTo>
                    <a:pt x="45" y="540"/>
                  </a:lnTo>
                  <a:lnTo>
                    <a:pt x="45" y="539"/>
                  </a:lnTo>
                  <a:lnTo>
                    <a:pt x="48" y="539"/>
                  </a:lnTo>
                  <a:lnTo>
                    <a:pt x="47" y="537"/>
                  </a:lnTo>
                  <a:lnTo>
                    <a:pt x="45" y="534"/>
                  </a:lnTo>
                  <a:lnTo>
                    <a:pt x="45" y="533"/>
                  </a:lnTo>
                  <a:lnTo>
                    <a:pt x="47" y="533"/>
                  </a:lnTo>
                  <a:lnTo>
                    <a:pt x="47" y="528"/>
                  </a:lnTo>
                  <a:lnTo>
                    <a:pt x="48" y="527"/>
                  </a:lnTo>
                  <a:lnTo>
                    <a:pt x="48" y="524"/>
                  </a:lnTo>
                  <a:lnTo>
                    <a:pt x="51" y="518"/>
                  </a:lnTo>
                  <a:lnTo>
                    <a:pt x="51" y="516"/>
                  </a:lnTo>
                  <a:lnTo>
                    <a:pt x="54" y="516"/>
                  </a:lnTo>
                  <a:lnTo>
                    <a:pt x="54" y="515"/>
                  </a:lnTo>
                  <a:lnTo>
                    <a:pt x="53" y="515"/>
                  </a:lnTo>
                  <a:lnTo>
                    <a:pt x="53" y="513"/>
                  </a:lnTo>
                  <a:lnTo>
                    <a:pt x="51" y="513"/>
                  </a:lnTo>
                  <a:lnTo>
                    <a:pt x="53" y="512"/>
                  </a:lnTo>
                  <a:lnTo>
                    <a:pt x="54" y="512"/>
                  </a:lnTo>
                  <a:lnTo>
                    <a:pt x="54" y="509"/>
                  </a:lnTo>
                  <a:lnTo>
                    <a:pt x="56" y="509"/>
                  </a:lnTo>
                  <a:lnTo>
                    <a:pt x="56" y="507"/>
                  </a:lnTo>
                  <a:lnTo>
                    <a:pt x="54" y="507"/>
                  </a:lnTo>
                  <a:lnTo>
                    <a:pt x="54" y="506"/>
                  </a:lnTo>
                  <a:lnTo>
                    <a:pt x="56" y="504"/>
                  </a:lnTo>
                  <a:lnTo>
                    <a:pt x="54" y="503"/>
                  </a:lnTo>
                  <a:lnTo>
                    <a:pt x="54" y="501"/>
                  </a:lnTo>
                  <a:lnTo>
                    <a:pt x="56" y="500"/>
                  </a:lnTo>
                  <a:lnTo>
                    <a:pt x="56" y="501"/>
                  </a:lnTo>
                  <a:lnTo>
                    <a:pt x="57" y="501"/>
                  </a:lnTo>
                  <a:lnTo>
                    <a:pt x="56" y="500"/>
                  </a:lnTo>
                  <a:lnTo>
                    <a:pt x="57" y="500"/>
                  </a:lnTo>
                  <a:lnTo>
                    <a:pt x="56" y="498"/>
                  </a:lnTo>
                  <a:lnTo>
                    <a:pt x="57" y="498"/>
                  </a:lnTo>
                  <a:lnTo>
                    <a:pt x="57" y="495"/>
                  </a:lnTo>
                  <a:lnTo>
                    <a:pt x="60" y="492"/>
                  </a:lnTo>
                  <a:lnTo>
                    <a:pt x="60" y="491"/>
                  </a:lnTo>
                  <a:lnTo>
                    <a:pt x="62" y="488"/>
                  </a:lnTo>
                  <a:lnTo>
                    <a:pt x="63" y="487"/>
                  </a:lnTo>
                  <a:lnTo>
                    <a:pt x="63" y="482"/>
                  </a:lnTo>
                  <a:lnTo>
                    <a:pt x="65" y="481"/>
                  </a:lnTo>
                  <a:lnTo>
                    <a:pt x="65" y="476"/>
                  </a:lnTo>
                  <a:lnTo>
                    <a:pt x="66" y="475"/>
                  </a:lnTo>
                  <a:lnTo>
                    <a:pt x="66" y="467"/>
                  </a:lnTo>
                  <a:lnTo>
                    <a:pt x="65" y="467"/>
                  </a:lnTo>
                  <a:lnTo>
                    <a:pt x="65" y="464"/>
                  </a:lnTo>
                  <a:lnTo>
                    <a:pt x="68" y="461"/>
                  </a:lnTo>
                  <a:lnTo>
                    <a:pt x="68" y="460"/>
                  </a:lnTo>
                  <a:lnTo>
                    <a:pt x="71" y="460"/>
                  </a:lnTo>
                  <a:lnTo>
                    <a:pt x="71" y="458"/>
                  </a:lnTo>
                  <a:lnTo>
                    <a:pt x="73" y="458"/>
                  </a:lnTo>
                  <a:lnTo>
                    <a:pt x="75" y="457"/>
                  </a:lnTo>
                  <a:lnTo>
                    <a:pt x="75" y="451"/>
                  </a:lnTo>
                  <a:lnTo>
                    <a:pt x="78" y="451"/>
                  </a:lnTo>
                  <a:lnTo>
                    <a:pt x="78" y="452"/>
                  </a:lnTo>
                  <a:lnTo>
                    <a:pt x="79" y="451"/>
                  </a:lnTo>
                  <a:lnTo>
                    <a:pt x="79" y="448"/>
                  </a:lnTo>
                  <a:lnTo>
                    <a:pt x="82" y="448"/>
                  </a:lnTo>
                  <a:lnTo>
                    <a:pt x="82" y="446"/>
                  </a:lnTo>
                  <a:lnTo>
                    <a:pt x="84" y="445"/>
                  </a:lnTo>
                  <a:lnTo>
                    <a:pt x="85" y="445"/>
                  </a:lnTo>
                  <a:lnTo>
                    <a:pt x="87" y="440"/>
                  </a:lnTo>
                  <a:lnTo>
                    <a:pt x="87" y="439"/>
                  </a:lnTo>
                  <a:lnTo>
                    <a:pt x="90" y="436"/>
                  </a:lnTo>
                  <a:lnTo>
                    <a:pt x="90" y="434"/>
                  </a:lnTo>
                  <a:lnTo>
                    <a:pt x="93" y="431"/>
                  </a:lnTo>
                  <a:lnTo>
                    <a:pt x="93" y="428"/>
                  </a:lnTo>
                  <a:lnTo>
                    <a:pt x="94" y="428"/>
                  </a:lnTo>
                  <a:lnTo>
                    <a:pt x="94" y="427"/>
                  </a:lnTo>
                  <a:lnTo>
                    <a:pt x="96" y="425"/>
                  </a:lnTo>
                  <a:lnTo>
                    <a:pt x="96" y="421"/>
                  </a:lnTo>
                  <a:lnTo>
                    <a:pt x="97" y="419"/>
                  </a:lnTo>
                  <a:lnTo>
                    <a:pt x="100" y="419"/>
                  </a:lnTo>
                  <a:lnTo>
                    <a:pt x="103" y="415"/>
                  </a:lnTo>
                  <a:lnTo>
                    <a:pt x="105" y="415"/>
                  </a:lnTo>
                  <a:lnTo>
                    <a:pt x="105" y="410"/>
                  </a:lnTo>
                  <a:lnTo>
                    <a:pt x="103" y="410"/>
                  </a:lnTo>
                  <a:lnTo>
                    <a:pt x="102" y="409"/>
                  </a:lnTo>
                  <a:lnTo>
                    <a:pt x="102" y="403"/>
                  </a:lnTo>
                  <a:lnTo>
                    <a:pt x="100" y="401"/>
                  </a:lnTo>
                  <a:lnTo>
                    <a:pt x="100" y="395"/>
                  </a:lnTo>
                  <a:lnTo>
                    <a:pt x="97" y="397"/>
                  </a:lnTo>
                  <a:lnTo>
                    <a:pt x="96" y="395"/>
                  </a:lnTo>
                  <a:lnTo>
                    <a:pt x="97" y="395"/>
                  </a:lnTo>
                  <a:lnTo>
                    <a:pt x="97" y="389"/>
                  </a:lnTo>
                  <a:lnTo>
                    <a:pt x="96" y="389"/>
                  </a:lnTo>
                  <a:lnTo>
                    <a:pt x="96" y="385"/>
                  </a:lnTo>
                  <a:lnTo>
                    <a:pt x="94" y="383"/>
                  </a:lnTo>
                  <a:lnTo>
                    <a:pt x="94" y="374"/>
                  </a:lnTo>
                  <a:lnTo>
                    <a:pt x="91" y="374"/>
                  </a:lnTo>
                  <a:lnTo>
                    <a:pt x="91" y="373"/>
                  </a:lnTo>
                  <a:lnTo>
                    <a:pt x="90" y="373"/>
                  </a:lnTo>
                  <a:lnTo>
                    <a:pt x="90" y="371"/>
                  </a:lnTo>
                  <a:lnTo>
                    <a:pt x="88" y="371"/>
                  </a:lnTo>
                  <a:lnTo>
                    <a:pt x="88" y="370"/>
                  </a:lnTo>
                  <a:lnTo>
                    <a:pt x="87" y="370"/>
                  </a:lnTo>
                  <a:lnTo>
                    <a:pt x="87" y="368"/>
                  </a:lnTo>
                  <a:lnTo>
                    <a:pt x="85" y="368"/>
                  </a:lnTo>
                  <a:lnTo>
                    <a:pt x="85" y="365"/>
                  </a:lnTo>
                  <a:lnTo>
                    <a:pt x="84" y="364"/>
                  </a:lnTo>
                  <a:lnTo>
                    <a:pt x="84" y="361"/>
                  </a:lnTo>
                  <a:lnTo>
                    <a:pt x="82" y="361"/>
                  </a:lnTo>
                  <a:lnTo>
                    <a:pt x="82" y="359"/>
                  </a:lnTo>
                  <a:lnTo>
                    <a:pt x="84" y="358"/>
                  </a:lnTo>
                  <a:lnTo>
                    <a:pt x="84" y="356"/>
                  </a:lnTo>
                  <a:lnTo>
                    <a:pt x="82" y="356"/>
                  </a:lnTo>
                  <a:lnTo>
                    <a:pt x="82" y="355"/>
                  </a:lnTo>
                  <a:lnTo>
                    <a:pt x="81" y="355"/>
                  </a:lnTo>
                  <a:lnTo>
                    <a:pt x="79" y="353"/>
                  </a:lnTo>
                  <a:lnTo>
                    <a:pt x="81" y="352"/>
                  </a:lnTo>
                  <a:lnTo>
                    <a:pt x="81" y="347"/>
                  </a:lnTo>
                  <a:lnTo>
                    <a:pt x="82" y="346"/>
                  </a:lnTo>
                  <a:lnTo>
                    <a:pt x="84" y="346"/>
                  </a:lnTo>
                  <a:lnTo>
                    <a:pt x="84" y="335"/>
                  </a:lnTo>
                  <a:lnTo>
                    <a:pt x="82" y="328"/>
                  </a:lnTo>
                  <a:lnTo>
                    <a:pt x="82" y="322"/>
                  </a:lnTo>
                  <a:lnTo>
                    <a:pt x="81" y="320"/>
                  </a:lnTo>
                  <a:lnTo>
                    <a:pt x="81" y="319"/>
                  </a:lnTo>
                  <a:lnTo>
                    <a:pt x="79" y="317"/>
                  </a:lnTo>
                  <a:lnTo>
                    <a:pt x="79" y="314"/>
                  </a:lnTo>
                  <a:lnTo>
                    <a:pt x="76" y="311"/>
                  </a:lnTo>
                  <a:lnTo>
                    <a:pt x="76" y="310"/>
                  </a:lnTo>
                  <a:lnTo>
                    <a:pt x="73" y="307"/>
                  </a:lnTo>
                  <a:lnTo>
                    <a:pt x="73" y="304"/>
                  </a:lnTo>
                  <a:lnTo>
                    <a:pt x="71" y="304"/>
                  </a:lnTo>
                  <a:lnTo>
                    <a:pt x="65" y="299"/>
                  </a:lnTo>
                  <a:lnTo>
                    <a:pt x="63" y="298"/>
                  </a:lnTo>
                  <a:lnTo>
                    <a:pt x="63" y="296"/>
                  </a:lnTo>
                  <a:lnTo>
                    <a:pt x="60" y="296"/>
                  </a:lnTo>
                  <a:lnTo>
                    <a:pt x="60" y="295"/>
                  </a:lnTo>
                  <a:lnTo>
                    <a:pt x="59" y="295"/>
                  </a:lnTo>
                  <a:lnTo>
                    <a:pt x="57" y="293"/>
                  </a:lnTo>
                  <a:lnTo>
                    <a:pt x="53" y="284"/>
                  </a:lnTo>
                  <a:lnTo>
                    <a:pt x="51" y="284"/>
                  </a:lnTo>
                  <a:lnTo>
                    <a:pt x="51" y="283"/>
                  </a:lnTo>
                  <a:lnTo>
                    <a:pt x="50" y="281"/>
                  </a:lnTo>
                  <a:lnTo>
                    <a:pt x="50" y="280"/>
                  </a:lnTo>
                  <a:lnTo>
                    <a:pt x="41" y="271"/>
                  </a:lnTo>
                  <a:lnTo>
                    <a:pt x="41" y="263"/>
                  </a:lnTo>
                  <a:lnTo>
                    <a:pt x="39" y="262"/>
                  </a:lnTo>
                  <a:lnTo>
                    <a:pt x="39" y="259"/>
                  </a:lnTo>
                  <a:lnTo>
                    <a:pt x="38" y="257"/>
                  </a:lnTo>
                  <a:lnTo>
                    <a:pt x="38" y="256"/>
                  </a:lnTo>
                  <a:lnTo>
                    <a:pt x="39" y="254"/>
                  </a:lnTo>
                  <a:lnTo>
                    <a:pt x="39" y="253"/>
                  </a:lnTo>
                  <a:lnTo>
                    <a:pt x="38" y="251"/>
                  </a:lnTo>
                  <a:lnTo>
                    <a:pt x="41" y="251"/>
                  </a:lnTo>
                  <a:lnTo>
                    <a:pt x="44" y="248"/>
                  </a:lnTo>
                  <a:lnTo>
                    <a:pt x="44" y="247"/>
                  </a:lnTo>
                  <a:lnTo>
                    <a:pt x="45" y="248"/>
                  </a:lnTo>
                  <a:lnTo>
                    <a:pt x="47" y="248"/>
                  </a:lnTo>
                  <a:lnTo>
                    <a:pt x="48" y="250"/>
                  </a:lnTo>
                  <a:lnTo>
                    <a:pt x="48" y="244"/>
                  </a:lnTo>
                  <a:lnTo>
                    <a:pt x="54" y="244"/>
                  </a:lnTo>
                  <a:lnTo>
                    <a:pt x="54" y="245"/>
                  </a:lnTo>
                  <a:lnTo>
                    <a:pt x="56" y="244"/>
                  </a:lnTo>
                  <a:lnTo>
                    <a:pt x="56" y="226"/>
                  </a:lnTo>
                  <a:lnTo>
                    <a:pt x="57" y="222"/>
                  </a:lnTo>
                  <a:lnTo>
                    <a:pt x="56" y="219"/>
                  </a:lnTo>
                  <a:lnTo>
                    <a:pt x="57" y="216"/>
                  </a:lnTo>
                  <a:lnTo>
                    <a:pt x="57" y="214"/>
                  </a:lnTo>
                  <a:lnTo>
                    <a:pt x="56" y="213"/>
                  </a:lnTo>
                  <a:lnTo>
                    <a:pt x="56" y="211"/>
                  </a:lnTo>
                  <a:lnTo>
                    <a:pt x="57" y="211"/>
                  </a:lnTo>
                  <a:lnTo>
                    <a:pt x="57" y="213"/>
                  </a:lnTo>
                  <a:lnTo>
                    <a:pt x="59" y="213"/>
                  </a:lnTo>
                  <a:lnTo>
                    <a:pt x="59" y="211"/>
                  </a:lnTo>
                  <a:lnTo>
                    <a:pt x="60" y="210"/>
                  </a:lnTo>
                  <a:lnTo>
                    <a:pt x="60" y="208"/>
                  </a:lnTo>
                  <a:lnTo>
                    <a:pt x="66" y="208"/>
                  </a:lnTo>
                  <a:lnTo>
                    <a:pt x="66" y="210"/>
                  </a:lnTo>
                  <a:lnTo>
                    <a:pt x="68" y="210"/>
                  </a:lnTo>
                  <a:lnTo>
                    <a:pt x="68" y="208"/>
                  </a:lnTo>
                  <a:lnTo>
                    <a:pt x="69" y="207"/>
                  </a:lnTo>
                  <a:lnTo>
                    <a:pt x="69" y="204"/>
                  </a:lnTo>
                  <a:lnTo>
                    <a:pt x="71" y="202"/>
                  </a:lnTo>
                  <a:lnTo>
                    <a:pt x="71" y="199"/>
                  </a:lnTo>
                  <a:lnTo>
                    <a:pt x="72" y="196"/>
                  </a:lnTo>
                  <a:lnTo>
                    <a:pt x="71" y="195"/>
                  </a:lnTo>
                  <a:lnTo>
                    <a:pt x="69" y="195"/>
                  </a:lnTo>
                  <a:lnTo>
                    <a:pt x="69" y="192"/>
                  </a:lnTo>
                  <a:lnTo>
                    <a:pt x="68" y="193"/>
                  </a:lnTo>
                  <a:lnTo>
                    <a:pt x="68" y="195"/>
                  </a:lnTo>
                  <a:lnTo>
                    <a:pt x="62" y="201"/>
                  </a:lnTo>
                  <a:lnTo>
                    <a:pt x="60" y="201"/>
                  </a:lnTo>
                  <a:lnTo>
                    <a:pt x="60" y="196"/>
                  </a:lnTo>
                  <a:lnTo>
                    <a:pt x="59" y="195"/>
                  </a:lnTo>
                  <a:lnTo>
                    <a:pt x="60" y="193"/>
                  </a:lnTo>
                  <a:lnTo>
                    <a:pt x="56" y="189"/>
                  </a:lnTo>
                  <a:lnTo>
                    <a:pt x="56" y="184"/>
                  </a:lnTo>
                  <a:lnTo>
                    <a:pt x="54" y="184"/>
                  </a:lnTo>
                  <a:lnTo>
                    <a:pt x="53" y="183"/>
                  </a:lnTo>
                  <a:lnTo>
                    <a:pt x="53" y="181"/>
                  </a:lnTo>
                  <a:lnTo>
                    <a:pt x="51" y="180"/>
                  </a:lnTo>
                  <a:lnTo>
                    <a:pt x="51" y="178"/>
                  </a:lnTo>
                  <a:lnTo>
                    <a:pt x="54" y="175"/>
                  </a:lnTo>
                  <a:lnTo>
                    <a:pt x="53" y="175"/>
                  </a:lnTo>
                  <a:lnTo>
                    <a:pt x="53" y="174"/>
                  </a:lnTo>
                  <a:lnTo>
                    <a:pt x="54" y="174"/>
                  </a:lnTo>
                  <a:lnTo>
                    <a:pt x="54" y="172"/>
                  </a:lnTo>
                  <a:lnTo>
                    <a:pt x="53" y="171"/>
                  </a:lnTo>
                  <a:lnTo>
                    <a:pt x="53" y="169"/>
                  </a:lnTo>
                  <a:lnTo>
                    <a:pt x="51" y="168"/>
                  </a:lnTo>
                  <a:lnTo>
                    <a:pt x="51" y="166"/>
                  </a:lnTo>
                  <a:lnTo>
                    <a:pt x="50" y="166"/>
                  </a:lnTo>
                  <a:lnTo>
                    <a:pt x="50" y="165"/>
                  </a:lnTo>
                  <a:lnTo>
                    <a:pt x="45" y="165"/>
                  </a:lnTo>
                  <a:lnTo>
                    <a:pt x="44" y="163"/>
                  </a:lnTo>
                  <a:lnTo>
                    <a:pt x="44" y="162"/>
                  </a:lnTo>
                  <a:lnTo>
                    <a:pt x="42" y="162"/>
                  </a:lnTo>
                  <a:lnTo>
                    <a:pt x="42" y="159"/>
                  </a:lnTo>
                  <a:lnTo>
                    <a:pt x="39" y="156"/>
                  </a:lnTo>
                  <a:lnTo>
                    <a:pt x="35" y="153"/>
                  </a:lnTo>
                  <a:lnTo>
                    <a:pt x="35" y="148"/>
                  </a:lnTo>
                  <a:lnTo>
                    <a:pt x="32" y="148"/>
                  </a:lnTo>
                  <a:lnTo>
                    <a:pt x="32" y="147"/>
                  </a:lnTo>
                  <a:lnTo>
                    <a:pt x="30" y="145"/>
                  </a:lnTo>
                  <a:lnTo>
                    <a:pt x="30" y="142"/>
                  </a:lnTo>
                  <a:lnTo>
                    <a:pt x="27" y="142"/>
                  </a:lnTo>
                  <a:lnTo>
                    <a:pt x="27" y="141"/>
                  </a:lnTo>
                  <a:lnTo>
                    <a:pt x="26" y="139"/>
                  </a:lnTo>
                  <a:lnTo>
                    <a:pt x="20" y="135"/>
                  </a:lnTo>
                  <a:lnTo>
                    <a:pt x="20" y="133"/>
                  </a:lnTo>
                  <a:lnTo>
                    <a:pt x="18" y="133"/>
                  </a:lnTo>
                  <a:lnTo>
                    <a:pt x="18" y="130"/>
                  </a:lnTo>
                  <a:lnTo>
                    <a:pt x="17" y="130"/>
                  </a:lnTo>
                  <a:lnTo>
                    <a:pt x="17" y="127"/>
                  </a:lnTo>
                  <a:lnTo>
                    <a:pt x="15" y="124"/>
                  </a:lnTo>
                  <a:lnTo>
                    <a:pt x="17" y="121"/>
                  </a:lnTo>
                  <a:lnTo>
                    <a:pt x="18" y="120"/>
                  </a:lnTo>
                  <a:lnTo>
                    <a:pt x="18" y="117"/>
                  </a:lnTo>
                  <a:lnTo>
                    <a:pt x="17" y="117"/>
                  </a:lnTo>
                  <a:lnTo>
                    <a:pt x="17" y="114"/>
                  </a:lnTo>
                  <a:lnTo>
                    <a:pt x="15" y="112"/>
                  </a:lnTo>
                  <a:lnTo>
                    <a:pt x="15" y="111"/>
                  </a:lnTo>
                  <a:lnTo>
                    <a:pt x="14" y="108"/>
                  </a:lnTo>
                  <a:lnTo>
                    <a:pt x="12" y="106"/>
                  </a:lnTo>
                  <a:lnTo>
                    <a:pt x="14" y="106"/>
                  </a:lnTo>
                  <a:lnTo>
                    <a:pt x="14" y="103"/>
                  </a:lnTo>
                  <a:lnTo>
                    <a:pt x="9" y="103"/>
                  </a:lnTo>
                  <a:lnTo>
                    <a:pt x="9" y="105"/>
                  </a:lnTo>
                  <a:lnTo>
                    <a:pt x="8" y="106"/>
                  </a:lnTo>
                  <a:lnTo>
                    <a:pt x="8" y="105"/>
                  </a:lnTo>
                  <a:lnTo>
                    <a:pt x="6" y="105"/>
                  </a:lnTo>
                  <a:lnTo>
                    <a:pt x="6" y="103"/>
                  </a:lnTo>
                  <a:lnTo>
                    <a:pt x="5" y="103"/>
                  </a:lnTo>
                  <a:lnTo>
                    <a:pt x="5" y="99"/>
                  </a:lnTo>
                  <a:lnTo>
                    <a:pt x="2" y="96"/>
                  </a:lnTo>
                  <a:lnTo>
                    <a:pt x="2" y="94"/>
                  </a:lnTo>
                  <a:lnTo>
                    <a:pt x="0" y="93"/>
                  </a:lnTo>
                  <a:lnTo>
                    <a:pt x="2" y="93"/>
                  </a:lnTo>
                  <a:lnTo>
                    <a:pt x="3" y="94"/>
                  </a:lnTo>
                  <a:lnTo>
                    <a:pt x="3" y="96"/>
                  </a:lnTo>
                  <a:lnTo>
                    <a:pt x="5" y="96"/>
                  </a:lnTo>
                  <a:lnTo>
                    <a:pt x="5" y="94"/>
                  </a:lnTo>
                  <a:lnTo>
                    <a:pt x="9" y="94"/>
                  </a:lnTo>
                  <a:lnTo>
                    <a:pt x="12" y="91"/>
                  </a:lnTo>
                  <a:lnTo>
                    <a:pt x="18" y="91"/>
                  </a:lnTo>
                  <a:lnTo>
                    <a:pt x="20" y="88"/>
                  </a:lnTo>
                  <a:lnTo>
                    <a:pt x="18" y="87"/>
                  </a:lnTo>
                  <a:lnTo>
                    <a:pt x="18" y="81"/>
                  </a:lnTo>
                  <a:lnTo>
                    <a:pt x="17" y="79"/>
                  </a:lnTo>
                  <a:lnTo>
                    <a:pt x="17" y="76"/>
                  </a:lnTo>
                  <a:lnTo>
                    <a:pt x="15" y="76"/>
                  </a:lnTo>
                  <a:lnTo>
                    <a:pt x="15" y="75"/>
                  </a:lnTo>
                  <a:lnTo>
                    <a:pt x="14" y="73"/>
                  </a:lnTo>
                  <a:lnTo>
                    <a:pt x="15" y="73"/>
                  </a:lnTo>
                  <a:lnTo>
                    <a:pt x="17" y="72"/>
                  </a:lnTo>
                  <a:lnTo>
                    <a:pt x="17" y="69"/>
                  </a:lnTo>
                  <a:lnTo>
                    <a:pt x="18" y="69"/>
                  </a:lnTo>
                  <a:lnTo>
                    <a:pt x="20" y="66"/>
                  </a:lnTo>
                  <a:lnTo>
                    <a:pt x="21" y="66"/>
                  </a:lnTo>
                  <a:lnTo>
                    <a:pt x="21" y="58"/>
                  </a:lnTo>
                  <a:lnTo>
                    <a:pt x="20" y="58"/>
                  </a:lnTo>
                  <a:lnTo>
                    <a:pt x="20" y="57"/>
                  </a:lnTo>
                  <a:lnTo>
                    <a:pt x="21" y="57"/>
                  </a:lnTo>
                  <a:lnTo>
                    <a:pt x="21" y="55"/>
                  </a:lnTo>
                  <a:lnTo>
                    <a:pt x="20" y="54"/>
                  </a:lnTo>
                  <a:lnTo>
                    <a:pt x="20" y="51"/>
                  </a:lnTo>
                  <a:lnTo>
                    <a:pt x="23" y="48"/>
                  </a:lnTo>
                  <a:lnTo>
                    <a:pt x="23" y="43"/>
                  </a:lnTo>
                  <a:lnTo>
                    <a:pt x="24" y="43"/>
                  </a:lnTo>
                  <a:lnTo>
                    <a:pt x="27" y="42"/>
                  </a:lnTo>
                  <a:lnTo>
                    <a:pt x="29" y="40"/>
                  </a:lnTo>
                  <a:lnTo>
                    <a:pt x="30" y="40"/>
                  </a:lnTo>
                  <a:lnTo>
                    <a:pt x="30" y="33"/>
                  </a:lnTo>
                  <a:lnTo>
                    <a:pt x="32" y="31"/>
                  </a:lnTo>
                  <a:lnTo>
                    <a:pt x="33" y="31"/>
                  </a:lnTo>
                  <a:lnTo>
                    <a:pt x="33" y="33"/>
                  </a:lnTo>
                  <a:lnTo>
                    <a:pt x="36" y="33"/>
                  </a:lnTo>
                  <a:lnTo>
                    <a:pt x="39" y="36"/>
                  </a:lnTo>
                  <a:lnTo>
                    <a:pt x="41" y="36"/>
                  </a:lnTo>
                  <a:lnTo>
                    <a:pt x="41" y="39"/>
                  </a:lnTo>
                  <a:lnTo>
                    <a:pt x="42" y="37"/>
                  </a:lnTo>
                  <a:lnTo>
                    <a:pt x="50" y="37"/>
                  </a:lnTo>
                  <a:lnTo>
                    <a:pt x="53" y="36"/>
                  </a:lnTo>
                  <a:lnTo>
                    <a:pt x="53" y="37"/>
                  </a:lnTo>
                  <a:lnTo>
                    <a:pt x="56" y="37"/>
                  </a:lnTo>
                  <a:lnTo>
                    <a:pt x="56" y="36"/>
                  </a:lnTo>
                  <a:lnTo>
                    <a:pt x="57" y="36"/>
                  </a:lnTo>
                  <a:lnTo>
                    <a:pt x="59" y="34"/>
                  </a:lnTo>
                  <a:lnTo>
                    <a:pt x="63" y="34"/>
                  </a:lnTo>
                  <a:lnTo>
                    <a:pt x="65" y="33"/>
                  </a:lnTo>
                  <a:lnTo>
                    <a:pt x="68" y="31"/>
                  </a:lnTo>
                  <a:lnTo>
                    <a:pt x="69" y="31"/>
                  </a:lnTo>
                  <a:lnTo>
                    <a:pt x="69" y="33"/>
                  </a:lnTo>
                  <a:lnTo>
                    <a:pt x="71" y="34"/>
                  </a:lnTo>
                  <a:lnTo>
                    <a:pt x="72" y="34"/>
                  </a:lnTo>
                  <a:lnTo>
                    <a:pt x="73" y="33"/>
                  </a:lnTo>
                  <a:lnTo>
                    <a:pt x="75" y="33"/>
                  </a:lnTo>
                  <a:lnTo>
                    <a:pt x="75" y="31"/>
                  </a:lnTo>
                  <a:lnTo>
                    <a:pt x="76" y="31"/>
                  </a:lnTo>
                  <a:lnTo>
                    <a:pt x="76" y="19"/>
                  </a:lnTo>
                  <a:lnTo>
                    <a:pt x="79" y="16"/>
                  </a:lnTo>
                  <a:lnTo>
                    <a:pt x="87" y="16"/>
                  </a:lnTo>
                  <a:lnTo>
                    <a:pt x="90" y="19"/>
                  </a:lnTo>
                  <a:lnTo>
                    <a:pt x="96" y="16"/>
                  </a:lnTo>
                  <a:lnTo>
                    <a:pt x="97" y="16"/>
                  </a:lnTo>
                  <a:lnTo>
                    <a:pt x="100" y="13"/>
                  </a:lnTo>
                  <a:lnTo>
                    <a:pt x="100" y="12"/>
                  </a:lnTo>
                  <a:lnTo>
                    <a:pt x="99" y="10"/>
                  </a:lnTo>
                  <a:lnTo>
                    <a:pt x="97" y="7"/>
                  </a:lnTo>
                  <a:lnTo>
                    <a:pt x="97" y="6"/>
                  </a:lnTo>
                  <a:lnTo>
                    <a:pt x="96" y="4"/>
                  </a:lnTo>
                  <a:lnTo>
                    <a:pt x="96" y="3"/>
                  </a:lnTo>
                  <a:lnTo>
                    <a:pt x="97" y="3"/>
                  </a:lnTo>
                  <a:lnTo>
                    <a:pt x="99" y="4"/>
                  </a:lnTo>
                  <a:lnTo>
                    <a:pt x="102" y="6"/>
                  </a:lnTo>
                  <a:lnTo>
                    <a:pt x="105" y="6"/>
                  </a:lnTo>
                  <a:lnTo>
                    <a:pt x="105" y="7"/>
                  </a:lnTo>
                  <a:lnTo>
                    <a:pt x="106" y="7"/>
                  </a:lnTo>
                  <a:lnTo>
                    <a:pt x="108" y="6"/>
                  </a:lnTo>
                  <a:lnTo>
                    <a:pt x="112" y="6"/>
                  </a:lnTo>
                  <a:lnTo>
                    <a:pt x="112" y="4"/>
                  </a:lnTo>
                  <a:lnTo>
                    <a:pt x="114" y="4"/>
                  </a:lnTo>
                  <a:lnTo>
                    <a:pt x="114" y="1"/>
                  </a:lnTo>
                  <a:lnTo>
                    <a:pt x="117" y="1"/>
                  </a:lnTo>
                  <a:lnTo>
                    <a:pt x="118"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14">
              <a:extLst>
                <a:ext uri="{FF2B5EF4-FFF2-40B4-BE49-F238E27FC236}">
                  <a16:creationId xmlns:a16="http://schemas.microsoft.com/office/drawing/2014/main" id="{53814347-2FB1-CEF3-1A9E-427E1EAFF904}"/>
                </a:ext>
              </a:extLst>
            </p:cNvPr>
            <p:cNvSpPr>
              <a:spLocks noEditPoints="1"/>
            </p:cNvSpPr>
            <p:nvPr/>
          </p:nvSpPr>
          <p:spPr bwMode="auto">
            <a:xfrm>
              <a:off x="3626298" y="3986496"/>
              <a:ext cx="180515" cy="178417"/>
            </a:xfrm>
            <a:custGeom>
              <a:avLst/>
              <a:gdLst/>
              <a:ahLst/>
              <a:cxnLst>
                <a:cxn ang="0">
                  <a:pos x="153" y="164"/>
                </a:cxn>
                <a:cxn ang="0">
                  <a:pos x="148" y="131"/>
                </a:cxn>
                <a:cxn ang="0">
                  <a:pos x="82" y="92"/>
                </a:cxn>
                <a:cxn ang="0">
                  <a:pos x="85" y="87"/>
                </a:cxn>
                <a:cxn ang="0">
                  <a:pos x="62" y="86"/>
                </a:cxn>
                <a:cxn ang="0">
                  <a:pos x="62" y="87"/>
                </a:cxn>
                <a:cxn ang="0">
                  <a:pos x="60" y="86"/>
                </a:cxn>
                <a:cxn ang="0">
                  <a:pos x="54" y="87"/>
                </a:cxn>
                <a:cxn ang="0">
                  <a:pos x="60" y="81"/>
                </a:cxn>
                <a:cxn ang="0">
                  <a:pos x="8" y="39"/>
                </a:cxn>
                <a:cxn ang="0">
                  <a:pos x="5" y="44"/>
                </a:cxn>
                <a:cxn ang="0">
                  <a:pos x="2" y="44"/>
                </a:cxn>
                <a:cxn ang="0">
                  <a:pos x="6" y="39"/>
                </a:cxn>
                <a:cxn ang="0">
                  <a:pos x="157" y="6"/>
                </a:cxn>
                <a:cxn ang="0">
                  <a:pos x="168" y="14"/>
                </a:cxn>
                <a:cxn ang="0">
                  <a:pos x="163" y="24"/>
                </a:cxn>
                <a:cxn ang="0">
                  <a:pos x="165" y="35"/>
                </a:cxn>
                <a:cxn ang="0">
                  <a:pos x="163" y="41"/>
                </a:cxn>
                <a:cxn ang="0">
                  <a:pos x="159" y="53"/>
                </a:cxn>
                <a:cxn ang="0">
                  <a:pos x="154" y="59"/>
                </a:cxn>
                <a:cxn ang="0">
                  <a:pos x="154" y="65"/>
                </a:cxn>
                <a:cxn ang="0">
                  <a:pos x="150" y="81"/>
                </a:cxn>
                <a:cxn ang="0">
                  <a:pos x="144" y="108"/>
                </a:cxn>
                <a:cxn ang="0">
                  <a:pos x="138" y="119"/>
                </a:cxn>
                <a:cxn ang="0">
                  <a:pos x="135" y="125"/>
                </a:cxn>
                <a:cxn ang="0">
                  <a:pos x="127" y="132"/>
                </a:cxn>
                <a:cxn ang="0">
                  <a:pos x="123" y="140"/>
                </a:cxn>
                <a:cxn ang="0">
                  <a:pos x="114" y="165"/>
                </a:cxn>
                <a:cxn ang="0">
                  <a:pos x="112" y="165"/>
                </a:cxn>
                <a:cxn ang="0">
                  <a:pos x="106" y="149"/>
                </a:cxn>
                <a:cxn ang="0">
                  <a:pos x="103" y="143"/>
                </a:cxn>
                <a:cxn ang="0">
                  <a:pos x="97" y="140"/>
                </a:cxn>
                <a:cxn ang="0">
                  <a:pos x="91" y="132"/>
                </a:cxn>
                <a:cxn ang="0">
                  <a:pos x="90" y="126"/>
                </a:cxn>
                <a:cxn ang="0">
                  <a:pos x="85" y="113"/>
                </a:cxn>
                <a:cxn ang="0">
                  <a:pos x="82" y="111"/>
                </a:cxn>
                <a:cxn ang="0">
                  <a:pos x="84" y="107"/>
                </a:cxn>
                <a:cxn ang="0">
                  <a:pos x="85" y="101"/>
                </a:cxn>
                <a:cxn ang="0">
                  <a:pos x="87" y="96"/>
                </a:cxn>
                <a:cxn ang="0">
                  <a:pos x="85" y="90"/>
                </a:cxn>
                <a:cxn ang="0">
                  <a:pos x="90" y="74"/>
                </a:cxn>
                <a:cxn ang="0">
                  <a:pos x="94" y="66"/>
                </a:cxn>
                <a:cxn ang="0">
                  <a:pos x="97" y="60"/>
                </a:cxn>
                <a:cxn ang="0">
                  <a:pos x="105" y="47"/>
                </a:cxn>
                <a:cxn ang="0">
                  <a:pos x="109" y="38"/>
                </a:cxn>
                <a:cxn ang="0">
                  <a:pos x="114" y="32"/>
                </a:cxn>
                <a:cxn ang="0">
                  <a:pos x="120" y="27"/>
                </a:cxn>
                <a:cxn ang="0">
                  <a:pos x="124" y="18"/>
                </a:cxn>
                <a:cxn ang="0">
                  <a:pos x="135" y="9"/>
                </a:cxn>
                <a:cxn ang="0">
                  <a:pos x="145" y="8"/>
                </a:cxn>
                <a:cxn ang="0">
                  <a:pos x="145" y="2"/>
                </a:cxn>
              </a:cxnLst>
              <a:rect l="0" t="0" r="r" b="b"/>
              <a:pathLst>
                <a:path w="172" h="170">
                  <a:moveTo>
                    <a:pt x="148" y="161"/>
                  </a:moveTo>
                  <a:lnTo>
                    <a:pt x="151" y="161"/>
                  </a:lnTo>
                  <a:lnTo>
                    <a:pt x="151" y="162"/>
                  </a:lnTo>
                  <a:lnTo>
                    <a:pt x="153" y="162"/>
                  </a:lnTo>
                  <a:lnTo>
                    <a:pt x="153" y="164"/>
                  </a:lnTo>
                  <a:lnTo>
                    <a:pt x="150" y="164"/>
                  </a:lnTo>
                  <a:lnTo>
                    <a:pt x="148" y="162"/>
                  </a:lnTo>
                  <a:lnTo>
                    <a:pt x="148" y="161"/>
                  </a:lnTo>
                  <a:close/>
                  <a:moveTo>
                    <a:pt x="147" y="131"/>
                  </a:moveTo>
                  <a:lnTo>
                    <a:pt x="148" y="131"/>
                  </a:lnTo>
                  <a:lnTo>
                    <a:pt x="148" y="132"/>
                  </a:lnTo>
                  <a:lnTo>
                    <a:pt x="147" y="132"/>
                  </a:lnTo>
                  <a:lnTo>
                    <a:pt x="147" y="131"/>
                  </a:lnTo>
                  <a:close/>
                  <a:moveTo>
                    <a:pt x="82" y="90"/>
                  </a:moveTo>
                  <a:lnTo>
                    <a:pt x="82" y="92"/>
                  </a:lnTo>
                  <a:lnTo>
                    <a:pt x="81" y="92"/>
                  </a:lnTo>
                  <a:lnTo>
                    <a:pt x="81" y="93"/>
                  </a:lnTo>
                  <a:lnTo>
                    <a:pt x="79" y="93"/>
                  </a:lnTo>
                  <a:lnTo>
                    <a:pt x="82" y="90"/>
                  </a:lnTo>
                  <a:close/>
                  <a:moveTo>
                    <a:pt x="85" y="87"/>
                  </a:moveTo>
                  <a:lnTo>
                    <a:pt x="84" y="90"/>
                  </a:lnTo>
                  <a:lnTo>
                    <a:pt x="82" y="90"/>
                  </a:lnTo>
                  <a:lnTo>
                    <a:pt x="85" y="87"/>
                  </a:lnTo>
                  <a:close/>
                  <a:moveTo>
                    <a:pt x="62" y="84"/>
                  </a:moveTo>
                  <a:lnTo>
                    <a:pt x="62" y="86"/>
                  </a:lnTo>
                  <a:lnTo>
                    <a:pt x="63" y="86"/>
                  </a:lnTo>
                  <a:lnTo>
                    <a:pt x="63" y="84"/>
                  </a:lnTo>
                  <a:lnTo>
                    <a:pt x="65" y="86"/>
                  </a:lnTo>
                  <a:lnTo>
                    <a:pt x="65" y="87"/>
                  </a:lnTo>
                  <a:lnTo>
                    <a:pt x="62" y="87"/>
                  </a:lnTo>
                  <a:lnTo>
                    <a:pt x="62" y="89"/>
                  </a:lnTo>
                  <a:lnTo>
                    <a:pt x="59" y="89"/>
                  </a:lnTo>
                  <a:lnTo>
                    <a:pt x="60" y="87"/>
                  </a:lnTo>
                  <a:lnTo>
                    <a:pt x="59" y="86"/>
                  </a:lnTo>
                  <a:lnTo>
                    <a:pt x="60" y="86"/>
                  </a:lnTo>
                  <a:lnTo>
                    <a:pt x="62" y="84"/>
                  </a:lnTo>
                  <a:close/>
                  <a:moveTo>
                    <a:pt x="56" y="83"/>
                  </a:moveTo>
                  <a:lnTo>
                    <a:pt x="57" y="83"/>
                  </a:lnTo>
                  <a:lnTo>
                    <a:pt x="57" y="84"/>
                  </a:lnTo>
                  <a:lnTo>
                    <a:pt x="54" y="87"/>
                  </a:lnTo>
                  <a:lnTo>
                    <a:pt x="54" y="86"/>
                  </a:lnTo>
                  <a:lnTo>
                    <a:pt x="56" y="86"/>
                  </a:lnTo>
                  <a:lnTo>
                    <a:pt x="56" y="83"/>
                  </a:lnTo>
                  <a:close/>
                  <a:moveTo>
                    <a:pt x="59" y="81"/>
                  </a:moveTo>
                  <a:lnTo>
                    <a:pt x="60" y="81"/>
                  </a:lnTo>
                  <a:lnTo>
                    <a:pt x="62" y="83"/>
                  </a:lnTo>
                  <a:lnTo>
                    <a:pt x="60" y="83"/>
                  </a:lnTo>
                  <a:lnTo>
                    <a:pt x="59" y="81"/>
                  </a:lnTo>
                  <a:close/>
                  <a:moveTo>
                    <a:pt x="8" y="38"/>
                  </a:moveTo>
                  <a:lnTo>
                    <a:pt x="8" y="39"/>
                  </a:lnTo>
                  <a:lnTo>
                    <a:pt x="9" y="42"/>
                  </a:lnTo>
                  <a:lnTo>
                    <a:pt x="9" y="44"/>
                  </a:lnTo>
                  <a:lnTo>
                    <a:pt x="8" y="44"/>
                  </a:lnTo>
                  <a:lnTo>
                    <a:pt x="6" y="42"/>
                  </a:lnTo>
                  <a:lnTo>
                    <a:pt x="5" y="44"/>
                  </a:lnTo>
                  <a:lnTo>
                    <a:pt x="3" y="44"/>
                  </a:lnTo>
                  <a:lnTo>
                    <a:pt x="3" y="45"/>
                  </a:lnTo>
                  <a:lnTo>
                    <a:pt x="0" y="45"/>
                  </a:lnTo>
                  <a:lnTo>
                    <a:pt x="0" y="44"/>
                  </a:lnTo>
                  <a:lnTo>
                    <a:pt x="2" y="44"/>
                  </a:lnTo>
                  <a:lnTo>
                    <a:pt x="2" y="42"/>
                  </a:lnTo>
                  <a:lnTo>
                    <a:pt x="0" y="41"/>
                  </a:lnTo>
                  <a:lnTo>
                    <a:pt x="5" y="41"/>
                  </a:lnTo>
                  <a:lnTo>
                    <a:pt x="5" y="39"/>
                  </a:lnTo>
                  <a:lnTo>
                    <a:pt x="6" y="39"/>
                  </a:lnTo>
                  <a:lnTo>
                    <a:pt x="8" y="38"/>
                  </a:lnTo>
                  <a:close/>
                  <a:moveTo>
                    <a:pt x="148" y="0"/>
                  </a:moveTo>
                  <a:lnTo>
                    <a:pt x="153" y="0"/>
                  </a:lnTo>
                  <a:lnTo>
                    <a:pt x="154" y="3"/>
                  </a:lnTo>
                  <a:lnTo>
                    <a:pt x="157" y="6"/>
                  </a:lnTo>
                  <a:lnTo>
                    <a:pt x="159" y="6"/>
                  </a:lnTo>
                  <a:lnTo>
                    <a:pt x="166" y="9"/>
                  </a:lnTo>
                  <a:lnTo>
                    <a:pt x="166" y="11"/>
                  </a:lnTo>
                  <a:lnTo>
                    <a:pt x="168" y="12"/>
                  </a:lnTo>
                  <a:lnTo>
                    <a:pt x="168" y="14"/>
                  </a:lnTo>
                  <a:lnTo>
                    <a:pt x="172" y="14"/>
                  </a:lnTo>
                  <a:lnTo>
                    <a:pt x="168" y="17"/>
                  </a:lnTo>
                  <a:lnTo>
                    <a:pt x="166" y="17"/>
                  </a:lnTo>
                  <a:lnTo>
                    <a:pt x="163" y="21"/>
                  </a:lnTo>
                  <a:lnTo>
                    <a:pt x="163" y="24"/>
                  </a:lnTo>
                  <a:lnTo>
                    <a:pt x="162" y="26"/>
                  </a:lnTo>
                  <a:lnTo>
                    <a:pt x="162" y="27"/>
                  </a:lnTo>
                  <a:lnTo>
                    <a:pt x="163" y="30"/>
                  </a:lnTo>
                  <a:lnTo>
                    <a:pt x="163" y="33"/>
                  </a:lnTo>
                  <a:lnTo>
                    <a:pt x="165" y="35"/>
                  </a:lnTo>
                  <a:lnTo>
                    <a:pt x="163" y="35"/>
                  </a:lnTo>
                  <a:lnTo>
                    <a:pt x="165" y="36"/>
                  </a:lnTo>
                  <a:lnTo>
                    <a:pt x="165" y="38"/>
                  </a:lnTo>
                  <a:lnTo>
                    <a:pt x="163" y="39"/>
                  </a:lnTo>
                  <a:lnTo>
                    <a:pt x="163" y="41"/>
                  </a:lnTo>
                  <a:lnTo>
                    <a:pt x="162" y="42"/>
                  </a:lnTo>
                  <a:lnTo>
                    <a:pt x="162" y="45"/>
                  </a:lnTo>
                  <a:lnTo>
                    <a:pt x="160" y="45"/>
                  </a:lnTo>
                  <a:lnTo>
                    <a:pt x="160" y="51"/>
                  </a:lnTo>
                  <a:lnTo>
                    <a:pt x="159" y="53"/>
                  </a:lnTo>
                  <a:lnTo>
                    <a:pt x="157" y="53"/>
                  </a:lnTo>
                  <a:lnTo>
                    <a:pt x="157" y="54"/>
                  </a:lnTo>
                  <a:lnTo>
                    <a:pt x="156" y="54"/>
                  </a:lnTo>
                  <a:lnTo>
                    <a:pt x="156" y="56"/>
                  </a:lnTo>
                  <a:lnTo>
                    <a:pt x="154" y="59"/>
                  </a:lnTo>
                  <a:lnTo>
                    <a:pt x="154" y="60"/>
                  </a:lnTo>
                  <a:lnTo>
                    <a:pt x="153" y="60"/>
                  </a:lnTo>
                  <a:lnTo>
                    <a:pt x="153" y="62"/>
                  </a:lnTo>
                  <a:lnTo>
                    <a:pt x="154" y="63"/>
                  </a:lnTo>
                  <a:lnTo>
                    <a:pt x="154" y="65"/>
                  </a:lnTo>
                  <a:lnTo>
                    <a:pt x="153" y="66"/>
                  </a:lnTo>
                  <a:lnTo>
                    <a:pt x="153" y="71"/>
                  </a:lnTo>
                  <a:lnTo>
                    <a:pt x="151" y="74"/>
                  </a:lnTo>
                  <a:lnTo>
                    <a:pt x="150" y="80"/>
                  </a:lnTo>
                  <a:lnTo>
                    <a:pt x="150" y="81"/>
                  </a:lnTo>
                  <a:lnTo>
                    <a:pt x="147" y="93"/>
                  </a:lnTo>
                  <a:lnTo>
                    <a:pt x="147" y="99"/>
                  </a:lnTo>
                  <a:lnTo>
                    <a:pt x="145" y="101"/>
                  </a:lnTo>
                  <a:lnTo>
                    <a:pt x="144" y="101"/>
                  </a:lnTo>
                  <a:lnTo>
                    <a:pt x="144" y="108"/>
                  </a:lnTo>
                  <a:lnTo>
                    <a:pt x="141" y="111"/>
                  </a:lnTo>
                  <a:lnTo>
                    <a:pt x="141" y="113"/>
                  </a:lnTo>
                  <a:lnTo>
                    <a:pt x="139" y="113"/>
                  </a:lnTo>
                  <a:lnTo>
                    <a:pt x="139" y="117"/>
                  </a:lnTo>
                  <a:lnTo>
                    <a:pt x="138" y="119"/>
                  </a:lnTo>
                  <a:lnTo>
                    <a:pt x="138" y="120"/>
                  </a:lnTo>
                  <a:lnTo>
                    <a:pt x="135" y="122"/>
                  </a:lnTo>
                  <a:lnTo>
                    <a:pt x="135" y="123"/>
                  </a:lnTo>
                  <a:lnTo>
                    <a:pt x="133" y="123"/>
                  </a:lnTo>
                  <a:lnTo>
                    <a:pt x="135" y="125"/>
                  </a:lnTo>
                  <a:lnTo>
                    <a:pt x="133" y="125"/>
                  </a:lnTo>
                  <a:lnTo>
                    <a:pt x="133" y="126"/>
                  </a:lnTo>
                  <a:lnTo>
                    <a:pt x="132" y="128"/>
                  </a:lnTo>
                  <a:lnTo>
                    <a:pt x="129" y="129"/>
                  </a:lnTo>
                  <a:lnTo>
                    <a:pt x="127" y="132"/>
                  </a:lnTo>
                  <a:lnTo>
                    <a:pt x="126" y="132"/>
                  </a:lnTo>
                  <a:lnTo>
                    <a:pt x="126" y="135"/>
                  </a:lnTo>
                  <a:lnTo>
                    <a:pt x="124" y="135"/>
                  </a:lnTo>
                  <a:lnTo>
                    <a:pt x="123" y="137"/>
                  </a:lnTo>
                  <a:lnTo>
                    <a:pt x="123" y="140"/>
                  </a:lnTo>
                  <a:lnTo>
                    <a:pt x="120" y="146"/>
                  </a:lnTo>
                  <a:lnTo>
                    <a:pt x="120" y="164"/>
                  </a:lnTo>
                  <a:lnTo>
                    <a:pt x="118" y="164"/>
                  </a:lnTo>
                  <a:lnTo>
                    <a:pt x="118" y="170"/>
                  </a:lnTo>
                  <a:lnTo>
                    <a:pt x="114" y="165"/>
                  </a:lnTo>
                  <a:lnTo>
                    <a:pt x="114" y="167"/>
                  </a:lnTo>
                  <a:lnTo>
                    <a:pt x="112" y="168"/>
                  </a:lnTo>
                  <a:lnTo>
                    <a:pt x="112" y="167"/>
                  </a:lnTo>
                  <a:lnTo>
                    <a:pt x="111" y="167"/>
                  </a:lnTo>
                  <a:lnTo>
                    <a:pt x="112" y="165"/>
                  </a:lnTo>
                  <a:lnTo>
                    <a:pt x="111" y="164"/>
                  </a:lnTo>
                  <a:lnTo>
                    <a:pt x="111" y="159"/>
                  </a:lnTo>
                  <a:lnTo>
                    <a:pt x="108" y="150"/>
                  </a:lnTo>
                  <a:lnTo>
                    <a:pt x="108" y="149"/>
                  </a:lnTo>
                  <a:lnTo>
                    <a:pt x="106" y="149"/>
                  </a:lnTo>
                  <a:lnTo>
                    <a:pt x="106" y="146"/>
                  </a:lnTo>
                  <a:lnTo>
                    <a:pt x="105" y="146"/>
                  </a:lnTo>
                  <a:lnTo>
                    <a:pt x="105" y="144"/>
                  </a:lnTo>
                  <a:lnTo>
                    <a:pt x="103" y="144"/>
                  </a:lnTo>
                  <a:lnTo>
                    <a:pt x="103" y="143"/>
                  </a:lnTo>
                  <a:lnTo>
                    <a:pt x="102" y="143"/>
                  </a:lnTo>
                  <a:lnTo>
                    <a:pt x="100" y="141"/>
                  </a:lnTo>
                  <a:lnTo>
                    <a:pt x="99" y="141"/>
                  </a:lnTo>
                  <a:lnTo>
                    <a:pt x="99" y="140"/>
                  </a:lnTo>
                  <a:lnTo>
                    <a:pt x="97" y="140"/>
                  </a:lnTo>
                  <a:lnTo>
                    <a:pt x="94" y="138"/>
                  </a:lnTo>
                  <a:lnTo>
                    <a:pt x="94" y="135"/>
                  </a:lnTo>
                  <a:lnTo>
                    <a:pt x="93" y="135"/>
                  </a:lnTo>
                  <a:lnTo>
                    <a:pt x="91" y="134"/>
                  </a:lnTo>
                  <a:lnTo>
                    <a:pt x="91" y="132"/>
                  </a:lnTo>
                  <a:lnTo>
                    <a:pt x="90" y="132"/>
                  </a:lnTo>
                  <a:lnTo>
                    <a:pt x="91" y="131"/>
                  </a:lnTo>
                  <a:lnTo>
                    <a:pt x="91" y="129"/>
                  </a:lnTo>
                  <a:lnTo>
                    <a:pt x="90" y="128"/>
                  </a:lnTo>
                  <a:lnTo>
                    <a:pt x="90" y="126"/>
                  </a:lnTo>
                  <a:lnTo>
                    <a:pt x="88" y="125"/>
                  </a:lnTo>
                  <a:lnTo>
                    <a:pt x="88" y="122"/>
                  </a:lnTo>
                  <a:lnTo>
                    <a:pt x="87" y="120"/>
                  </a:lnTo>
                  <a:lnTo>
                    <a:pt x="87" y="113"/>
                  </a:lnTo>
                  <a:lnTo>
                    <a:pt x="85" y="113"/>
                  </a:lnTo>
                  <a:lnTo>
                    <a:pt x="85" y="114"/>
                  </a:lnTo>
                  <a:lnTo>
                    <a:pt x="84" y="114"/>
                  </a:lnTo>
                  <a:lnTo>
                    <a:pt x="84" y="113"/>
                  </a:lnTo>
                  <a:lnTo>
                    <a:pt x="82" y="113"/>
                  </a:lnTo>
                  <a:lnTo>
                    <a:pt x="82" y="111"/>
                  </a:lnTo>
                  <a:lnTo>
                    <a:pt x="84" y="111"/>
                  </a:lnTo>
                  <a:lnTo>
                    <a:pt x="84" y="110"/>
                  </a:lnTo>
                  <a:lnTo>
                    <a:pt x="82" y="110"/>
                  </a:lnTo>
                  <a:lnTo>
                    <a:pt x="82" y="107"/>
                  </a:lnTo>
                  <a:lnTo>
                    <a:pt x="84" y="107"/>
                  </a:lnTo>
                  <a:lnTo>
                    <a:pt x="84" y="105"/>
                  </a:lnTo>
                  <a:lnTo>
                    <a:pt x="82" y="104"/>
                  </a:lnTo>
                  <a:lnTo>
                    <a:pt x="84" y="104"/>
                  </a:lnTo>
                  <a:lnTo>
                    <a:pt x="84" y="101"/>
                  </a:lnTo>
                  <a:lnTo>
                    <a:pt x="85" y="101"/>
                  </a:lnTo>
                  <a:lnTo>
                    <a:pt x="84" y="99"/>
                  </a:lnTo>
                  <a:lnTo>
                    <a:pt x="87" y="99"/>
                  </a:lnTo>
                  <a:lnTo>
                    <a:pt x="85" y="98"/>
                  </a:lnTo>
                  <a:lnTo>
                    <a:pt x="85" y="96"/>
                  </a:lnTo>
                  <a:lnTo>
                    <a:pt x="87" y="96"/>
                  </a:lnTo>
                  <a:lnTo>
                    <a:pt x="87" y="95"/>
                  </a:lnTo>
                  <a:lnTo>
                    <a:pt x="85" y="93"/>
                  </a:lnTo>
                  <a:lnTo>
                    <a:pt x="85" y="92"/>
                  </a:lnTo>
                  <a:lnTo>
                    <a:pt x="87" y="90"/>
                  </a:lnTo>
                  <a:lnTo>
                    <a:pt x="85" y="90"/>
                  </a:lnTo>
                  <a:lnTo>
                    <a:pt x="85" y="83"/>
                  </a:lnTo>
                  <a:lnTo>
                    <a:pt x="87" y="81"/>
                  </a:lnTo>
                  <a:lnTo>
                    <a:pt x="87" y="78"/>
                  </a:lnTo>
                  <a:lnTo>
                    <a:pt x="90" y="75"/>
                  </a:lnTo>
                  <a:lnTo>
                    <a:pt x="90" y="74"/>
                  </a:lnTo>
                  <a:lnTo>
                    <a:pt x="91" y="72"/>
                  </a:lnTo>
                  <a:lnTo>
                    <a:pt x="91" y="71"/>
                  </a:lnTo>
                  <a:lnTo>
                    <a:pt x="93" y="69"/>
                  </a:lnTo>
                  <a:lnTo>
                    <a:pt x="93" y="68"/>
                  </a:lnTo>
                  <a:lnTo>
                    <a:pt x="94" y="66"/>
                  </a:lnTo>
                  <a:lnTo>
                    <a:pt x="94" y="63"/>
                  </a:lnTo>
                  <a:lnTo>
                    <a:pt x="96" y="63"/>
                  </a:lnTo>
                  <a:lnTo>
                    <a:pt x="96" y="62"/>
                  </a:lnTo>
                  <a:lnTo>
                    <a:pt x="97" y="62"/>
                  </a:lnTo>
                  <a:lnTo>
                    <a:pt x="97" y="60"/>
                  </a:lnTo>
                  <a:lnTo>
                    <a:pt x="99" y="60"/>
                  </a:lnTo>
                  <a:lnTo>
                    <a:pt x="99" y="57"/>
                  </a:lnTo>
                  <a:lnTo>
                    <a:pt x="102" y="54"/>
                  </a:lnTo>
                  <a:lnTo>
                    <a:pt x="102" y="53"/>
                  </a:lnTo>
                  <a:lnTo>
                    <a:pt x="105" y="47"/>
                  </a:lnTo>
                  <a:lnTo>
                    <a:pt x="105" y="45"/>
                  </a:lnTo>
                  <a:lnTo>
                    <a:pt x="106" y="45"/>
                  </a:lnTo>
                  <a:lnTo>
                    <a:pt x="108" y="42"/>
                  </a:lnTo>
                  <a:lnTo>
                    <a:pt x="109" y="41"/>
                  </a:lnTo>
                  <a:lnTo>
                    <a:pt x="109" y="38"/>
                  </a:lnTo>
                  <a:lnTo>
                    <a:pt x="111" y="36"/>
                  </a:lnTo>
                  <a:lnTo>
                    <a:pt x="111" y="35"/>
                  </a:lnTo>
                  <a:lnTo>
                    <a:pt x="112" y="35"/>
                  </a:lnTo>
                  <a:lnTo>
                    <a:pt x="114" y="33"/>
                  </a:lnTo>
                  <a:lnTo>
                    <a:pt x="114" y="32"/>
                  </a:lnTo>
                  <a:lnTo>
                    <a:pt x="117" y="32"/>
                  </a:lnTo>
                  <a:lnTo>
                    <a:pt x="117" y="30"/>
                  </a:lnTo>
                  <a:lnTo>
                    <a:pt x="118" y="30"/>
                  </a:lnTo>
                  <a:lnTo>
                    <a:pt x="118" y="27"/>
                  </a:lnTo>
                  <a:lnTo>
                    <a:pt x="120" y="27"/>
                  </a:lnTo>
                  <a:lnTo>
                    <a:pt x="121" y="24"/>
                  </a:lnTo>
                  <a:lnTo>
                    <a:pt x="121" y="20"/>
                  </a:lnTo>
                  <a:lnTo>
                    <a:pt x="123" y="20"/>
                  </a:lnTo>
                  <a:lnTo>
                    <a:pt x="123" y="18"/>
                  </a:lnTo>
                  <a:lnTo>
                    <a:pt x="124" y="18"/>
                  </a:lnTo>
                  <a:lnTo>
                    <a:pt x="124" y="17"/>
                  </a:lnTo>
                  <a:lnTo>
                    <a:pt x="129" y="12"/>
                  </a:lnTo>
                  <a:lnTo>
                    <a:pt x="132" y="11"/>
                  </a:lnTo>
                  <a:lnTo>
                    <a:pt x="133" y="9"/>
                  </a:lnTo>
                  <a:lnTo>
                    <a:pt x="135" y="9"/>
                  </a:lnTo>
                  <a:lnTo>
                    <a:pt x="139" y="8"/>
                  </a:lnTo>
                  <a:lnTo>
                    <a:pt x="141" y="8"/>
                  </a:lnTo>
                  <a:lnTo>
                    <a:pt x="142" y="6"/>
                  </a:lnTo>
                  <a:lnTo>
                    <a:pt x="144" y="6"/>
                  </a:lnTo>
                  <a:lnTo>
                    <a:pt x="145" y="8"/>
                  </a:lnTo>
                  <a:lnTo>
                    <a:pt x="145" y="6"/>
                  </a:lnTo>
                  <a:lnTo>
                    <a:pt x="144" y="6"/>
                  </a:lnTo>
                  <a:lnTo>
                    <a:pt x="144" y="5"/>
                  </a:lnTo>
                  <a:lnTo>
                    <a:pt x="145" y="3"/>
                  </a:lnTo>
                  <a:lnTo>
                    <a:pt x="145" y="2"/>
                  </a:lnTo>
                  <a:lnTo>
                    <a:pt x="147" y="2"/>
                  </a:lnTo>
                  <a:lnTo>
                    <a:pt x="14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15">
              <a:extLst>
                <a:ext uri="{FF2B5EF4-FFF2-40B4-BE49-F238E27FC236}">
                  <a16:creationId xmlns:a16="http://schemas.microsoft.com/office/drawing/2014/main" id="{59C6D20B-7371-68FE-FD1E-4531BD41C03F}"/>
                </a:ext>
              </a:extLst>
            </p:cNvPr>
            <p:cNvSpPr>
              <a:spLocks noEditPoints="1"/>
            </p:cNvSpPr>
            <p:nvPr/>
          </p:nvSpPr>
          <p:spPr bwMode="auto">
            <a:xfrm>
              <a:off x="3563329" y="4630892"/>
              <a:ext cx="464932" cy="385169"/>
            </a:xfrm>
            <a:custGeom>
              <a:avLst/>
              <a:gdLst/>
              <a:ahLst/>
              <a:cxnLst>
                <a:cxn ang="0">
                  <a:pos x="147" y="343"/>
                </a:cxn>
                <a:cxn ang="0">
                  <a:pos x="386" y="331"/>
                </a:cxn>
                <a:cxn ang="0">
                  <a:pos x="222" y="304"/>
                </a:cxn>
                <a:cxn ang="0">
                  <a:pos x="166" y="288"/>
                </a:cxn>
                <a:cxn ang="0">
                  <a:pos x="241" y="282"/>
                </a:cxn>
                <a:cxn ang="0">
                  <a:pos x="400" y="255"/>
                </a:cxn>
                <a:cxn ang="0">
                  <a:pos x="2" y="223"/>
                </a:cxn>
                <a:cxn ang="0">
                  <a:pos x="12" y="199"/>
                </a:cxn>
                <a:cxn ang="0">
                  <a:pos x="304" y="156"/>
                </a:cxn>
                <a:cxn ang="0">
                  <a:pos x="392" y="132"/>
                </a:cxn>
                <a:cxn ang="0">
                  <a:pos x="430" y="169"/>
                </a:cxn>
                <a:cxn ang="0">
                  <a:pos x="433" y="205"/>
                </a:cxn>
                <a:cxn ang="0">
                  <a:pos x="428" y="265"/>
                </a:cxn>
                <a:cxn ang="0">
                  <a:pos x="412" y="256"/>
                </a:cxn>
                <a:cxn ang="0">
                  <a:pos x="400" y="292"/>
                </a:cxn>
                <a:cxn ang="0">
                  <a:pos x="350" y="304"/>
                </a:cxn>
                <a:cxn ang="0">
                  <a:pos x="313" y="226"/>
                </a:cxn>
                <a:cxn ang="0">
                  <a:pos x="285" y="231"/>
                </a:cxn>
                <a:cxn ang="0">
                  <a:pos x="253" y="234"/>
                </a:cxn>
                <a:cxn ang="0">
                  <a:pos x="232" y="243"/>
                </a:cxn>
                <a:cxn ang="0">
                  <a:pos x="277" y="195"/>
                </a:cxn>
                <a:cxn ang="0">
                  <a:pos x="317" y="207"/>
                </a:cxn>
                <a:cxn ang="0">
                  <a:pos x="362" y="168"/>
                </a:cxn>
                <a:cxn ang="0">
                  <a:pos x="421" y="127"/>
                </a:cxn>
                <a:cxn ang="0">
                  <a:pos x="341" y="115"/>
                </a:cxn>
                <a:cxn ang="0">
                  <a:pos x="314" y="129"/>
                </a:cxn>
                <a:cxn ang="0">
                  <a:pos x="397" y="123"/>
                </a:cxn>
                <a:cxn ang="0">
                  <a:pos x="135" y="98"/>
                </a:cxn>
                <a:cxn ang="0">
                  <a:pos x="256" y="101"/>
                </a:cxn>
                <a:cxn ang="0">
                  <a:pos x="187" y="81"/>
                </a:cxn>
                <a:cxn ang="0">
                  <a:pos x="285" y="138"/>
                </a:cxn>
                <a:cxn ang="0">
                  <a:pos x="258" y="145"/>
                </a:cxn>
                <a:cxn ang="0">
                  <a:pos x="276" y="89"/>
                </a:cxn>
                <a:cxn ang="0">
                  <a:pos x="325" y="99"/>
                </a:cxn>
                <a:cxn ang="0">
                  <a:pos x="296" y="126"/>
                </a:cxn>
                <a:cxn ang="0">
                  <a:pos x="311" y="62"/>
                </a:cxn>
                <a:cxn ang="0">
                  <a:pos x="120" y="90"/>
                </a:cxn>
                <a:cxn ang="0">
                  <a:pos x="80" y="133"/>
                </a:cxn>
                <a:cxn ang="0">
                  <a:pos x="26" y="189"/>
                </a:cxn>
                <a:cxn ang="0">
                  <a:pos x="38" y="163"/>
                </a:cxn>
                <a:cxn ang="0">
                  <a:pos x="87" y="113"/>
                </a:cxn>
                <a:cxn ang="0">
                  <a:pos x="105" y="80"/>
                </a:cxn>
                <a:cxn ang="0">
                  <a:pos x="111" y="68"/>
                </a:cxn>
                <a:cxn ang="0">
                  <a:pos x="343" y="50"/>
                </a:cxn>
                <a:cxn ang="0">
                  <a:pos x="237" y="36"/>
                </a:cxn>
                <a:cxn ang="0">
                  <a:pos x="283" y="50"/>
                </a:cxn>
                <a:cxn ang="0">
                  <a:pos x="244" y="92"/>
                </a:cxn>
                <a:cxn ang="0">
                  <a:pos x="148" y="30"/>
                </a:cxn>
                <a:cxn ang="0">
                  <a:pos x="136" y="39"/>
                </a:cxn>
                <a:cxn ang="0">
                  <a:pos x="190" y="20"/>
                </a:cxn>
                <a:cxn ang="0">
                  <a:pos x="141" y="29"/>
                </a:cxn>
                <a:cxn ang="0">
                  <a:pos x="250" y="8"/>
                </a:cxn>
                <a:cxn ang="0">
                  <a:pos x="389" y="23"/>
                </a:cxn>
                <a:cxn ang="0">
                  <a:pos x="398" y="60"/>
                </a:cxn>
                <a:cxn ang="0">
                  <a:pos x="380" y="71"/>
                </a:cxn>
                <a:cxn ang="0">
                  <a:pos x="376" y="113"/>
                </a:cxn>
                <a:cxn ang="0">
                  <a:pos x="356" y="80"/>
                </a:cxn>
                <a:cxn ang="0">
                  <a:pos x="346" y="56"/>
                </a:cxn>
                <a:cxn ang="0">
                  <a:pos x="368" y="39"/>
                </a:cxn>
                <a:cxn ang="0">
                  <a:pos x="291" y="2"/>
                </a:cxn>
                <a:cxn ang="0">
                  <a:pos x="322" y="24"/>
                </a:cxn>
                <a:cxn ang="0">
                  <a:pos x="307" y="24"/>
                </a:cxn>
                <a:cxn ang="0">
                  <a:pos x="288" y="0"/>
                </a:cxn>
              </a:cxnLst>
              <a:rect l="0" t="0" r="r" b="b"/>
              <a:pathLst>
                <a:path w="443" h="367">
                  <a:moveTo>
                    <a:pt x="131" y="360"/>
                  </a:moveTo>
                  <a:lnTo>
                    <a:pt x="132" y="360"/>
                  </a:lnTo>
                  <a:lnTo>
                    <a:pt x="134" y="361"/>
                  </a:lnTo>
                  <a:lnTo>
                    <a:pt x="131" y="361"/>
                  </a:lnTo>
                  <a:lnTo>
                    <a:pt x="131" y="360"/>
                  </a:lnTo>
                  <a:close/>
                  <a:moveTo>
                    <a:pt x="114" y="357"/>
                  </a:moveTo>
                  <a:lnTo>
                    <a:pt x="116" y="357"/>
                  </a:lnTo>
                  <a:lnTo>
                    <a:pt x="116" y="360"/>
                  </a:lnTo>
                  <a:lnTo>
                    <a:pt x="117" y="361"/>
                  </a:lnTo>
                  <a:lnTo>
                    <a:pt x="117" y="364"/>
                  </a:lnTo>
                  <a:lnTo>
                    <a:pt x="116" y="367"/>
                  </a:lnTo>
                  <a:lnTo>
                    <a:pt x="114" y="367"/>
                  </a:lnTo>
                  <a:lnTo>
                    <a:pt x="114" y="364"/>
                  </a:lnTo>
                  <a:lnTo>
                    <a:pt x="116" y="363"/>
                  </a:lnTo>
                  <a:lnTo>
                    <a:pt x="114" y="358"/>
                  </a:lnTo>
                  <a:lnTo>
                    <a:pt x="114" y="357"/>
                  </a:lnTo>
                  <a:close/>
                  <a:moveTo>
                    <a:pt x="131" y="355"/>
                  </a:moveTo>
                  <a:lnTo>
                    <a:pt x="132" y="355"/>
                  </a:lnTo>
                  <a:lnTo>
                    <a:pt x="132" y="358"/>
                  </a:lnTo>
                  <a:lnTo>
                    <a:pt x="131" y="357"/>
                  </a:lnTo>
                  <a:lnTo>
                    <a:pt x="131" y="355"/>
                  </a:lnTo>
                  <a:close/>
                  <a:moveTo>
                    <a:pt x="147" y="336"/>
                  </a:moveTo>
                  <a:lnTo>
                    <a:pt x="150" y="336"/>
                  </a:lnTo>
                  <a:lnTo>
                    <a:pt x="150" y="339"/>
                  </a:lnTo>
                  <a:lnTo>
                    <a:pt x="151" y="339"/>
                  </a:lnTo>
                  <a:lnTo>
                    <a:pt x="151" y="340"/>
                  </a:lnTo>
                  <a:lnTo>
                    <a:pt x="150" y="343"/>
                  </a:lnTo>
                  <a:lnTo>
                    <a:pt x="150" y="346"/>
                  </a:lnTo>
                  <a:lnTo>
                    <a:pt x="148" y="346"/>
                  </a:lnTo>
                  <a:lnTo>
                    <a:pt x="148" y="342"/>
                  </a:lnTo>
                  <a:lnTo>
                    <a:pt x="147" y="342"/>
                  </a:lnTo>
                  <a:lnTo>
                    <a:pt x="147" y="343"/>
                  </a:lnTo>
                  <a:lnTo>
                    <a:pt x="145" y="343"/>
                  </a:lnTo>
                  <a:lnTo>
                    <a:pt x="145" y="342"/>
                  </a:lnTo>
                  <a:lnTo>
                    <a:pt x="144" y="342"/>
                  </a:lnTo>
                  <a:lnTo>
                    <a:pt x="144" y="345"/>
                  </a:lnTo>
                  <a:lnTo>
                    <a:pt x="139" y="345"/>
                  </a:lnTo>
                  <a:lnTo>
                    <a:pt x="139" y="346"/>
                  </a:lnTo>
                  <a:lnTo>
                    <a:pt x="138" y="346"/>
                  </a:lnTo>
                  <a:lnTo>
                    <a:pt x="138" y="348"/>
                  </a:lnTo>
                  <a:lnTo>
                    <a:pt x="135" y="348"/>
                  </a:lnTo>
                  <a:lnTo>
                    <a:pt x="135" y="349"/>
                  </a:lnTo>
                  <a:lnTo>
                    <a:pt x="129" y="349"/>
                  </a:lnTo>
                  <a:lnTo>
                    <a:pt x="128" y="351"/>
                  </a:lnTo>
                  <a:lnTo>
                    <a:pt x="128" y="349"/>
                  </a:lnTo>
                  <a:lnTo>
                    <a:pt x="129" y="348"/>
                  </a:lnTo>
                  <a:lnTo>
                    <a:pt x="129" y="346"/>
                  </a:lnTo>
                  <a:lnTo>
                    <a:pt x="132" y="346"/>
                  </a:lnTo>
                  <a:lnTo>
                    <a:pt x="134" y="345"/>
                  </a:lnTo>
                  <a:lnTo>
                    <a:pt x="135" y="345"/>
                  </a:lnTo>
                  <a:lnTo>
                    <a:pt x="135" y="343"/>
                  </a:lnTo>
                  <a:lnTo>
                    <a:pt x="136" y="343"/>
                  </a:lnTo>
                  <a:lnTo>
                    <a:pt x="138" y="342"/>
                  </a:lnTo>
                  <a:lnTo>
                    <a:pt x="139" y="342"/>
                  </a:lnTo>
                  <a:lnTo>
                    <a:pt x="141" y="340"/>
                  </a:lnTo>
                  <a:lnTo>
                    <a:pt x="144" y="340"/>
                  </a:lnTo>
                  <a:lnTo>
                    <a:pt x="144" y="339"/>
                  </a:lnTo>
                  <a:lnTo>
                    <a:pt x="147" y="336"/>
                  </a:lnTo>
                  <a:close/>
                  <a:moveTo>
                    <a:pt x="386" y="331"/>
                  </a:moveTo>
                  <a:lnTo>
                    <a:pt x="388" y="331"/>
                  </a:lnTo>
                  <a:lnTo>
                    <a:pt x="388" y="334"/>
                  </a:lnTo>
                  <a:lnTo>
                    <a:pt x="385" y="334"/>
                  </a:lnTo>
                  <a:lnTo>
                    <a:pt x="385" y="333"/>
                  </a:lnTo>
                  <a:lnTo>
                    <a:pt x="386" y="331"/>
                  </a:lnTo>
                  <a:close/>
                  <a:moveTo>
                    <a:pt x="178" y="325"/>
                  </a:moveTo>
                  <a:lnTo>
                    <a:pt x="180" y="325"/>
                  </a:lnTo>
                  <a:lnTo>
                    <a:pt x="180" y="327"/>
                  </a:lnTo>
                  <a:lnTo>
                    <a:pt x="181" y="327"/>
                  </a:lnTo>
                  <a:lnTo>
                    <a:pt x="181" y="328"/>
                  </a:lnTo>
                  <a:lnTo>
                    <a:pt x="178" y="328"/>
                  </a:lnTo>
                  <a:lnTo>
                    <a:pt x="177" y="327"/>
                  </a:lnTo>
                  <a:lnTo>
                    <a:pt x="178" y="325"/>
                  </a:lnTo>
                  <a:close/>
                  <a:moveTo>
                    <a:pt x="177" y="319"/>
                  </a:moveTo>
                  <a:lnTo>
                    <a:pt x="180" y="319"/>
                  </a:lnTo>
                  <a:lnTo>
                    <a:pt x="180" y="321"/>
                  </a:lnTo>
                  <a:lnTo>
                    <a:pt x="175" y="321"/>
                  </a:lnTo>
                  <a:lnTo>
                    <a:pt x="177" y="319"/>
                  </a:lnTo>
                  <a:close/>
                  <a:moveTo>
                    <a:pt x="181" y="316"/>
                  </a:moveTo>
                  <a:lnTo>
                    <a:pt x="181" y="318"/>
                  </a:lnTo>
                  <a:lnTo>
                    <a:pt x="183" y="318"/>
                  </a:lnTo>
                  <a:lnTo>
                    <a:pt x="181" y="319"/>
                  </a:lnTo>
                  <a:lnTo>
                    <a:pt x="180" y="319"/>
                  </a:lnTo>
                  <a:lnTo>
                    <a:pt x="180" y="318"/>
                  </a:lnTo>
                  <a:lnTo>
                    <a:pt x="181" y="316"/>
                  </a:lnTo>
                  <a:close/>
                  <a:moveTo>
                    <a:pt x="192" y="313"/>
                  </a:moveTo>
                  <a:lnTo>
                    <a:pt x="195" y="313"/>
                  </a:lnTo>
                  <a:lnTo>
                    <a:pt x="195" y="315"/>
                  </a:lnTo>
                  <a:lnTo>
                    <a:pt x="193" y="316"/>
                  </a:lnTo>
                  <a:lnTo>
                    <a:pt x="192" y="315"/>
                  </a:lnTo>
                  <a:lnTo>
                    <a:pt x="192" y="313"/>
                  </a:lnTo>
                  <a:close/>
                  <a:moveTo>
                    <a:pt x="222" y="303"/>
                  </a:moveTo>
                  <a:lnTo>
                    <a:pt x="225" y="304"/>
                  </a:lnTo>
                  <a:lnTo>
                    <a:pt x="228" y="304"/>
                  </a:lnTo>
                  <a:lnTo>
                    <a:pt x="228" y="306"/>
                  </a:lnTo>
                  <a:lnTo>
                    <a:pt x="225" y="306"/>
                  </a:lnTo>
                  <a:lnTo>
                    <a:pt x="222" y="304"/>
                  </a:lnTo>
                  <a:lnTo>
                    <a:pt x="222" y="303"/>
                  </a:lnTo>
                  <a:close/>
                  <a:moveTo>
                    <a:pt x="186" y="301"/>
                  </a:moveTo>
                  <a:lnTo>
                    <a:pt x="192" y="301"/>
                  </a:lnTo>
                  <a:lnTo>
                    <a:pt x="192" y="303"/>
                  </a:lnTo>
                  <a:lnTo>
                    <a:pt x="193" y="303"/>
                  </a:lnTo>
                  <a:lnTo>
                    <a:pt x="195" y="306"/>
                  </a:lnTo>
                  <a:lnTo>
                    <a:pt x="196" y="306"/>
                  </a:lnTo>
                  <a:lnTo>
                    <a:pt x="196" y="304"/>
                  </a:lnTo>
                  <a:lnTo>
                    <a:pt x="198" y="304"/>
                  </a:lnTo>
                  <a:lnTo>
                    <a:pt x="199" y="306"/>
                  </a:lnTo>
                  <a:lnTo>
                    <a:pt x="205" y="306"/>
                  </a:lnTo>
                  <a:lnTo>
                    <a:pt x="205" y="309"/>
                  </a:lnTo>
                  <a:lnTo>
                    <a:pt x="204" y="309"/>
                  </a:lnTo>
                  <a:lnTo>
                    <a:pt x="204" y="310"/>
                  </a:lnTo>
                  <a:lnTo>
                    <a:pt x="201" y="310"/>
                  </a:lnTo>
                  <a:lnTo>
                    <a:pt x="199" y="312"/>
                  </a:lnTo>
                  <a:lnTo>
                    <a:pt x="196" y="312"/>
                  </a:lnTo>
                  <a:lnTo>
                    <a:pt x="196" y="309"/>
                  </a:lnTo>
                  <a:lnTo>
                    <a:pt x="195" y="309"/>
                  </a:lnTo>
                  <a:lnTo>
                    <a:pt x="190" y="310"/>
                  </a:lnTo>
                  <a:lnTo>
                    <a:pt x="187" y="310"/>
                  </a:lnTo>
                  <a:lnTo>
                    <a:pt x="186" y="309"/>
                  </a:lnTo>
                  <a:lnTo>
                    <a:pt x="184" y="310"/>
                  </a:lnTo>
                  <a:lnTo>
                    <a:pt x="183" y="310"/>
                  </a:lnTo>
                  <a:lnTo>
                    <a:pt x="183" y="312"/>
                  </a:lnTo>
                  <a:lnTo>
                    <a:pt x="180" y="309"/>
                  </a:lnTo>
                  <a:lnTo>
                    <a:pt x="180" y="306"/>
                  </a:lnTo>
                  <a:lnTo>
                    <a:pt x="181" y="306"/>
                  </a:lnTo>
                  <a:lnTo>
                    <a:pt x="184" y="303"/>
                  </a:lnTo>
                  <a:lnTo>
                    <a:pt x="186" y="303"/>
                  </a:lnTo>
                  <a:lnTo>
                    <a:pt x="186" y="301"/>
                  </a:lnTo>
                  <a:close/>
                  <a:moveTo>
                    <a:pt x="166" y="288"/>
                  </a:moveTo>
                  <a:lnTo>
                    <a:pt x="166" y="289"/>
                  </a:lnTo>
                  <a:lnTo>
                    <a:pt x="168" y="289"/>
                  </a:lnTo>
                  <a:lnTo>
                    <a:pt x="168" y="291"/>
                  </a:lnTo>
                  <a:lnTo>
                    <a:pt x="166" y="294"/>
                  </a:lnTo>
                  <a:lnTo>
                    <a:pt x="165" y="295"/>
                  </a:lnTo>
                  <a:lnTo>
                    <a:pt x="163" y="295"/>
                  </a:lnTo>
                  <a:lnTo>
                    <a:pt x="162" y="294"/>
                  </a:lnTo>
                  <a:lnTo>
                    <a:pt x="163" y="294"/>
                  </a:lnTo>
                  <a:lnTo>
                    <a:pt x="163" y="292"/>
                  </a:lnTo>
                  <a:lnTo>
                    <a:pt x="165" y="292"/>
                  </a:lnTo>
                  <a:lnTo>
                    <a:pt x="165" y="289"/>
                  </a:lnTo>
                  <a:lnTo>
                    <a:pt x="166" y="288"/>
                  </a:lnTo>
                  <a:close/>
                  <a:moveTo>
                    <a:pt x="214" y="274"/>
                  </a:moveTo>
                  <a:lnTo>
                    <a:pt x="214" y="280"/>
                  </a:lnTo>
                  <a:lnTo>
                    <a:pt x="213" y="280"/>
                  </a:lnTo>
                  <a:lnTo>
                    <a:pt x="213" y="276"/>
                  </a:lnTo>
                  <a:lnTo>
                    <a:pt x="214" y="274"/>
                  </a:lnTo>
                  <a:close/>
                  <a:moveTo>
                    <a:pt x="232" y="271"/>
                  </a:moveTo>
                  <a:lnTo>
                    <a:pt x="235" y="271"/>
                  </a:lnTo>
                  <a:lnTo>
                    <a:pt x="235" y="273"/>
                  </a:lnTo>
                  <a:lnTo>
                    <a:pt x="238" y="273"/>
                  </a:lnTo>
                  <a:lnTo>
                    <a:pt x="238" y="274"/>
                  </a:lnTo>
                  <a:lnTo>
                    <a:pt x="241" y="274"/>
                  </a:lnTo>
                  <a:lnTo>
                    <a:pt x="243" y="276"/>
                  </a:lnTo>
                  <a:lnTo>
                    <a:pt x="244" y="276"/>
                  </a:lnTo>
                  <a:lnTo>
                    <a:pt x="244" y="277"/>
                  </a:lnTo>
                  <a:lnTo>
                    <a:pt x="246" y="277"/>
                  </a:lnTo>
                  <a:lnTo>
                    <a:pt x="247" y="279"/>
                  </a:lnTo>
                  <a:lnTo>
                    <a:pt x="243" y="279"/>
                  </a:lnTo>
                  <a:lnTo>
                    <a:pt x="243" y="280"/>
                  </a:lnTo>
                  <a:lnTo>
                    <a:pt x="241" y="280"/>
                  </a:lnTo>
                  <a:lnTo>
                    <a:pt x="241" y="282"/>
                  </a:lnTo>
                  <a:lnTo>
                    <a:pt x="240" y="285"/>
                  </a:lnTo>
                  <a:lnTo>
                    <a:pt x="238" y="285"/>
                  </a:lnTo>
                  <a:lnTo>
                    <a:pt x="237" y="286"/>
                  </a:lnTo>
                  <a:lnTo>
                    <a:pt x="231" y="286"/>
                  </a:lnTo>
                  <a:lnTo>
                    <a:pt x="229" y="288"/>
                  </a:lnTo>
                  <a:lnTo>
                    <a:pt x="229" y="285"/>
                  </a:lnTo>
                  <a:lnTo>
                    <a:pt x="226" y="283"/>
                  </a:lnTo>
                  <a:lnTo>
                    <a:pt x="226" y="279"/>
                  </a:lnTo>
                  <a:lnTo>
                    <a:pt x="223" y="279"/>
                  </a:lnTo>
                  <a:lnTo>
                    <a:pt x="222" y="277"/>
                  </a:lnTo>
                  <a:lnTo>
                    <a:pt x="223" y="276"/>
                  </a:lnTo>
                  <a:lnTo>
                    <a:pt x="229" y="274"/>
                  </a:lnTo>
                  <a:lnTo>
                    <a:pt x="231" y="273"/>
                  </a:lnTo>
                  <a:lnTo>
                    <a:pt x="232" y="273"/>
                  </a:lnTo>
                  <a:lnTo>
                    <a:pt x="232" y="271"/>
                  </a:lnTo>
                  <a:close/>
                  <a:moveTo>
                    <a:pt x="68" y="258"/>
                  </a:moveTo>
                  <a:lnTo>
                    <a:pt x="72" y="258"/>
                  </a:lnTo>
                  <a:lnTo>
                    <a:pt x="72" y="261"/>
                  </a:lnTo>
                  <a:lnTo>
                    <a:pt x="68" y="261"/>
                  </a:lnTo>
                  <a:lnTo>
                    <a:pt x="68" y="258"/>
                  </a:lnTo>
                  <a:close/>
                  <a:moveTo>
                    <a:pt x="401" y="250"/>
                  </a:moveTo>
                  <a:lnTo>
                    <a:pt x="403" y="250"/>
                  </a:lnTo>
                  <a:lnTo>
                    <a:pt x="403" y="252"/>
                  </a:lnTo>
                  <a:lnTo>
                    <a:pt x="406" y="255"/>
                  </a:lnTo>
                  <a:lnTo>
                    <a:pt x="404" y="261"/>
                  </a:lnTo>
                  <a:lnTo>
                    <a:pt x="406" y="262"/>
                  </a:lnTo>
                  <a:lnTo>
                    <a:pt x="406" y="264"/>
                  </a:lnTo>
                  <a:lnTo>
                    <a:pt x="404" y="264"/>
                  </a:lnTo>
                  <a:lnTo>
                    <a:pt x="403" y="262"/>
                  </a:lnTo>
                  <a:lnTo>
                    <a:pt x="403" y="259"/>
                  </a:lnTo>
                  <a:lnTo>
                    <a:pt x="400" y="256"/>
                  </a:lnTo>
                  <a:lnTo>
                    <a:pt x="400" y="255"/>
                  </a:lnTo>
                  <a:lnTo>
                    <a:pt x="401" y="255"/>
                  </a:lnTo>
                  <a:lnTo>
                    <a:pt x="401" y="250"/>
                  </a:lnTo>
                  <a:close/>
                  <a:moveTo>
                    <a:pt x="270" y="240"/>
                  </a:moveTo>
                  <a:lnTo>
                    <a:pt x="271" y="241"/>
                  </a:lnTo>
                  <a:lnTo>
                    <a:pt x="273" y="241"/>
                  </a:lnTo>
                  <a:lnTo>
                    <a:pt x="273" y="240"/>
                  </a:lnTo>
                  <a:lnTo>
                    <a:pt x="274" y="240"/>
                  </a:lnTo>
                  <a:lnTo>
                    <a:pt x="274" y="241"/>
                  </a:lnTo>
                  <a:lnTo>
                    <a:pt x="276" y="243"/>
                  </a:lnTo>
                  <a:lnTo>
                    <a:pt x="274" y="244"/>
                  </a:lnTo>
                  <a:lnTo>
                    <a:pt x="271" y="244"/>
                  </a:lnTo>
                  <a:lnTo>
                    <a:pt x="271" y="246"/>
                  </a:lnTo>
                  <a:lnTo>
                    <a:pt x="268" y="246"/>
                  </a:lnTo>
                  <a:lnTo>
                    <a:pt x="268" y="241"/>
                  </a:lnTo>
                  <a:lnTo>
                    <a:pt x="270" y="240"/>
                  </a:lnTo>
                  <a:close/>
                  <a:moveTo>
                    <a:pt x="5" y="210"/>
                  </a:moveTo>
                  <a:lnTo>
                    <a:pt x="6" y="211"/>
                  </a:lnTo>
                  <a:lnTo>
                    <a:pt x="5" y="211"/>
                  </a:lnTo>
                  <a:lnTo>
                    <a:pt x="5" y="213"/>
                  </a:lnTo>
                  <a:lnTo>
                    <a:pt x="6" y="213"/>
                  </a:lnTo>
                  <a:lnTo>
                    <a:pt x="5" y="214"/>
                  </a:lnTo>
                  <a:lnTo>
                    <a:pt x="6" y="216"/>
                  </a:lnTo>
                  <a:lnTo>
                    <a:pt x="6" y="217"/>
                  </a:lnTo>
                  <a:lnTo>
                    <a:pt x="5" y="217"/>
                  </a:lnTo>
                  <a:lnTo>
                    <a:pt x="5" y="219"/>
                  </a:lnTo>
                  <a:lnTo>
                    <a:pt x="6" y="219"/>
                  </a:lnTo>
                  <a:lnTo>
                    <a:pt x="6" y="220"/>
                  </a:lnTo>
                  <a:lnTo>
                    <a:pt x="5" y="220"/>
                  </a:lnTo>
                  <a:lnTo>
                    <a:pt x="5" y="222"/>
                  </a:lnTo>
                  <a:lnTo>
                    <a:pt x="3" y="222"/>
                  </a:lnTo>
                  <a:lnTo>
                    <a:pt x="3" y="223"/>
                  </a:lnTo>
                  <a:lnTo>
                    <a:pt x="2" y="223"/>
                  </a:lnTo>
                  <a:lnTo>
                    <a:pt x="2" y="222"/>
                  </a:lnTo>
                  <a:lnTo>
                    <a:pt x="0" y="220"/>
                  </a:lnTo>
                  <a:lnTo>
                    <a:pt x="0" y="213"/>
                  </a:lnTo>
                  <a:lnTo>
                    <a:pt x="2" y="213"/>
                  </a:lnTo>
                  <a:lnTo>
                    <a:pt x="2" y="211"/>
                  </a:lnTo>
                  <a:lnTo>
                    <a:pt x="3" y="211"/>
                  </a:lnTo>
                  <a:lnTo>
                    <a:pt x="5" y="210"/>
                  </a:lnTo>
                  <a:close/>
                  <a:moveTo>
                    <a:pt x="3" y="207"/>
                  </a:moveTo>
                  <a:lnTo>
                    <a:pt x="5" y="208"/>
                  </a:lnTo>
                  <a:lnTo>
                    <a:pt x="5" y="210"/>
                  </a:lnTo>
                  <a:lnTo>
                    <a:pt x="2" y="210"/>
                  </a:lnTo>
                  <a:lnTo>
                    <a:pt x="2" y="208"/>
                  </a:lnTo>
                  <a:lnTo>
                    <a:pt x="3" y="208"/>
                  </a:lnTo>
                  <a:lnTo>
                    <a:pt x="3" y="207"/>
                  </a:lnTo>
                  <a:close/>
                  <a:moveTo>
                    <a:pt x="9" y="205"/>
                  </a:moveTo>
                  <a:lnTo>
                    <a:pt x="11" y="205"/>
                  </a:lnTo>
                  <a:lnTo>
                    <a:pt x="11" y="207"/>
                  </a:lnTo>
                  <a:lnTo>
                    <a:pt x="9" y="207"/>
                  </a:lnTo>
                  <a:lnTo>
                    <a:pt x="9" y="205"/>
                  </a:lnTo>
                  <a:close/>
                  <a:moveTo>
                    <a:pt x="17" y="198"/>
                  </a:moveTo>
                  <a:lnTo>
                    <a:pt x="17" y="199"/>
                  </a:lnTo>
                  <a:lnTo>
                    <a:pt x="18" y="199"/>
                  </a:lnTo>
                  <a:lnTo>
                    <a:pt x="18" y="204"/>
                  </a:lnTo>
                  <a:lnTo>
                    <a:pt x="17" y="205"/>
                  </a:lnTo>
                  <a:lnTo>
                    <a:pt x="17" y="204"/>
                  </a:lnTo>
                  <a:lnTo>
                    <a:pt x="15" y="205"/>
                  </a:lnTo>
                  <a:lnTo>
                    <a:pt x="15" y="204"/>
                  </a:lnTo>
                  <a:lnTo>
                    <a:pt x="14" y="202"/>
                  </a:lnTo>
                  <a:lnTo>
                    <a:pt x="14" y="201"/>
                  </a:lnTo>
                  <a:lnTo>
                    <a:pt x="17" y="198"/>
                  </a:lnTo>
                  <a:close/>
                  <a:moveTo>
                    <a:pt x="12" y="198"/>
                  </a:moveTo>
                  <a:lnTo>
                    <a:pt x="12" y="199"/>
                  </a:lnTo>
                  <a:lnTo>
                    <a:pt x="14" y="199"/>
                  </a:lnTo>
                  <a:lnTo>
                    <a:pt x="11" y="202"/>
                  </a:lnTo>
                  <a:lnTo>
                    <a:pt x="11" y="199"/>
                  </a:lnTo>
                  <a:lnTo>
                    <a:pt x="12" y="198"/>
                  </a:lnTo>
                  <a:close/>
                  <a:moveTo>
                    <a:pt x="353" y="156"/>
                  </a:moveTo>
                  <a:lnTo>
                    <a:pt x="358" y="156"/>
                  </a:lnTo>
                  <a:lnTo>
                    <a:pt x="358" y="157"/>
                  </a:lnTo>
                  <a:lnTo>
                    <a:pt x="361" y="160"/>
                  </a:lnTo>
                  <a:lnTo>
                    <a:pt x="359" y="162"/>
                  </a:lnTo>
                  <a:lnTo>
                    <a:pt x="359" y="163"/>
                  </a:lnTo>
                  <a:lnTo>
                    <a:pt x="356" y="163"/>
                  </a:lnTo>
                  <a:lnTo>
                    <a:pt x="353" y="162"/>
                  </a:lnTo>
                  <a:lnTo>
                    <a:pt x="353" y="160"/>
                  </a:lnTo>
                  <a:lnTo>
                    <a:pt x="352" y="159"/>
                  </a:lnTo>
                  <a:lnTo>
                    <a:pt x="353" y="157"/>
                  </a:lnTo>
                  <a:lnTo>
                    <a:pt x="353" y="156"/>
                  </a:lnTo>
                  <a:close/>
                  <a:moveTo>
                    <a:pt x="305" y="154"/>
                  </a:moveTo>
                  <a:lnTo>
                    <a:pt x="307" y="154"/>
                  </a:lnTo>
                  <a:lnTo>
                    <a:pt x="310" y="157"/>
                  </a:lnTo>
                  <a:lnTo>
                    <a:pt x="308" y="157"/>
                  </a:lnTo>
                  <a:lnTo>
                    <a:pt x="308" y="160"/>
                  </a:lnTo>
                  <a:lnTo>
                    <a:pt x="310" y="160"/>
                  </a:lnTo>
                  <a:lnTo>
                    <a:pt x="310" y="162"/>
                  </a:lnTo>
                  <a:lnTo>
                    <a:pt x="307" y="162"/>
                  </a:lnTo>
                  <a:lnTo>
                    <a:pt x="307" y="163"/>
                  </a:lnTo>
                  <a:lnTo>
                    <a:pt x="304" y="163"/>
                  </a:lnTo>
                  <a:lnTo>
                    <a:pt x="304" y="162"/>
                  </a:lnTo>
                  <a:lnTo>
                    <a:pt x="302" y="162"/>
                  </a:lnTo>
                  <a:lnTo>
                    <a:pt x="299" y="159"/>
                  </a:lnTo>
                  <a:lnTo>
                    <a:pt x="299" y="157"/>
                  </a:lnTo>
                  <a:lnTo>
                    <a:pt x="302" y="157"/>
                  </a:lnTo>
                  <a:lnTo>
                    <a:pt x="304" y="156"/>
                  </a:lnTo>
                  <a:lnTo>
                    <a:pt x="305" y="156"/>
                  </a:lnTo>
                  <a:lnTo>
                    <a:pt x="305" y="154"/>
                  </a:lnTo>
                  <a:close/>
                  <a:moveTo>
                    <a:pt x="196" y="139"/>
                  </a:moveTo>
                  <a:lnTo>
                    <a:pt x="196" y="141"/>
                  </a:lnTo>
                  <a:lnTo>
                    <a:pt x="195" y="141"/>
                  </a:lnTo>
                  <a:lnTo>
                    <a:pt x="196" y="139"/>
                  </a:lnTo>
                  <a:close/>
                  <a:moveTo>
                    <a:pt x="314" y="138"/>
                  </a:moveTo>
                  <a:lnTo>
                    <a:pt x="316" y="138"/>
                  </a:lnTo>
                  <a:lnTo>
                    <a:pt x="317" y="139"/>
                  </a:lnTo>
                  <a:lnTo>
                    <a:pt x="316" y="141"/>
                  </a:lnTo>
                  <a:lnTo>
                    <a:pt x="314" y="141"/>
                  </a:lnTo>
                  <a:lnTo>
                    <a:pt x="313" y="142"/>
                  </a:lnTo>
                  <a:lnTo>
                    <a:pt x="311" y="142"/>
                  </a:lnTo>
                  <a:lnTo>
                    <a:pt x="311" y="141"/>
                  </a:lnTo>
                  <a:lnTo>
                    <a:pt x="310" y="141"/>
                  </a:lnTo>
                  <a:lnTo>
                    <a:pt x="311" y="139"/>
                  </a:lnTo>
                  <a:lnTo>
                    <a:pt x="313" y="139"/>
                  </a:lnTo>
                  <a:lnTo>
                    <a:pt x="314" y="138"/>
                  </a:lnTo>
                  <a:close/>
                  <a:moveTo>
                    <a:pt x="196" y="138"/>
                  </a:moveTo>
                  <a:lnTo>
                    <a:pt x="198" y="138"/>
                  </a:lnTo>
                  <a:lnTo>
                    <a:pt x="196" y="139"/>
                  </a:lnTo>
                  <a:lnTo>
                    <a:pt x="196" y="138"/>
                  </a:lnTo>
                  <a:close/>
                  <a:moveTo>
                    <a:pt x="412" y="132"/>
                  </a:moveTo>
                  <a:lnTo>
                    <a:pt x="413" y="132"/>
                  </a:lnTo>
                  <a:lnTo>
                    <a:pt x="413" y="135"/>
                  </a:lnTo>
                  <a:lnTo>
                    <a:pt x="415" y="136"/>
                  </a:lnTo>
                  <a:lnTo>
                    <a:pt x="415" y="141"/>
                  </a:lnTo>
                  <a:lnTo>
                    <a:pt x="412" y="141"/>
                  </a:lnTo>
                  <a:lnTo>
                    <a:pt x="412" y="132"/>
                  </a:lnTo>
                  <a:close/>
                  <a:moveTo>
                    <a:pt x="391" y="129"/>
                  </a:moveTo>
                  <a:lnTo>
                    <a:pt x="391" y="130"/>
                  </a:lnTo>
                  <a:lnTo>
                    <a:pt x="392" y="132"/>
                  </a:lnTo>
                  <a:lnTo>
                    <a:pt x="397" y="132"/>
                  </a:lnTo>
                  <a:lnTo>
                    <a:pt x="395" y="133"/>
                  </a:lnTo>
                  <a:lnTo>
                    <a:pt x="397" y="135"/>
                  </a:lnTo>
                  <a:lnTo>
                    <a:pt x="397" y="138"/>
                  </a:lnTo>
                  <a:lnTo>
                    <a:pt x="398" y="139"/>
                  </a:lnTo>
                  <a:lnTo>
                    <a:pt x="401" y="139"/>
                  </a:lnTo>
                  <a:lnTo>
                    <a:pt x="400" y="141"/>
                  </a:lnTo>
                  <a:lnTo>
                    <a:pt x="404" y="141"/>
                  </a:lnTo>
                  <a:lnTo>
                    <a:pt x="404" y="142"/>
                  </a:lnTo>
                  <a:lnTo>
                    <a:pt x="407" y="142"/>
                  </a:lnTo>
                  <a:lnTo>
                    <a:pt x="409" y="144"/>
                  </a:lnTo>
                  <a:lnTo>
                    <a:pt x="410" y="144"/>
                  </a:lnTo>
                  <a:lnTo>
                    <a:pt x="410" y="145"/>
                  </a:lnTo>
                  <a:lnTo>
                    <a:pt x="413" y="145"/>
                  </a:lnTo>
                  <a:lnTo>
                    <a:pt x="413" y="147"/>
                  </a:lnTo>
                  <a:lnTo>
                    <a:pt x="412" y="148"/>
                  </a:lnTo>
                  <a:lnTo>
                    <a:pt x="410" y="148"/>
                  </a:lnTo>
                  <a:lnTo>
                    <a:pt x="412" y="150"/>
                  </a:lnTo>
                  <a:lnTo>
                    <a:pt x="413" y="150"/>
                  </a:lnTo>
                  <a:lnTo>
                    <a:pt x="415" y="148"/>
                  </a:lnTo>
                  <a:lnTo>
                    <a:pt x="415" y="154"/>
                  </a:lnTo>
                  <a:lnTo>
                    <a:pt x="418" y="156"/>
                  </a:lnTo>
                  <a:lnTo>
                    <a:pt x="422" y="156"/>
                  </a:lnTo>
                  <a:lnTo>
                    <a:pt x="424" y="154"/>
                  </a:lnTo>
                  <a:lnTo>
                    <a:pt x="424" y="153"/>
                  </a:lnTo>
                  <a:lnTo>
                    <a:pt x="425" y="153"/>
                  </a:lnTo>
                  <a:lnTo>
                    <a:pt x="425" y="154"/>
                  </a:lnTo>
                  <a:lnTo>
                    <a:pt x="424" y="156"/>
                  </a:lnTo>
                  <a:lnTo>
                    <a:pt x="424" y="163"/>
                  </a:lnTo>
                  <a:lnTo>
                    <a:pt x="425" y="165"/>
                  </a:lnTo>
                  <a:lnTo>
                    <a:pt x="425" y="166"/>
                  </a:lnTo>
                  <a:lnTo>
                    <a:pt x="430" y="169"/>
                  </a:lnTo>
                  <a:lnTo>
                    <a:pt x="430" y="174"/>
                  </a:lnTo>
                  <a:lnTo>
                    <a:pt x="431" y="174"/>
                  </a:lnTo>
                  <a:lnTo>
                    <a:pt x="431" y="175"/>
                  </a:lnTo>
                  <a:lnTo>
                    <a:pt x="430" y="175"/>
                  </a:lnTo>
                  <a:lnTo>
                    <a:pt x="430" y="177"/>
                  </a:lnTo>
                  <a:lnTo>
                    <a:pt x="428" y="178"/>
                  </a:lnTo>
                  <a:lnTo>
                    <a:pt x="425" y="180"/>
                  </a:lnTo>
                  <a:lnTo>
                    <a:pt x="427" y="181"/>
                  </a:lnTo>
                  <a:lnTo>
                    <a:pt x="424" y="181"/>
                  </a:lnTo>
                  <a:lnTo>
                    <a:pt x="422" y="183"/>
                  </a:lnTo>
                  <a:lnTo>
                    <a:pt x="421" y="183"/>
                  </a:lnTo>
                  <a:lnTo>
                    <a:pt x="421" y="187"/>
                  </a:lnTo>
                  <a:lnTo>
                    <a:pt x="422" y="189"/>
                  </a:lnTo>
                  <a:lnTo>
                    <a:pt x="424" y="189"/>
                  </a:lnTo>
                  <a:lnTo>
                    <a:pt x="425" y="190"/>
                  </a:lnTo>
                  <a:lnTo>
                    <a:pt x="425" y="189"/>
                  </a:lnTo>
                  <a:lnTo>
                    <a:pt x="427" y="189"/>
                  </a:lnTo>
                  <a:lnTo>
                    <a:pt x="427" y="187"/>
                  </a:lnTo>
                  <a:lnTo>
                    <a:pt x="428" y="189"/>
                  </a:lnTo>
                  <a:lnTo>
                    <a:pt x="433" y="189"/>
                  </a:lnTo>
                  <a:lnTo>
                    <a:pt x="433" y="190"/>
                  </a:lnTo>
                  <a:lnTo>
                    <a:pt x="434" y="190"/>
                  </a:lnTo>
                  <a:lnTo>
                    <a:pt x="431" y="193"/>
                  </a:lnTo>
                  <a:lnTo>
                    <a:pt x="433" y="193"/>
                  </a:lnTo>
                  <a:lnTo>
                    <a:pt x="433" y="195"/>
                  </a:lnTo>
                  <a:lnTo>
                    <a:pt x="431" y="196"/>
                  </a:lnTo>
                  <a:lnTo>
                    <a:pt x="431" y="199"/>
                  </a:lnTo>
                  <a:lnTo>
                    <a:pt x="433" y="199"/>
                  </a:lnTo>
                  <a:lnTo>
                    <a:pt x="433" y="201"/>
                  </a:lnTo>
                  <a:lnTo>
                    <a:pt x="431" y="202"/>
                  </a:lnTo>
                  <a:lnTo>
                    <a:pt x="431" y="205"/>
                  </a:lnTo>
                  <a:lnTo>
                    <a:pt x="433" y="205"/>
                  </a:lnTo>
                  <a:lnTo>
                    <a:pt x="433" y="204"/>
                  </a:lnTo>
                  <a:lnTo>
                    <a:pt x="434" y="204"/>
                  </a:lnTo>
                  <a:lnTo>
                    <a:pt x="436" y="202"/>
                  </a:lnTo>
                  <a:lnTo>
                    <a:pt x="436" y="210"/>
                  </a:lnTo>
                  <a:lnTo>
                    <a:pt x="434" y="211"/>
                  </a:lnTo>
                  <a:lnTo>
                    <a:pt x="434" y="213"/>
                  </a:lnTo>
                  <a:lnTo>
                    <a:pt x="436" y="214"/>
                  </a:lnTo>
                  <a:lnTo>
                    <a:pt x="433" y="217"/>
                  </a:lnTo>
                  <a:lnTo>
                    <a:pt x="433" y="220"/>
                  </a:lnTo>
                  <a:lnTo>
                    <a:pt x="439" y="226"/>
                  </a:lnTo>
                  <a:lnTo>
                    <a:pt x="442" y="226"/>
                  </a:lnTo>
                  <a:lnTo>
                    <a:pt x="442" y="234"/>
                  </a:lnTo>
                  <a:lnTo>
                    <a:pt x="443" y="237"/>
                  </a:lnTo>
                  <a:lnTo>
                    <a:pt x="443" y="238"/>
                  </a:lnTo>
                  <a:lnTo>
                    <a:pt x="440" y="241"/>
                  </a:lnTo>
                  <a:lnTo>
                    <a:pt x="442" y="241"/>
                  </a:lnTo>
                  <a:lnTo>
                    <a:pt x="442" y="246"/>
                  </a:lnTo>
                  <a:lnTo>
                    <a:pt x="443" y="247"/>
                  </a:lnTo>
                  <a:lnTo>
                    <a:pt x="442" y="249"/>
                  </a:lnTo>
                  <a:lnTo>
                    <a:pt x="442" y="250"/>
                  </a:lnTo>
                  <a:lnTo>
                    <a:pt x="440" y="250"/>
                  </a:lnTo>
                  <a:lnTo>
                    <a:pt x="440" y="252"/>
                  </a:lnTo>
                  <a:lnTo>
                    <a:pt x="439" y="253"/>
                  </a:lnTo>
                  <a:lnTo>
                    <a:pt x="439" y="255"/>
                  </a:lnTo>
                  <a:lnTo>
                    <a:pt x="436" y="258"/>
                  </a:lnTo>
                  <a:lnTo>
                    <a:pt x="436" y="261"/>
                  </a:lnTo>
                  <a:lnTo>
                    <a:pt x="433" y="261"/>
                  </a:lnTo>
                  <a:lnTo>
                    <a:pt x="431" y="259"/>
                  </a:lnTo>
                  <a:lnTo>
                    <a:pt x="430" y="261"/>
                  </a:lnTo>
                  <a:lnTo>
                    <a:pt x="430" y="262"/>
                  </a:lnTo>
                  <a:lnTo>
                    <a:pt x="428" y="264"/>
                  </a:lnTo>
                  <a:lnTo>
                    <a:pt x="428" y="265"/>
                  </a:lnTo>
                  <a:lnTo>
                    <a:pt x="430" y="265"/>
                  </a:lnTo>
                  <a:lnTo>
                    <a:pt x="430" y="267"/>
                  </a:lnTo>
                  <a:lnTo>
                    <a:pt x="431" y="267"/>
                  </a:lnTo>
                  <a:lnTo>
                    <a:pt x="431" y="270"/>
                  </a:lnTo>
                  <a:lnTo>
                    <a:pt x="430" y="270"/>
                  </a:lnTo>
                  <a:lnTo>
                    <a:pt x="428" y="268"/>
                  </a:lnTo>
                  <a:lnTo>
                    <a:pt x="427" y="265"/>
                  </a:lnTo>
                  <a:lnTo>
                    <a:pt x="427" y="264"/>
                  </a:lnTo>
                  <a:lnTo>
                    <a:pt x="425" y="262"/>
                  </a:lnTo>
                  <a:lnTo>
                    <a:pt x="424" y="264"/>
                  </a:lnTo>
                  <a:lnTo>
                    <a:pt x="424" y="265"/>
                  </a:lnTo>
                  <a:lnTo>
                    <a:pt x="422" y="264"/>
                  </a:lnTo>
                  <a:lnTo>
                    <a:pt x="422" y="265"/>
                  </a:lnTo>
                  <a:lnTo>
                    <a:pt x="425" y="268"/>
                  </a:lnTo>
                  <a:lnTo>
                    <a:pt x="425" y="270"/>
                  </a:lnTo>
                  <a:lnTo>
                    <a:pt x="427" y="270"/>
                  </a:lnTo>
                  <a:lnTo>
                    <a:pt x="427" y="273"/>
                  </a:lnTo>
                  <a:lnTo>
                    <a:pt x="425" y="277"/>
                  </a:lnTo>
                  <a:lnTo>
                    <a:pt x="425" y="288"/>
                  </a:lnTo>
                  <a:lnTo>
                    <a:pt x="424" y="292"/>
                  </a:lnTo>
                  <a:lnTo>
                    <a:pt x="424" y="289"/>
                  </a:lnTo>
                  <a:lnTo>
                    <a:pt x="421" y="288"/>
                  </a:lnTo>
                  <a:lnTo>
                    <a:pt x="421" y="283"/>
                  </a:lnTo>
                  <a:lnTo>
                    <a:pt x="419" y="283"/>
                  </a:lnTo>
                  <a:lnTo>
                    <a:pt x="419" y="267"/>
                  </a:lnTo>
                  <a:lnTo>
                    <a:pt x="416" y="267"/>
                  </a:lnTo>
                  <a:lnTo>
                    <a:pt x="416" y="265"/>
                  </a:lnTo>
                  <a:lnTo>
                    <a:pt x="413" y="262"/>
                  </a:lnTo>
                  <a:lnTo>
                    <a:pt x="415" y="261"/>
                  </a:lnTo>
                  <a:lnTo>
                    <a:pt x="415" y="259"/>
                  </a:lnTo>
                  <a:lnTo>
                    <a:pt x="413" y="259"/>
                  </a:lnTo>
                  <a:lnTo>
                    <a:pt x="412" y="256"/>
                  </a:lnTo>
                  <a:lnTo>
                    <a:pt x="410" y="255"/>
                  </a:lnTo>
                  <a:lnTo>
                    <a:pt x="410" y="253"/>
                  </a:lnTo>
                  <a:lnTo>
                    <a:pt x="409" y="249"/>
                  </a:lnTo>
                  <a:lnTo>
                    <a:pt x="409" y="244"/>
                  </a:lnTo>
                  <a:lnTo>
                    <a:pt x="407" y="244"/>
                  </a:lnTo>
                  <a:lnTo>
                    <a:pt x="407" y="243"/>
                  </a:lnTo>
                  <a:lnTo>
                    <a:pt x="406" y="244"/>
                  </a:lnTo>
                  <a:lnTo>
                    <a:pt x="403" y="246"/>
                  </a:lnTo>
                  <a:lnTo>
                    <a:pt x="401" y="247"/>
                  </a:lnTo>
                  <a:lnTo>
                    <a:pt x="400" y="247"/>
                  </a:lnTo>
                  <a:lnTo>
                    <a:pt x="400" y="255"/>
                  </a:lnTo>
                  <a:lnTo>
                    <a:pt x="398" y="255"/>
                  </a:lnTo>
                  <a:lnTo>
                    <a:pt x="398" y="256"/>
                  </a:lnTo>
                  <a:lnTo>
                    <a:pt x="397" y="258"/>
                  </a:lnTo>
                  <a:lnTo>
                    <a:pt x="394" y="258"/>
                  </a:lnTo>
                  <a:lnTo>
                    <a:pt x="391" y="261"/>
                  </a:lnTo>
                  <a:lnTo>
                    <a:pt x="391" y="264"/>
                  </a:lnTo>
                  <a:lnTo>
                    <a:pt x="388" y="267"/>
                  </a:lnTo>
                  <a:lnTo>
                    <a:pt x="388" y="268"/>
                  </a:lnTo>
                  <a:lnTo>
                    <a:pt x="386" y="270"/>
                  </a:lnTo>
                  <a:lnTo>
                    <a:pt x="386" y="276"/>
                  </a:lnTo>
                  <a:lnTo>
                    <a:pt x="388" y="277"/>
                  </a:lnTo>
                  <a:lnTo>
                    <a:pt x="388" y="279"/>
                  </a:lnTo>
                  <a:lnTo>
                    <a:pt x="389" y="279"/>
                  </a:lnTo>
                  <a:lnTo>
                    <a:pt x="389" y="277"/>
                  </a:lnTo>
                  <a:lnTo>
                    <a:pt x="394" y="282"/>
                  </a:lnTo>
                  <a:lnTo>
                    <a:pt x="395" y="282"/>
                  </a:lnTo>
                  <a:lnTo>
                    <a:pt x="397" y="283"/>
                  </a:lnTo>
                  <a:lnTo>
                    <a:pt x="397" y="286"/>
                  </a:lnTo>
                  <a:lnTo>
                    <a:pt x="398" y="289"/>
                  </a:lnTo>
                  <a:lnTo>
                    <a:pt x="398" y="292"/>
                  </a:lnTo>
                  <a:lnTo>
                    <a:pt x="400" y="292"/>
                  </a:lnTo>
                  <a:lnTo>
                    <a:pt x="401" y="298"/>
                  </a:lnTo>
                  <a:lnTo>
                    <a:pt x="401" y="304"/>
                  </a:lnTo>
                  <a:lnTo>
                    <a:pt x="400" y="306"/>
                  </a:lnTo>
                  <a:lnTo>
                    <a:pt x="400" y="309"/>
                  </a:lnTo>
                  <a:lnTo>
                    <a:pt x="397" y="312"/>
                  </a:lnTo>
                  <a:lnTo>
                    <a:pt x="392" y="318"/>
                  </a:lnTo>
                  <a:lnTo>
                    <a:pt x="389" y="324"/>
                  </a:lnTo>
                  <a:lnTo>
                    <a:pt x="388" y="324"/>
                  </a:lnTo>
                  <a:lnTo>
                    <a:pt x="388" y="325"/>
                  </a:lnTo>
                  <a:lnTo>
                    <a:pt x="383" y="325"/>
                  </a:lnTo>
                  <a:lnTo>
                    <a:pt x="383" y="321"/>
                  </a:lnTo>
                  <a:lnTo>
                    <a:pt x="380" y="318"/>
                  </a:lnTo>
                  <a:lnTo>
                    <a:pt x="379" y="318"/>
                  </a:lnTo>
                  <a:lnTo>
                    <a:pt x="379" y="316"/>
                  </a:lnTo>
                  <a:lnTo>
                    <a:pt x="377" y="316"/>
                  </a:lnTo>
                  <a:lnTo>
                    <a:pt x="377" y="313"/>
                  </a:lnTo>
                  <a:lnTo>
                    <a:pt x="379" y="313"/>
                  </a:lnTo>
                  <a:lnTo>
                    <a:pt x="379" y="310"/>
                  </a:lnTo>
                  <a:lnTo>
                    <a:pt x="382" y="309"/>
                  </a:lnTo>
                  <a:lnTo>
                    <a:pt x="382" y="303"/>
                  </a:lnTo>
                  <a:lnTo>
                    <a:pt x="380" y="301"/>
                  </a:lnTo>
                  <a:lnTo>
                    <a:pt x="376" y="301"/>
                  </a:lnTo>
                  <a:lnTo>
                    <a:pt x="376" y="303"/>
                  </a:lnTo>
                  <a:lnTo>
                    <a:pt x="373" y="312"/>
                  </a:lnTo>
                  <a:lnTo>
                    <a:pt x="367" y="312"/>
                  </a:lnTo>
                  <a:lnTo>
                    <a:pt x="361" y="310"/>
                  </a:lnTo>
                  <a:lnTo>
                    <a:pt x="358" y="309"/>
                  </a:lnTo>
                  <a:lnTo>
                    <a:pt x="355" y="309"/>
                  </a:lnTo>
                  <a:lnTo>
                    <a:pt x="352" y="306"/>
                  </a:lnTo>
                  <a:lnTo>
                    <a:pt x="352" y="307"/>
                  </a:lnTo>
                  <a:lnTo>
                    <a:pt x="350" y="306"/>
                  </a:lnTo>
                  <a:lnTo>
                    <a:pt x="350" y="304"/>
                  </a:lnTo>
                  <a:lnTo>
                    <a:pt x="349" y="304"/>
                  </a:lnTo>
                  <a:lnTo>
                    <a:pt x="334" y="297"/>
                  </a:lnTo>
                  <a:lnTo>
                    <a:pt x="331" y="294"/>
                  </a:lnTo>
                  <a:lnTo>
                    <a:pt x="331" y="292"/>
                  </a:lnTo>
                  <a:lnTo>
                    <a:pt x="325" y="286"/>
                  </a:lnTo>
                  <a:lnTo>
                    <a:pt x="325" y="268"/>
                  </a:lnTo>
                  <a:lnTo>
                    <a:pt x="323" y="268"/>
                  </a:lnTo>
                  <a:lnTo>
                    <a:pt x="323" y="270"/>
                  </a:lnTo>
                  <a:lnTo>
                    <a:pt x="322" y="270"/>
                  </a:lnTo>
                  <a:lnTo>
                    <a:pt x="322" y="259"/>
                  </a:lnTo>
                  <a:lnTo>
                    <a:pt x="325" y="255"/>
                  </a:lnTo>
                  <a:lnTo>
                    <a:pt x="325" y="253"/>
                  </a:lnTo>
                  <a:lnTo>
                    <a:pt x="328" y="253"/>
                  </a:lnTo>
                  <a:lnTo>
                    <a:pt x="331" y="250"/>
                  </a:lnTo>
                  <a:lnTo>
                    <a:pt x="331" y="249"/>
                  </a:lnTo>
                  <a:lnTo>
                    <a:pt x="332" y="249"/>
                  </a:lnTo>
                  <a:lnTo>
                    <a:pt x="332" y="247"/>
                  </a:lnTo>
                  <a:lnTo>
                    <a:pt x="334" y="246"/>
                  </a:lnTo>
                  <a:lnTo>
                    <a:pt x="332" y="244"/>
                  </a:lnTo>
                  <a:lnTo>
                    <a:pt x="334" y="244"/>
                  </a:lnTo>
                  <a:lnTo>
                    <a:pt x="334" y="241"/>
                  </a:lnTo>
                  <a:lnTo>
                    <a:pt x="331" y="241"/>
                  </a:lnTo>
                  <a:lnTo>
                    <a:pt x="331" y="240"/>
                  </a:lnTo>
                  <a:lnTo>
                    <a:pt x="329" y="240"/>
                  </a:lnTo>
                  <a:lnTo>
                    <a:pt x="329" y="238"/>
                  </a:lnTo>
                  <a:lnTo>
                    <a:pt x="328" y="234"/>
                  </a:lnTo>
                  <a:lnTo>
                    <a:pt x="326" y="232"/>
                  </a:lnTo>
                  <a:lnTo>
                    <a:pt x="323" y="231"/>
                  </a:lnTo>
                  <a:lnTo>
                    <a:pt x="322" y="229"/>
                  </a:lnTo>
                  <a:lnTo>
                    <a:pt x="319" y="228"/>
                  </a:lnTo>
                  <a:lnTo>
                    <a:pt x="313" y="228"/>
                  </a:lnTo>
                  <a:lnTo>
                    <a:pt x="313" y="226"/>
                  </a:lnTo>
                  <a:lnTo>
                    <a:pt x="310" y="223"/>
                  </a:lnTo>
                  <a:lnTo>
                    <a:pt x="310" y="222"/>
                  </a:lnTo>
                  <a:lnTo>
                    <a:pt x="298" y="222"/>
                  </a:lnTo>
                  <a:lnTo>
                    <a:pt x="298" y="225"/>
                  </a:lnTo>
                  <a:lnTo>
                    <a:pt x="299" y="226"/>
                  </a:lnTo>
                  <a:lnTo>
                    <a:pt x="299" y="229"/>
                  </a:lnTo>
                  <a:lnTo>
                    <a:pt x="298" y="231"/>
                  </a:lnTo>
                  <a:lnTo>
                    <a:pt x="295" y="231"/>
                  </a:lnTo>
                  <a:lnTo>
                    <a:pt x="295" y="234"/>
                  </a:lnTo>
                  <a:lnTo>
                    <a:pt x="294" y="232"/>
                  </a:lnTo>
                  <a:lnTo>
                    <a:pt x="294" y="234"/>
                  </a:lnTo>
                  <a:lnTo>
                    <a:pt x="295" y="235"/>
                  </a:lnTo>
                  <a:lnTo>
                    <a:pt x="295" y="237"/>
                  </a:lnTo>
                  <a:lnTo>
                    <a:pt x="296" y="238"/>
                  </a:lnTo>
                  <a:lnTo>
                    <a:pt x="298" y="238"/>
                  </a:lnTo>
                  <a:lnTo>
                    <a:pt x="298" y="243"/>
                  </a:lnTo>
                  <a:lnTo>
                    <a:pt x="296" y="243"/>
                  </a:lnTo>
                  <a:lnTo>
                    <a:pt x="295" y="241"/>
                  </a:lnTo>
                  <a:lnTo>
                    <a:pt x="294" y="241"/>
                  </a:lnTo>
                  <a:lnTo>
                    <a:pt x="294" y="240"/>
                  </a:lnTo>
                  <a:lnTo>
                    <a:pt x="292" y="238"/>
                  </a:lnTo>
                  <a:lnTo>
                    <a:pt x="291" y="238"/>
                  </a:lnTo>
                  <a:lnTo>
                    <a:pt x="291" y="235"/>
                  </a:lnTo>
                  <a:lnTo>
                    <a:pt x="289" y="235"/>
                  </a:lnTo>
                  <a:lnTo>
                    <a:pt x="286" y="238"/>
                  </a:lnTo>
                  <a:lnTo>
                    <a:pt x="285" y="237"/>
                  </a:lnTo>
                  <a:lnTo>
                    <a:pt x="283" y="237"/>
                  </a:lnTo>
                  <a:lnTo>
                    <a:pt x="283" y="234"/>
                  </a:lnTo>
                  <a:lnTo>
                    <a:pt x="285" y="232"/>
                  </a:lnTo>
                  <a:lnTo>
                    <a:pt x="286" y="232"/>
                  </a:lnTo>
                  <a:lnTo>
                    <a:pt x="286" y="231"/>
                  </a:lnTo>
                  <a:lnTo>
                    <a:pt x="285" y="231"/>
                  </a:lnTo>
                  <a:lnTo>
                    <a:pt x="285" y="229"/>
                  </a:lnTo>
                  <a:lnTo>
                    <a:pt x="283" y="229"/>
                  </a:lnTo>
                  <a:lnTo>
                    <a:pt x="283" y="226"/>
                  </a:lnTo>
                  <a:lnTo>
                    <a:pt x="282" y="226"/>
                  </a:lnTo>
                  <a:lnTo>
                    <a:pt x="282" y="228"/>
                  </a:lnTo>
                  <a:lnTo>
                    <a:pt x="280" y="229"/>
                  </a:lnTo>
                  <a:lnTo>
                    <a:pt x="280" y="231"/>
                  </a:lnTo>
                  <a:lnTo>
                    <a:pt x="279" y="232"/>
                  </a:lnTo>
                  <a:lnTo>
                    <a:pt x="279" y="235"/>
                  </a:lnTo>
                  <a:lnTo>
                    <a:pt x="277" y="235"/>
                  </a:lnTo>
                  <a:lnTo>
                    <a:pt x="277" y="238"/>
                  </a:lnTo>
                  <a:lnTo>
                    <a:pt x="276" y="238"/>
                  </a:lnTo>
                  <a:lnTo>
                    <a:pt x="276" y="237"/>
                  </a:lnTo>
                  <a:lnTo>
                    <a:pt x="274" y="237"/>
                  </a:lnTo>
                  <a:lnTo>
                    <a:pt x="274" y="235"/>
                  </a:lnTo>
                  <a:lnTo>
                    <a:pt x="271" y="235"/>
                  </a:lnTo>
                  <a:lnTo>
                    <a:pt x="271" y="238"/>
                  </a:lnTo>
                  <a:lnTo>
                    <a:pt x="268" y="238"/>
                  </a:lnTo>
                  <a:lnTo>
                    <a:pt x="268" y="235"/>
                  </a:lnTo>
                  <a:lnTo>
                    <a:pt x="270" y="235"/>
                  </a:lnTo>
                  <a:lnTo>
                    <a:pt x="270" y="234"/>
                  </a:lnTo>
                  <a:lnTo>
                    <a:pt x="268" y="234"/>
                  </a:lnTo>
                  <a:lnTo>
                    <a:pt x="268" y="225"/>
                  </a:lnTo>
                  <a:lnTo>
                    <a:pt x="265" y="225"/>
                  </a:lnTo>
                  <a:lnTo>
                    <a:pt x="264" y="223"/>
                  </a:lnTo>
                  <a:lnTo>
                    <a:pt x="261" y="223"/>
                  </a:lnTo>
                  <a:lnTo>
                    <a:pt x="259" y="225"/>
                  </a:lnTo>
                  <a:lnTo>
                    <a:pt x="255" y="228"/>
                  </a:lnTo>
                  <a:lnTo>
                    <a:pt x="253" y="229"/>
                  </a:lnTo>
                  <a:lnTo>
                    <a:pt x="252" y="232"/>
                  </a:lnTo>
                  <a:lnTo>
                    <a:pt x="252" y="234"/>
                  </a:lnTo>
                  <a:lnTo>
                    <a:pt x="253" y="234"/>
                  </a:lnTo>
                  <a:lnTo>
                    <a:pt x="253" y="235"/>
                  </a:lnTo>
                  <a:lnTo>
                    <a:pt x="252" y="237"/>
                  </a:lnTo>
                  <a:lnTo>
                    <a:pt x="252" y="235"/>
                  </a:lnTo>
                  <a:lnTo>
                    <a:pt x="250" y="235"/>
                  </a:lnTo>
                  <a:lnTo>
                    <a:pt x="250" y="237"/>
                  </a:lnTo>
                  <a:lnTo>
                    <a:pt x="247" y="238"/>
                  </a:lnTo>
                  <a:lnTo>
                    <a:pt x="247" y="240"/>
                  </a:lnTo>
                  <a:lnTo>
                    <a:pt x="249" y="241"/>
                  </a:lnTo>
                  <a:lnTo>
                    <a:pt x="249" y="243"/>
                  </a:lnTo>
                  <a:lnTo>
                    <a:pt x="247" y="244"/>
                  </a:lnTo>
                  <a:lnTo>
                    <a:pt x="246" y="244"/>
                  </a:lnTo>
                  <a:lnTo>
                    <a:pt x="244" y="246"/>
                  </a:lnTo>
                  <a:lnTo>
                    <a:pt x="244" y="249"/>
                  </a:lnTo>
                  <a:lnTo>
                    <a:pt x="243" y="252"/>
                  </a:lnTo>
                  <a:lnTo>
                    <a:pt x="243" y="255"/>
                  </a:lnTo>
                  <a:lnTo>
                    <a:pt x="241" y="258"/>
                  </a:lnTo>
                  <a:lnTo>
                    <a:pt x="240" y="262"/>
                  </a:lnTo>
                  <a:lnTo>
                    <a:pt x="238" y="264"/>
                  </a:lnTo>
                  <a:lnTo>
                    <a:pt x="237" y="264"/>
                  </a:lnTo>
                  <a:lnTo>
                    <a:pt x="237" y="265"/>
                  </a:lnTo>
                  <a:lnTo>
                    <a:pt x="235" y="264"/>
                  </a:lnTo>
                  <a:lnTo>
                    <a:pt x="234" y="264"/>
                  </a:lnTo>
                  <a:lnTo>
                    <a:pt x="229" y="262"/>
                  </a:lnTo>
                  <a:lnTo>
                    <a:pt x="228" y="261"/>
                  </a:lnTo>
                  <a:lnTo>
                    <a:pt x="226" y="258"/>
                  </a:lnTo>
                  <a:lnTo>
                    <a:pt x="226" y="253"/>
                  </a:lnTo>
                  <a:lnTo>
                    <a:pt x="228" y="250"/>
                  </a:lnTo>
                  <a:lnTo>
                    <a:pt x="232" y="247"/>
                  </a:lnTo>
                  <a:lnTo>
                    <a:pt x="234" y="246"/>
                  </a:lnTo>
                  <a:lnTo>
                    <a:pt x="234" y="244"/>
                  </a:lnTo>
                  <a:lnTo>
                    <a:pt x="232" y="244"/>
                  </a:lnTo>
                  <a:lnTo>
                    <a:pt x="232" y="243"/>
                  </a:lnTo>
                  <a:lnTo>
                    <a:pt x="234" y="241"/>
                  </a:lnTo>
                  <a:lnTo>
                    <a:pt x="234" y="237"/>
                  </a:lnTo>
                  <a:lnTo>
                    <a:pt x="235" y="237"/>
                  </a:lnTo>
                  <a:lnTo>
                    <a:pt x="235" y="235"/>
                  </a:lnTo>
                  <a:lnTo>
                    <a:pt x="237" y="235"/>
                  </a:lnTo>
                  <a:lnTo>
                    <a:pt x="237" y="234"/>
                  </a:lnTo>
                  <a:lnTo>
                    <a:pt x="238" y="234"/>
                  </a:lnTo>
                  <a:lnTo>
                    <a:pt x="238" y="232"/>
                  </a:lnTo>
                  <a:lnTo>
                    <a:pt x="237" y="232"/>
                  </a:lnTo>
                  <a:lnTo>
                    <a:pt x="237" y="226"/>
                  </a:lnTo>
                  <a:lnTo>
                    <a:pt x="235" y="225"/>
                  </a:lnTo>
                  <a:lnTo>
                    <a:pt x="237" y="225"/>
                  </a:lnTo>
                  <a:lnTo>
                    <a:pt x="237" y="222"/>
                  </a:lnTo>
                  <a:lnTo>
                    <a:pt x="243" y="216"/>
                  </a:lnTo>
                  <a:lnTo>
                    <a:pt x="243" y="214"/>
                  </a:lnTo>
                  <a:lnTo>
                    <a:pt x="244" y="213"/>
                  </a:lnTo>
                  <a:lnTo>
                    <a:pt x="246" y="213"/>
                  </a:lnTo>
                  <a:lnTo>
                    <a:pt x="247" y="211"/>
                  </a:lnTo>
                  <a:lnTo>
                    <a:pt x="252" y="211"/>
                  </a:lnTo>
                  <a:lnTo>
                    <a:pt x="253" y="210"/>
                  </a:lnTo>
                  <a:lnTo>
                    <a:pt x="259" y="210"/>
                  </a:lnTo>
                  <a:lnTo>
                    <a:pt x="262" y="207"/>
                  </a:lnTo>
                  <a:lnTo>
                    <a:pt x="264" y="208"/>
                  </a:lnTo>
                  <a:lnTo>
                    <a:pt x="271" y="208"/>
                  </a:lnTo>
                  <a:lnTo>
                    <a:pt x="271" y="207"/>
                  </a:lnTo>
                  <a:lnTo>
                    <a:pt x="274" y="207"/>
                  </a:lnTo>
                  <a:lnTo>
                    <a:pt x="277" y="204"/>
                  </a:lnTo>
                  <a:lnTo>
                    <a:pt x="277" y="202"/>
                  </a:lnTo>
                  <a:lnTo>
                    <a:pt x="276" y="201"/>
                  </a:lnTo>
                  <a:lnTo>
                    <a:pt x="276" y="199"/>
                  </a:lnTo>
                  <a:lnTo>
                    <a:pt x="277" y="199"/>
                  </a:lnTo>
                  <a:lnTo>
                    <a:pt x="277" y="195"/>
                  </a:lnTo>
                  <a:lnTo>
                    <a:pt x="279" y="193"/>
                  </a:lnTo>
                  <a:lnTo>
                    <a:pt x="279" y="192"/>
                  </a:lnTo>
                  <a:lnTo>
                    <a:pt x="280" y="190"/>
                  </a:lnTo>
                  <a:lnTo>
                    <a:pt x="282" y="190"/>
                  </a:lnTo>
                  <a:lnTo>
                    <a:pt x="285" y="189"/>
                  </a:lnTo>
                  <a:lnTo>
                    <a:pt x="288" y="189"/>
                  </a:lnTo>
                  <a:lnTo>
                    <a:pt x="288" y="190"/>
                  </a:lnTo>
                  <a:lnTo>
                    <a:pt x="291" y="189"/>
                  </a:lnTo>
                  <a:lnTo>
                    <a:pt x="292" y="189"/>
                  </a:lnTo>
                  <a:lnTo>
                    <a:pt x="294" y="187"/>
                  </a:lnTo>
                  <a:lnTo>
                    <a:pt x="294" y="184"/>
                  </a:lnTo>
                  <a:lnTo>
                    <a:pt x="296" y="184"/>
                  </a:lnTo>
                  <a:lnTo>
                    <a:pt x="296" y="183"/>
                  </a:lnTo>
                  <a:lnTo>
                    <a:pt x="295" y="181"/>
                  </a:lnTo>
                  <a:lnTo>
                    <a:pt x="295" y="180"/>
                  </a:lnTo>
                  <a:lnTo>
                    <a:pt x="296" y="180"/>
                  </a:lnTo>
                  <a:lnTo>
                    <a:pt x="298" y="181"/>
                  </a:lnTo>
                  <a:lnTo>
                    <a:pt x="301" y="181"/>
                  </a:lnTo>
                  <a:lnTo>
                    <a:pt x="301" y="184"/>
                  </a:lnTo>
                  <a:lnTo>
                    <a:pt x="302" y="184"/>
                  </a:lnTo>
                  <a:lnTo>
                    <a:pt x="302" y="186"/>
                  </a:lnTo>
                  <a:lnTo>
                    <a:pt x="304" y="186"/>
                  </a:lnTo>
                  <a:lnTo>
                    <a:pt x="304" y="184"/>
                  </a:lnTo>
                  <a:lnTo>
                    <a:pt x="310" y="184"/>
                  </a:lnTo>
                  <a:lnTo>
                    <a:pt x="310" y="186"/>
                  </a:lnTo>
                  <a:lnTo>
                    <a:pt x="313" y="186"/>
                  </a:lnTo>
                  <a:lnTo>
                    <a:pt x="313" y="189"/>
                  </a:lnTo>
                  <a:lnTo>
                    <a:pt x="314" y="192"/>
                  </a:lnTo>
                  <a:lnTo>
                    <a:pt x="316" y="193"/>
                  </a:lnTo>
                  <a:lnTo>
                    <a:pt x="316" y="195"/>
                  </a:lnTo>
                  <a:lnTo>
                    <a:pt x="317" y="196"/>
                  </a:lnTo>
                  <a:lnTo>
                    <a:pt x="317" y="207"/>
                  </a:lnTo>
                  <a:lnTo>
                    <a:pt x="313" y="211"/>
                  </a:lnTo>
                  <a:lnTo>
                    <a:pt x="308" y="211"/>
                  </a:lnTo>
                  <a:lnTo>
                    <a:pt x="308" y="216"/>
                  </a:lnTo>
                  <a:lnTo>
                    <a:pt x="310" y="214"/>
                  </a:lnTo>
                  <a:lnTo>
                    <a:pt x="311" y="214"/>
                  </a:lnTo>
                  <a:lnTo>
                    <a:pt x="317" y="208"/>
                  </a:lnTo>
                  <a:lnTo>
                    <a:pt x="319" y="208"/>
                  </a:lnTo>
                  <a:lnTo>
                    <a:pt x="322" y="205"/>
                  </a:lnTo>
                  <a:lnTo>
                    <a:pt x="332" y="205"/>
                  </a:lnTo>
                  <a:lnTo>
                    <a:pt x="335" y="202"/>
                  </a:lnTo>
                  <a:lnTo>
                    <a:pt x="335" y="196"/>
                  </a:lnTo>
                  <a:lnTo>
                    <a:pt x="337" y="196"/>
                  </a:lnTo>
                  <a:lnTo>
                    <a:pt x="337" y="192"/>
                  </a:lnTo>
                  <a:lnTo>
                    <a:pt x="338" y="190"/>
                  </a:lnTo>
                  <a:lnTo>
                    <a:pt x="338" y="189"/>
                  </a:lnTo>
                  <a:lnTo>
                    <a:pt x="343" y="184"/>
                  </a:lnTo>
                  <a:lnTo>
                    <a:pt x="344" y="184"/>
                  </a:lnTo>
                  <a:lnTo>
                    <a:pt x="344" y="187"/>
                  </a:lnTo>
                  <a:lnTo>
                    <a:pt x="347" y="187"/>
                  </a:lnTo>
                  <a:lnTo>
                    <a:pt x="350" y="190"/>
                  </a:lnTo>
                  <a:lnTo>
                    <a:pt x="353" y="190"/>
                  </a:lnTo>
                  <a:lnTo>
                    <a:pt x="352" y="192"/>
                  </a:lnTo>
                  <a:lnTo>
                    <a:pt x="352" y="193"/>
                  </a:lnTo>
                  <a:lnTo>
                    <a:pt x="353" y="192"/>
                  </a:lnTo>
                  <a:lnTo>
                    <a:pt x="356" y="192"/>
                  </a:lnTo>
                  <a:lnTo>
                    <a:pt x="356" y="190"/>
                  </a:lnTo>
                  <a:lnTo>
                    <a:pt x="358" y="190"/>
                  </a:lnTo>
                  <a:lnTo>
                    <a:pt x="358" y="181"/>
                  </a:lnTo>
                  <a:lnTo>
                    <a:pt x="359" y="181"/>
                  </a:lnTo>
                  <a:lnTo>
                    <a:pt x="359" y="168"/>
                  </a:lnTo>
                  <a:lnTo>
                    <a:pt x="361" y="166"/>
                  </a:lnTo>
                  <a:lnTo>
                    <a:pt x="362" y="168"/>
                  </a:lnTo>
                  <a:lnTo>
                    <a:pt x="365" y="168"/>
                  </a:lnTo>
                  <a:lnTo>
                    <a:pt x="367" y="169"/>
                  </a:lnTo>
                  <a:lnTo>
                    <a:pt x="370" y="171"/>
                  </a:lnTo>
                  <a:lnTo>
                    <a:pt x="370" y="172"/>
                  </a:lnTo>
                  <a:lnTo>
                    <a:pt x="371" y="172"/>
                  </a:lnTo>
                  <a:lnTo>
                    <a:pt x="373" y="174"/>
                  </a:lnTo>
                  <a:lnTo>
                    <a:pt x="373" y="175"/>
                  </a:lnTo>
                  <a:lnTo>
                    <a:pt x="376" y="175"/>
                  </a:lnTo>
                  <a:lnTo>
                    <a:pt x="376" y="174"/>
                  </a:lnTo>
                  <a:lnTo>
                    <a:pt x="377" y="174"/>
                  </a:lnTo>
                  <a:lnTo>
                    <a:pt x="377" y="165"/>
                  </a:lnTo>
                  <a:lnTo>
                    <a:pt x="379" y="163"/>
                  </a:lnTo>
                  <a:lnTo>
                    <a:pt x="382" y="166"/>
                  </a:lnTo>
                  <a:lnTo>
                    <a:pt x="382" y="168"/>
                  </a:lnTo>
                  <a:lnTo>
                    <a:pt x="391" y="168"/>
                  </a:lnTo>
                  <a:lnTo>
                    <a:pt x="392" y="166"/>
                  </a:lnTo>
                  <a:lnTo>
                    <a:pt x="394" y="166"/>
                  </a:lnTo>
                  <a:lnTo>
                    <a:pt x="394" y="157"/>
                  </a:lnTo>
                  <a:lnTo>
                    <a:pt x="392" y="156"/>
                  </a:lnTo>
                  <a:lnTo>
                    <a:pt x="392" y="153"/>
                  </a:lnTo>
                  <a:lnTo>
                    <a:pt x="391" y="151"/>
                  </a:lnTo>
                  <a:lnTo>
                    <a:pt x="391" y="147"/>
                  </a:lnTo>
                  <a:lnTo>
                    <a:pt x="389" y="144"/>
                  </a:lnTo>
                  <a:lnTo>
                    <a:pt x="389" y="142"/>
                  </a:lnTo>
                  <a:lnTo>
                    <a:pt x="388" y="136"/>
                  </a:lnTo>
                  <a:lnTo>
                    <a:pt x="388" y="133"/>
                  </a:lnTo>
                  <a:lnTo>
                    <a:pt x="389" y="130"/>
                  </a:lnTo>
                  <a:lnTo>
                    <a:pt x="391" y="129"/>
                  </a:lnTo>
                  <a:close/>
                  <a:moveTo>
                    <a:pt x="418" y="118"/>
                  </a:moveTo>
                  <a:lnTo>
                    <a:pt x="419" y="118"/>
                  </a:lnTo>
                  <a:lnTo>
                    <a:pt x="421" y="123"/>
                  </a:lnTo>
                  <a:lnTo>
                    <a:pt x="421" y="127"/>
                  </a:lnTo>
                  <a:lnTo>
                    <a:pt x="422" y="129"/>
                  </a:lnTo>
                  <a:lnTo>
                    <a:pt x="422" y="130"/>
                  </a:lnTo>
                  <a:lnTo>
                    <a:pt x="424" y="130"/>
                  </a:lnTo>
                  <a:lnTo>
                    <a:pt x="422" y="132"/>
                  </a:lnTo>
                  <a:lnTo>
                    <a:pt x="416" y="132"/>
                  </a:lnTo>
                  <a:lnTo>
                    <a:pt x="415" y="130"/>
                  </a:lnTo>
                  <a:lnTo>
                    <a:pt x="415" y="127"/>
                  </a:lnTo>
                  <a:lnTo>
                    <a:pt x="413" y="126"/>
                  </a:lnTo>
                  <a:lnTo>
                    <a:pt x="415" y="126"/>
                  </a:lnTo>
                  <a:lnTo>
                    <a:pt x="416" y="121"/>
                  </a:lnTo>
                  <a:lnTo>
                    <a:pt x="418" y="121"/>
                  </a:lnTo>
                  <a:lnTo>
                    <a:pt x="418" y="118"/>
                  </a:lnTo>
                  <a:close/>
                  <a:moveTo>
                    <a:pt x="374" y="114"/>
                  </a:moveTo>
                  <a:lnTo>
                    <a:pt x="377" y="114"/>
                  </a:lnTo>
                  <a:lnTo>
                    <a:pt x="380" y="117"/>
                  </a:lnTo>
                  <a:lnTo>
                    <a:pt x="380" y="120"/>
                  </a:lnTo>
                  <a:lnTo>
                    <a:pt x="382" y="120"/>
                  </a:lnTo>
                  <a:lnTo>
                    <a:pt x="382" y="123"/>
                  </a:lnTo>
                  <a:lnTo>
                    <a:pt x="383" y="124"/>
                  </a:lnTo>
                  <a:lnTo>
                    <a:pt x="380" y="124"/>
                  </a:lnTo>
                  <a:lnTo>
                    <a:pt x="380" y="123"/>
                  </a:lnTo>
                  <a:lnTo>
                    <a:pt x="379" y="120"/>
                  </a:lnTo>
                  <a:lnTo>
                    <a:pt x="376" y="118"/>
                  </a:lnTo>
                  <a:lnTo>
                    <a:pt x="376" y="117"/>
                  </a:lnTo>
                  <a:lnTo>
                    <a:pt x="374" y="115"/>
                  </a:lnTo>
                  <a:lnTo>
                    <a:pt x="374" y="114"/>
                  </a:lnTo>
                  <a:close/>
                  <a:moveTo>
                    <a:pt x="331" y="114"/>
                  </a:moveTo>
                  <a:lnTo>
                    <a:pt x="338" y="114"/>
                  </a:lnTo>
                  <a:lnTo>
                    <a:pt x="340" y="115"/>
                  </a:lnTo>
                  <a:lnTo>
                    <a:pt x="340" y="114"/>
                  </a:lnTo>
                  <a:lnTo>
                    <a:pt x="341" y="114"/>
                  </a:lnTo>
                  <a:lnTo>
                    <a:pt x="341" y="115"/>
                  </a:lnTo>
                  <a:lnTo>
                    <a:pt x="343" y="117"/>
                  </a:lnTo>
                  <a:lnTo>
                    <a:pt x="343" y="115"/>
                  </a:lnTo>
                  <a:lnTo>
                    <a:pt x="344" y="118"/>
                  </a:lnTo>
                  <a:lnTo>
                    <a:pt x="347" y="118"/>
                  </a:lnTo>
                  <a:lnTo>
                    <a:pt x="347" y="115"/>
                  </a:lnTo>
                  <a:lnTo>
                    <a:pt x="350" y="115"/>
                  </a:lnTo>
                  <a:lnTo>
                    <a:pt x="350" y="117"/>
                  </a:lnTo>
                  <a:lnTo>
                    <a:pt x="349" y="117"/>
                  </a:lnTo>
                  <a:lnTo>
                    <a:pt x="349" y="120"/>
                  </a:lnTo>
                  <a:lnTo>
                    <a:pt x="350" y="120"/>
                  </a:lnTo>
                  <a:lnTo>
                    <a:pt x="350" y="123"/>
                  </a:lnTo>
                  <a:lnTo>
                    <a:pt x="349" y="121"/>
                  </a:lnTo>
                  <a:lnTo>
                    <a:pt x="349" y="126"/>
                  </a:lnTo>
                  <a:lnTo>
                    <a:pt x="350" y="126"/>
                  </a:lnTo>
                  <a:lnTo>
                    <a:pt x="350" y="127"/>
                  </a:lnTo>
                  <a:lnTo>
                    <a:pt x="349" y="127"/>
                  </a:lnTo>
                  <a:lnTo>
                    <a:pt x="349" y="129"/>
                  </a:lnTo>
                  <a:lnTo>
                    <a:pt x="352" y="130"/>
                  </a:lnTo>
                  <a:lnTo>
                    <a:pt x="350" y="133"/>
                  </a:lnTo>
                  <a:lnTo>
                    <a:pt x="347" y="133"/>
                  </a:lnTo>
                  <a:lnTo>
                    <a:pt x="347" y="132"/>
                  </a:lnTo>
                  <a:lnTo>
                    <a:pt x="346" y="132"/>
                  </a:lnTo>
                  <a:lnTo>
                    <a:pt x="344" y="133"/>
                  </a:lnTo>
                  <a:lnTo>
                    <a:pt x="343" y="133"/>
                  </a:lnTo>
                  <a:lnTo>
                    <a:pt x="343" y="136"/>
                  </a:lnTo>
                  <a:lnTo>
                    <a:pt x="341" y="136"/>
                  </a:lnTo>
                  <a:lnTo>
                    <a:pt x="338" y="139"/>
                  </a:lnTo>
                  <a:lnTo>
                    <a:pt x="320" y="139"/>
                  </a:lnTo>
                  <a:lnTo>
                    <a:pt x="317" y="138"/>
                  </a:lnTo>
                  <a:lnTo>
                    <a:pt x="317" y="133"/>
                  </a:lnTo>
                  <a:lnTo>
                    <a:pt x="314" y="133"/>
                  </a:lnTo>
                  <a:lnTo>
                    <a:pt x="314" y="129"/>
                  </a:lnTo>
                  <a:lnTo>
                    <a:pt x="317" y="126"/>
                  </a:lnTo>
                  <a:lnTo>
                    <a:pt x="317" y="124"/>
                  </a:lnTo>
                  <a:lnTo>
                    <a:pt x="319" y="126"/>
                  </a:lnTo>
                  <a:lnTo>
                    <a:pt x="319" y="124"/>
                  </a:lnTo>
                  <a:lnTo>
                    <a:pt x="320" y="124"/>
                  </a:lnTo>
                  <a:lnTo>
                    <a:pt x="322" y="123"/>
                  </a:lnTo>
                  <a:lnTo>
                    <a:pt x="325" y="123"/>
                  </a:lnTo>
                  <a:lnTo>
                    <a:pt x="326" y="121"/>
                  </a:lnTo>
                  <a:lnTo>
                    <a:pt x="326" y="118"/>
                  </a:lnTo>
                  <a:lnTo>
                    <a:pt x="328" y="118"/>
                  </a:lnTo>
                  <a:lnTo>
                    <a:pt x="328" y="117"/>
                  </a:lnTo>
                  <a:lnTo>
                    <a:pt x="329" y="117"/>
                  </a:lnTo>
                  <a:lnTo>
                    <a:pt x="329" y="115"/>
                  </a:lnTo>
                  <a:lnTo>
                    <a:pt x="331" y="115"/>
                  </a:lnTo>
                  <a:lnTo>
                    <a:pt x="331" y="114"/>
                  </a:lnTo>
                  <a:close/>
                  <a:moveTo>
                    <a:pt x="398" y="101"/>
                  </a:moveTo>
                  <a:lnTo>
                    <a:pt x="400" y="101"/>
                  </a:lnTo>
                  <a:lnTo>
                    <a:pt x="400" y="110"/>
                  </a:lnTo>
                  <a:lnTo>
                    <a:pt x="398" y="110"/>
                  </a:lnTo>
                  <a:lnTo>
                    <a:pt x="400" y="111"/>
                  </a:lnTo>
                  <a:lnTo>
                    <a:pt x="400" y="115"/>
                  </a:lnTo>
                  <a:lnTo>
                    <a:pt x="401" y="117"/>
                  </a:lnTo>
                  <a:lnTo>
                    <a:pt x="401" y="120"/>
                  </a:lnTo>
                  <a:lnTo>
                    <a:pt x="400" y="120"/>
                  </a:lnTo>
                  <a:lnTo>
                    <a:pt x="401" y="123"/>
                  </a:lnTo>
                  <a:lnTo>
                    <a:pt x="400" y="123"/>
                  </a:lnTo>
                  <a:lnTo>
                    <a:pt x="403" y="126"/>
                  </a:lnTo>
                  <a:lnTo>
                    <a:pt x="401" y="127"/>
                  </a:lnTo>
                  <a:lnTo>
                    <a:pt x="400" y="127"/>
                  </a:lnTo>
                  <a:lnTo>
                    <a:pt x="400" y="124"/>
                  </a:lnTo>
                  <a:lnTo>
                    <a:pt x="398" y="124"/>
                  </a:lnTo>
                  <a:lnTo>
                    <a:pt x="397" y="123"/>
                  </a:lnTo>
                  <a:lnTo>
                    <a:pt x="397" y="121"/>
                  </a:lnTo>
                  <a:lnTo>
                    <a:pt x="395" y="121"/>
                  </a:lnTo>
                  <a:lnTo>
                    <a:pt x="395" y="120"/>
                  </a:lnTo>
                  <a:lnTo>
                    <a:pt x="397" y="118"/>
                  </a:lnTo>
                  <a:lnTo>
                    <a:pt x="397" y="117"/>
                  </a:lnTo>
                  <a:lnTo>
                    <a:pt x="394" y="117"/>
                  </a:lnTo>
                  <a:lnTo>
                    <a:pt x="394" y="118"/>
                  </a:lnTo>
                  <a:lnTo>
                    <a:pt x="392" y="118"/>
                  </a:lnTo>
                  <a:lnTo>
                    <a:pt x="392" y="111"/>
                  </a:lnTo>
                  <a:lnTo>
                    <a:pt x="394" y="111"/>
                  </a:lnTo>
                  <a:lnTo>
                    <a:pt x="394" y="108"/>
                  </a:lnTo>
                  <a:lnTo>
                    <a:pt x="392" y="107"/>
                  </a:lnTo>
                  <a:lnTo>
                    <a:pt x="395" y="107"/>
                  </a:lnTo>
                  <a:lnTo>
                    <a:pt x="395" y="104"/>
                  </a:lnTo>
                  <a:lnTo>
                    <a:pt x="397" y="105"/>
                  </a:lnTo>
                  <a:lnTo>
                    <a:pt x="397" y="102"/>
                  </a:lnTo>
                  <a:lnTo>
                    <a:pt x="398" y="101"/>
                  </a:lnTo>
                  <a:close/>
                  <a:moveTo>
                    <a:pt x="98" y="99"/>
                  </a:moveTo>
                  <a:lnTo>
                    <a:pt x="99" y="99"/>
                  </a:lnTo>
                  <a:lnTo>
                    <a:pt x="99" y="102"/>
                  </a:lnTo>
                  <a:lnTo>
                    <a:pt x="98" y="101"/>
                  </a:lnTo>
                  <a:lnTo>
                    <a:pt x="98" y="99"/>
                  </a:lnTo>
                  <a:close/>
                  <a:moveTo>
                    <a:pt x="132" y="92"/>
                  </a:moveTo>
                  <a:lnTo>
                    <a:pt x="135" y="92"/>
                  </a:lnTo>
                  <a:lnTo>
                    <a:pt x="136" y="93"/>
                  </a:lnTo>
                  <a:lnTo>
                    <a:pt x="138" y="93"/>
                  </a:lnTo>
                  <a:lnTo>
                    <a:pt x="139" y="95"/>
                  </a:lnTo>
                  <a:lnTo>
                    <a:pt x="139" y="96"/>
                  </a:lnTo>
                  <a:lnTo>
                    <a:pt x="138" y="98"/>
                  </a:lnTo>
                  <a:lnTo>
                    <a:pt x="136" y="96"/>
                  </a:lnTo>
                  <a:lnTo>
                    <a:pt x="135" y="96"/>
                  </a:lnTo>
                  <a:lnTo>
                    <a:pt x="135" y="98"/>
                  </a:lnTo>
                  <a:lnTo>
                    <a:pt x="136" y="98"/>
                  </a:lnTo>
                  <a:lnTo>
                    <a:pt x="135" y="99"/>
                  </a:lnTo>
                  <a:lnTo>
                    <a:pt x="134" y="99"/>
                  </a:lnTo>
                  <a:lnTo>
                    <a:pt x="134" y="101"/>
                  </a:lnTo>
                  <a:lnTo>
                    <a:pt x="131" y="101"/>
                  </a:lnTo>
                  <a:lnTo>
                    <a:pt x="129" y="99"/>
                  </a:lnTo>
                  <a:lnTo>
                    <a:pt x="129" y="96"/>
                  </a:lnTo>
                  <a:lnTo>
                    <a:pt x="128" y="96"/>
                  </a:lnTo>
                  <a:lnTo>
                    <a:pt x="131" y="95"/>
                  </a:lnTo>
                  <a:lnTo>
                    <a:pt x="132" y="92"/>
                  </a:lnTo>
                  <a:close/>
                  <a:moveTo>
                    <a:pt x="338" y="89"/>
                  </a:moveTo>
                  <a:lnTo>
                    <a:pt x="340" y="89"/>
                  </a:lnTo>
                  <a:lnTo>
                    <a:pt x="341" y="90"/>
                  </a:lnTo>
                  <a:lnTo>
                    <a:pt x="343" y="89"/>
                  </a:lnTo>
                  <a:lnTo>
                    <a:pt x="346" y="89"/>
                  </a:lnTo>
                  <a:lnTo>
                    <a:pt x="347" y="90"/>
                  </a:lnTo>
                  <a:lnTo>
                    <a:pt x="346" y="92"/>
                  </a:lnTo>
                  <a:lnTo>
                    <a:pt x="340" y="92"/>
                  </a:lnTo>
                  <a:lnTo>
                    <a:pt x="337" y="95"/>
                  </a:lnTo>
                  <a:lnTo>
                    <a:pt x="335" y="93"/>
                  </a:lnTo>
                  <a:lnTo>
                    <a:pt x="337" y="93"/>
                  </a:lnTo>
                  <a:lnTo>
                    <a:pt x="337" y="90"/>
                  </a:lnTo>
                  <a:lnTo>
                    <a:pt x="338" y="89"/>
                  </a:lnTo>
                  <a:close/>
                  <a:moveTo>
                    <a:pt x="262" y="86"/>
                  </a:moveTo>
                  <a:lnTo>
                    <a:pt x="265" y="89"/>
                  </a:lnTo>
                  <a:lnTo>
                    <a:pt x="265" y="95"/>
                  </a:lnTo>
                  <a:lnTo>
                    <a:pt x="262" y="98"/>
                  </a:lnTo>
                  <a:lnTo>
                    <a:pt x="262" y="99"/>
                  </a:lnTo>
                  <a:lnTo>
                    <a:pt x="261" y="101"/>
                  </a:lnTo>
                  <a:lnTo>
                    <a:pt x="258" y="101"/>
                  </a:lnTo>
                  <a:lnTo>
                    <a:pt x="256" y="102"/>
                  </a:lnTo>
                  <a:lnTo>
                    <a:pt x="256" y="101"/>
                  </a:lnTo>
                  <a:lnTo>
                    <a:pt x="255" y="101"/>
                  </a:lnTo>
                  <a:lnTo>
                    <a:pt x="255" y="99"/>
                  </a:lnTo>
                  <a:lnTo>
                    <a:pt x="253" y="99"/>
                  </a:lnTo>
                  <a:lnTo>
                    <a:pt x="253" y="98"/>
                  </a:lnTo>
                  <a:lnTo>
                    <a:pt x="256" y="98"/>
                  </a:lnTo>
                  <a:lnTo>
                    <a:pt x="256" y="93"/>
                  </a:lnTo>
                  <a:lnTo>
                    <a:pt x="258" y="92"/>
                  </a:lnTo>
                  <a:lnTo>
                    <a:pt x="258" y="90"/>
                  </a:lnTo>
                  <a:lnTo>
                    <a:pt x="259" y="90"/>
                  </a:lnTo>
                  <a:lnTo>
                    <a:pt x="261" y="87"/>
                  </a:lnTo>
                  <a:lnTo>
                    <a:pt x="262" y="87"/>
                  </a:lnTo>
                  <a:lnTo>
                    <a:pt x="262" y="86"/>
                  </a:lnTo>
                  <a:close/>
                  <a:moveTo>
                    <a:pt x="401" y="84"/>
                  </a:moveTo>
                  <a:lnTo>
                    <a:pt x="403" y="84"/>
                  </a:lnTo>
                  <a:lnTo>
                    <a:pt x="403" y="86"/>
                  </a:lnTo>
                  <a:lnTo>
                    <a:pt x="404" y="87"/>
                  </a:lnTo>
                  <a:lnTo>
                    <a:pt x="407" y="87"/>
                  </a:lnTo>
                  <a:lnTo>
                    <a:pt x="407" y="89"/>
                  </a:lnTo>
                  <a:lnTo>
                    <a:pt x="403" y="89"/>
                  </a:lnTo>
                  <a:lnTo>
                    <a:pt x="403" y="87"/>
                  </a:lnTo>
                  <a:lnTo>
                    <a:pt x="400" y="87"/>
                  </a:lnTo>
                  <a:lnTo>
                    <a:pt x="400" y="86"/>
                  </a:lnTo>
                  <a:lnTo>
                    <a:pt x="401" y="84"/>
                  </a:lnTo>
                  <a:close/>
                  <a:moveTo>
                    <a:pt x="189" y="80"/>
                  </a:moveTo>
                  <a:lnTo>
                    <a:pt x="190" y="80"/>
                  </a:lnTo>
                  <a:lnTo>
                    <a:pt x="190" y="81"/>
                  </a:lnTo>
                  <a:lnTo>
                    <a:pt x="189" y="83"/>
                  </a:lnTo>
                  <a:lnTo>
                    <a:pt x="189" y="84"/>
                  </a:lnTo>
                  <a:lnTo>
                    <a:pt x="187" y="83"/>
                  </a:lnTo>
                  <a:lnTo>
                    <a:pt x="186" y="83"/>
                  </a:lnTo>
                  <a:lnTo>
                    <a:pt x="186" y="81"/>
                  </a:lnTo>
                  <a:lnTo>
                    <a:pt x="187" y="81"/>
                  </a:lnTo>
                  <a:lnTo>
                    <a:pt x="189" y="80"/>
                  </a:lnTo>
                  <a:close/>
                  <a:moveTo>
                    <a:pt x="288" y="75"/>
                  </a:moveTo>
                  <a:lnTo>
                    <a:pt x="289" y="75"/>
                  </a:lnTo>
                  <a:lnTo>
                    <a:pt x="289" y="77"/>
                  </a:lnTo>
                  <a:lnTo>
                    <a:pt x="292" y="77"/>
                  </a:lnTo>
                  <a:lnTo>
                    <a:pt x="294" y="78"/>
                  </a:lnTo>
                  <a:lnTo>
                    <a:pt x="294" y="77"/>
                  </a:lnTo>
                  <a:lnTo>
                    <a:pt x="295" y="77"/>
                  </a:lnTo>
                  <a:lnTo>
                    <a:pt x="295" y="78"/>
                  </a:lnTo>
                  <a:lnTo>
                    <a:pt x="301" y="78"/>
                  </a:lnTo>
                  <a:lnTo>
                    <a:pt x="301" y="80"/>
                  </a:lnTo>
                  <a:lnTo>
                    <a:pt x="302" y="81"/>
                  </a:lnTo>
                  <a:lnTo>
                    <a:pt x="302" y="83"/>
                  </a:lnTo>
                  <a:lnTo>
                    <a:pt x="304" y="83"/>
                  </a:lnTo>
                  <a:lnTo>
                    <a:pt x="304" y="86"/>
                  </a:lnTo>
                  <a:lnTo>
                    <a:pt x="302" y="86"/>
                  </a:lnTo>
                  <a:lnTo>
                    <a:pt x="301" y="89"/>
                  </a:lnTo>
                  <a:lnTo>
                    <a:pt x="301" y="90"/>
                  </a:lnTo>
                  <a:lnTo>
                    <a:pt x="299" y="96"/>
                  </a:lnTo>
                  <a:lnTo>
                    <a:pt x="299" y="98"/>
                  </a:lnTo>
                  <a:lnTo>
                    <a:pt x="295" y="101"/>
                  </a:lnTo>
                  <a:lnTo>
                    <a:pt x="295" y="102"/>
                  </a:lnTo>
                  <a:lnTo>
                    <a:pt x="294" y="104"/>
                  </a:lnTo>
                  <a:lnTo>
                    <a:pt x="294" y="110"/>
                  </a:lnTo>
                  <a:lnTo>
                    <a:pt x="292" y="110"/>
                  </a:lnTo>
                  <a:lnTo>
                    <a:pt x="291" y="113"/>
                  </a:lnTo>
                  <a:lnTo>
                    <a:pt x="291" y="117"/>
                  </a:lnTo>
                  <a:lnTo>
                    <a:pt x="289" y="120"/>
                  </a:lnTo>
                  <a:lnTo>
                    <a:pt x="288" y="121"/>
                  </a:lnTo>
                  <a:lnTo>
                    <a:pt x="286" y="124"/>
                  </a:lnTo>
                  <a:lnTo>
                    <a:pt x="285" y="126"/>
                  </a:lnTo>
                  <a:lnTo>
                    <a:pt x="285" y="138"/>
                  </a:lnTo>
                  <a:lnTo>
                    <a:pt x="283" y="138"/>
                  </a:lnTo>
                  <a:lnTo>
                    <a:pt x="283" y="139"/>
                  </a:lnTo>
                  <a:lnTo>
                    <a:pt x="286" y="141"/>
                  </a:lnTo>
                  <a:lnTo>
                    <a:pt x="283" y="141"/>
                  </a:lnTo>
                  <a:lnTo>
                    <a:pt x="283" y="142"/>
                  </a:lnTo>
                  <a:lnTo>
                    <a:pt x="286" y="142"/>
                  </a:lnTo>
                  <a:lnTo>
                    <a:pt x="286" y="145"/>
                  </a:lnTo>
                  <a:lnTo>
                    <a:pt x="288" y="145"/>
                  </a:lnTo>
                  <a:lnTo>
                    <a:pt x="288" y="147"/>
                  </a:lnTo>
                  <a:lnTo>
                    <a:pt x="289" y="147"/>
                  </a:lnTo>
                  <a:lnTo>
                    <a:pt x="289" y="148"/>
                  </a:lnTo>
                  <a:lnTo>
                    <a:pt x="291" y="150"/>
                  </a:lnTo>
                  <a:lnTo>
                    <a:pt x="291" y="151"/>
                  </a:lnTo>
                  <a:lnTo>
                    <a:pt x="292" y="151"/>
                  </a:lnTo>
                  <a:lnTo>
                    <a:pt x="292" y="156"/>
                  </a:lnTo>
                  <a:lnTo>
                    <a:pt x="291" y="157"/>
                  </a:lnTo>
                  <a:lnTo>
                    <a:pt x="289" y="162"/>
                  </a:lnTo>
                  <a:lnTo>
                    <a:pt x="288" y="162"/>
                  </a:lnTo>
                  <a:lnTo>
                    <a:pt x="285" y="165"/>
                  </a:lnTo>
                  <a:lnTo>
                    <a:pt x="280" y="165"/>
                  </a:lnTo>
                  <a:lnTo>
                    <a:pt x="279" y="166"/>
                  </a:lnTo>
                  <a:lnTo>
                    <a:pt x="274" y="162"/>
                  </a:lnTo>
                  <a:lnTo>
                    <a:pt x="273" y="157"/>
                  </a:lnTo>
                  <a:lnTo>
                    <a:pt x="273" y="154"/>
                  </a:lnTo>
                  <a:lnTo>
                    <a:pt x="270" y="151"/>
                  </a:lnTo>
                  <a:lnTo>
                    <a:pt x="268" y="151"/>
                  </a:lnTo>
                  <a:lnTo>
                    <a:pt x="265" y="150"/>
                  </a:lnTo>
                  <a:lnTo>
                    <a:pt x="262" y="150"/>
                  </a:lnTo>
                  <a:lnTo>
                    <a:pt x="262" y="148"/>
                  </a:lnTo>
                  <a:lnTo>
                    <a:pt x="259" y="148"/>
                  </a:lnTo>
                  <a:lnTo>
                    <a:pt x="259" y="147"/>
                  </a:lnTo>
                  <a:lnTo>
                    <a:pt x="258" y="145"/>
                  </a:lnTo>
                  <a:lnTo>
                    <a:pt x="256" y="145"/>
                  </a:lnTo>
                  <a:lnTo>
                    <a:pt x="256" y="142"/>
                  </a:lnTo>
                  <a:lnTo>
                    <a:pt x="255" y="142"/>
                  </a:lnTo>
                  <a:lnTo>
                    <a:pt x="255" y="141"/>
                  </a:lnTo>
                  <a:lnTo>
                    <a:pt x="252" y="138"/>
                  </a:lnTo>
                  <a:lnTo>
                    <a:pt x="253" y="138"/>
                  </a:lnTo>
                  <a:lnTo>
                    <a:pt x="252" y="136"/>
                  </a:lnTo>
                  <a:lnTo>
                    <a:pt x="250" y="136"/>
                  </a:lnTo>
                  <a:lnTo>
                    <a:pt x="252" y="135"/>
                  </a:lnTo>
                  <a:lnTo>
                    <a:pt x="250" y="135"/>
                  </a:lnTo>
                  <a:lnTo>
                    <a:pt x="250" y="127"/>
                  </a:lnTo>
                  <a:lnTo>
                    <a:pt x="252" y="124"/>
                  </a:lnTo>
                  <a:lnTo>
                    <a:pt x="253" y="123"/>
                  </a:lnTo>
                  <a:lnTo>
                    <a:pt x="255" y="123"/>
                  </a:lnTo>
                  <a:lnTo>
                    <a:pt x="256" y="121"/>
                  </a:lnTo>
                  <a:lnTo>
                    <a:pt x="258" y="121"/>
                  </a:lnTo>
                  <a:lnTo>
                    <a:pt x="261" y="123"/>
                  </a:lnTo>
                  <a:lnTo>
                    <a:pt x="262" y="123"/>
                  </a:lnTo>
                  <a:lnTo>
                    <a:pt x="264" y="121"/>
                  </a:lnTo>
                  <a:lnTo>
                    <a:pt x="265" y="121"/>
                  </a:lnTo>
                  <a:lnTo>
                    <a:pt x="267" y="118"/>
                  </a:lnTo>
                  <a:lnTo>
                    <a:pt x="270" y="118"/>
                  </a:lnTo>
                  <a:lnTo>
                    <a:pt x="271" y="117"/>
                  </a:lnTo>
                  <a:lnTo>
                    <a:pt x="271" y="104"/>
                  </a:lnTo>
                  <a:lnTo>
                    <a:pt x="270" y="99"/>
                  </a:lnTo>
                  <a:lnTo>
                    <a:pt x="268" y="98"/>
                  </a:lnTo>
                  <a:lnTo>
                    <a:pt x="270" y="96"/>
                  </a:lnTo>
                  <a:lnTo>
                    <a:pt x="271" y="96"/>
                  </a:lnTo>
                  <a:lnTo>
                    <a:pt x="271" y="95"/>
                  </a:lnTo>
                  <a:lnTo>
                    <a:pt x="274" y="92"/>
                  </a:lnTo>
                  <a:lnTo>
                    <a:pt x="274" y="90"/>
                  </a:lnTo>
                  <a:lnTo>
                    <a:pt x="276" y="89"/>
                  </a:lnTo>
                  <a:lnTo>
                    <a:pt x="276" y="81"/>
                  </a:lnTo>
                  <a:lnTo>
                    <a:pt x="277" y="80"/>
                  </a:lnTo>
                  <a:lnTo>
                    <a:pt x="280" y="80"/>
                  </a:lnTo>
                  <a:lnTo>
                    <a:pt x="280" y="78"/>
                  </a:lnTo>
                  <a:lnTo>
                    <a:pt x="282" y="78"/>
                  </a:lnTo>
                  <a:lnTo>
                    <a:pt x="288" y="75"/>
                  </a:lnTo>
                  <a:close/>
                  <a:moveTo>
                    <a:pt x="120" y="66"/>
                  </a:moveTo>
                  <a:lnTo>
                    <a:pt x="123" y="66"/>
                  </a:lnTo>
                  <a:lnTo>
                    <a:pt x="122" y="68"/>
                  </a:lnTo>
                  <a:lnTo>
                    <a:pt x="120" y="68"/>
                  </a:lnTo>
                  <a:lnTo>
                    <a:pt x="120" y="66"/>
                  </a:lnTo>
                  <a:close/>
                  <a:moveTo>
                    <a:pt x="325" y="62"/>
                  </a:moveTo>
                  <a:lnTo>
                    <a:pt x="326" y="63"/>
                  </a:lnTo>
                  <a:lnTo>
                    <a:pt x="326" y="65"/>
                  </a:lnTo>
                  <a:lnTo>
                    <a:pt x="325" y="65"/>
                  </a:lnTo>
                  <a:lnTo>
                    <a:pt x="325" y="69"/>
                  </a:lnTo>
                  <a:lnTo>
                    <a:pt x="323" y="71"/>
                  </a:lnTo>
                  <a:lnTo>
                    <a:pt x="323" y="72"/>
                  </a:lnTo>
                  <a:lnTo>
                    <a:pt x="325" y="72"/>
                  </a:lnTo>
                  <a:lnTo>
                    <a:pt x="325" y="74"/>
                  </a:lnTo>
                  <a:lnTo>
                    <a:pt x="326" y="75"/>
                  </a:lnTo>
                  <a:lnTo>
                    <a:pt x="326" y="77"/>
                  </a:lnTo>
                  <a:lnTo>
                    <a:pt x="325" y="78"/>
                  </a:lnTo>
                  <a:lnTo>
                    <a:pt x="325" y="80"/>
                  </a:lnTo>
                  <a:lnTo>
                    <a:pt x="326" y="80"/>
                  </a:lnTo>
                  <a:lnTo>
                    <a:pt x="326" y="81"/>
                  </a:lnTo>
                  <a:lnTo>
                    <a:pt x="325" y="83"/>
                  </a:lnTo>
                  <a:lnTo>
                    <a:pt x="325" y="86"/>
                  </a:lnTo>
                  <a:lnTo>
                    <a:pt x="323" y="87"/>
                  </a:lnTo>
                  <a:lnTo>
                    <a:pt x="323" y="89"/>
                  </a:lnTo>
                  <a:lnTo>
                    <a:pt x="325" y="92"/>
                  </a:lnTo>
                  <a:lnTo>
                    <a:pt x="325" y="99"/>
                  </a:lnTo>
                  <a:lnTo>
                    <a:pt x="323" y="102"/>
                  </a:lnTo>
                  <a:lnTo>
                    <a:pt x="323" y="105"/>
                  </a:lnTo>
                  <a:lnTo>
                    <a:pt x="322" y="104"/>
                  </a:lnTo>
                  <a:lnTo>
                    <a:pt x="322" y="107"/>
                  </a:lnTo>
                  <a:lnTo>
                    <a:pt x="319" y="108"/>
                  </a:lnTo>
                  <a:lnTo>
                    <a:pt x="317" y="108"/>
                  </a:lnTo>
                  <a:lnTo>
                    <a:pt x="317" y="110"/>
                  </a:lnTo>
                  <a:lnTo>
                    <a:pt x="316" y="110"/>
                  </a:lnTo>
                  <a:lnTo>
                    <a:pt x="314" y="111"/>
                  </a:lnTo>
                  <a:lnTo>
                    <a:pt x="313" y="111"/>
                  </a:lnTo>
                  <a:lnTo>
                    <a:pt x="313" y="113"/>
                  </a:lnTo>
                  <a:lnTo>
                    <a:pt x="310" y="114"/>
                  </a:lnTo>
                  <a:lnTo>
                    <a:pt x="310" y="117"/>
                  </a:lnTo>
                  <a:lnTo>
                    <a:pt x="308" y="117"/>
                  </a:lnTo>
                  <a:lnTo>
                    <a:pt x="307" y="118"/>
                  </a:lnTo>
                  <a:lnTo>
                    <a:pt x="307" y="123"/>
                  </a:lnTo>
                  <a:lnTo>
                    <a:pt x="305" y="126"/>
                  </a:lnTo>
                  <a:lnTo>
                    <a:pt x="305" y="127"/>
                  </a:lnTo>
                  <a:lnTo>
                    <a:pt x="301" y="138"/>
                  </a:lnTo>
                  <a:lnTo>
                    <a:pt x="301" y="139"/>
                  </a:lnTo>
                  <a:lnTo>
                    <a:pt x="299" y="141"/>
                  </a:lnTo>
                  <a:lnTo>
                    <a:pt x="299" y="142"/>
                  </a:lnTo>
                  <a:lnTo>
                    <a:pt x="298" y="142"/>
                  </a:lnTo>
                  <a:lnTo>
                    <a:pt x="298" y="144"/>
                  </a:lnTo>
                  <a:lnTo>
                    <a:pt x="296" y="144"/>
                  </a:lnTo>
                  <a:lnTo>
                    <a:pt x="296" y="145"/>
                  </a:lnTo>
                  <a:lnTo>
                    <a:pt x="294" y="148"/>
                  </a:lnTo>
                  <a:lnTo>
                    <a:pt x="292" y="148"/>
                  </a:lnTo>
                  <a:lnTo>
                    <a:pt x="292" y="144"/>
                  </a:lnTo>
                  <a:lnTo>
                    <a:pt x="294" y="132"/>
                  </a:lnTo>
                  <a:lnTo>
                    <a:pt x="295" y="127"/>
                  </a:lnTo>
                  <a:lnTo>
                    <a:pt x="296" y="126"/>
                  </a:lnTo>
                  <a:lnTo>
                    <a:pt x="296" y="124"/>
                  </a:lnTo>
                  <a:lnTo>
                    <a:pt x="295" y="124"/>
                  </a:lnTo>
                  <a:lnTo>
                    <a:pt x="295" y="121"/>
                  </a:lnTo>
                  <a:lnTo>
                    <a:pt x="296" y="123"/>
                  </a:lnTo>
                  <a:lnTo>
                    <a:pt x="296" y="118"/>
                  </a:lnTo>
                  <a:lnTo>
                    <a:pt x="299" y="117"/>
                  </a:lnTo>
                  <a:lnTo>
                    <a:pt x="301" y="115"/>
                  </a:lnTo>
                  <a:lnTo>
                    <a:pt x="301" y="113"/>
                  </a:lnTo>
                  <a:lnTo>
                    <a:pt x="304" y="110"/>
                  </a:lnTo>
                  <a:lnTo>
                    <a:pt x="304" y="107"/>
                  </a:lnTo>
                  <a:lnTo>
                    <a:pt x="305" y="107"/>
                  </a:lnTo>
                  <a:lnTo>
                    <a:pt x="305" y="105"/>
                  </a:lnTo>
                  <a:lnTo>
                    <a:pt x="310" y="101"/>
                  </a:lnTo>
                  <a:lnTo>
                    <a:pt x="310" y="95"/>
                  </a:lnTo>
                  <a:lnTo>
                    <a:pt x="313" y="92"/>
                  </a:lnTo>
                  <a:lnTo>
                    <a:pt x="313" y="90"/>
                  </a:lnTo>
                  <a:lnTo>
                    <a:pt x="316" y="87"/>
                  </a:lnTo>
                  <a:lnTo>
                    <a:pt x="319" y="78"/>
                  </a:lnTo>
                  <a:lnTo>
                    <a:pt x="320" y="77"/>
                  </a:lnTo>
                  <a:lnTo>
                    <a:pt x="320" y="75"/>
                  </a:lnTo>
                  <a:lnTo>
                    <a:pt x="319" y="74"/>
                  </a:lnTo>
                  <a:lnTo>
                    <a:pt x="319" y="72"/>
                  </a:lnTo>
                  <a:lnTo>
                    <a:pt x="320" y="72"/>
                  </a:lnTo>
                  <a:lnTo>
                    <a:pt x="320" y="71"/>
                  </a:lnTo>
                  <a:lnTo>
                    <a:pt x="322" y="71"/>
                  </a:lnTo>
                  <a:lnTo>
                    <a:pt x="322" y="69"/>
                  </a:lnTo>
                  <a:lnTo>
                    <a:pt x="320" y="68"/>
                  </a:lnTo>
                  <a:lnTo>
                    <a:pt x="320" y="66"/>
                  </a:lnTo>
                  <a:lnTo>
                    <a:pt x="322" y="66"/>
                  </a:lnTo>
                  <a:lnTo>
                    <a:pt x="323" y="63"/>
                  </a:lnTo>
                  <a:lnTo>
                    <a:pt x="325" y="62"/>
                  </a:lnTo>
                  <a:close/>
                  <a:moveTo>
                    <a:pt x="311" y="62"/>
                  </a:moveTo>
                  <a:lnTo>
                    <a:pt x="313" y="66"/>
                  </a:lnTo>
                  <a:lnTo>
                    <a:pt x="314" y="66"/>
                  </a:lnTo>
                  <a:lnTo>
                    <a:pt x="314" y="68"/>
                  </a:lnTo>
                  <a:lnTo>
                    <a:pt x="311" y="68"/>
                  </a:lnTo>
                  <a:lnTo>
                    <a:pt x="310" y="65"/>
                  </a:lnTo>
                  <a:lnTo>
                    <a:pt x="310" y="63"/>
                  </a:lnTo>
                  <a:lnTo>
                    <a:pt x="311" y="62"/>
                  </a:lnTo>
                  <a:close/>
                  <a:moveTo>
                    <a:pt x="116" y="56"/>
                  </a:moveTo>
                  <a:lnTo>
                    <a:pt x="117" y="56"/>
                  </a:lnTo>
                  <a:lnTo>
                    <a:pt x="117" y="59"/>
                  </a:lnTo>
                  <a:lnTo>
                    <a:pt x="119" y="60"/>
                  </a:lnTo>
                  <a:lnTo>
                    <a:pt x="119" y="59"/>
                  </a:lnTo>
                  <a:lnTo>
                    <a:pt x="120" y="62"/>
                  </a:lnTo>
                  <a:lnTo>
                    <a:pt x="120" y="65"/>
                  </a:lnTo>
                  <a:lnTo>
                    <a:pt x="119" y="66"/>
                  </a:lnTo>
                  <a:lnTo>
                    <a:pt x="117" y="69"/>
                  </a:lnTo>
                  <a:lnTo>
                    <a:pt x="119" y="71"/>
                  </a:lnTo>
                  <a:lnTo>
                    <a:pt x="119" y="72"/>
                  </a:lnTo>
                  <a:lnTo>
                    <a:pt x="120" y="72"/>
                  </a:lnTo>
                  <a:lnTo>
                    <a:pt x="120" y="71"/>
                  </a:lnTo>
                  <a:lnTo>
                    <a:pt x="122" y="71"/>
                  </a:lnTo>
                  <a:lnTo>
                    <a:pt x="123" y="72"/>
                  </a:lnTo>
                  <a:lnTo>
                    <a:pt x="123" y="74"/>
                  </a:lnTo>
                  <a:lnTo>
                    <a:pt x="120" y="74"/>
                  </a:lnTo>
                  <a:lnTo>
                    <a:pt x="120" y="75"/>
                  </a:lnTo>
                  <a:lnTo>
                    <a:pt x="119" y="75"/>
                  </a:lnTo>
                  <a:lnTo>
                    <a:pt x="119" y="74"/>
                  </a:lnTo>
                  <a:lnTo>
                    <a:pt x="117" y="74"/>
                  </a:lnTo>
                  <a:lnTo>
                    <a:pt x="117" y="83"/>
                  </a:lnTo>
                  <a:lnTo>
                    <a:pt x="122" y="83"/>
                  </a:lnTo>
                  <a:lnTo>
                    <a:pt x="122" y="89"/>
                  </a:lnTo>
                  <a:lnTo>
                    <a:pt x="120" y="90"/>
                  </a:lnTo>
                  <a:lnTo>
                    <a:pt x="123" y="90"/>
                  </a:lnTo>
                  <a:lnTo>
                    <a:pt x="125" y="92"/>
                  </a:lnTo>
                  <a:lnTo>
                    <a:pt x="123" y="92"/>
                  </a:lnTo>
                  <a:lnTo>
                    <a:pt x="123" y="93"/>
                  </a:lnTo>
                  <a:lnTo>
                    <a:pt x="125" y="95"/>
                  </a:lnTo>
                  <a:lnTo>
                    <a:pt x="125" y="96"/>
                  </a:lnTo>
                  <a:lnTo>
                    <a:pt x="126" y="96"/>
                  </a:lnTo>
                  <a:lnTo>
                    <a:pt x="128" y="98"/>
                  </a:lnTo>
                  <a:lnTo>
                    <a:pt x="126" y="99"/>
                  </a:lnTo>
                  <a:lnTo>
                    <a:pt x="125" y="99"/>
                  </a:lnTo>
                  <a:lnTo>
                    <a:pt x="120" y="104"/>
                  </a:lnTo>
                  <a:lnTo>
                    <a:pt x="114" y="104"/>
                  </a:lnTo>
                  <a:lnTo>
                    <a:pt x="113" y="105"/>
                  </a:lnTo>
                  <a:lnTo>
                    <a:pt x="111" y="105"/>
                  </a:lnTo>
                  <a:lnTo>
                    <a:pt x="105" y="111"/>
                  </a:lnTo>
                  <a:lnTo>
                    <a:pt x="105" y="113"/>
                  </a:lnTo>
                  <a:lnTo>
                    <a:pt x="104" y="117"/>
                  </a:lnTo>
                  <a:lnTo>
                    <a:pt x="101" y="120"/>
                  </a:lnTo>
                  <a:lnTo>
                    <a:pt x="98" y="120"/>
                  </a:lnTo>
                  <a:lnTo>
                    <a:pt x="98" y="121"/>
                  </a:lnTo>
                  <a:lnTo>
                    <a:pt x="92" y="121"/>
                  </a:lnTo>
                  <a:lnTo>
                    <a:pt x="89" y="123"/>
                  </a:lnTo>
                  <a:lnTo>
                    <a:pt x="87" y="123"/>
                  </a:lnTo>
                  <a:lnTo>
                    <a:pt x="86" y="124"/>
                  </a:lnTo>
                  <a:lnTo>
                    <a:pt x="83" y="124"/>
                  </a:lnTo>
                  <a:lnTo>
                    <a:pt x="83" y="130"/>
                  </a:lnTo>
                  <a:lnTo>
                    <a:pt x="84" y="130"/>
                  </a:lnTo>
                  <a:lnTo>
                    <a:pt x="84" y="133"/>
                  </a:lnTo>
                  <a:lnTo>
                    <a:pt x="81" y="133"/>
                  </a:lnTo>
                  <a:lnTo>
                    <a:pt x="81" y="132"/>
                  </a:lnTo>
                  <a:lnTo>
                    <a:pt x="80" y="132"/>
                  </a:lnTo>
                  <a:lnTo>
                    <a:pt x="80" y="133"/>
                  </a:lnTo>
                  <a:lnTo>
                    <a:pt x="81" y="133"/>
                  </a:lnTo>
                  <a:lnTo>
                    <a:pt x="81" y="135"/>
                  </a:lnTo>
                  <a:lnTo>
                    <a:pt x="83" y="136"/>
                  </a:lnTo>
                  <a:lnTo>
                    <a:pt x="81" y="136"/>
                  </a:lnTo>
                  <a:lnTo>
                    <a:pt x="81" y="139"/>
                  </a:lnTo>
                  <a:lnTo>
                    <a:pt x="80" y="139"/>
                  </a:lnTo>
                  <a:lnTo>
                    <a:pt x="80" y="141"/>
                  </a:lnTo>
                  <a:lnTo>
                    <a:pt x="78" y="141"/>
                  </a:lnTo>
                  <a:lnTo>
                    <a:pt x="75" y="147"/>
                  </a:lnTo>
                  <a:lnTo>
                    <a:pt x="72" y="150"/>
                  </a:lnTo>
                  <a:lnTo>
                    <a:pt x="72" y="151"/>
                  </a:lnTo>
                  <a:lnTo>
                    <a:pt x="69" y="154"/>
                  </a:lnTo>
                  <a:lnTo>
                    <a:pt x="68" y="154"/>
                  </a:lnTo>
                  <a:lnTo>
                    <a:pt x="65" y="157"/>
                  </a:lnTo>
                  <a:lnTo>
                    <a:pt x="65" y="159"/>
                  </a:lnTo>
                  <a:lnTo>
                    <a:pt x="60" y="159"/>
                  </a:lnTo>
                  <a:lnTo>
                    <a:pt x="60" y="160"/>
                  </a:lnTo>
                  <a:lnTo>
                    <a:pt x="56" y="160"/>
                  </a:lnTo>
                  <a:lnTo>
                    <a:pt x="54" y="162"/>
                  </a:lnTo>
                  <a:lnTo>
                    <a:pt x="54" y="163"/>
                  </a:lnTo>
                  <a:lnTo>
                    <a:pt x="51" y="166"/>
                  </a:lnTo>
                  <a:lnTo>
                    <a:pt x="51" y="168"/>
                  </a:lnTo>
                  <a:lnTo>
                    <a:pt x="50" y="169"/>
                  </a:lnTo>
                  <a:lnTo>
                    <a:pt x="48" y="172"/>
                  </a:lnTo>
                  <a:lnTo>
                    <a:pt x="48" y="174"/>
                  </a:lnTo>
                  <a:lnTo>
                    <a:pt x="44" y="175"/>
                  </a:lnTo>
                  <a:lnTo>
                    <a:pt x="38" y="181"/>
                  </a:lnTo>
                  <a:lnTo>
                    <a:pt x="35" y="181"/>
                  </a:lnTo>
                  <a:lnTo>
                    <a:pt x="35" y="183"/>
                  </a:lnTo>
                  <a:lnTo>
                    <a:pt x="27" y="183"/>
                  </a:lnTo>
                  <a:lnTo>
                    <a:pt x="27" y="187"/>
                  </a:lnTo>
                  <a:lnTo>
                    <a:pt x="26" y="189"/>
                  </a:lnTo>
                  <a:lnTo>
                    <a:pt x="26" y="190"/>
                  </a:lnTo>
                  <a:lnTo>
                    <a:pt x="23" y="190"/>
                  </a:lnTo>
                  <a:lnTo>
                    <a:pt x="20" y="192"/>
                  </a:lnTo>
                  <a:lnTo>
                    <a:pt x="18" y="192"/>
                  </a:lnTo>
                  <a:lnTo>
                    <a:pt x="17" y="193"/>
                  </a:lnTo>
                  <a:lnTo>
                    <a:pt x="15" y="193"/>
                  </a:lnTo>
                  <a:lnTo>
                    <a:pt x="15" y="195"/>
                  </a:lnTo>
                  <a:lnTo>
                    <a:pt x="14" y="195"/>
                  </a:lnTo>
                  <a:lnTo>
                    <a:pt x="14" y="196"/>
                  </a:lnTo>
                  <a:lnTo>
                    <a:pt x="12" y="196"/>
                  </a:lnTo>
                  <a:lnTo>
                    <a:pt x="11" y="198"/>
                  </a:lnTo>
                  <a:lnTo>
                    <a:pt x="11" y="193"/>
                  </a:lnTo>
                  <a:lnTo>
                    <a:pt x="12" y="193"/>
                  </a:lnTo>
                  <a:lnTo>
                    <a:pt x="12" y="189"/>
                  </a:lnTo>
                  <a:lnTo>
                    <a:pt x="14" y="189"/>
                  </a:lnTo>
                  <a:lnTo>
                    <a:pt x="14" y="186"/>
                  </a:lnTo>
                  <a:lnTo>
                    <a:pt x="15" y="186"/>
                  </a:lnTo>
                  <a:lnTo>
                    <a:pt x="15" y="184"/>
                  </a:lnTo>
                  <a:lnTo>
                    <a:pt x="18" y="181"/>
                  </a:lnTo>
                  <a:lnTo>
                    <a:pt x="17" y="181"/>
                  </a:lnTo>
                  <a:lnTo>
                    <a:pt x="18" y="180"/>
                  </a:lnTo>
                  <a:lnTo>
                    <a:pt x="21" y="178"/>
                  </a:lnTo>
                  <a:lnTo>
                    <a:pt x="23" y="177"/>
                  </a:lnTo>
                  <a:lnTo>
                    <a:pt x="26" y="172"/>
                  </a:lnTo>
                  <a:lnTo>
                    <a:pt x="32" y="166"/>
                  </a:lnTo>
                  <a:lnTo>
                    <a:pt x="32" y="165"/>
                  </a:lnTo>
                  <a:lnTo>
                    <a:pt x="33" y="165"/>
                  </a:lnTo>
                  <a:lnTo>
                    <a:pt x="35" y="163"/>
                  </a:lnTo>
                  <a:lnTo>
                    <a:pt x="35" y="165"/>
                  </a:lnTo>
                  <a:lnTo>
                    <a:pt x="36" y="165"/>
                  </a:lnTo>
                  <a:lnTo>
                    <a:pt x="36" y="163"/>
                  </a:lnTo>
                  <a:lnTo>
                    <a:pt x="38" y="163"/>
                  </a:lnTo>
                  <a:lnTo>
                    <a:pt x="38" y="160"/>
                  </a:lnTo>
                  <a:lnTo>
                    <a:pt x="41" y="159"/>
                  </a:lnTo>
                  <a:lnTo>
                    <a:pt x="42" y="157"/>
                  </a:lnTo>
                  <a:lnTo>
                    <a:pt x="42" y="156"/>
                  </a:lnTo>
                  <a:lnTo>
                    <a:pt x="47" y="156"/>
                  </a:lnTo>
                  <a:lnTo>
                    <a:pt x="48" y="157"/>
                  </a:lnTo>
                  <a:lnTo>
                    <a:pt x="48" y="156"/>
                  </a:lnTo>
                  <a:lnTo>
                    <a:pt x="50" y="154"/>
                  </a:lnTo>
                  <a:lnTo>
                    <a:pt x="54" y="151"/>
                  </a:lnTo>
                  <a:lnTo>
                    <a:pt x="54" y="150"/>
                  </a:lnTo>
                  <a:lnTo>
                    <a:pt x="56" y="148"/>
                  </a:lnTo>
                  <a:lnTo>
                    <a:pt x="57" y="148"/>
                  </a:lnTo>
                  <a:lnTo>
                    <a:pt x="57" y="145"/>
                  </a:lnTo>
                  <a:lnTo>
                    <a:pt x="60" y="144"/>
                  </a:lnTo>
                  <a:lnTo>
                    <a:pt x="63" y="141"/>
                  </a:lnTo>
                  <a:lnTo>
                    <a:pt x="63" y="138"/>
                  </a:lnTo>
                  <a:lnTo>
                    <a:pt x="65" y="136"/>
                  </a:lnTo>
                  <a:lnTo>
                    <a:pt x="68" y="136"/>
                  </a:lnTo>
                  <a:lnTo>
                    <a:pt x="68" y="135"/>
                  </a:lnTo>
                  <a:lnTo>
                    <a:pt x="72" y="132"/>
                  </a:lnTo>
                  <a:lnTo>
                    <a:pt x="72" y="130"/>
                  </a:lnTo>
                  <a:lnTo>
                    <a:pt x="75" y="127"/>
                  </a:lnTo>
                  <a:lnTo>
                    <a:pt x="75" y="126"/>
                  </a:lnTo>
                  <a:lnTo>
                    <a:pt x="78" y="123"/>
                  </a:lnTo>
                  <a:lnTo>
                    <a:pt x="78" y="121"/>
                  </a:lnTo>
                  <a:lnTo>
                    <a:pt x="81" y="120"/>
                  </a:lnTo>
                  <a:lnTo>
                    <a:pt x="81" y="118"/>
                  </a:lnTo>
                  <a:lnTo>
                    <a:pt x="83" y="115"/>
                  </a:lnTo>
                  <a:lnTo>
                    <a:pt x="83" y="118"/>
                  </a:lnTo>
                  <a:lnTo>
                    <a:pt x="86" y="118"/>
                  </a:lnTo>
                  <a:lnTo>
                    <a:pt x="86" y="113"/>
                  </a:lnTo>
                  <a:lnTo>
                    <a:pt x="87" y="113"/>
                  </a:lnTo>
                  <a:lnTo>
                    <a:pt x="87" y="111"/>
                  </a:lnTo>
                  <a:lnTo>
                    <a:pt x="92" y="111"/>
                  </a:lnTo>
                  <a:lnTo>
                    <a:pt x="92" y="108"/>
                  </a:lnTo>
                  <a:lnTo>
                    <a:pt x="93" y="108"/>
                  </a:lnTo>
                  <a:lnTo>
                    <a:pt x="95" y="107"/>
                  </a:lnTo>
                  <a:lnTo>
                    <a:pt x="95" y="105"/>
                  </a:lnTo>
                  <a:lnTo>
                    <a:pt x="93" y="105"/>
                  </a:lnTo>
                  <a:lnTo>
                    <a:pt x="93" y="104"/>
                  </a:lnTo>
                  <a:lnTo>
                    <a:pt x="95" y="102"/>
                  </a:lnTo>
                  <a:lnTo>
                    <a:pt x="96" y="102"/>
                  </a:lnTo>
                  <a:lnTo>
                    <a:pt x="96" y="104"/>
                  </a:lnTo>
                  <a:lnTo>
                    <a:pt x="98" y="104"/>
                  </a:lnTo>
                  <a:lnTo>
                    <a:pt x="98" y="102"/>
                  </a:lnTo>
                  <a:lnTo>
                    <a:pt x="99" y="102"/>
                  </a:lnTo>
                  <a:lnTo>
                    <a:pt x="99" y="104"/>
                  </a:lnTo>
                  <a:lnTo>
                    <a:pt x="101" y="104"/>
                  </a:lnTo>
                  <a:lnTo>
                    <a:pt x="102" y="102"/>
                  </a:lnTo>
                  <a:lnTo>
                    <a:pt x="102" y="101"/>
                  </a:lnTo>
                  <a:lnTo>
                    <a:pt x="104" y="101"/>
                  </a:lnTo>
                  <a:lnTo>
                    <a:pt x="104" y="99"/>
                  </a:lnTo>
                  <a:lnTo>
                    <a:pt x="105" y="99"/>
                  </a:lnTo>
                  <a:lnTo>
                    <a:pt x="107" y="98"/>
                  </a:lnTo>
                  <a:lnTo>
                    <a:pt x="105" y="96"/>
                  </a:lnTo>
                  <a:lnTo>
                    <a:pt x="107" y="96"/>
                  </a:lnTo>
                  <a:lnTo>
                    <a:pt x="108" y="95"/>
                  </a:lnTo>
                  <a:lnTo>
                    <a:pt x="110" y="87"/>
                  </a:lnTo>
                  <a:lnTo>
                    <a:pt x="108" y="87"/>
                  </a:lnTo>
                  <a:lnTo>
                    <a:pt x="108" y="86"/>
                  </a:lnTo>
                  <a:lnTo>
                    <a:pt x="107" y="86"/>
                  </a:lnTo>
                  <a:lnTo>
                    <a:pt x="107" y="84"/>
                  </a:lnTo>
                  <a:lnTo>
                    <a:pt x="104" y="81"/>
                  </a:lnTo>
                  <a:lnTo>
                    <a:pt x="105" y="80"/>
                  </a:lnTo>
                  <a:lnTo>
                    <a:pt x="104" y="78"/>
                  </a:lnTo>
                  <a:lnTo>
                    <a:pt x="104" y="77"/>
                  </a:lnTo>
                  <a:lnTo>
                    <a:pt x="105" y="77"/>
                  </a:lnTo>
                  <a:lnTo>
                    <a:pt x="105" y="78"/>
                  </a:lnTo>
                  <a:lnTo>
                    <a:pt x="107" y="78"/>
                  </a:lnTo>
                  <a:lnTo>
                    <a:pt x="107" y="81"/>
                  </a:lnTo>
                  <a:lnTo>
                    <a:pt x="108" y="81"/>
                  </a:lnTo>
                  <a:lnTo>
                    <a:pt x="108" y="83"/>
                  </a:lnTo>
                  <a:lnTo>
                    <a:pt x="110" y="83"/>
                  </a:lnTo>
                  <a:lnTo>
                    <a:pt x="110" y="84"/>
                  </a:lnTo>
                  <a:lnTo>
                    <a:pt x="111" y="84"/>
                  </a:lnTo>
                  <a:lnTo>
                    <a:pt x="111" y="86"/>
                  </a:lnTo>
                  <a:lnTo>
                    <a:pt x="113" y="86"/>
                  </a:lnTo>
                  <a:lnTo>
                    <a:pt x="114" y="87"/>
                  </a:lnTo>
                  <a:lnTo>
                    <a:pt x="116" y="87"/>
                  </a:lnTo>
                  <a:lnTo>
                    <a:pt x="114" y="86"/>
                  </a:lnTo>
                  <a:lnTo>
                    <a:pt x="114" y="81"/>
                  </a:lnTo>
                  <a:lnTo>
                    <a:pt x="110" y="81"/>
                  </a:lnTo>
                  <a:lnTo>
                    <a:pt x="110" y="78"/>
                  </a:lnTo>
                  <a:lnTo>
                    <a:pt x="108" y="78"/>
                  </a:lnTo>
                  <a:lnTo>
                    <a:pt x="108" y="74"/>
                  </a:lnTo>
                  <a:lnTo>
                    <a:pt x="110" y="74"/>
                  </a:lnTo>
                  <a:lnTo>
                    <a:pt x="108" y="72"/>
                  </a:lnTo>
                  <a:lnTo>
                    <a:pt x="108" y="71"/>
                  </a:lnTo>
                  <a:lnTo>
                    <a:pt x="110" y="71"/>
                  </a:lnTo>
                  <a:lnTo>
                    <a:pt x="110" y="72"/>
                  </a:lnTo>
                  <a:lnTo>
                    <a:pt x="113" y="72"/>
                  </a:lnTo>
                  <a:lnTo>
                    <a:pt x="113" y="71"/>
                  </a:lnTo>
                  <a:lnTo>
                    <a:pt x="114" y="69"/>
                  </a:lnTo>
                  <a:lnTo>
                    <a:pt x="113" y="69"/>
                  </a:lnTo>
                  <a:lnTo>
                    <a:pt x="113" y="68"/>
                  </a:lnTo>
                  <a:lnTo>
                    <a:pt x="111" y="68"/>
                  </a:lnTo>
                  <a:lnTo>
                    <a:pt x="111" y="66"/>
                  </a:lnTo>
                  <a:lnTo>
                    <a:pt x="113" y="66"/>
                  </a:lnTo>
                  <a:lnTo>
                    <a:pt x="113" y="60"/>
                  </a:lnTo>
                  <a:lnTo>
                    <a:pt x="114" y="60"/>
                  </a:lnTo>
                  <a:lnTo>
                    <a:pt x="116" y="59"/>
                  </a:lnTo>
                  <a:lnTo>
                    <a:pt x="116" y="56"/>
                  </a:lnTo>
                  <a:close/>
                  <a:moveTo>
                    <a:pt x="132" y="51"/>
                  </a:moveTo>
                  <a:lnTo>
                    <a:pt x="134" y="51"/>
                  </a:lnTo>
                  <a:lnTo>
                    <a:pt x="134" y="56"/>
                  </a:lnTo>
                  <a:lnTo>
                    <a:pt x="132" y="57"/>
                  </a:lnTo>
                  <a:lnTo>
                    <a:pt x="132" y="56"/>
                  </a:lnTo>
                  <a:lnTo>
                    <a:pt x="131" y="54"/>
                  </a:lnTo>
                  <a:lnTo>
                    <a:pt x="131" y="56"/>
                  </a:lnTo>
                  <a:lnTo>
                    <a:pt x="129" y="56"/>
                  </a:lnTo>
                  <a:lnTo>
                    <a:pt x="128" y="54"/>
                  </a:lnTo>
                  <a:lnTo>
                    <a:pt x="126" y="54"/>
                  </a:lnTo>
                  <a:lnTo>
                    <a:pt x="128" y="53"/>
                  </a:lnTo>
                  <a:lnTo>
                    <a:pt x="129" y="54"/>
                  </a:lnTo>
                  <a:lnTo>
                    <a:pt x="129" y="53"/>
                  </a:lnTo>
                  <a:lnTo>
                    <a:pt x="132" y="53"/>
                  </a:lnTo>
                  <a:lnTo>
                    <a:pt x="132" y="51"/>
                  </a:lnTo>
                  <a:close/>
                  <a:moveTo>
                    <a:pt x="343" y="42"/>
                  </a:moveTo>
                  <a:lnTo>
                    <a:pt x="346" y="42"/>
                  </a:lnTo>
                  <a:lnTo>
                    <a:pt x="347" y="44"/>
                  </a:lnTo>
                  <a:lnTo>
                    <a:pt x="349" y="44"/>
                  </a:lnTo>
                  <a:lnTo>
                    <a:pt x="349" y="45"/>
                  </a:lnTo>
                  <a:lnTo>
                    <a:pt x="350" y="48"/>
                  </a:lnTo>
                  <a:lnTo>
                    <a:pt x="352" y="50"/>
                  </a:lnTo>
                  <a:lnTo>
                    <a:pt x="352" y="51"/>
                  </a:lnTo>
                  <a:lnTo>
                    <a:pt x="350" y="53"/>
                  </a:lnTo>
                  <a:lnTo>
                    <a:pt x="344" y="53"/>
                  </a:lnTo>
                  <a:lnTo>
                    <a:pt x="343" y="50"/>
                  </a:lnTo>
                  <a:lnTo>
                    <a:pt x="341" y="50"/>
                  </a:lnTo>
                  <a:lnTo>
                    <a:pt x="341" y="47"/>
                  </a:lnTo>
                  <a:lnTo>
                    <a:pt x="340" y="45"/>
                  </a:lnTo>
                  <a:lnTo>
                    <a:pt x="340" y="44"/>
                  </a:lnTo>
                  <a:lnTo>
                    <a:pt x="343" y="42"/>
                  </a:lnTo>
                  <a:close/>
                  <a:moveTo>
                    <a:pt x="356" y="41"/>
                  </a:moveTo>
                  <a:lnTo>
                    <a:pt x="358" y="42"/>
                  </a:lnTo>
                  <a:lnTo>
                    <a:pt x="359" y="42"/>
                  </a:lnTo>
                  <a:lnTo>
                    <a:pt x="359" y="44"/>
                  </a:lnTo>
                  <a:lnTo>
                    <a:pt x="361" y="44"/>
                  </a:lnTo>
                  <a:lnTo>
                    <a:pt x="361" y="47"/>
                  </a:lnTo>
                  <a:lnTo>
                    <a:pt x="362" y="47"/>
                  </a:lnTo>
                  <a:lnTo>
                    <a:pt x="362" y="50"/>
                  </a:lnTo>
                  <a:lnTo>
                    <a:pt x="361" y="50"/>
                  </a:lnTo>
                  <a:lnTo>
                    <a:pt x="361" y="48"/>
                  </a:lnTo>
                  <a:lnTo>
                    <a:pt x="359" y="48"/>
                  </a:lnTo>
                  <a:lnTo>
                    <a:pt x="358" y="47"/>
                  </a:lnTo>
                  <a:lnTo>
                    <a:pt x="359" y="47"/>
                  </a:lnTo>
                  <a:lnTo>
                    <a:pt x="359" y="45"/>
                  </a:lnTo>
                  <a:lnTo>
                    <a:pt x="356" y="45"/>
                  </a:lnTo>
                  <a:lnTo>
                    <a:pt x="356" y="41"/>
                  </a:lnTo>
                  <a:close/>
                  <a:moveTo>
                    <a:pt x="204" y="35"/>
                  </a:moveTo>
                  <a:lnTo>
                    <a:pt x="208" y="35"/>
                  </a:lnTo>
                  <a:lnTo>
                    <a:pt x="210" y="36"/>
                  </a:lnTo>
                  <a:lnTo>
                    <a:pt x="204" y="36"/>
                  </a:lnTo>
                  <a:lnTo>
                    <a:pt x="204" y="35"/>
                  </a:lnTo>
                  <a:close/>
                  <a:moveTo>
                    <a:pt x="229" y="32"/>
                  </a:moveTo>
                  <a:lnTo>
                    <a:pt x="231" y="32"/>
                  </a:lnTo>
                  <a:lnTo>
                    <a:pt x="234" y="35"/>
                  </a:lnTo>
                  <a:lnTo>
                    <a:pt x="235" y="35"/>
                  </a:lnTo>
                  <a:lnTo>
                    <a:pt x="235" y="36"/>
                  </a:lnTo>
                  <a:lnTo>
                    <a:pt x="237" y="36"/>
                  </a:lnTo>
                  <a:lnTo>
                    <a:pt x="241" y="38"/>
                  </a:lnTo>
                  <a:lnTo>
                    <a:pt x="244" y="38"/>
                  </a:lnTo>
                  <a:lnTo>
                    <a:pt x="246" y="39"/>
                  </a:lnTo>
                  <a:lnTo>
                    <a:pt x="246" y="41"/>
                  </a:lnTo>
                  <a:lnTo>
                    <a:pt x="249" y="41"/>
                  </a:lnTo>
                  <a:lnTo>
                    <a:pt x="252" y="44"/>
                  </a:lnTo>
                  <a:lnTo>
                    <a:pt x="252" y="45"/>
                  </a:lnTo>
                  <a:lnTo>
                    <a:pt x="253" y="45"/>
                  </a:lnTo>
                  <a:lnTo>
                    <a:pt x="255" y="47"/>
                  </a:lnTo>
                  <a:lnTo>
                    <a:pt x="258" y="48"/>
                  </a:lnTo>
                  <a:lnTo>
                    <a:pt x="259" y="50"/>
                  </a:lnTo>
                  <a:lnTo>
                    <a:pt x="259" y="51"/>
                  </a:lnTo>
                  <a:lnTo>
                    <a:pt x="261" y="51"/>
                  </a:lnTo>
                  <a:lnTo>
                    <a:pt x="261" y="48"/>
                  </a:lnTo>
                  <a:lnTo>
                    <a:pt x="262" y="48"/>
                  </a:lnTo>
                  <a:lnTo>
                    <a:pt x="262" y="50"/>
                  </a:lnTo>
                  <a:lnTo>
                    <a:pt x="264" y="50"/>
                  </a:lnTo>
                  <a:lnTo>
                    <a:pt x="264" y="48"/>
                  </a:lnTo>
                  <a:lnTo>
                    <a:pt x="265" y="47"/>
                  </a:lnTo>
                  <a:lnTo>
                    <a:pt x="271" y="47"/>
                  </a:lnTo>
                  <a:lnTo>
                    <a:pt x="271" y="50"/>
                  </a:lnTo>
                  <a:lnTo>
                    <a:pt x="273" y="50"/>
                  </a:lnTo>
                  <a:lnTo>
                    <a:pt x="274" y="51"/>
                  </a:lnTo>
                  <a:lnTo>
                    <a:pt x="273" y="53"/>
                  </a:lnTo>
                  <a:lnTo>
                    <a:pt x="271" y="53"/>
                  </a:lnTo>
                  <a:lnTo>
                    <a:pt x="271" y="54"/>
                  </a:lnTo>
                  <a:lnTo>
                    <a:pt x="274" y="54"/>
                  </a:lnTo>
                  <a:lnTo>
                    <a:pt x="276" y="53"/>
                  </a:lnTo>
                  <a:lnTo>
                    <a:pt x="277" y="53"/>
                  </a:lnTo>
                  <a:lnTo>
                    <a:pt x="279" y="51"/>
                  </a:lnTo>
                  <a:lnTo>
                    <a:pt x="282" y="50"/>
                  </a:lnTo>
                  <a:lnTo>
                    <a:pt x="283" y="50"/>
                  </a:lnTo>
                  <a:lnTo>
                    <a:pt x="283" y="48"/>
                  </a:lnTo>
                  <a:lnTo>
                    <a:pt x="285" y="47"/>
                  </a:lnTo>
                  <a:lnTo>
                    <a:pt x="285" y="51"/>
                  </a:lnTo>
                  <a:lnTo>
                    <a:pt x="283" y="51"/>
                  </a:lnTo>
                  <a:lnTo>
                    <a:pt x="283" y="53"/>
                  </a:lnTo>
                  <a:lnTo>
                    <a:pt x="285" y="53"/>
                  </a:lnTo>
                  <a:lnTo>
                    <a:pt x="285" y="59"/>
                  </a:lnTo>
                  <a:lnTo>
                    <a:pt x="283" y="59"/>
                  </a:lnTo>
                  <a:lnTo>
                    <a:pt x="283" y="66"/>
                  </a:lnTo>
                  <a:lnTo>
                    <a:pt x="282" y="68"/>
                  </a:lnTo>
                  <a:lnTo>
                    <a:pt x="279" y="68"/>
                  </a:lnTo>
                  <a:lnTo>
                    <a:pt x="279" y="71"/>
                  </a:lnTo>
                  <a:lnTo>
                    <a:pt x="277" y="71"/>
                  </a:lnTo>
                  <a:lnTo>
                    <a:pt x="276" y="72"/>
                  </a:lnTo>
                  <a:lnTo>
                    <a:pt x="274" y="72"/>
                  </a:lnTo>
                  <a:lnTo>
                    <a:pt x="274" y="74"/>
                  </a:lnTo>
                  <a:lnTo>
                    <a:pt x="270" y="74"/>
                  </a:lnTo>
                  <a:lnTo>
                    <a:pt x="268" y="75"/>
                  </a:lnTo>
                  <a:lnTo>
                    <a:pt x="268" y="77"/>
                  </a:lnTo>
                  <a:lnTo>
                    <a:pt x="267" y="77"/>
                  </a:lnTo>
                  <a:lnTo>
                    <a:pt x="267" y="78"/>
                  </a:lnTo>
                  <a:lnTo>
                    <a:pt x="268" y="80"/>
                  </a:lnTo>
                  <a:lnTo>
                    <a:pt x="268" y="83"/>
                  </a:lnTo>
                  <a:lnTo>
                    <a:pt x="267" y="84"/>
                  </a:lnTo>
                  <a:lnTo>
                    <a:pt x="261" y="84"/>
                  </a:lnTo>
                  <a:lnTo>
                    <a:pt x="261" y="86"/>
                  </a:lnTo>
                  <a:lnTo>
                    <a:pt x="259" y="86"/>
                  </a:lnTo>
                  <a:lnTo>
                    <a:pt x="259" y="89"/>
                  </a:lnTo>
                  <a:lnTo>
                    <a:pt x="256" y="89"/>
                  </a:lnTo>
                  <a:lnTo>
                    <a:pt x="252" y="90"/>
                  </a:lnTo>
                  <a:lnTo>
                    <a:pt x="244" y="90"/>
                  </a:lnTo>
                  <a:lnTo>
                    <a:pt x="244" y="92"/>
                  </a:lnTo>
                  <a:lnTo>
                    <a:pt x="241" y="92"/>
                  </a:lnTo>
                  <a:lnTo>
                    <a:pt x="240" y="93"/>
                  </a:lnTo>
                  <a:lnTo>
                    <a:pt x="238" y="93"/>
                  </a:lnTo>
                  <a:lnTo>
                    <a:pt x="238" y="95"/>
                  </a:lnTo>
                  <a:lnTo>
                    <a:pt x="237" y="95"/>
                  </a:lnTo>
                  <a:lnTo>
                    <a:pt x="234" y="99"/>
                  </a:lnTo>
                  <a:lnTo>
                    <a:pt x="231" y="102"/>
                  </a:lnTo>
                  <a:lnTo>
                    <a:pt x="228" y="99"/>
                  </a:lnTo>
                  <a:lnTo>
                    <a:pt x="228" y="98"/>
                  </a:lnTo>
                  <a:lnTo>
                    <a:pt x="231" y="95"/>
                  </a:lnTo>
                  <a:lnTo>
                    <a:pt x="231" y="87"/>
                  </a:lnTo>
                  <a:lnTo>
                    <a:pt x="229" y="87"/>
                  </a:lnTo>
                  <a:lnTo>
                    <a:pt x="228" y="86"/>
                  </a:lnTo>
                  <a:lnTo>
                    <a:pt x="229" y="84"/>
                  </a:lnTo>
                  <a:lnTo>
                    <a:pt x="229" y="81"/>
                  </a:lnTo>
                  <a:lnTo>
                    <a:pt x="231" y="80"/>
                  </a:lnTo>
                  <a:lnTo>
                    <a:pt x="234" y="74"/>
                  </a:lnTo>
                  <a:lnTo>
                    <a:pt x="234" y="59"/>
                  </a:lnTo>
                  <a:lnTo>
                    <a:pt x="235" y="53"/>
                  </a:lnTo>
                  <a:lnTo>
                    <a:pt x="235" y="51"/>
                  </a:lnTo>
                  <a:lnTo>
                    <a:pt x="237" y="44"/>
                  </a:lnTo>
                  <a:lnTo>
                    <a:pt x="237" y="42"/>
                  </a:lnTo>
                  <a:lnTo>
                    <a:pt x="235" y="41"/>
                  </a:lnTo>
                  <a:lnTo>
                    <a:pt x="231" y="41"/>
                  </a:lnTo>
                  <a:lnTo>
                    <a:pt x="229" y="39"/>
                  </a:lnTo>
                  <a:lnTo>
                    <a:pt x="225" y="39"/>
                  </a:lnTo>
                  <a:lnTo>
                    <a:pt x="225" y="38"/>
                  </a:lnTo>
                  <a:lnTo>
                    <a:pt x="226" y="38"/>
                  </a:lnTo>
                  <a:lnTo>
                    <a:pt x="226" y="33"/>
                  </a:lnTo>
                  <a:lnTo>
                    <a:pt x="228" y="33"/>
                  </a:lnTo>
                  <a:lnTo>
                    <a:pt x="229" y="32"/>
                  </a:lnTo>
                  <a:close/>
                  <a:moveTo>
                    <a:pt x="148" y="30"/>
                  </a:moveTo>
                  <a:lnTo>
                    <a:pt x="153" y="30"/>
                  </a:lnTo>
                  <a:lnTo>
                    <a:pt x="153" y="32"/>
                  </a:lnTo>
                  <a:lnTo>
                    <a:pt x="151" y="32"/>
                  </a:lnTo>
                  <a:lnTo>
                    <a:pt x="151" y="35"/>
                  </a:lnTo>
                  <a:lnTo>
                    <a:pt x="153" y="36"/>
                  </a:lnTo>
                  <a:lnTo>
                    <a:pt x="151" y="36"/>
                  </a:lnTo>
                  <a:lnTo>
                    <a:pt x="148" y="30"/>
                  </a:lnTo>
                  <a:close/>
                  <a:moveTo>
                    <a:pt x="135" y="29"/>
                  </a:moveTo>
                  <a:lnTo>
                    <a:pt x="136" y="29"/>
                  </a:lnTo>
                  <a:lnTo>
                    <a:pt x="136" y="30"/>
                  </a:lnTo>
                  <a:lnTo>
                    <a:pt x="138" y="32"/>
                  </a:lnTo>
                  <a:lnTo>
                    <a:pt x="141" y="32"/>
                  </a:lnTo>
                  <a:lnTo>
                    <a:pt x="139" y="33"/>
                  </a:lnTo>
                  <a:lnTo>
                    <a:pt x="141" y="33"/>
                  </a:lnTo>
                  <a:lnTo>
                    <a:pt x="142" y="35"/>
                  </a:lnTo>
                  <a:lnTo>
                    <a:pt x="142" y="36"/>
                  </a:lnTo>
                  <a:lnTo>
                    <a:pt x="141" y="36"/>
                  </a:lnTo>
                  <a:lnTo>
                    <a:pt x="141" y="38"/>
                  </a:lnTo>
                  <a:lnTo>
                    <a:pt x="142" y="38"/>
                  </a:lnTo>
                  <a:lnTo>
                    <a:pt x="142" y="41"/>
                  </a:lnTo>
                  <a:lnTo>
                    <a:pt x="139" y="44"/>
                  </a:lnTo>
                  <a:lnTo>
                    <a:pt x="138" y="44"/>
                  </a:lnTo>
                  <a:lnTo>
                    <a:pt x="136" y="42"/>
                  </a:lnTo>
                  <a:lnTo>
                    <a:pt x="138" y="41"/>
                  </a:lnTo>
                  <a:lnTo>
                    <a:pt x="138" y="42"/>
                  </a:lnTo>
                  <a:lnTo>
                    <a:pt x="139" y="42"/>
                  </a:lnTo>
                  <a:lnTo>
                    <a:pt x="138" y="41"/>
                  </a:lnTo>
                  <a:lnTo>
                    <a:pt x="139" y="39"/>
                  </a:lnTo>
                  <a:lnTo>
                    <a:pt x="139" y="38"/>
                  </a:lnTo>
                  <a:lnTo>
                    <a:pt x="138" y="38"/>
                  </a:lnTo>
                  <a:lnTo>
                    <a:pt x="138" y="39"/>
                  </a:lnTo>
                  <a:lnTo>
                    <a:pt x="136" y="39"/>
                  </a:lnTo>
                  <a:lnTo>
                    <a:pt x="136" y="38"/>
                  </a:lnTo>
                  <a:lnTo>
                    <a:pt x="135" y="36"/>
                  </a:lnTo>
                  <a:lnTo>
                    <a:pt x="136" y="36"/>
                  </a:lnTo>
                  <a:lnTo>
                    <a:pt x="134" y="33"/>
                  </a:lnTo>
                  <a:lnTo>
                    <a:pt x="134" y="32"/>
                  </a:lnTo>
                  <a:lnTo>
                    <a:pt x="135" y="32"/>
                  </a:lnTo>
                  <a:lnTo>
                    <a:pt x="135" y="29"/>
                  </a:lnTo>
                  <a:close/>
                  <a:moveTo>
                    <a:pt x="331" y="24"/>
                  </a:moveTo>
                  <a:lnTo>
                    <a:pt x="334" y="24"/>
                  </a:lnTo>
                  <a:lnTo>
                    <a:pt x="334" y="26"/>
                  </a:lnTo>
                  <a:lnTo>
                    <a:pt x="332" y="26"/>
                  </a:lnTo>
                  <a:lnTo>
                    <a:pt x="331" y="27"/>
                  </a:lnTo>
                  <a:lnTo>
                    <a:pt x="329" y="26"/>
                  </a:lnTo>
                  <a:lnTo>
                    <a:pt x="331" y="24"/>
                  </a:lnTo>
                  <a:close/>
                  <a:moveTo>
                    <a:pt x="202" y="23"/>
                  </a:moveTo>
                  <a:lnTo>
                    <a:pt x="204" y="26"/>
                  </a:lnTo>
                  <a:lnTo>
                    <a:pt x="204" y="29"/>
                  </a:lnTo>
                  <a:lnTo>
                    <a:pt x="202" y="29"/>
                  </a:lnTo>
                  <a:lnTo>
                    <a:pt x="202" y="23"/>
                  </a:lnTo>
                  <a:close/>
                  <a:moveTo>
                    <a:pt x="190" y="20"/>
                  </a:moveTo>
                  <a:lnTo>
                    <a:pt x="192" y="20"/>
                  </a:lnTo>
                  <a:lnTo>
                    <a:pt x="192" y="21"/>
                  </a:lnTo>
                  <a:lnTo>
                    <a:pt x="190" y="21"/>
                  </a:lnTo>
                  <a:lnTo>
                    <a:pt x="190" y="20"/>
                  </a:lnTo>
                  <a:close/>
                  <a:moveTo>
                    <a:pt x="132" y="20"/>
                  </a:moveTo>
                  <a:lnTo>
                    <a:pt x="134" y="20"/>
                  </a:lnTo>
                  <a:lnTo>
                    <a:pt x="134" y="21"/>
                  </a:lnTo>
                  <a:lnTo>
                    <a:pt x="132" y="21"/>
                  </a:lnTo>
                  <a:lnTo>
                    <a:pt x="132" y="20"/>
                  </a:lnTo>
                  <a:close/>
                  <a:moveTo>
                    <a:pt x="189" y="15"/>
                  </a:moveTo>
                  <a:lnTo>
                    <a:pt x="190" y="17"/>
                  </a:lnTo>
                  <a:lnTo>
                    <a:pt x="190" y="20"/>
                  </a:lnTo>
                  <a:lnTo>
                    <a:pt x="189" y="20"/>
                  </a:lnTo>
                  <a:lnTo>
                    <a:pt x="189" y="18"/>
                  </a:lnTo>
                  <a:lnTo>
                    <a:pt x="187" y="18"/>
                  </a:lnTo>
                  <a:lnTo>
                    <a:pt x="187" y="17"/>
                  </a:lnTo>
                  <a:lnTo>
                    <a:pt x="189" y="15"/>
                  </a:lnTo>
                  <a:close/>
                  <a:moveTo>
                    <a:pt x="136" y="15"/>
                  </a:moveTo>
                  <a:lnTo>
                    <a:pt x="139" y="15"/>
                  </a:lnTo>
                  <a:lnTo>
                    <a:pt x="139" y="17"/>
                  </a:lnTo>
                  <a:lnTo>
                    <a:pt x="141" y="17"/>
                  </a:lnTo>
                  <a:lnTo>
                    <a:pt x="144" y="20"/>
                  </a:lnTo>
                  <a:lnTo>
                    <a:pt x="144" y="21"/>
                  </a:lnTo>
                  <a:lnTo>
                    <a:pt x="145" y="21"/>
                  </a:lnTo>
                  <a:lnTo>
                    <a:pt x="147" y="23"/>
                  </a:lnTo>
                  <a:lnTo>
                    <a:pt x="150" y="23"/>
                  </a:lnTo>
                  <a:lnTo>
                    <a:pt x="150" y="18"/>
                  </a:lnTo>
                  <a:lnTo>
                    <a:pt x="151" y="20"/>
                  </a:lnTo>
                  <a:lnTo>
                    <a:pt x="151" y="23"/>
                  </a:lnTo>
                  <a:lnTo>
                    <a:pt x="153" y="23"/>
                  </a:lnTo>
                  <a:lnTo>
                    <a:pt x="154" y="24"/>
                  </a:lnTo>
                  <a:lnTo>
                    <a:pt x="156" y="24"/>
                  </a:lnTo>
                  <a:lnTo>
                    <a:pt x="156" y="26"/>
                  </a:lnTo>
                  <a:lnTo>
                    <a:pt x="154" y="26"/>
                  </a:lnTo>
                  <a:lnTo>
                    <a:pt x="154" y="27"/>
                  </a:lnTo>
                  <a:lnTo>
                    <a:pt x="156" y="27"/>
                  </a:lnTo>
                  <a:lnTo>
                    <a:pt x="156" y="29"/>
                  </a:lnTo>
                  <a:lnTo>
                    <a:pt x="148" y="29"/>
                  </a:lnTo>
                  <a:lnTo>
                    <a:pt x="148" y="27"/>
                  </a:lnTo>
                  <a:lnTo>
                    <a:pt x="145" y="27"/>
                  </a:lnTo>
                  <a:lnTo>
                    <a:pt x="145" y="30"/>
                  </a:lnTo>
                  <a:lnTo>
                    <a:pt x="144" y="30"/>
                  </a:lnTo>
                  <a:lnTo>
                    <a:pt x="144" y="29"/>
                  </a:lnTo>
                  <a:lnTo>
                    <a:pt x="141" y="29"/>
                  </a:lnTo>
                  <a:lnTo>
                    <a:pt x="136" y="24"/>
                  </a:lnTo>
                  <a:lnTo>
                    <a:pt x="136" y="21"/>
                  </a:lnTo>
                  <a:lnTo>
                    <a:pt x="135" y="21"/>
                  </a:lnTo>
                  <a:lnTo>
                    <a:pt x="135" y="18"/>
                  </a:lnTo>
                  <a:lnTo>
                    <a:pt x="134" y="20"/>
                  </a:lnTo>
                  <a:lnTo>
                    <a:pt x="134" y="17"/>
                  </a:lnTo>
                  <a:lnTo>
                    <a:pt x="135" y="17"/>
                  </a:lnTo>
                  <a:lnTo>
                    <a:pt x="136" y="15"/>
                  </a:lnTo>
                  <a:close/>
                  <a:moveTo>
                    <a:pt x="134" y="14"/>
                  </a:moveTo>
                  <a:lnTo>
                    <a:pt x="136" y="14"/>
                  </a:lnTo>
                  <a:lnTo>
                    <a:pt x="136" y="15"/>
                  </a:lnTo>
                  <a:lnTo>
                    <a:pt x="134" y="15"/>
                  </a:lnTo>
                  <a:lnTo>
                    <a:pt x="134" y="14"/>
                  </a:lnTo>
                  <a:close/>
                  <a:moveTo>
                    <a:pt x="329" y="6"/>
                  </a:moveTo>
                  <a:lnTo>
                    <a:pt x="331" y="8"/>
                  </a:lnTo>
                  <a:lnTo>
                    <a:pt x="331" y="9"/>
                  </a:lnTo>
                  <a:lnTo>
                    <a:pt x="329" y="9"/>
                  </a:lnTo>
                  <a:lnTo>
                    <a:pt x="329" y="6"/>
                  </a:lnTo>
                  <a:close/>
                  <a:moveTo>
                    <a:pt x="253" y="5"/>
                  </a:moveTo>
                  <a:lnTo>
                    <a:pt x="259" y="5"/>
                  </a:lnTo>
                  <a:lnTo>
                    <a:pt x="261" y="6"/>
                  </a:lnTo>
                  <a:lnTo>
                    <a:pt x="261" y="8"/>
                  </a:lnTo>
                  <a:lnTo>
                    <a:pt x="262" y="8"/>
                  </a:lnTo>
                  <a:lnTo>
                    <a:pt x="262" y="14"/>
                  </a:lnTo>
                  <a:lnTo>
                    <a:pt x="261" y="15"/>
                  </a:lnTo>
                  <a:lnTo>
                    <a:pt x="259" y="15"/>
                  </a:lnTo>
                  <a:lnTo>
                    <a:pt x="259" y="14"/>
                  </a:lnTo>
                  <a:lnTo>
                    <a:pt x="256" y="14"/>
                  </a:lnTo>
                  <a:lnTo>
                    <a:pt x="256" y="12"/>
                  </a:lnTo>
                  <a:lnTo>
                    <a:pt x="255" y="11"/>
                  </a:lnTo>
                  <a:lnTo>
                    <a:pt x="253" y="11"/>
                  </a:lnTo>
                  <a:lnTo>
                    <a:pt x="250" y="8"/>
                  </a:lnTo>
                  <a:lnTo>
                    <a:pt x="250" y="6"/>
                  </a:lnTo>
                  <a:lnTo>
                    <a:pt x="252" y="6"/>
                  </a:lnTo>
                  <a:lnTo>
                    <a:pt x="253" y="5"/>
                  </a:lnTo>
                  <a:close/>
                  <a:moveTo>
                    <a:pt x="364" y="0"/>
                  </a:moveTo>
                  <a:lnTo>
                    <a:pt x="365" y="2"/>
                  </a:lnTo>
                  <a:lnTo>
                    <a:pt x="370" y="2"/>
                  </a:lnTo>
                  <a:lnTo>
                    <a:pt x="370" y="3"/>
                  </a:lnTo>
                  <a:lnTo>
                    <a:pt x="373" y="3"/>
                  </a:lnTo>
                  <a:lnTo>
                    <a:pt x="373" y="2"/>
                  </a:lnTo>
                  <a:lnTo>
                    <a:pt x="377" y="2"/>
                  </a:lnTo>
                  <a:lnTo>
                    <a:pt x="380" y="5"/>
                  </a:lnTo>
                  <a:lnTo>
                    <a:pt x="382" y="5"/>
                  </a:lnTo>
                  <a:lnTo>
                    <a:pt x="382" y="6"/>
                  </a:lnTo>
                  <a:lnTo>
                    <a:pt x="383" y="6"/>
                  </a:lnTo>
                  <a:lnTo>
                    <a:pt x="383" y="9"/>
                  </a:lnTo>
                  <a:lnTo>
                    <a:pt x="385" y="9"/>
                  </a:lnTo>
                  <a:lnTo>
                    <a:pt x="385" y="11"/>
                  </a:lnTo>
                  <a:lnTo>
                    <a:pt x="383" y="11"/>
                  </a:lnTo>
                  <a:lnTo>
                    <a:pt x="383" y="12"/>
                  </a:lnTo>
                  <a:lnTo>
                    <a:pt x="385" y="14"/>
                  </a:lnTo>
                  <a:lnTo>
                    <a:pt x="383" y="14"/>
                  </a:lnTo>
                  <a:lnTo>
                    <a:pt x="383" y="15"/>
                  </a:lnTo>
                  <a:lnTo>
                    <a:pt x="385" y="14"/>
                  </a:lnTo>
                  <a:lnTo>
                    <a:pt x="385" y="15"/>
                  </a:lnTo>
                  <a:lnTo>
                    <a:pt x="389" y="15"/>
                  </a:lnTo>
                  <a:lnTo>
                    <a:pt x="391" y="17"/>
                  </a:lnTo>
                  <a:lnTo>
                    <a:pt x="392" y="17"/>
                  </a:lnTo>
                  <a:lnTo>
                    <a:pt x="394" y="18"/>
                  </a:lnTo>
                  <a:lnTo>
                    <a:pt x="394" y="20"/>
                  </a:lnTo>
                  <a:lnTo>
                    <a:pt x="391" y="20"/>
                  </a:lnTo>
                  <a:lnTo>
                    <a:pt x="391" y="23"/>
                  </a:lnTo>
                  <a:lnTo>
                    <a:pt x="389" y="23"/>
                  </a:lnTo>
                  <a:lnTo>
                    <a:pt x="391" y="24"/>
                  </a:lnTo>
                  <a:lnTo>
                    <a:pt x="392" y="23"/>
                  </a:lnTo>
                  <a:lnTo>
                    <a:pt x="392" y="26"/>
                  </a:lnTo>
                  <a:lnTo>
                    <a:pt x="394" y="26"/>
                  </a:lnTo>
                  <a:lnTo>
                    <a:pt x="391" y="27"/>
                  </a:lnTo>
                  <a:lnTo>
                    <a:pt x="391" y="29"/>
                  </a:lnTo>
                  <a:lnTo>
                    <a:pt x="389" y="30"/>
                  </a:lnTo>
                  <a:lnTo>
                    <a:pt x="389" y="33"/>
                  </a:lnTo>
                  <a:lnTo>
                    <a:pt x="391" y="35"/>
                  </a:lnTo>
                  <a:lnTo>
                    <a:pt x="389" y="36"/>
                  </a:lnTo>
                  <a:lnTo>
                    <a:pt x="391" y="36"/>
                  </a:lnTo>
                  <a:lnTo>
                    <a:pt x="391" y="38"/>
                  </a:lnTo>
                  <a:lnTo>
                    <a:pt x="392" y="38"/>
                  </a:lnTo>
                  <a:lnTo>
                    <a:pt x="391" y="39"/>
                  </a:lnTo>
                  <a:lnTo>
                    <a:pt x="389" y="38"/>
                  </a:lnTo>
                  <a:lnTo>
                    <a:pt x="389" y="41"/>
                  </a:lnTo>
                  <a:lnTo>
                    <a:pt x="391" y="39"/>
                  </a:lnTo>
                  <a:lnTo>
                    <a:pt x="392" y="41"/>
                  </a:lnTo>
                  <a:lnTo>
                    <a:pt x="392" y="44"/>
                  </a:lnTo>
                  <a:lnTo>
                    <a:pt x="391" y="44"/>
                  </a:lnTo>
                  <a:lnTo>
                    <a:pt x="391" y="47"/>
                  </a:lnTo>
                  <a:lnTo>
                    <a:pt x="392" y="48"/>
                  </a:lnTo>
                  <a:lnTo>
                    <a:pt x="392" y="50"/>
                  </a:lnTo>
                  <a:lnTo>
                    <a:pt x="394" y="51"/>
                  </a:lnTo>
                  <a:lnTo>
                    <a:pt x="394" y="53"/>
                  </a:lnTo>
                  <a:lnTo>
                    <a:pt x="392" y="54"/>
                  </a:lnTo>
                  <a:lnTo>
                    <a:pt x="394" y="54"/>
                  </a:lnTo>
                  <a:lnTo>
                    <a:pt x="395" y="56"/>
                  </a:lnTo>
                  <a:lnTo>
                    <a:pt x="397" y="56"/>
                  </a:lnTo>
                  <a:lnTo>
                    <a:pt x="397" y="57"/>
                  </a:lnTo>
                  <a:lnTo>
                    <a:pt x="398" y="57"/>
                  </a:lnTo>
                  <a:lnTo>
                    <a:pt x="398" y="60"/>
                  </a:lnTo>
                  <a:lnTo>
                    <a:pt x="395" y="63"/>
                  </a:lnTo>
                  <a:lnTo>
                    <a:pt x="394" y="63"/>
                  </a:lnTo>
                  <a:lnTo>
                    <a:pt x="394" y="65"/>
                  </a:lnTo>
                  <a:lnTo>
                    <a:pt x="395" y="66"/>
                  </a:lnTo>
                  <a:lnTo>
                    <a:pt x="398" y="66"/>
                  </a:lnTo>
                  <a:lnTo>
                    <a:pt x="397" y="65"/>
                  </a:lnTo>
                  <a:lnTo>
                    <a:pt x="398" y="65"/>
                  </a:lnTo>
                  <a:lnTo>
                    <a:pt x="400" y="66"/>
                  </a:lnTo>
                  <a:lnTo>
                    <a:pt x="401" y="66"/>
                  </a:lnTo>
                  <a:lnTo>
                    <a:pt x="401" y="68"/>
                  </a:lnTo>
                  <a:lnTo>
                    <a:pt x="404" y="71"/>
                  </a:lnTo>
                  <a:lnTo>
                    <a:pt x="404" y="74"/>
                  </a:lnTo>
                  <a:lnTo>
                    <a:pt x="403" y="74"/>
                  </a:lnTo>
                  <a:lnTo>
                    <a:pt x="403" y="72"/>
                  </a:lnTo>
                  <a:lnTo>
                    <a:pt x="401" y="71"/>
                  </a:lnTo>
                  <a:lnTo>
                    <a:pt x="401" y="69"/>
                  </a:lnTo>
                  <a:lnTo>
                    <a:pt x="400" y="69"/>
                  </a:lnTo>
                  <a:lnTo>
                    <a:pt x="400" y="68"/>
                  </a:lnTo>
                  <a:lnTo>
                    <a:pt x="398" y="68"/>
                  </a:lnTo>
                  <a:lnTo>
                    <a:pt x="397" y="69"/>
                  </a:lnTo>
                  <a:lnTo>
                    <a:pt x="395" y="69"/>
                  </a:lnTo>
                  <a:lnTo>
                    <a:pt x="395" y="68"/>
                  </a:lnTo>
                  <a:lnTo>
                    <a:pt x="394" y="68"/>
                  </a:lnTo>
                  <a:lnTo>
                    <a:pt x="394" y="71"/>
                  </a:lnTo>
                  <a:lnTo>
                    <a:pt x="392" y="69"/>
                  </a:lnTo>
                  <a:lnTo>
                    <a:pt x="391" y="69"/>
                  </a:lnTo>
                  <a:lnTo>
                    <a:pt x="389" y="71"/>
                  </a:lnTo>
                  <a:lnTo>
                    <a:pt x="388" y="71"/>
                  </a:lnTo>
                  <a:lnTo>
                    <a:pt x="386" y="69"/>
                  </a:lnTo>
                  <a:lnTo>
                    <a:pt x="383" y="69"/>
                  </a:lnTo>
                  <a:lnTo>
                    <a:pt x="383" y="68"/>
                  </a:lnTo>
                  <a:lnTo>
                    <a:pt x="380" y="71"/>
                  </a:lnTo>
                  <a:lnTo>
                    <a:pt x="379" y="71"/>
                  </a:lnTo>
                  <a:lnTo>
                    <a:pt x="379" y="65"/>
                  </a:lnTo>
                  <a:lnTo>
                    <a:pt x="376" y="62"/>
                  </a:lnTo>
                  <a:lnTo>
                    <a:pt x="368" y="62"/>
                  </a:lnTo>
                  <a:lnTo>
                    <a:pt x="368" y="59"/>
                  </a:lnTo>
                  <a:lnTo>
                    <a:pt x="367" y="60"/>
                  </a:lnTo>
                  <a:lnTo>
                    <a:pt x="367" y="62"/>
                  </a:lnTo>
                  <a:lnTo>
                    <a:pt x="368" y="62"/>
                  </a:lnTo>
                  <a:lnTo>
                    <a:pt x="368" y="63"/>
                  </a:lnTo>
                  <a:lnTo>
                    <a:pt x="371" y="63"/>
                  </a:lnTo>
                  <a:lnTo>
                    <a:pt x="371" y="66"/>
                  </a:lnTo>
                  <a:lnTo>
                    <a:pt x="370" y="66"/>
                  </a:lnTo>
                  <a:lnTo>
                    <a:pt x="370" y="68"/>
                  </a:lnTo>
                  <a:lnTo>
                    <a:pt x="371" y="68"/>
                  </a:lnTo>
                  <a:lnTo>
                    <a:pt x="371" y="77"/>
                  </a:lnTo>
                  <a:lnTo>
                    <a:pt x="370" y="83"/>
                  </a:lnTo>
                  <a:lnTo>
                    <a:pt x="370" y="87"/>
                  </a:lnTo>
                  <a:lnTo>
                    <a:pt x="373" y="89"/>
                  </a:lnTo>
                  <a:lnTo>
                    <a:pt x="374" y="89"/>
                  </a:lnTo>
                  <a:lnTo>
                    <a:pt x="374" y="90"/>
                  </a:lnTo>
                  <a:lnTo>
                    <a:pt x="377" y="93"/>
                  </a:lnTo>
                  <a:lnTo>
                    <a:pt x="377" y="98"/>
                  </a:lnTo>
                  <a:lnTo>
                    <a:pt x="379" y="99"/>
                  </a:lnTo>
                  <a:lnTo>
                    <a:pt x="377" y="101"/>
                  </a:lnTo>
                  <a:lnTo>
                    <a:pt x="379" y="101"/>
                  </a:lnTo>
                  <a:lnTo>
                    <a:pt x="379" y="104"/>
                  </a:lnTo>
                  <a:lnTo>
                    <a:pt x="382" y="104"/>
                  </a:lnTo>
                  <a:lnTo>
                    <a:pt x="382" y="108"/>
                  </a:lnTo>
                  <a:lnTo>
                    <a:pt x="380" y="110"/>
                  </a:lnTo>
                  <a:lnTo>
                    <a:pt x="379" y="110"/>
                  </a:lnTo>
                  <a:lnTo>
                    <a:pt x="376" y="108"/>
                  </a:lnTo>
                  <a:lnTo>
                    <a:pt x="376" y="113"/>
                  </a:lnTo>
                  <a:lnTo>
                    <a:pt x="374" y="113"/>
                  </a:lnTo>
                  <a:lnTo>
                    <a:pt x="373" y="111"/>
                  </a:lnTo>
                  <a:lnTo>
                    <a:pt x="373" y="110"/>
                  </a:lnTo>
                  <a:lnTo>
                    <a:pt x="371" y="108"/>
                  </a:lnTo>
                  <a:lnTo>
                    <a:pt x="371" y="105"/>
                  </a:lnTo>
                  <a:lnTo>
                    <a:pt x="370" y="104"/>
                  </a:lnTo>
                  <a:lnTo>
                    <a:pt x="368" y="104"/>
                  </a:lnTo>
                  <a:lnTo>
                    <a:pt x="368" y="113"/>
                  </a:lnTo>
                  <a:lnTo>
                    <a:pt x="370" y="115"/>
                  </a:lnTo>
                  <a:lnTo>
                    <a:pt x="370" y="117"/>
                  </a:lnTo>
                  <a:lnTo>
                    <a:pt x="371" y="118"/>
                  </a:lnTo>
                  <a:lnTo>
                    <a:pt x="371" y="120"/>
                  </a:lnTo>
                  <a:lnTo>
                    <a:pt x="370" y="120"/>
                  </a:lnTo>
                  <a:lnTo>
                    <a:pt x="367" y="118"/>
                  </a:lnTo>
                  <a:lnTo>
                    <a:pt x="367" y="117"/>
                  </a:lnTo>
                  <a:lnTo>
                    <a:pt x="365" y="117"/>
                  </a:lnTo>
                  <a:lnTo>
                    <a:pt x="364" y="115"/>
                  </a:lnTo>
                  <a:lnTo>
                    <a:pt x="361" y="115"/>
                  </a:lnTo>
                  <a:lnTo>
                    <a:pt x="358" y="113"/>
                  </a:lnTo>
                  <a:lnTo>
                    <a:pt x="358" y="111"/>
                  </a:lnTo>
                  <a:lnTo>
                    <a:pt x="359" y="110"/>
                  </a:lnTo>
                  <a:lnTo>
                    <a:pt x="359" y="105"/>
                  </a:lnTo>
                  <a:lnTo>
                    <a:pt x="358" y="104"/>
                  </a:lnTo>
                  <a:lnTo>
                    <a:pt x="356" y="104"/>
                  </a:lnTo>
                  <a:lnTo>
                    <a:pt x="356" y="101"/>
                  </a:lnTo>
                  <a:lnTo>
                    <a:pt x="358" y="99"/>
                  </a:lnTo>
                  <a:lnTo>
                    <a:pt x="358" y="93"/>
                  </a:lnTo>
                  <a:lnTo>
                    <a:pt x="359" y="90"/>
                  </a:lnTo>
                  <a:lnTo>
                    <a:pt x="359" y="83"/>
                  </a:lnTo>
                  <a:lnTo>
                    <a:pt x="358" y="83"/>
                  </a:lnTo>
                  <a:lnTo>
                    <a:pt x="356" y="81"/>
                  </a:lnTo>
                  <a:lnTo>
                    <a:pt x="356" y="80"/>
                  </a:lnTo>
                  <a:lnTo>
                    <a:pt x="353" y="77"/>
                  </a:lnTo>
                  <a:lnTo>
                    <a:pt x="352" y="77"/>
                  </a:lnTo>
                  <a:lnTo>
                    <a:pt x="352" y="75"/>
                  </a:lnTo>
                  <a:lnTo>
                    <a:pt x="349" y="75"/>
                  </a:lnTo>
                  <a:lnTo>
                    <a:pt x="349" y="80"/>
                  </a:lnTo>
                  <a:lnTo>
                    <a:pt x="347" y="80"/>
                  </a:lnTo>
                  <a:lnTo>
                    <a:pt x="347" y="81"/>
                  </a:lnTo>
                  <a:lnTo>
                    <a:pt x="346" y="81"/>
                  </a:lnTo>
                  <a:lnTo>
                    <a:pt x="344" y="80"/>
                  </a:lnTo>
                  <a:lnTo>
                    <a:pt x="343" y="80"/>
                  </a:lnTo>
                  <a:lnTo>
                    <a:pt x="343" y="78"/>
                  </a:lnTo>
                  <a:lnTo>
                    <a:pt x="341" y="78"/>
                  </a:lnTo>
                  <a:lnTo>
                    <a:pt x="341" y="75"/>
                  </a:lnTo>
                  <a:lnTo>
                    <a:pt x="343" y="75"/>
                  </a:lnTo>
                  <a:lnTo>
                    <a:pt x="341" y="74"/>
                  </a:lnTo>
                  <a:lnTo>
                    <a:pt x="341" y="71"/>
                  </a:lnTo>
                  <a:lnTo>
                    <a:pt x="343" y="69"/>
                  </a:lnTo>
                  <a:lnTo>
                    <a:pt x="341" y="68"/>
                  </a:lnTo>
                  <a:lnTo>
                    <a:pt x="341" y="62"/>
                  </a:lnTo>
                  <a:lnTo>
                    <a:pt x="338" y="59"/>
                  </a:lnTo>
                  <a:lnTo>
                    <a:pt x="340" y="59"/>
                  </a:lnTo>
                  <a:lnTo>
                    <a:pt x="340" y="57"/>
                  </a:lnTo>
                  <a:lnTo>
                    <a:pt x="338" y="57"/>
                  </a:lnTo>
                  <a:lnTo>
                    <a:pt x="338" y="54"/>
                  </a:lnTo>
                  <a:lnTo>
                    <a:pt x="337" y="53"/>
                  </a:lnTo>
                  <a:lnTo>
                    <a:pt x="337" y="50"/>
                  </a:lnTo>
                  <a:lnTo>
                    <a:pt x="338" y="50"/>
                  </a:lnTo>
                  <a:lnTo>
                    <a:pt x="340" y="51"/>
                  </a:lnTo>
                  <a:lnTo>
                    <a:pt x="343" y="53"/>
                  </a:lnTo>
                  <a:lnTo>
                    <a:pt x="343" y="54"/>
                  </a:lnTo>
                  <a:lnTo>
                    <a:pt x="344" y="57"/>
                  </a:lnTo>
                  <a:lnTo>
                    <a:pt x="346" y="56"/>
                  </a:lnTo>
                  <a:lnTo>
                    <a:pt x="346" y="54"/>
                  </a:lnTo>
                  <a:lnTo>
                    <a:pt x="347" y="56"/>
                  </a:lnTo>
                  <a:lnTo>
                    <a:pt x="349" y="59"/>
                  </a:lnTo>
                  <a:lnTo>
                    <a:pt x="350" y="60"/>
                  </a:lnTo>
                  <a:lnTo>
                    <a:pt x="358" y="60"/>
                  </a:lnTo>
                  <a:lnTo>
                    <a:pt x="359" y="57"/>
                  </a:lnTo>
                  <a:lnTo>
                    <a:pt x="362" y="54"/>
                  </a:lnTo>
                  <a:lnTo>
                    <a:pt x="364" y="56"/>
                  </a:lnTo>
                  <a:lnTo>
                    <a:pt x="367" y="56"/>
                  </a:lnTo>
                  <a:lnTo>
                    <a:pt x="368" y="57"/>
                  </a:lnTo>
                  <a:lnTo>
                    <a:pt x="368" y="56"/>
                  </a:lnTo>
                  <a:lnTo>
                    <a:pt x="370" y="56"/>
                  </a:lnTo>
                  <a:lnTo>
                    <a:pt x="368" y="54"/>
                  </a:lnTo>
                  <a:lnTo>
                    <a:pt x="367" y="54"/>
                  </a:lnTo>
                  <a:lnTo>
                    <a:pt x="367" y="53"/>
                  </a:lnTo>
                  <a:lnTo>
                    <a:pt x="365" y="53"/>
                  </a:lnTo>
                  <a:lnTo>
                    <a:pt x="365" y="51"/>
                  </a:lnTo>
                  <a:lnTo>
                    <a:pt x="364" y="53"/>
                  </a:lnTo>
                  <a:lnTo>
                    <a:pt x="361" y="53"/>
                  </a:lnTo>
                  <a:lnTo>
                    <a:pt x="361" y="51"/>
                  </a:lnTo>
                  <a:lnTo>
                    <a:pt x="362" y="51"/>
                  </a:lnTo>
                  <a:lnTo>
                    <a:pt x="362" y="50"/>
                  </a:lnTo>
                  <a:lnTo>
                    <a:pt x="364" y="50"/>
                  </a:lnTo>
                  <a:lnTo>
                    <a:pt x="364" y="48"/>
                  </a:lnTo>
                  <a:lnTo>
                    <a:pt x="367" y="48"/>
                  </a:lnTo>
                  <a:lnTo>
                    <a:pt x="368" y="47"/>
                  </a:lnTo>
                  <a:lnTo>
                    <a:pt x="368" y="44"/>
                  </a:lnTo>
                  <a:lnTo>
                    <a:pt x="370" y="42"/>
                  </a:lnTo>
                  <a:lnTo>
                    <a:pt x="370" y="41"/>
                  </a:lnTo>
                  <a:lnTo>
                    <a:pt x="371" y="41"/>
                  </a:lnTo>
                  <a:lnTo>
                    <a:pt x="371" y="39"/>
                  </a:lnTo>
                  <a:lnTo>
                    <a:pt x="368" y="39"/>
                  </a:lnTo>
                  <a:lnTo>
                    <a:pt x="367" y="41"/>
                  </a:lnTo>
                  <a:lnTo>
                    <a:pt x="365" y="41"/>
                  </a:lnTo>
                  <a:lnTo>
                    <a:pt x="359" y="35"/>
                  </a:lnTo>
                  <a:lnTo>
                    <a:pt x="361" y="33"/>
                  </a:lnTo>
                  <a:lnTo>
                    <a:pt x="361" y="32"/>
                  </a:lnTo>
                  <a:lnTo>
                    <a:pt x="359" y="32"/>
                  </a:lnTo>
                  <a:lnTo>
                    <a:pt x="359" y="33"/>
                  </a:lnTo>
                  <a:lnTo>
                    <a:pt x="358" y="33"/>
                  </a:lnTo>
                  <a:lnTo>
                    <a:pt x="358" y="32"/>
                  </a:lnTo>
                  <a:lnTo>
                    <a:pt x="356" y="32"/>
                  </a:lnTo>
                  <a:lnTo>
                    <a:pt x="356" y="29"/>
                  </a:lnTo>
                  <a:lnTo>
                    <a:pt x="355" y="27"/>
                  </a:lnTo>
                  <a:lnTo>
                    <a:pt x="352" y="26"/>
                  </a:lnTo>
                  <a:lnTo>
                    <a:pt x="347" y="26"/>
                  </a:lnTo>
                  <a:lnTo>
                    <a:pt x="343" y="21"/>
                  </a:lnTo>
                  <a:lnTo>
                    <a:pt x="343" y="20"/>
                  </a:lnTo>
                  <a:lnTo>
                    <a:pt x="341" y="20"/>
                  </a:lnTo>
                  <a:lnTo>
                    <a:pt x="341" y="18"/>
                  </a:lnTo>
                  <a:lnTo>
                    <a:pt x="335" y="3"/>
                  </a:lnTo>
                  <a:lnTo>
                    <a:pt x="335" y="2"/>
                  </a:lnTo>
                  <a:lnTo>
                    <a:pt x="337" y="2"/>
                  </a:lnTo>
                  <a:lnTo>
                    <a:pt x="340" y="3"/>
                  </a:lnTo>
                  <a:lnTo>
                    <a:pt x="341" y="2"/>
                  </a:lnTo>
                  <a:lnTo>
                    <a:pt x="343" y="3"/>
                  </a:lnTo>
                  <a:lnTo>
                    <a:pt x="350" y="3"/>
                  </a:lnTo>
                  <a:lnTo>
                    <a:pt x="355" y="5"/>
                  </a:lnTo>
                  <a:lnTo>
                    <a:pt x="362" y="3"/>
                  </a:lnTo>
                  <a:lnTo>
                    <a:pt x="364" y="3"/>
                  </a:lnTo>
                  <a:lnTo>
                    <a:pt x="364" y="0"/>
                  </a:lnTo>
                  <a:close/>
                  <a:moveTo>
                    <a:pt x="288" y="0"/>
                  </a:moveTo>
                  <a:lnTo>
                    <a:pt x="289" y="0"/>
                  </a:lnTo>
                  <a:lnTo>
                    <a:pt x="291" y="2"/>
                  </a:lnTo>
                  <a:lnTo>
                    <a:pt x="292" y="2"/>
                  </a:lnTo>
                  <a:lnTo>
                    <a:pt x="294" y="3"/>
                  </a:lnTo>
                  <a:lnTo>
                    <a:pt x="294" y="6"/>
                  </a:lnTo>
                  <a:lnTo>
                    <a:pt x="292" y="6"/>
                  </a:lnTo>
                  <a:lnTo>
                    <a:pt x="292" y="8"/>
                  </a:lnTo>
                  <a:lnTo>
                    <a:pt x="294" y="6"/>
                  </a:lnTo>
                  <a:lnTo>
                    <a:pt x="295" y="6"/>
                  </a:lnTo>
                  <a:lnTo>
                    <a:pt x="295" y="5"/>
                  </a:lnTo>
                  <a:lnTo>
                    <a:pt x="296" y="3"/>
                  </a:lnTo>
                  <a:lnTo>
                    <a:pt x="296" y="5"/>
                  </a:lnTo>
                  <a:lnTo>
                    <a:pt x="298" y="5"/>
                  </a:lnTo>
                  <a:lnTo>
                    <a:pt x="299" y="6"/>
                  </a:lnTo>
                  <a:lnTo>
                    <a:pt x="302" y="6"/>
                  </a:lnTo>
                  <a:lnTo>
                    <a:pt x="302" y="8"/>
                  </a:lnTo>
                  <a:lnTo>
                    <a:pt x="304" y="8"/>
                  </a:lnTo>
                  <a:lnTo>
                    <a:pt x="304" y="9"/>
                  </a:lnTo>
                  <a:lnTo>
                    <a:pt x="305" y="11"/>
                  </a:lnTo>
                  <a:lnTo>
                    <a:pt x="304" y="11"/>
                  </a:lnTo>
                  <a:lnTo>
                    <a:pt x="304" y="12"/>
                  </a:lnTo>
                  <a:lnTo>
                    <a:pt x="305" y="11"/>
                  </a:lnTo>
                  <a:lnTo>
                    <a:pt x="307" y="11"/>
                  </a:lnTo>
                  <a:lnTo>
                    <a:pt x="307" y="12"/>
                  </a:lnTo>
                  <a:lnTo>
                    <a:pt x="308" y="12"/>
                  </a:lnTo>
                  <a:lnTo>
                    <a:pt x="310" y="14"/>
                  </a:lnTo>
                  <a:lnTo>
                    <a:pt x="313" y="18"/>
                  </a:lnTo>
                  <a:lnTo>
                    <a:pt x="313" y="17"/>
                  </a:lnTo>
                  <a:lnTo>
                    <a:pt x="314" y="18"/>
                  </a:lnTo>
                  <a:lnTo>
                    <a:pt x="317" y="18"/>
                  </a:lnTo>
                  <a:lnTo>
                    <a:pt x="319" y="20"/>
                  </a:lnTo>
                  <a:lnTo>
                    <a:pt x="320" y="23"/>
                  </a:lnTo>
                  <a:lnTo>
                    <a:pt x="320" y="24"/>
                  </a:lnTo>
                  <a:lnTo>
                    <a:pt x="322" y="24"/>
                  </a:lnTo>
                  <a:lnTo>
                    <a:pt x="323" y="26"/>
                  </a:lnTo>
                  <a:lnTo>
                    <a:pt x="323" y="27"/>
                  </a:lnTo>
                  <a:lnTo>
                    <a:pt x="325" y="29"/>
                  </a:lnTo>
                  <a:lnTo>
                    <a:pt x="325" y="30"/>
                  </a:lnTo>
                  <a:lnTo>
                    <a:pt x="323" y="29"/>
                  </a:lnTo>
                  <a:lnTo>
                    <a:pt x="323" y="30"/>
                  </a:lnTo>
                  <a:lnTo>
                    <a:pt x="325" y="32"/>
                  </a:lnTo>
                  <a:lnTo>
                    <a:pt x="326" y="35"/>
                  </a:lnTo>
                  <a:lnTo>
                    <a:pt x="326" y="36"/>
                  </a:lnTo>
                  <a:lnTo>
                    <a:pt x="325" y="38"/>
                  </a:lnTo>
                  <a:lnTo>
                    <a:pt x="326" y="38"/>
                  </a:lnTo>
                  <a:lnTo>
                    <a:pt x="326" y="41"/>
                  </a:lnTo>
                  <a:lnTo>
                    <a:pt x="325" y="41"/>
                  </a:lnTo>
                  <a:lnTo>
                    <a:pt x="323" y="39"/>
                  </a:lnTo>
                  <a:lnTo>
                    <a:pt x="323" y="38"/>
                  </a:lnTo>
                  <a:lnTo>
                    <a:pt x="322" y="36"/>
                  </a:lnTo>
                  <a:lnTo>
                    <a:pt x="320" y="36"/>
                  </a:lnTo>
                  <a:lnTo>
                    <a:pt x="319" y="35"/>
                  </a:lnTo>
                  <a:lnTo>
                    <a:pt x="317" y="35"/>
                  </a:lnTo>
                  <a:lnTo>
                    <a:pt x="317" y="33"/>
                  </a:lnTo>
                  <a:lnTo>
                    <a:pt x="316" y="32"/>
                  </a:lnTo>
                  <a:lnTo>
                    <a:pt x="316" y="33"/>
                  </a:lnTo>
                  <a:lnTo>
                    <a:pt x="314" y="33"/>
                  </a:lnTo>
                  <a:lnTo>
                    <a:pt x="313" y="32"/>
                  </a:lnTo>
                  <a:lnTo>
                    <a:pt x="311" y="32"/>
                  </a:lnTo>
                  <a:lnTo>
                    <a:pt x="310" y="30"/>
                  </a:lnTo>
                  <a:lnTo>
                    <a:pt x="311" y="29"/>
                  </a:lnTo>
                  <a:lnTo>
                    <a:pt x="311" y="27"/>
                  </a:lnTo>
                  <a:lnTo>
                    <a:pt x="310" y="29"/>
                  </a:lnTo>
                  <a:lnTo>
                    <a:pt x="307" y="26"/>
                  </a:lnTo>
                  <a:lnTo>
                    <a:pt x="308" y="26"/>
                  </a:lnTo>
                  <a:lnTo>
                    <a:pt x="307" y="24"/>
                  </a:lnTo>
                  <a:lnTo>
                    <a:pt x="305" y="24"/>
                  </a:lnTo>
                  <a:lnTo>
                    <a:pt x="305" y="23"/>
                  </a:lnTo>
                  <a:lnTo>
                    <a:pt x="304" y="23"/>
                  </a:lnTo>
                  <a:lnTo>
                    <a:pt x="302" y="21"/>
                  </a:lnTo>
                  <a:lnTo>
                    <a:pt x="302" y="20"/>
                  </a:lnTo>
                  <a:lnTo>
                    <a:pt x="301" y="18"/>
                  </a:lnTo>
                  <a:lnTo>
                    <a:pt x="296" y="18"/>
                  </a:lnTo>
                  <a:lnTo>
                    <a:pt x="296" y="20"/>
                  </a:lnTo>
                  <a:lnTo>
                    <a:pt x="295" y="21"/>
                  </a:lnTo>
                  <a:lnTo>
                    <a:pt x="295" y="23"/>
                  </a:lnTo>
                  <a:lnTo>
                    <a:pt x="294" y="23"/>
                  </a:lnTo>
                  <a:lnTo>
                    <a:pt x="294" y="24"/>
                  </a:lnTo>
                  <a:lnTo>
                    <a:pt x="292" y="24"/>
                  </a:lnTo>
                  <a:lnTo>
                    <a:pt x="292" y="26"/>
                  </a:lnTo>
                  <a:lnTo>
                    <a:pt x="286" y="32"/>
                  </a:lnTo>
                  <a:lnTo>
                    <a:pt x="285" y="32"/>
                  </a:lnTo>
                  <a:lnTo>
                    <a:pt x="285" y="29"/>
                  </a:lnTo>
                  <a:lnTo>
                    <a:pt x="286" y="29"/>
                  </a:lnTo>
                  <a:lnTo>
                    <a:pt x="286" y="26"/>
                  </a:lnTo>
                  <a:lnTo>
                    <a:pt x="288" y="24"/>
                  </a:lnTo>
                  <a:lnTo>
                    <a:pt x="288" y="21"/>
                  </a:lnTo>
                  <a:lnTo>
                    <a:pt x="291" y="21"/>
                  </a:lnTo>
                  <a:lnTo>
                    <a:pt x="289" y="20"/>
                  </a:lnTo>
                  <a:lnTo>
                    <a:pt x="289" y="18"/>
                  </a:lnTo>
                  <a:lnTo>
                    <a:pt x="291" y="18"/>
                  </a:lnTo>
                  <a:lnTo>
                    <a:pt x="291" y="17"/>
                  </a:lnTo>
                  <a:lnTo>
                    <a:pt x="288" y="17"/>
                  </a:lnTo>
                  <a:lnTo>
                    <a:pt x="288" y="15"/>
                  </a:lnTo>
                  <a:lnTo>
                    <a:pt x="289" y="14"/>
                  </a:lnTo>
                  <a:lnTo>
                    <a:pt x="289" y="6"/>
                  </a:lnTo>
                  <a:lnTo>
                    <a:pt x="288" y="2"/>
                  </a:lnTo>
                  <a:lnTo>
                    <a:pt x="28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16">
              <a:extLst>
                <a:ext uri="{FF2B5EF4-FFF2-40B4-BE49-F238E27FC236}">
                  <a16:creationId xmlns:a16="http://schemas.microsoft.com/office/drawing/2014/main" id="{C71FEBDF-8B9B-37EA-CCF3-ADEE0657FA66}"/>
                </a:ext>
              </a:extLst>
            </p:cNvPr>
            <p:cNvSpPr>
              <a:spLocks noEditPoints="1"/>
            </p:cNvSpPr>
            <p:nvPr/>
          </p:nvSpPr>
          <p:spPr bwMode="auto">
            <a:xfrm>
              <a:off x="3698716" y="4217387"/>
              <a:ext cx="224593" cy="437643"/>
            </a:xfrm>
            <a:custGeom>
              <a:avLst/>
              <a:gdLst/>
              <a:ahLst/>
              <a:cxnLst>
                <a:cxn ang="0">
                  <a:pos x="105" y="414"/>
                </a:cxn>
                <a:cxn ang="0">
                  <a:pos x="178" y="391"/>
                </a:cxn>
                <a:cxn ang="0">
                  <a:pos x="108" y="391"/>
                </a:cxn>
                <a:cxn ang="0">
                  <a:pos x="157" y="379"/>
                </a:cxn>
                <a:cxn ang="0">
                  <a:pos x="148" y="369"/>
                </a:cxn>
                <a:cxn ang="0">
                  <a:pos x="191" y="364"/>
                </a:cxn>
                <a:cxn ang="0">
                  <a:pos x="184" y="357"/>
                </a:cxn>
                <a:cxn ang="0">
                  <a:pos x="57" y="354"/>
                </a:cxn>
                <a:cxn ang="0">
                  <a:pos x="82" y="372"/>
                </a:cxn>
                <a:cxn ang="0">
                  <a:pos x="76" y="405"/>
                </a:cxn>
                <a:cxn ang="0">
                  <a:pos x="57" y="403"/>
                </a:cxn>
                <a:cxn ang="0">
                  <a:pos x="42" y="372"/>
                </a:cxn>
                <a:cxn ang="0">
                  <a:pos x="99" y="351"/>
                </a:cxn>
                <a:cxn ang="0">
                  <a:pos x="94" y="360"/>
                </a:cxn>
                <a:cxn ang="0">
                  <a:pos x="21" y="337"/>
                </a:cxn>
                <a:cxn ang="0">
                  <a:pos x="205" y="325"/>
                </a:cxn>
                <a:cxn ang="0">
                  <a:pos x="205" y="348"/>
                </a:cxn>
                <a:cxn ang="0">
                  <a:pos x="200" y="325"/>
                </a:cxn>
                <a:cxn ang="0">
                  <a:pos x="115" y="318"/>
                </a:cxn>
                <a:cxn ang="0">
                  <a:pos x="108" y="289"/>
                </a:cxn>
                <a:cxn ang="0">
                  <a:pos x="102" y="289"/>
                </a:cxn>
                <a:cxn ang="0">
                  <a:pos x="9" y="218"/>
                </a:cxn>
                <a:cxn ang="0">
                  <a:pos x="81" y="119"/>
                </a:cxn>
                <a:cxn ang="0">
                  <a:pos x="114" y="117"/>
                </a:cxn>
                <a:cxn ang="0">
                  <a:pos x="123" y="173"/>
                </a:cxn>
                <a:cxn ang="0">
                  <a:pos x="114" y="210"/>
                </a:cxn>
                <a:cxn ang="0">
                  <a:pos x="106" y="224"/>
                </a:cxn>
                <a:cxn ang="0">
                  <a:pos x="84" y="249"/>
                </a:cxn>
                <a:cxn ang="0">
                  <a:pos x="79" y="279"/>
                </a:cxn>
                <a:cxn ang="0">
                  <a:pos x="90" y="312"/>
                </a:cxn>
                <a:cxn ang="0">
                  <a:pos x="111" y="322"/>
                </a:cxn>
                <a:cxn ang="0">
                  <a:pos x="129" y="313"/>
                </a:cxn>
                <a:cxn ang="0">
                  <a:pos x="150" y="327"/>
                </a:cxn>
                <a:cxn ang="0">
                  <a:pos x="159" y="330"/>
                </a:cxn>
                <a:cxn ang="0">
                  <a:pos x="179" y="334"/>
                </a:cxn>
                <a:cxn ang="0">
                  <a:pos x="175" y="351"/>
                </a:cxn>
                <a:cxn ang="0">
                  <a:pos x="188" y="369"/>
                </a:cxn>
                <a:cxn ang="0">
                  <a:pos x="197" y="393"/>
                </a:cxn>
                <a:cxn ang="0">
                  <a:pos x="191" y="378"/>
                </a:cxn>
                <a:cxn ang="0">
                  <a:pos x="175" y="379"/>
                </a:cxn>
                <a:cxn ang="0">
                  <a:pos x="148" y="351"/>
                </a:cxn>
                <a:cxn ang="0">
                  <a:pos x="130" y="334"/>
                </a:cxn>
                <a:cxn ang="0">
                  <a:pos x="132" y="351"/>
                </a:cxn>
                <a:cxn ang="0">
                  <a:pos x="121" y="351"/>
                </a:cxn>
                <a:cxn ang="0">
                  <a:pos x="93" y="331"/>
                </a:cxn>
                <a:cxn ang="0">
                  <a:pos x="67" y="346"/>
                </a:cxn>
                <a:cxn ang="0">
                  <a:pos x="42" y="333"/>
                </a:cxn>
                <a:cxn ang="0">
                  <a:pos x="43" y="313"/>
                </a:cxn>
                <a:cxn ang="0">
                  <a:pos x="39" y="286"/>
                </a:cxn>
                <a:cxn ang="0">
                  <a:pos x="22" y="295"/>
                </a:cxn>
                <a:cxn ang="0">
                  <a:pos x="10" y="271"/>
                </a:cxn>
                <a:cxn ang="0">
                  <a:pos x="6" y="246"/>
                </a:cxn>
                <a:cxn ang="0">
                  <a:pos x="15" y="231"/>
                </a:cxn>
                <a:cxn ang="0">
                  <a:pos x="22" y="206"/>
                </a:cxn>
                <a:cxn ang="0">
                  <a:pos x="27" y="155"/>
                </a:cxn>
                <a:cxn ang="0">
                  <a:pos x="36" y="116"/>
                </a:cxn>
                <a:cxn ang="0">
                  <a:pos x="100" y="90"/>
                </a:cxn>
                <a:cxn ang="0">
                  <a:pos x="67" y="86"/>
                </a:cxn>
                <a:cxn ang="0">
                  <a:pos x="73" y="72"/>
                </a:cxn>
                <a:cxn ang="0">
                  <a:pos x="103" y="18"/>
                </a:cxn>
                <a:cxn ang="0">
                  <a:pos x="93" y="5"/>
                </a:cxn>
              </a:cxnLst>
              <a:rect l="0" t="0" r="r" b="b"/>
              <a:pathLst>
                <a:path w="214" h="417">
                  <a:moveTo>
                    <a:pt x="115" y="394"/>
                  </a:moveTo>
                  <a:lnTo>
                    <a:pt x="115" y="396"/>
                  </a:lnTo>
                  <a:lnTo>
                    <a:pt x="117" y="397"/>
                  </a:lnTo>
                  <a:lnTo>
                    <a:pt x="117" y="399"/>
                  </a:lnTo>
                  <a:lnTo>
                    <a:pt x="115" y="400"/>
                  </a:lnTo>
                  <a:lnTo>
                    <a:pt x="114" y="399"/>
                  </a:lnTo>
                  <a:lnTo>
                    <a:pt x="114" y="396"/>
                  </a:lnTo>
                  <a:lnTo>
                    <a:pt x="115" y="394"/>
                  </a:lnTo>
                  <a:close/>
                  <a:moveTo>
                    <a:pt x="106" y="393"/>
                  </a:moveTo>
                  <a:lnTo>
                    <a:pt x="108" y="393"/>
                  </a:lnTo>
                  <a:lnTo>
                    <a:pt x="108" y="394"/>
                  </a:lnTo>
                  <a:lnTo>
                    <a:pt x="109" y="396"/>
                  </a:lnTo>
                  <a:lnTo>
                    <a:pt x="108" y="397"/>
                  </a:lnTo>
                  <a:lnTo>
                    <a:pt x="108" y="400"/>
                  </a:lnTo>
                  <a:lnTo>
                    <a:pt x="106" y="405"/>
                  </a:lnTo>
                  <a:lnTo>
                    <a:pt x="106" y="408"/>
                  </a:lnTo>
                  <a:lnTo>
                    <a:pt x="105" y="411"/>
                  </a:lnTo>
                  <a:lnTo>
                    <a:pt x="105" y="414"/>
                  </a:lnTo>
                  <a:lnTo>
                    <a:pt x="103" y="415"/>
                  </a:lnTo>
                  <a:lnTo>
                    <a:pt x="103" y="417"/>
                  </a:lnTo>
                  <a:lnTo>
                    <a:pt x="102" y="417"/>
                  </a:lnTo>
                  <a:lnTo>
                    <a:pt x="102" y="415"/>
                  </a:lnTo>
                  <a:lnTo>
                    <a:pt x="100" y="415"/>
                  </a:lnTo>
                  <a:lnTo>
                    <a:pt x="100" y="412"/>
                  </a:lnTo>
                  <a:lnTo>
                    <a:pt x="103" y="412"/>
                  </a:lnTo>
                  <a:lnTo>
                    <a:pt x="102" y="411"/>
                  </a:lnTo>
                  <a:lnTo>
                    <a:pt x="100" y="411"/>
                  </a:lnTo>
                  <a:lnTo>
                    <a:pt x="99" y="409"/>
                  </a:lnTo>
                  <a:lnTo>
                    <a:pt x="99" y="405"/>
                  </a:lnTo>
                  <a:lnTo>
                    <a:pt x="100" y="403"/>
                  </a:lnTo>
                  <a:lnTo>
                    <a:pt x="102" y="403"/>
                  </a:lnTo>
                  <a:lnTo>
                    <a:pt x="102" y="394"/>
                  </a:lnTo>
                  <a:lnTo>
                    <a:pt x="103" y="394"/>
                  </a:lnTo>
                  <a:lnTo>
                    <a:pt x="106" y="393"/>
                  </a:lnTo>
                  <a:close/>
                  <a:moveTo>
                    <a:pt x="176" y="391"/>
                  </a:moveTo>
                  <a:lnTo>
                    <a:pt x="178" y="391"/>
                  </a:lnTo>
                  <a:lnTo>
                    <a:pt x="179" y="393"/>
                  </a:lnTo>
                  <a:lnTo>
                    <a:pt x="181" y="393"/>
                  </a:lnTo>
                  <a:lnTo>
                    <a:pt x="181" y="394"/>
                  </a:lnTo>
                  <a:lnTo>
                    <a:pt x="182" y="394"/>
                  </a:lnTo>
                  <a:lnTo>
                    <a:pt x="181" y="396"/>
                  </a:lnTo>
                  <a:lnTo>
                    <a:pt x="182" y="396"/>
                  </a:lnTo>
                  <a:lnTo>
                    <a:pt x="182" y="399"/>
                  </a:lnTo>
                  <a:lnTo>
                    <a:pt x="184" y="400"/>
                  </a:lnTo>
                  <a:lnTo>
                    <a:pt x="184" y="405"/>
                  </a:lnTo>
                  <a:lnTo>
                    <a:pt x="182" y="405"/>
                  </a:lnTo>
                  <a:lnTo>
                    <a:pt x="182" y="403"/>
                  </a:lnTo>
                  <a:lnTo>
                    <a:pt x="175" y="393"/>
                  </a:lnTo>
                  <a:lnTo>
                    <a:pt x="176" y="391"/>
                  </a:lnTo>
                  <a:close/>
                  <a:moveTo>
                    <a:pt x="108" y="391"/>
                  </a:moveTo>
                  <a:lnTo>
                    <a:pt x="109" y="391"/>
                  </a:lnTo>
                  <a:lnTo>
                    <a:pt x="109" y="393"/>
                  </a:lnTo>
                  <a:lnTo>
                    <a:pt x="108" y="393"/>
                  </a:lnTo>
                  <a:lnTo>
                    <a:pt x="108" y="391"/>
                  </a:lnTo>
                  <a:close/>
                  <a:moveTo>
                    <a:pt x="165" y="388"/>
                  </a:moveTo>
                  <a:lnTo>
                    <a:pt x="166" y="390"/>
                  </a:lnTo>
                  <a:lnTo>
                    <a:pt x="165" y="388"/>
                  </a:lnTo>
                  <a:close/>
                  <a:moveTo>
                    <a:pt x="88" y="378"/>
                  </a:moveTo>
                  <a:lnTo>
                    <a:pt x="90" y="378"/>
                  </a:lnTo>
                  <a:lnTo>
                    <a:pt x="90" y="381"/>
                  </a:lnTo>
                  <a:lnTo>
                    <a:pt x="88" y="379"/>
                  </a:lnTo>
                  <a:lnTo>
                    <a:pt x="88" y="378"/>
                  </a:lnTo>
                  <a:close/>
                  <a:moveTo>
                    <a:pt x="148" y="369"/>
                  </a:moveTo>
                  <a:lnTo>
                    <a:pt x="150" y="369"/>
                  </a:lnTo>
                  <a:lnTo>
                    <a:pt x="150" y="370"/>
                  </a:lnTo>
                  <a:lnTo>
                    <a:pt x="151" y="370"/>
                  </a:lnTo>
                  <a:lnTo>
                    <a:pt x="151" y="372"/>
                  </a:lnTo>
                  <a:lnTo>
                    <a:pt x="154" y="375"/>
                  </a:lnTo>
                  <a:lnTo>
                    <a:pt x="154" y="376"/>
                  </a:lnTo>
                  <a:lnTo>
                    <a:pt x="156" y="378"/>
                  </a:lnTo>
                  <a:lnTo>
                    <a:pt x="156" y="379"/>
                  </a:lnTo>
                  <a:lnTo>
                    <a:pt x="157" y="379"/>
                  </a:lnTo>
                  <a:lnTo>
                    <a:pt x="159" y="381"/>
                  </a:lnTo>
                  <a:lnTo>
                    <a:pt x="160" y="379"/>
                  </a:lnTo>
                  <a:lnTo>
                    <a:pt x="160" y="381"/>
                  </a:lnTo>
                  <a:lnTo>
                    <a:pt x="162" y="382"/>
                  </a:lnTo>
                  <a:lnTo>
                    <a:pt x="162" y="384"/>
                  </a:lnTo>
                  <a:lnTo>
                    <a:pt x="165" y="388"/>
                  </a:lnTo>
                  <a:lnTo>
                    <a:pt x="159" y="382"/>
                  </a:lnTo>
                  <a:lnTo>
                    <a:pt x="157" y="382"/>
                  </a:lnTo>
                  <a:lnTo>
                    <a:pt x="153" y="379"/>
                  </a:lnTo>
                  <a:lnTo>
                    <a:pt x="153" y="378"/>
                  </a:lnTo>
                  <a:lnTo>
                    <a:pt x="151" y="378"/>
                  </a:lnTo>
                  <a:lnTo>
                    <a:pt x="151" y="376"/>
                  </a:lnTo>
                  <a:lnTo>
                    <a:pt x="150" y="375"/>
                  </a:lnTo>
                  <a:lnTo>
                    <a:pt x="147" y="375"/>
                  </a:lnTo>
                  <a:lnTo>
                    <a:pt x="147" y="373"/>
                  </a:lnTo>
                  <a:lnTo>
                    <a:pt x="145" y="370"/>
                  </a:lnTo>
                  <a:lnTo>
                    <a:pt x="147" y="370"/>
                  </a:lnTo>
                  <a:lnTo>
                    <a:pt x="148" y="369"/>
                  </a:lnTo>
                  <a:close/>
                  <a:moveTo>
                    <a:pt x="199" y="364"/>
                  </a:moveTo>
                  <a:lnTo>
                    <a:pt x="200" y="364"/>
                  </a:lnTo>
                  <a:lnTo>
                    <a:pt x="202" y="366"/>
                  </a:lnTo>
                  <a:lnTo>
                    <a:pt x="203" y="366"/>
                  </a:lnTo>
                  <a:lnTo>
                    <a:pt x="203" y="367"/>
                  </a:lnTo>
                  <a:lnTo>
                    <a:pt x="199" y="367"/>
                  </a:lnTo>
                  <a:lnTo>
                    <a:pt x="199" y="366"/>
                  </a:lnTo>
                  <a:lnTo>
                    <a:pt x="197" y="366"/>
                  </a:lnTo>
                  <a:lnTo>
                    <a:pt x="199" y="364"/>
                  </a:lnTo>
                  <a:close/>
                  <a:moveTo>
                    <a:pt x="190" y="361"/>
                  </a:moveTo>
                  <a:lnTo>
                    <a:pt x="193" y="363"/>
                  </a:lnTo>
                  <a:lnTo>
                    <a:pt x="197" y="363"/>
                  </a:lnTo>
                  <a:lnTo>
                    <a:pt x="197" y="364"/>
                  </a:lnTo>
                  <a:lnTo>
                    <a:pt x="196" y="364"/>
                  </a:lnTo>
                  <a:lnTo>
                    <a:pt x="196" y="366"/>
                  </a:lnTo>
                  <a:lnTo>
                    <a:pt x="194" y="366"/>
                  </a:lnTo>
                  <a:lnTo>
                    <a:pt x="194" y="364"/>
                  </a:lnTo>
                  <a:lnTo>
                    <a:pt x="191" y="364"/>
                  </a:lnTo>
                  <a:lnTo>
                    <a:pt x="190" y="363"/>
                  </a:lnTo>
                  <a:lnTo>
                    <a:pt x="190" y="361"/>
                  </a:lnTo>
                  <a:close/>
                  <a:moveTo>
                    <a:pt x="187" y="358"/>
                  </a:moveTo>
                  <a:lnTo>
                    <a:pt x="190" y="360"/>
                  </a:lnTo>
                  <a:lnTo>
                    <a:pt x="190" y="361"/>
                  </a:lnTo>
                  <a:lnTo>
                    <a:pt x="188" y="363"/>
                  </a:lnTo>
                  <a:lnTo>
                    <a:pt x="190" y="363"/>
                  </a:lnTo>
                  <a:lnTo>
                    <a:pt x="190" y="364"/>
                  </a:lnTo>
                  <a:lnTo>
                    <a:pt x="187" y="364"/>
                  </a:lnTo>
                  <a:lnTo>
                    <a:pt x="187" y="358"/>
                  </a:lnTo>
                  <a:close/>
                  <a:moveTo>
                    <a:pt x="185" y="358"/>
                  </a:moveTo>
                  <a:lnTo>
                    <a:pt x="187" y="358"/>
                  </a:lnTo>
                  <a:lnTo>
                    <a:pt x="185" y="360"/>
                  </a:lnTo>
                  <a:lnTo>
                    <a:pt x="185" y="358"/>
                  </a:lnTo>
                  <a:close/>
                  <a:moveTo>
                    <a:pt x="184" y="357"/>
                  </a:moveTo>
                  <a:lnTo>
                    <a:pt x="185" y="357"/>
                  </a:lnTo>
                  <a:lnTo>
                    <a:pt x="185" y="358"/>
                  </a:lnTo>
                  <a:lnTo>
                    <a:pt x="184" y="357"/>
                  </a:lnTo>
                  <a:close/>
                  <a:moveTo>
                    <a:pt x="27" y="351"/>
                  </a:moveTo>
                  <a:lnTo>
                    <a:pt x="31" y="351"/>
                  </a:lnTo>
                  <a:lnTo>
                    <a:pt x="34" y="352"/>
                  </a:lnTo>
                  <a:lnTo>
                    <a:pt x="36" y="352"/>
                  </a:lnTo>
                  <a:lnTo>
                    <a:pt x="36" y="351"/>
                  </a:lnTo>
                  <a:lnTo>
                    <a:pt x="37" y="352"/>
                  </a:lnTo>
                  <a:lnTo>
                    <a:pt x="43" y="352"/>
                  </a:lnTo>
                  <a:lnTo>
                    <a:pt x="45" y="354"/>
                  </a:lnTo>
                  <a:lnTo>
                    <a:pt x="46" y="354"/>
                  </a:lnTo>
                  <a:lnTo>
                    <a:pt x="48" y="352"/>
                  </a:lnTo>
                  <a:lnTo>
                    <a:pt x="51" y="352"/>
                  </a:lnTo>
                  <a:lnTo>
                    <a:pt x="52" y="351"/>
                  </a:lnTo>
                  <a:lnTo>
                    <a:pt x="52" y="352"/>
                  </a:lnTo>
                  <a:lnTo>
                    <a:pt x="54" y="352"/>
                  </a:lnTo>
                  <a:lnTo>
                    <a:pt x="54" y="351"/>
                  </a:lnTo>
                  <a:lnTo>
                    <a:pt x="55" y="351"/>
                  </a:lnTo>
                  <a:lnTo>
                    <a:pt x="55" y="354"/>
                  </a:lnTo>
                  <a:lnTo>
                    <a:pt x="57" y="354"/>
                  </a:lnTo>
                  <a:lnTo>
                    <a:pt x="58" y="355"/>
                  </a:lnTo>
                  <a:lnTo>
                    <a:pt x="58" y="357"/>
                  </a:lnTo>
                  <a:lnTo>
                    <a:pt x="61" y="355"/>
                  </a:lnTo>
                  <a:lnTo>
                    <a:pt x="63" y="357"/>
                  </a:lnTo>
                  <a:lnTo>
                    <a:pt x="61" y="358"/>
                  </a:lnTo>
                  <a:lnTo>
                    <a:pt x="63" y="358"/>
                  </a:lnTo>
                  <a:lnTo>
                    <a:pt x="63" y="357"/>
                  </a:lnTo>
                  <a:lnTo>
                    <a:pt x="64" y="355"/>
                  </a:lnTo>
                  <a:lnTo>
                    <a:pt x="66" y="355"/>
                  </a:lnTo>
                  <a:lnTo>
                    <a:pt x="66" y="357"/>
                  </a:lnTo>
                  <a:lnTo>
                    <a:pt x="72" y="361"/>
                  </a:lnTo>
                  <a:lnTo>
                    <a:pt x="73" y="364"/>
                  </a:lnTo>
                  <a:lnTo>
                    <a:pt x="75" y="364"/>
                  </a:lnTo>
                  <a:lnTo>
                    <a:pt x="76" y="366"/>
                  </a:lnTo>
                  <a:lnTo>
                    <a:pt x="76" y="369"/>
                  </a:lnTo>
                  <a:lnTo>
                    <a:pt x="81" y="369"/>
                  </a:lnTo>
                  <a:lnTo>
                    <a:pt x="82" y="370"/>
                  </a:lnTo>
                  <a:lnTo>
                    <a:pt x="82" y="372"/>
                  </a:lnTo>
                  <a:lnTo>
                    <a:pt x="81" y="372"/>
                  </a:lnTo>
                  <a:lnTo>
                    <a:pt x="79" y="373"/>
                  </a:lnTo>
                  <a:lnTo>
                    <a:pt x="79" y="375"/>
                  </a:lnTo>
                  <a:lnTo>
                    <a:pt x="78" y="376"/>
                  </a:lnTo>
                  <a:lnTo>
                    <a:pt x="79" y="379"/>
                  </a:lnTo>
                  <a:lnTo>
                    <a:pt x="79" y="382"/>
                  </a:lnTo>
                  <a:lnTo>
                    <a:pt x="78" y="382"/>
                  </a:lnTo>
                  <a:lnTo>
                    <a:pt x="79" y="384"/>
                  </a:lnTo>
                  <a:lnTo>
                    <a:pt x="79" y="387"/>
                  </a:lnTo>
                  <a:lnTo>
                    <a:pt x="81" y="390"/>
                  </a:lnTo>
                  <a:lnTo>
                    <a:pt x="81" y="394"/>
                  </a:lnTo>
                  <a:lnTo>
                    <a:pt x="79" y="397"/>
                  </a:lnTo>
                  <a:lnTo>
                    <a:pt x="78" y="397"/>
                  </a:lnTo>
                  <a:lnTo>
                    <a:pt x="76" y="399"/>
                  </a:lnTo>
                  <a:lnTo>
                    <a:pt x="76" y="402"/>
                  </a:lnTo>
                  <a:lnTo>
                    <a:pt x="75" y="402"/>
                  </a:lnTo>
                  <a:lnTo>
                    <a:pt x="75" y="403"/>
                  </a:lnTo>
                  <a:lnTo>
                    <a:pt x="76" y="405"/>
                  </a:lnTo>
                  <a:lnTo>
                    <a:pt x="76" y="406"/>
                  </a:lnTo>
                  <a:lnTo>
                    <a:pt x="75" y="405"/>
                  </a:lnTo>
                  <a:lnTo>
                    <a:pt x="73" y="405"/>
                  </a:lnTo>
                  <a:lnTo>
                    <a:pt x="73" y="406"/>
                  </a:lnTo>
                  <a:lnTo>
                    <a:pt x="75" y="406"/>
                  </a:lnTo>
                  <a:lnTo>
                    <a:pt x="75" y="409"/>
                  </a:lnTo>
                  <a:lnTo>
                    <a:pt x="73" y="408"/>
                  </a:lnTo>
                  <a:lnTo>
                    <a:pt x="72" y="408"/>
                  </a:lnTo>
                  <a:lnTo>
                    <a:pt x="70" y="409"/>
                  </a:lnTo>
                  <a:lnTo>
                    <a:pt x="69" y="409"/>
                  </a:lnTo>
                  <a:lnTo>
                    <a:pt x="67" y="412"/>
                  </a:lnTo>
                  <a:lnTo>
                    <a:pt x="66" y="411"/>
                  </a:lnTo>
                  <a:lnTo>
                    <a:pt x="61" y="411"/>
                  </a:lnTo>
                  <a:lnTo>
                    <a:pt x="61" y="406"/>
                  </a:lnTo>
                  <a:lnTo>
                    <a:pt x="58" y="406"/>
                  </a:lnTo>
                  <a:lnTo>
                    <a:pt x="58" y="405"/>
                  </a:lnTo>
                  <a:lnTo>
                    <a:pt x="57" y="405"/>
                  </a:lnTo>
                  <a:lnTo>
                    <a:pt x="57" y="403"/>
                  </a:lnTo>
                  <a:lnTo>
                    <a:pt x="55" y="403"/>
                  </a:lnTo>
                  <a:lnTo>
                    <a:pt x="54" y="399"/>
                  </a:lnTo>
                  <a:lnTo>
                    <a:pt x="52" y="399"/>
                  </a:lnTo>
                  <a:lnTo>
                    <a:pt x="52" y="397"/>
                  </a:lnTo>
                  <a:lnTo>
                    <a:pt x="54" y="396"/>
                  </a:lnTo>
                  <a:lnTo>
                    <a:pt x="52" y="394"/>
                  </a:lnTo>
                  <a:lnTo>
                    <a:pt x="52" y="393"/>
                  </a:lnTo>
                  <a:lnTo>
                    <a:pt x="51" y="391"/>
                  </a:lnTo>
                  <a:lnTo>
                    <a:pt x="51" y="390"/>
                  </a:lnTo>
                  <a:lnTo>
                    <a:pt x="49" y="388"/>
                  </a:lnTo>
                  <a:lnTo>
                    <a:pt x="46" y="388"/>
                  </a:lnTo>
                  <a:lnTo>
                    <a:pt x="46" y="385"/>
                  </a:lnTo>
                  <a:lnTo>
                    <a:pt x="45" y="384"/>
                  </a:lnTo>
                  <a:lnTo>
                    <a:pt x="46" y="384"/>
                  </a:lnTo>
                  <a:lnTo>
                    <a:pt x="46" y="378"/>
                  </a:lnTo>
                  <a:lnTo>
                    <a:pt x="45" y="375"/>
                  </a:lnTo>
                  <a:lnTo>
                    <a:pt x="45" y="373"/>
                  </a:lnTo>
                  <a:lnTo>
                    <a:pt x="42" y="372"/>
                  </a:lnTo>
                  <a:lnTo>
                    <a:pt x="40" y="369"/>
                  </a:lnTo>
                  <a:lnTo>
                    <a:pt x="40" y="367"/>
                  </a:lnTo>
                  <a:lnTo>
                    <a:pt x="37" y="366"/>
                  </a:lnTo>
                  <a:lnTo>
                    <a:pt x="36" y="364"/>
                  </a:lnTo>
                  <a:lnTo>
                    <a:pt x="34" y="364"/>
                  </a:lnTo>
                  <a:lnTo>
                    <a:pt x="33" y="363"/>
                  </a:lnTo>
                  <a:lnTo>
                    <a:pt x="33" y="361"/>
                  </a:lnTo>
                  <a:lnTo>
                    <a:pt x="31" y="360"/>
                  </a:lnTo>
                  <a:lnTo>
                    <a:pt x="31" y="355"/>
                  </a:lnTo>
                  <a:lnTo>
                    <a:pt x="30" y="355"/>
                  </a:lnTo>
                  <a:lnTo>
                    <a:pt x="27" y="358"/>
                  </a:lnTo>
                  <a:lnTo>
                    <a:pt x="24" y="355"/>
                  </a:lnTo>
                  <a:lnTo>
                    <a:pt x="25" y="354"/>
                  </a:lnTo>
                  <a:lnTo>
                    <a:pt x="25" y="352"/>
                  </a:lnTo>
                  <a:lnTo>
                    <a:pt x="27" y="351"/>
                  </a:lnTo>
                  <a:close/>
                  <a:moveTo>
                    <a:pt x="96" y="349"/>
                  </a:moveTo>
                  <a:lnTo>
                    <a:pt x="97" y="349"/>
                  </a:lnTo>
                  <a:lnTo>
                    <a:pt x="99" y="351"/>
                  </a:lnTo>
                  <a:lnTo>
                    <a:pt x="99" y="349"/>
                  </a:lnTo>
                  <a:lnTo>
                    <a:pt x="100" y="351"/>
                  </a:lnTo>
                  <a:lnTo>
                    <a:pt x="102" y="351"/>
                  </a:lnTo>
                  <a:lnTo>
                    <a:pt x="102" y="349"/>
                  </a:lnTo>
                  <a:lnTo>
                    <a:pt x="105" y="352"/>
                  </a:lnTo>
                  <a:lnTo>
                    <a:pt x="105" y="354"/>
                  </a:lnTo>
                  <a:lnTo>
                    <a:pt x="106" y="352"/>
                  </a:lnTo>
                  <a:lnTo>
                    <a:pt x="106" y="354"/>
                  </a:lnTo>
                  <a:lnTo>
                    <a:pt x="108" y="354"/>
                  </a:lnTo>
                  <a:lnTo>
                    <a:pt x="108" y="358"/>
                  </a:lnTo>
                  <a:lnTo>
                    <a:pt x="105" y="361"/>
                  </a:lnTo>
                  <a:lnTo>
                    <a:pt x="105" y="364"/>
                  </a:lnTo>
                  <a:lnTo>
                    <a:pt x="103" y="366"/>
                  </a:lnTo>
                  <a:lnTo>
                    <a:pt x="102" y="366"/>
                  </a:lnTo>
                  <a:lnTo>
                    <a:pt x="99" y="363"/>
                  </a:lnTo>
                  <a:lnTo>
                    <a:pt x="96" y="363"/>
                  </a:lnTo>
                  <a:lnTo>
                    <a:pt x="96" y="361"/>
                  </a:lnTo>
                  <a:lnTo>
                    <a:pt x="94" y="360"/>
                  </a:lnTo>
                  <a:lnTo>
                    <a:pt x="94" y="354"/>
                  </a:lnTo>
                  <a:lnTo>
                    <a:pt x="96" y="351"/>
                  </a:lnTo>
                  <a:lnTo>
                    <a:pt x="96" y="349"/>
                  </a:lnTo>
                  <a:close/>
                  <a:moveTo>
                    <a:pt x="58" y="349"/>
                  </a:moveTo>
                  <a:lnTo>
                    <a:pt x="60" y="349"/>
                  </a:lnTo>
                  <a:lnTo>
                    <a:pt x="61" y="351"/>
                  </a:lnTo>
                  <a:lnTo>
                    <a:pt x="60" y="351"/>
                  </a:lnTo>
                  <a:lnTo>
                    <a:pt x="58" y="349"/>
                  </a:lnTo>
                  <a:close/>
                  <a:moveTo>
                    <a:pt x="191" y="340"/>
                  </a:moveTo>
                  <a:lnTo>
                    <a:pt x="193" y="340"/>
                  </a:lnTo>
                  <a:lnTo>
                    <a:pt x="193" y="342"/>
                  </a:lnTo>
                  <a:lnTo>
                    <a:pt x="191" y="342"/>
                  </a:lnTo>
                  <a:lnTo>
                    <a:pt x="191" y="340"/>
                  </a:lnTo>
                  <a:close/>
                  <a:moveTo>
                    <a:pt x="15" y="334"/>
                  </a:moveTo>
                  <a:lnTo>
                    <a:pt x="16" y="336"/>
                  </a:lnTo>
                  <a:lnTo>
                    <a:pt x="18" y="336"/>
                  </a:lnTo>
                  <a:lnTo>
                    <a:pt x="18" y="337"/>
                  </a:lnTo>
                  <a:lnTo>
                    <a:pt x="21" y="337"/>
                  </a:lnTo>
                  <a:lnTo>
                    <a:pt x="22" y="340"/>
                  </a:lnTo>
                  <a:lnTo>
                    <a:pt x="22" y="342"/>
                  </a:lnTo>
                  <a:lnTo>
                    <a:pt x="24" y="342"/>
                  </a:lnTo>
                  <a:lnTo>
                    <a:pt x="24" y="343"/>
                  </a:lnTo>
                  <a:lnTo>
                    <a:pt x="22" y="343"/>
                  </a:lnTo>
                  <a:lnTo>
                    <a:pt x="21" y="342"/>
                  </a:lnTo>
                  <a:lnTo>
                    <a:pt x="19" y="342"/>
                  </a:lnTo>
                  <a:lnTo>
                    <a:pt x="19" y="340"/>
                  </a:lnTo>
                  <a:lnTo>
                    <a:pt x="18" y="340"/>
                  </a:lnTo>
                  <a:lnTo>
                    <a:pt x="16" y="339"/>
                  </a:lnTo>
                  <a:lnTo>
                    <a:pt x="15" y="339"/>
                  </a:lnTo>
                  <a:lnTo>
                    <a:pt x="15" y="337"/>
                  </a:lnTo>
                  <a:lnTo>
                    <a:pt x="13" y="336"/>
                  </a:lnTo>
                  <a:lnTo>
                    <a:pt x="15" y="336"/>
                  </a:lnTo>
                  <a:lnTo>
                    <a:pt x="15" y="334"/>
                  </a:lnTo>
                  <a:close/>
                  <a:moveTo>
                    <a:pt x="202" y="324"/>
                  </a:moveTo>
                  <a:lnTo>
                    <a:pt x="203" y="324"/>
                  </a:lnTo>
                  <a:lnTo>
                    <a:pt x="205" y="325"/>
                  </a:lnTo>
                  <a:lnTo>
                    <a:pt x="205" y="327"/>
                  </a:lnTo>
                  <a:lnTo>
                    <a:pt x="206" y="327"/>
                  </a:lnTo>
                  <a:lnTo>
                    <a:pt x="206" y="331"/>
                  </a:lnTo>
                  <a:lnTo>
                    <a:pt x="208" y="331"/>
                  </a:lnTo>
                  <a:lnTo>
                    <a:pt x="208" y="333"/>
                  </a:lnTo>
                  <a:lnTo>
                    <a:pt x="209" y="331"/>
                  </a:lnTo>
                  <a:lnTo>
                    <a:pt x="211" y="333"/>
                  </a:lnTo>
                  <a:lnTo>
                    <a:pt x="214" y="334"/>
                  </a:lnTo>
                  <a:lnTo>
                    <a:pt x="212" y="336"/>
                  </a:lnTo>
                  <a:lnTo>
                    <a:pt x="212" y="337"/>
                  </a:lnTo>
                  <a:lnTo>
                    <a:pt x="214" y="339"/>
                  </a:lnTo>
                  <a:lnTo>
                    <a:pt x="212" y="339"/>
                  </a:lnTo>
                  <a:lnTo>
                    <a:pt x="212" y="345"/>
                  </a:lnTo>
                  <a:lnTo>
                    <a:pt x="211" y="345"/>
                  </a:lnTo>
                  <a:lnTo>
                    <a:pt x="209" y="346"/>
                  </a:lnTo>
                  <a:lnTo>
                    <a:pt x="209" y="349"/>
                  </a:lnTo>
                  <a:lnTo>
                    <a:pt x="208" y="348"/>
                  </a:lnTo>
                  <a:lnTo>
                    <a:pt x="205" y="348"/>
                  </a:lnTo>
                  <a:lnTo>
                    <a:pt x="203" y="349"/>
                  </a:lnTo>
                  <a:lnTo>
                    <a:pt x="203" y="351"/>
                  </a:lnTo>
                  <a:lnTo>
                    <a:pt x="202" y="351"/>
                  </a:lnTo>
                  <a:lnTo>
                    <a:pt x="199" y="348"/>
                  </a:lnTo>
                  <a:lnTo>
                    <a:pt x="196" y="348"/>
                  </a:lnTo>
                  <a:lnTo>
                    <a:pt x="196" y="343"/>
                  </a:lnTo>
                  <a:lnTo>
                    <a:pt x="197" y="343"/>
                  </a:lnTo>
                  <a:lnTo>
                    <a:pt x="197" y="342"/>
                  </a:lnTo>
                  <a:lnTo>
                    <a:pt x="199" y="340"/>
                  </a:lnTo>
                  <a:lnTo>
                    <a:pt x="199" y="339"/>
                  </a:lnTo>
                  <a:lnTo>
                    <a:pt x="200" y="337"/>
                  </a:lnTo>
                  <a:lnTo>
                    <a:pt x="199" y="334"/>
                  </a:lnTo>
                  <a:lnTo>
                    <a:pt x="200" y="334"/>
                  </a:lnTo>
                  <a:lnTo>
                    <a:pt x="200" y="333"/>
                  </a:lnTo>
                  <a:lnTo>
                    <a:pt x="199" y="330"/>
                  </a:lnTo>
                  <a:lnTo>
                    <a:pt x="199" y="328"/>
                  </a:lnTo>
                  <a:lnTo>
                    <a:pt x="200" y="328"/>
                  </a:lnTo>
                  <a:lnTo>
                    <a:pt x="200" y="325"/>
                  </a:lnTo>
                  <a:lnTo>
                    <a:pt x="202" y="325"/>
                  </a:lnTo>
                  <a:lnTo>
                    <a:pt x="202" y="324"/>
                  </a:lnTo>
                  <a:close/>
                  <a:moveTo>
                    <a:pt x="99" y="318"/>
                  </a:moveTo>
                  <a:lnTo>
                    <a:pt x="100" y="318"/>
                  </a:lnTo>
                  <a:lnTo>
                    <a:pt x="102" y="319"/>
                  </a:lnTo>
                  <a:lnTo>
                    <a:pt x="108" y="324"/>
                  </a:lnTo>
                  <a:lnTo>
                    <a:pt x="109" y="325"/>
                  </a:lnTo>
                  <a:lnTo>
                    <a:pt x="111" y="325"/>
                  </a:lnTo>
                  <a:lnTo>
                    <a:pt x="111" y="328"/>
                  </a:lnTo>
                  <a:lnTo>
                    <a:pt x="109" y="328"/>
                  </a:lnTo>
                  <a:lnTo>
                    <a:pt x="106" y="327"/>
                  </a:lnTo>
                  <a:lnTo>
                    <a:pt x="102" y="322"/>
                  </a:lnTo>
                  <a:lnTo>
                    <a:pt x="100" y="322"/>
                  </a:lnTo>
                  <a:lnTo>
                    <a:pt x="100" y="321"/>
                  </a:lnTo>
                  <a:lnTo>
                    <a:pt x="99" y="319"/>
                  </a:lnTo>
                  <a:lnTo>
                    <a:pt x="99" y="318"/>
                  </a:lnTo>
                  <a:close/>
                  <a:moveTo>
                    <a:pt x="114" y="316"/>
                  </a:moveTo>
                  <a:lnTo>
                    <a:pt x="115" y="318"/>
                  </a:lnTo>
                  <a:lnTo>
                    <a:pt x="114" y="319"/>
                  </a:lnTo>
                  <a:lnTo>
                    <a:pt x="114" y="316"/>
                  </a:lnTo>
                  <a:close/>
                  <a:moveTo>
                    <a:pt x="120" y="294"/>
                  </a:moveTo>
                  <a:lnTo>
                    <a:pt x="121" y="294"/>
                  </a:lnTo>
                  <a:lnTo>
                    <a:pt x="121" y="297"/>
                  </a:lnTo>
                  <a:lnTo>
                    <a:pt x="117" y="297"/>
                  </a:lnTo>
                  <a:lnTo>
                    <a:pt x="117" y="295"/>
                  </a:lnTo>
                  <a:lnTo>
                    <a:pt x="118" y="295"/>
                  </a:lnTo>
                  <a:lnTo>
                    <a:pt x="120" y="294"/>
                  </a:lnTo>
                  <a:close/>
                  <a:moveTo>
                    <a:pt x="109" y="288"/>
                  </a:moveTo>
                  <a:lnTo>
                    <a:pt x="109" y="289"/>
                  </a:lnTo>
                  <a:lnTo>
                    <a:pt x="111" y="289"/>
                  </a:lnTo>
                  <a:lnTo>
                    <a:pt x="111" y="291"/>
                  </a:lnTo>
                  <a:lnTo>
                    <a:pt x="114" y="291"/>
                  </a:lnTo>
                  <a:lnTo>
                    <a:pt x="114" y="294"/>
                  </a:lnTo>
                  <a:lnTo>
                    <a:pt x="109" y="291"/>
                  </a:lnTo>
                  <a:lnTo>
                    <a:pt x="108" y="291"/>
                  </a:lnTo>
                  <a:lnTo>
                    <a:pt x="108" y="289"/>
                  </a:lnTo>
                  <a:lnTo>
                    <a:pt x="109" y="288"/>
                  </a:lnTo>
                  <a:close/>
                  <a:moveTo>
                    <a:pt x="96" y="279"/>
                  </a:moveTo>
                  <a:lnTo>
                    <a:pt x="97" y="280"/>
                  </a:lnTo>
                  <a:lnTo>
                    <a:pt x="97" y="279"/>
                  </a:lnTo>
                  <a:lnTo>
                    <a:pt x="103" y="279"/>
                  </a:lnTo>
                  <a:lnTo>
                    <a:pt x="103" y="280"/>
                  </a:lnTo>
                  <a:lnTo>
                    <a:pt x="105" y="282"/>
                  </a:lnTo>
                  <a:lnTo>
                    <a:pt x="105" y="283"/>
                  </a:lnTo>
                  <a:lnTo>
                    <a:pt x="103" y="282"/>
                  </a:lnTo>
                  <a:lnTo>
                    <a:pt x="102" y="282"/>
                  </a:lnTo>
                  <a:lnTo>
                    <a:pt x="102" y="283"/>
                  </a:lnTo>
                  <a:lnTo>
                    <a:pt x="103" y="283"/>
                  </a:lnTo>
                  <a:lnTo>
                    <a:pt x="103" y="285"/>
                  </a:lnTo>
                  <a:lnTo>
                    <a:pt x="102" y="285"/>
                  </a:lnTo>
                  <a:lnTo>
                    <a:pt x="102" y="286"/>
                  </a:lnTo>
                  <a:lnTo>
                    <a:pt x="100" y="286"/>
                  </a:lnTo>
                  <a:lnTo>
                    <a:pt x="102" y="288"/>
                  </a:lnTo>
                  <a:lnTo>
                    <a:pt x="102" y="289"/>
                  </a:lnTo>
                  <a:lnTo>
                    <a:pt x="103" y="289"/>
                  </a:lnTo>
                  <a:lnTo>
                    <a:pt x="103" y="297"/>
                  </a:lnTo>
                  <a:lnTo>
                    <a:pt x="102" y="297"/>
                  </a:lnTo>
                  <a:lnTo>
                    <a:pt x="100" y="298"/>
                  </a:lnTo>
                  <a:lnTo>
                    <a:pt x="99" y="298"/>
                  </a:lnTo>
                  <a:lnTo>
                    <a:pt x="99" y="291"/>
                  </a:lnTo>
                  <a:lnTo>
                    <a:pt x="97" y="289"/>
                  </a:lnTo>
                  <a:lnTo>
                    <a:pt x="97" y="286"/>
                  </a:lnTo>
                  <a:lnTo>
                    <a:pt x="96" y="285"/>
                  </a:lnTo>
                  <a:lnTo>
                    <a:pt x="94" y="285"/>
                  </a:lnTo>
                  <a:lnTo>
                    <a:pt x="94" y="280"/>
                  </a:lnTo>
                  <a:lnTo>
                    <a:pt x="96" y="279"/>
                  </a:lnTo>
                  <a:close/>
                  <a:moveTo>
                    <a:pt x="9" y="218"/>
                  </a:moveTo>
                  <a:lnTo>
                    <a:pt x="10" y="218"/>
                  </a:lnTo>
                  <a:lnTo>
                    <a:pt x="10" y="224"/>
                  </a:lnTo>
                  <a:lnTo>
                    <a:pt x="7" y="221"/>
                  </a:lnTo>
                  <a:lnTo>
                    <a:pt x="7" y="219"/>
                  </a:lnTo>
                  <a:lnTo>
                    <a:pt x="9" y="218"/>
                  </a:lnTo>
                  <a:close/>
                  <a:moveTo>
                    <a:pt x="49" y="107"/>
                  </a:moveTo>
                  <a:lnTo>
                    <a:pt x="49" y="108"/>
                  </a:lnTo>
                  <a:lnTo>
                    <a:pt x="51" y="108"/>
                  </a:lnTo>
                  <a:lnTo>
                    <a:pt x="51" y="111"/>
                  </a:lnTo>
                  <a:lnTo>
                    <a:pt x="55" y="111"/>
                  </a:lnTo>
                  <a:lnTo>
                    <a:pt x="55" y="110"/>
                  </a:lnTo>
                  <a:lnTo>
                    <a:pt x="57" y="108"/>
                  </a:lnTo>
                  <a:lnTo>
                    <a:pt x="64" y="108"/>
                  </a:lnTo>
                  <a:lnTo>
                    <a:pt x="64" y="110"/>
                  </a:lnTo>
                  <a:lnTo>
                    <a:pt x="66" y="110"/>
                  </a:lnTo>
                  <a:lnTo>
                    <a:pt x="67" y="111"/>
                  </a:lnTo>
                  <a:lnTo>
                    <a:pt x="69" y="111"/>
                  </a:lnTo>
                  <a:lnTo>
                    <a:pt x="73" y="114"/>
                  </a:lnTo>
                  <a:lnTo>
                    <a:pt x="75" y="116"/>
                  </a:lnTo>
                  <a:lnTo>
                    <a:pt x="76" y="116"/>
                  </a:lnTo>
                  <a:lnTo>
                    <a:pt x="79" y="117"/>
                  </a:lnTo>
                  <a:lnTo>
                    <a:pt x="79" y="119"/>
                  </a:lnTo>
                  <a:lnTo>
                    <a:pt x="81" y="119"/>
                  </a:lnTo>
                  <a:lnTo>
                    <a:pt x="84" y="120"/>
                  </a:lnTo>
                  <a:lnTo>
                    <a:pt x="85" y="122"/>
                  </a:lnTo>
                  <a:lnTo>
                    <a:pt x="85" y="123"/>
                  </a:lnTo>
                  <a:lnTo>
                    <a:pt x="87" y="123"/>
                  </a:lnTo>
                  <a:lnTo>
                    <a:pt x="85" y="122"/>
                  </a:lnTo>
                  <a:lnTo>
                    <a:pt x="85" y="120"/>
                  </a:lnTo>
                  <a:lnTo>
                    <a:pt x="87" y="122"/>
                  </a:lnTo>
                  <a:lnTo>
                    <a:pt x="96" y="125"/>
                  </a:lnTo>
                  <a:lnTo>
                    <a:pt x="102" y="125"/>
                  </a:lnTo>
                  <a:lnTo>
                    <a:pt x="105" y="123"/>
                  </a:lnTo>
                  <a:lnTo>
                    <a:pt x="106" y="120"/>
                  </a:lnTo>
                  <a:lnTo>
                    <a:pt x="108" y="120"/>
                  </a:lnTo>
                  <a:lnTo>
                    <a:pt x="108" y="117"/>
                  </a:lnTo>
                  <a:lnTo>
                    <a:pt x="109" y="114"/>
                  </a:lnTo>
                  <a:lnTo>
                    <a:pt x="111" y="113"/>
                  </a:lnTo>
                  <a:lnTo>
                    <a:pt x="112" y="113"/>
                  </a:lnTo>
                  <a:lnTo>
                    <a:pt x="114" y="114"/>
                  </a:lnTo>
                  <a:lnTo>
                    <a:pt x="114" y="117"/>
                  </a:lnTo>
                  <a:lnTo>
                    <a:pt x="117" y="120"/>
                  </a:lnTo>
                  <a:lnTo>
                    <a:pt x="117" y="126"/>
                  </a:lnTo>
                  <a:lnTo>
                    <a:pt x="114" y="129"/>
                  </a:lnTo>
                  <a:lnTo>
                    <a:pt x="114" y="131"/>
                  </a:lnTo>
                  <a:lnTo>
                    <a:pt x="112" y="131"/>
                  </a:lnTo>
                  <a:lnTo>
                    <a:pt x="111" y="132"/>
                  </a:lnTo>
                  <a:lnTo>
                    <a:pt x="111" y="140"/>
                  </a:lnTo>
                  <a:lnTo>
                    <a:pt x="109" y="149"/>
                  </a:lnTo>
                  <a:lnTo>
                    <a:pt x="109" y="158"/>
                  </a:lnTo>
                  <a:lnTo>
                    <a:pt x="111" y="162"/>
                  </a:lnTo>
                  <a:lnTo>
                    <a:pt x="112" y="164"/>
                  </a:lnTo>
                  <a:lnTo>
                    <a:pt x="112" y="165"/>
                  </a:lnTo>
                  <a:lnTo>
                    <a:pt x="114" y="167"/>
                  </a:lnTo>
                  <a:lnTo>
                    <a:pt x="114" y="170"/>
                  </a:lnTo>
                  <a:lnTo>
                    <a:pt x="120" y="170"/>
                  </a:lnTo>
                  <a:lnTo>
                    <a:pt x="120" y="171"/>
                  </a:lnTo>
                  <a:lnTo>
                    <a:pt x="121" y="171"/>
                  </a:lnTo>
                  <a:lnTo>
                    <a:pt x="123" y="173"/>
                  </a:lnTo>
                  <a:lnTo>
                    <a:pt x="123" y="174"/>
                  </a:lnTo>
                  <a:lnTo>
                    <a:pt x="121" y="173"/>
                  </a:lnTo>
                  <a:lnTo>
                    <a:pt x="121" y="180"/>
                  </a:lnTo>
                  <a:lnTo>
                    <a:pt x="126" y="180"/>
                  </a:lnTo>
                  <a:lnTo>
                    <a:pt x="127" y="182"/>
                  </a:lnTo>
                  <a:lnTo>
                    <a:pt x="126" y="183"/>
                  </a:lnTo>
                  <a:lnTo>
                    <a:pt x="126" y="185"/>
                  </a:lnTo>
                  <a:lnTo>
                    <a:pt x="124" y="186"/>
                  </a:lnTo>
                  <a:lnTo>
                    <a:pt x="124" y="188"/>
                  </a:lnTo>
                  <a:lnTo>
                    <a:pt x="123" y="191"/>
                  </a:lnTo>
                  <a:lnTo>
                    <a:pt x="124" y="192"/>
                  </a:lnTo>
                  <a:lnTo>
                    <a:pt x="123" y="194"/>
                  </a:lnTo>
                  <a:lnTo>
                    <a:pt x="120" y="200"/>
                  </a:lnTo>
                  <a:lnTo>
                    <a:pt x="120" y="201"/>
                  </a:lnTo>
                  <a:lnTo>
                    <a:pt x="118" y="204"/>
                  </a:lnTo>
                  <a:lnTo>
                    <a:pt x="117" y="204"/>
                  </a:lnTo>
                  <a:lnTo>
                    <a:pt x="117" y="207"/>
                  </a:lnTo>
                  <a:lnTo>
                    <a:pt x="114" y="210"/>
                  </a:lnTo>
                  <a:lnTo>
                    <a:pt x="114" y="212"/>
                  </a:lnTo>
                  <a:lnTo>
                    <a:pt x="112" y="212"/>
                  </a:lnTo>
                  <a:lnTo>
                    <a:pt x="112" y="216"/>
                  </a:lnTo>
                  <a:lnTo>
                    <a:pt x="111" y="219"/>
                  </a:lnTo>
                  <a:lnTo>
                    <a:pt x="111" y="221"/>
                  </a:lnTo>
                  <a:lnTo>
                    <a:pt x="112" y="219"/>
                  </a:lnTo>
                  <a:lnTo>
                    <a:pt x="112" y="224"/>
                  </a:lnTo>
                  <a:lnTo>
                    <a:pt x="111" y="224"/>
                  </a:lnTo>
                  <a:lnTo>
                    <a:pt x="106" y="228"/>
                  </a:lnTo>
                  <a:lnTo>
                    <a:pt x="106" y="230"/>
                  </a:lnTo>
                  <a:lnTo>
                    <a:pt x="105" y="231"/>
                  </a:lnTo>
                  <a:lnTo>
                    <a:pt x="103" y="231"/>
                  </a:lnTo>
                  <a:lnTo>
                    <a:pt x="103" y="228"/>
                  </a:lnTo>
                  <a:lnTo>
                    <a:pt x="106" y="227"/>
                  </a:lnTo>
                  <a:lnTo>
                    <a:pt x="106" y="225"/>
                  </a:lnTo>
                  <a:lnTo>
                    <a:pt x="109" y="222"/>
                  </a:lnTo>
                  <a:lnTo>
                    <a:pt x="106" y="222"/>
                  </a:lnTo>
                  <a:lnTo>
                    <a:pt x="106" y="224"/>
                  </a:lnTo>
                  <a:lnTo>
                    <a:pt x="103" y="227"/>
                  </a:lnTo>
                  <a:lnTo>
                    <a:pt x="100" y="228"/>
                  </a:lnTo>
                  <a:lnTo>
                    <a:pt x="96" y="228"/>
                  </a:lnTo>
                  <a:lnTo>
                    <a:pt x="96" y="230"/>
                  </a:lnTo>
                  <a:lnTo>
                    <a:pt x="93" y="230"/>
                  </a:lnTo>
                  <a:lnTo>
                    <a:pt x="93" y="231"/>
                  </a:lnTo>
                  <a:lnTo>
                    <a:pt x="91" y="231"/>
                  </a:lnTo>
                  <a:lnTo>
                    <a:pt x="88" y="233"/>
                  </a:lnTo>
                  <a:lnTo>
                    <a:pt x="88" y="234"/>
                  </a:lnTo>
                  <a:lnTo>
                    <a:pt x="85" y="236"/>
                  </a:lnTo>
                  <a:lnTo>
                    <a:pt x="84" y="237"/>
                  </a:lnTo>
                  <a:lnTo>
                    <a:pt x="82" y="237"/>
                  </a:lnTo>
                  <a:lnTo>
                    <a:pt x="82" y="245"/>
                  </a:lnTo>
                  <a:lnTo>
                    <a:pt x="84" y="245"/>
                  </a:lnTo>
                  <a:lnTo>
                    <a:pt x="84" y="246"/>
                  </a:lnTo>
                  <a:lnTo>
                    <a:pt x="85" y="246"/>
                  </a:lnTo>
                  <a:lnTo>
                    <a:pt x="85" y="248"/>
                  </a:lnTo>
                  <a:lnTo>
                    <a:pt x="84" y="249"/>
                  </a:lnTo>
                  <a:lnTo>
                    <a:pt x="85" y="250"/>
                  </a:lnTo>
                  <a:lnTo>
                    <a:pt x="84" y="250"/>
                  </a:lnTo>
                  <a:lnTo>
                    <a:pt x="82" y="252"/>
                  </a:lnTo>
                  <a:lnTo>
                    <a:pt x="82" y="253"/>
                  </a:lnTo>
                  <a:lnTo>
                    <a:pt x="79" y="256"/>
                  </a:lnTo>
                  <a:lnTo>
                    <a:pt x="78" y="259"/>
                  </a:lnTo>
                  <a:lnTo>
                    <a:pt x="78" y="261"/>
                  </a:lnTo>
                  <a:lnTo>
                    <a:pt x="76" y="264"/>
                  </a:lnTo>
                  <a:lnTo>
                    <a:pt x="75" y="264"/>
                  </a:lnTo>
                  <a:lnTo>
                    <a:pt x="73" y="265"/>
                  </a:lnTo>
                  <a:lnTo>
                    <a:pt x="73" y="267"/>
                  </a:lnTo>
                  <a:lnTo>
                    <a:pt x="75" y="268"/>
                  </a:lnTo>
                  <a:lnTo>
                    <a:pt x="75" y="270"/>
                  </a:lnTo>
                  <a:lnTo>
                    <a:pt x="76" y="271"/>
                  </a:lnTo>
                  <a:lnTo>
                    <a:pt x="78" y="271"/>
                  </a:lnTo>
                  <a:lnTo>
                    <a:pt x="78" y="273"/>
                  </a:lnTo>
                  <a:lnTo>
                    <a:pt x="79" y="274"/>
                  </a:lnTo>
                  <a:lnTo>
                    <a:pt x="79" y="279"/>
                  </a:lnTo>
                  <a:lnTo>
                    <a:pt x="81" y="279"/>
                  </a:lnTo>
                  <a:lnTo>
                    <a:pt x="82" y="282"/>
                  </a:lnTo>
                  <a:lnTo>
                    <a:pt x="82" y="283"/>
                  </a:lnTo>
                  <a:lnTo>
                    <a:pt x="84" y="285"/>
                  </a:lnTo>
                  <a:lnTo>
                    <a:pt x="84" y="286"/>
                  </a:lnTo>
                  <a:lnTo>
                    <a:pt x="85" y="288"/>
                  </a:lnTo>
                  <a:lnTo>
                    <a:pt x="84" y="288"/>
                  </a:lnTo>
                  <a:lnTo>
                    <a:pt x="85" y="291"/>
                  </a:lnTo>
                  <a:lnTo>
                    <a:pt x="87" y="291"/>
                  </a:lnTo>
                  <a:lnTo>
                    <a:pt x="90" y="294"/>
                  </a:lnTo>
                  <a:lnTo>
                    <a:pt x="90" y="295"/>
                  </a:lnTo>
                  <a:lnTo>
                    <a:pt x="85" y="295"/>
                  </a:lnTo>
                  <a:lnTo>
                    <a:pt x="84" y="297"/>
                  </a:lnTo>
                  <a:lnTo>
                    <a:pt x="84" y="300"/>
                  </a:lnTo>
                  <a:lnTo>
                    <a:pt x="87" y="306"/>
                  </a:lnTo>
                  <a:lnTo>
                    <a:pt x="87" y="310"/>
                  </a:lnTo>
                  <a:lnTo>
                    <a:pt x="88" y="310"/>
                  </a:lnTo>
                  <a:lnTo>
                    <a:pt x="90" y="312"/>
                  </a:lnTo>
                  <a:lnTo>
                    <a:pt x="90" y="316"/>
                  </a:lnTo>
                  <a:lnTo>
                    <a:pt x="91" y="316"/>
                  </a:lnTo>
                  <a:lnTo>
                    <a:pt x="91" y="319"/>
                  </a:lnTo>
                  <a:lnTo>
                    <a:pt x="90" y="319"/>
                  </a:lnTo>
                  <a:lnTo>
                    <a:pt x="99" y="328"/>
                  </a:lnTo>
                  <a:lnTo>
                    <a:pt x="106" y="331"/>
                  </a:lnTo>
                  <a:lnTo>
                    <a:pt x="112" y="333"/>
                  </a:lnTo>
                  <a:lnTo>
                    <a:pt x="114" y="331"/>
                  </a:lnTo>
                  <a:lnTo>
                    <a:pt x="112" y="331"/>
                  </a:lnTo>
                  <a:lnTo>
                    <a:pt x="111" y="330"/>
                  </a:lnTo>
                  <a:lnTo>
                    <a:pt x="112" y="328"/>
                  </a:lnTo>
                  <a:lnTo>
                    <a:pt x="115" y="330"/>
                  </a:lnTo>
                  <a:lnTo>
                    <a:pt x="117" y="330"/>
                  </a:lnTo>
                  <a:lnTo>
                    <a:pt x="115" y="328"/>
                  </a:lnTo>
                  <a:lnTo>
                    <a:pt x="117" y="328"/>
                  </a:lnTo>
                  <a:lnTo>
                    <a:pt x="112" y="324"/>
                  </a:lnTo>
                  <a:lnTo>
                    <a:pt x="111" y="324"/>
                  </a:lnTo>
                  <a:lnTo>
                    <a:pt x="111" y="322"/>
                  </a:lnTo>
                  <a:lnTo>
                    <a:pt x="109" y="321"/>
                  </a:lnTo>
                  <a:lnTo>
                    <a:pt x="111" y="321"/>
                  </a:lnTo>
                  <a:lnTo>
                    <a:pt x="111" y="319"/>
                  </a:lnTo>
                  <a:lnTo>
                    <a:pt x="114" y="319"/>
                  </a:lnTo>
                  <a:lnTo>
                    <a:pt x="115" y="321"/>
                  </a:lnTo>
                  <a:lnTo>
                    <a:pt x="115" y="322"/>
                  </a:lnTo>
                  <a:lnTo>
                    <a:pt x="117" y="322"/>
                  </a:lnTo>
                  <a:lnTo>
                    <a:pt x="117" y="324"/>
                  </a:lnTo>
                  <a:lnTo>
                    <a:pt x="118" y="324"/>
                  </a:lnTo>
                  <a:lnTo>
                    <a:pt x="118" y="318"/>
                  </a:lnTo>
                  <a:lnTo>
                    <a:pt x="120" y="318"/>
                  </a:lnTo>
                  <a:lnTo>
                    <a:pt x="120" y="315"/>
                  </a:lnTo>
                  <a:lnTo>
                    <a:pt x="121" y="315"/>
                  </a:lnTo>
                  <a:lnTo>
                    <a:pt x="121" y="313"/>
                  </a:lnTo>
                  <a:lnTo>
                    <a:pt x="123" y="313"/>
                  </a:lnTo>
                  <a:lnTo>
                    <a:pt x="124" y="312"/>
                  </a:lnTo>
                  <a:lnTo>
                    <a:pt x="127" y="312"/>
                  </a:lnTo>
                  <a:lnTo>
                    <a:pt x="129" y="313"/>
                  </a:lnTo>
                  <a:lnTo>
                    <a:pt x="130" y="313"/>
                  </a:lnTo>
                  <a:lnTo>
                    <a:pt x="132" y="315"/>
                  </a:lnTo>
                  <a:lnTo>
                    <a:pt x="135" y="315"/>
                  </a:lnTo>
                  <a:lnTo>
                    <a:pt x="133" y="313"/>
                  </a:lnTo>
                  <a:lnTo>
                    <a:pt x="133" y="312"/>
                  </a:lnTo>
                  <a:lnTo>
                    <a:pt x="135" y="313"/>
                  </a:lnTo>
                  <a:lnTo>
                    <a:pt x="138" y="313"/>
                  </a:lnTo>
                  <a:lnTo>
                    <a:pt x="139" y="315"/>
                  </a:lnTo>
                  <a:lnTo>
                    <a:pt x="142" y="315"/>
                  </a:lnTo>
                  <a:lnTo>
                    <a:pt x="142" y="316"/>
                  </a:lnTo>
                  <a:lnTo>
                    <a:pt x="144" y="318"/>
                  </a:lnTo>
                  <a:lnTo>
                    <a:pt x="144" y="319"/>
                  </a:lnTo>
                  <a:lnTo>
                    <a:pt x="145" y="319"/>
                  </a:lnTo>
                  <a:lnTo>
                    <a:pt x="148" y="322"/>
                  </a:lnTo>
                  <a:lnTo>
                    <a:pt x="148" y="324"/>
                  </a:lnTo>
                  <a:lnTo>
                    <a:pt x="151" y="324"/>
                  </a:lnTo>
                  <a:lnTo>
                    <a:pt x="150" y="325"/>
                  </a:lnTo>
                  <a:lnTo>
                    <a:pt x="150" y="327"/>
                  </a:lnTo>
                  <a:lnTo>
                    <a:pt x="151" y="328"/>
                  </a:lnTo>
                  <a:lnTo>
                    <a:pt x="151" y="330"/>
                  </a:lnTo>
                  <a:lnTo>
                    <a:pt x="153" y="330"/>
                  </a:lnTo>
                  <a:lnTo>
                    <a:pt x="153" y="334"/>
                  </a:lnTo>
                  <a:lnTo>
                    <a:pt x="151" y="334"/>
                  </a:lnTo>
                  <a:lnTo>
                    <a:pt x="151" y="340"/>
                  </a:lnTo>
                  <a:lnTo>
                    <a:pt x="153" y="340"/>
                  </a:lnTo>
                  <a:lnTo>
                    <a:pt x="153" y="342"/>
                  </a:lnTo>
                  <a:lnTo>
                    <a:pt x="159" y="342"/>
                  </a:lnTo>
                  <a:lnTo>
                    <a:pt x="162" y="339"/>
                  </a:lnTo>
                  <a:lnTo>
                    <a:pt x="162" y="337"/>
                  </a:lnTo>
                  <a:lnTo>
                    <a:pt x="163" y="337"/>
                  </a:lnTo>
                  <a:lnTo>
                    <a:pt x="163" y="336"/>
                  </a:lnTo>
                  <a:lnTo>
                    <a:pt x="162" y="334"/>
                  </a:lnTo>
                  <a:lnTo>
                    <a:pt x="162" y="333"/>
                  </a:lnTo>
                  <a:lnTo>
                    <a:pt x="163" y="331"/>
                  </a:lnTo>
                  <a:lnTo>
                    <a:pt x="162" y="331"/>
                  </a:lnTo>
                  <a:lnTo>
                    <a:pt x="159" y="330"/>
                  </a:lnTo>
                  <a:lnTo>
                    <a:pt x="159" y="328"/>
                  </a:lnTo>
                  <a:lnTo>
                    <a:pt x="160" y="328"/>
                  </a:lnTo>
                  <a:lnTo>
                    <a:pt x="159" y="327"/>
                  </a:lnTo>
                  <a:lnTo>
                    <a:pt x="160" y="327"/>
                  </a:lnTo>
                  <a:lnTo>
                    <a:pt x="160" y="325"/>
                  </a:lnTo>
                  <a:lnTo>
                    <a:pt x="162" y="325"/>
                  </a:lnTo>
                  <a:lnTo>
                    <a:pt x="163" y="327"/>
                  </a:lnTo>
                  <a:lnTo>
                    <a:pt x="163" y="324"/>
                  </a:lnTo>
                  <a:lnTo>
                    <a:pt x="165" y="324"/>
                  </a:lnTo>
                  <a:lnTo>
                    <a:pt x="165" y="327"/>
                  </a:lnTo>
                  <a:lnTo>
                    <a:pt x="166" y="327"/>
                  </a:lnTo>
                  <a:lnTo>
                    <a:pt x="166" y="328"/>
                  </a:lnTo>
                  <a:lnTo>
                    <a:pt x="167" y="330"/>
                  </a:lnTo>
                  <a:lnTo>
                    <a:pt x="166" y="331"/>
                  </a:lnTo>
                  <a:lnTo>
                    <a:pt x="170" y="331"/>
                  </a:lnTo>
                  <a:lnTo>
                    <a:pt x="170" y="333"/>
                  </a:lnTo>
                  <a:lnTo>
                    <a:pt x="176" y="333"/>
                  </a:lnTo>
                  <a:lnTo>
                    <a:pt x="179" y="334"/>
                  </a:lnTo>
                  <a:lnTo>
                    <a:pt x="181" y="331"/>
                  </a:lnTo>
                  <a:lnTo>
                    <a:pt x="185" y="336"/>
                  </a:lnTo>
                  <a:lnTo>
                    <a:pt x="188" y="337"/>
                  </a:lnTo>
                  <a:lnTo>
                    <a:pt x="188" y="339"/>
                  </a:lnTo>
                  <a:lnTo>
                    <a:pt x="191" y="339"/>
                  </a:lnTo>
                  <a:lnTo>
                    <a:pt x="191" y="340"/>
                  </a:lnTo>
                  <a:lnTo>
                    <a:pt x="190" y="342"/>
                  </a:lnTo>
                  <a:lnTo>
                    <a:pt x="190" y="340"/>
                  </a:lnTo>
                  <a:lnTo>
                    <a:pt x="187" y="340"/>
                  </a:lnTo>
                  <a:lnTo>
                    <a:pt x="187" y="342"/>
                  </a:lnTo>
                  <a:lnTo>
                    <a:pt x="185" y="343"/>
                  </a:lnTo>
                  <a:lnTo>
                    <a:pt x="184" y="343"/>
                  </a:lnTo>
                  <a:lnTo>
                    <a:pt x="182" y="342"/>
                  </a:lnTo>
                  <a:lnTo>
                    <a:pt x="173" y="342"/>
                  </a:lnTo>
                  <a:lnTo>
                    <a:pt x="172" y="346"/>
                  </a:lnTo>
                  <a:lnTo>
                    <a:pt x="172" y="349"/>
                  </a:lnTo>
                  <a:lnTo>
                    <a:pt x="173" y="349"/>
                  </a:lnTo>
                  <a:lnTo>
                    <a:pt x="175" y="351"/>
                  </a:lnTo>
                  <a:lnTo>
                    <a:pt x="176" y="351"/>
                  </a:lnTo>
                  <a:lnTo>
                    <a:pt x="179" y="352"/>
                  </a:lnTo>
                  <a:lnTo>
                    <a:pt x="179" y="354"/>
                  </a:lnTo>
                  <a:lnTo>
                    <a:pt x="181" y="355"/>
                  </a:lnTo>
                  <a:lnTo>
                    <a:pt x="181" y="357"/>
                  </a:lnTo>
                  <a:lnTo>
                    <a:pt x="182" y="358"/>
                  </a:lnTo>
                  <a:lnTo>
                    <a:pt x="182" y="360"/>
                  </a:lnTo>
                  <a:lnTo>
                    <a:pt x="187" y="364"/>
                  </a:lnTo>
                  <a:lnTo>
                    <a:pt x="184" y="364"/>
                  </a:lnTo>
                  <a:lnTo>
                    <a:pt x="184" y="366"/>
                  </a:lnTo>
                  <a:lnTo>
                    <a:pt x="182" y="366"/>
                  </a:lnTo>
                  <a:lnTo>
                    <a:pt x="182" y="369"/>
                  </a:lnTo>
                  <a:lnTo>
                    <a:pt x="184" y="370"/>
                  </a:lnTo>
                  <a:lnTo>
                    <a:pt x="182" y="372"/>
                  </a:lnTo>
                  <a:lnTo>
                    <a:pt x="182" y="373"/>
                  </a:lnTo>
                  <a:lnTo>
                    <a:pt x="185" y="373"/>
                  </a:lnTo>
                  <a:lnTo>
                    <a:pt x="185" y="372"/>
                  </a:lnTo>
                  <a:lnTo>
                    <a:pt x="188" y="369"/>
                  </a:lnTo>
                  <a:lnTo>
                    <a:pt x="190" y="369"/>
                  </a:lnTo>
                  <a:lnTo>
                    <a:pt x="190" y="370"/>
                  </a:lnTo>
                  <a:lnTo>
                    <a:pt x="193" y="370"/>
                  </a:lnTo>
                  <a:lnTo>
                    <a:pt x="197" y="375"/>
                  </a:lnTo>
                  <a:lnTo>
                    <a:pt x="199" y="375"/>
                  </a:lnTo>
                  <a:lnTo>
                    <a:pt x="199" y="372"/>
                  </a:lnTo>
                  <a:lnTo>
                    <a:pt x="200" y="372"/>
                  </a:lnTo>
                  <a:lnTo>
                    <a:pt x="202" y="373"/>
                  </a:lnTo>
                  <a:lnTo>
                    <a:pt x="203" y="373"/>
                  </a:lnTo>
                  <a:lnTo>
                    <a:pt x="202" y="375"/>
                  </a:lnTo>
                  <a:lnTo>
                    <a:pt x="200" y="375"/>
                  </a:lnTo>
                  <a:lnTo>
                    <a:pt x="200" y="378"/>
                  </a:lnTo>
                  <a:lnTo>
                    <a:pt x="199" y="379"/>
                  </a:lnTo>
                  <a:lnTo>
                    <a:pt x="199" y="381"/>
                  </a:lnTo>
                  <a:lnTo>
                    <a:pt x="200" y="381"/>
                  </a:lnTo>
                  <a:lnTo>
                    <a:pt x="200" y="391"/>
                  </a:lnTo>
                  <a:lnTo>
                    <a:pt x="199" y="393"/>
                  </a:lnTo>
                  <a:lnTo>
                    <a:pt x="197" y="393"/>
                  </a:lnTo>
                  <a:lnTo>
                    <a:pt x="199" y="394"/>
                  </a:lnTo>
                  <a:lnTo>
                    <a:pt x="197" y="396"/>
                  </a:lnTo>
                  <a:lnTo>
                    <a:pt x="197" y="397"/>
                  </a:lnTo>
                  <a:lnTo>
                    <a:pt x="193" y="397"/>
                  </a:lnTo>
                  <a:lnTo>
                    <a:pt x="193" y="396"/>
                  </a:lnTo>
                  <a:lnTo>
                    <a:pt x="191" y="394"/>
                  </a:lnTo>
                  <a:lnTo>
                    <a:pt x="191" y="393"/>
                  </a:lnTo>
                  <a:lnTo>
                    <a:pt x="188" y="393"/>
                  </a:lnTo>
                  <a:lnTo>
                    <a:pt x="188" y="391"/>
                  </a:lnTo>
                  <a:lnTo>
                    <a:pt x="187" y="388"/>
                  </a:lnTo>
                  <a:lnTo>
                    <a:pt x="187" y="382"/>
                  </a:lnTo>
                  <a:lnTo>
                    <a:pt x="191" y="382"/>
                  </a:lnTo>
                  <a:lnTo>
                    <a:pt x="191" y="381"/>
                  </a:lnTo>
                  <a:lnTo>
                    <a:pt x="193" y="381"/>
                  </a:lnTo>
                  <a:lnTo>
                    <a:pt x="193" y="382"/>
                  </a:lnTo>
                  <a:lnTo>
                    <a:pt x="196" y="379"/>
                  </a:lnTo>
                  <a:lnTo>
                    <a:pt x="196" y="378"/>
                  </a:lnTo>
                  <a:lnTo>
                    <a:pt x="191" y="378"/>
                  </a:lnTo>
                  <a:lnTo>
                    <a:pt x="190" y="376"/>
                  </a:lnTo>
                  <a:lnTo>
                    <a:pt x="188" y="376"/>
                  </a:lnTo>
                  <a:lnTo>
                    <a:pt x="188" y="379"/>
                  </a:lnTo>
                  <a:lnTo>
                    <a:pt x="187" y="381"/>
                  </a:lnTo>
                  <a:lnTo>
                    <a:pt x="185" y="381"/>
                  </a:lnTo>
                  <a:lnTo>
                    <a:pt x="185" y="382"/>
                  </a:lnTo>
                  <a:lnTo>
                    <a:pt x="184" y="382"/>
                  </a:lnTo>
                  <a:lnTo>
                    <a:pt x="184" y="381"/>
                  </a:lnTo>
                  <a:lnTo>
                    <a:pt x="182" y="381"/>
                  </a:lnTo>
                  <a:lnTo>
                    <a:pt x="182" y="382"/>
                  </a:lnTo>
                  <a:lnTo>
                    <a:pt x="181" y="382"/>
                  </a:lnTo>
                  <a:lnTo>
                    <a:pt x="181" y="381"/>
                  </a:lnTo>
                  <a:lnTo>
                    <a:pt x="179" y="381"/>
                  </a:lnTo>
                  <a:lnTo>
                    <a:pt x="179" y="379"/>
                  </a:lnTo>
                  <a:lnTo>
                    <a:pt x="178" y="379"/>
                  </a:lnTo>
                  <a:lnTo>
                    <a:pt x="178" y="381"/>
                  </a:lnTo>
                  <a:lnTo>
                    <a:pt x="175" y="381"/>
                  </a:lnTo>
                  <a:lnTo>
                    <a:pt x="175" y="379"/>
                  </a:lnTo>
                  <a:lnTo>
                    <a:pt x="173" y="378"/>
                  </a:lnTo>
                  <a:lnTo>
                    <a:pt x="172" y="378"/>
                  </a:lnTo>
                  <a:lnTo>
                    <a:pt x="170" y="376"/>
                  </a:lnTo>
                  <a:lnTo>
                    <a:pt x="169" y="376"/>
                  </a:lnTo>
                  <a:lnTo>
                    <a:pt x="169" y="373"/>
                  </a:lnTo>
                  <a:lnTo>
                    <a:pt x="165" y="373"/>
                  </a:lnTo>
                  <a:lnTo>
                    <a:pt x="163" y="375"/>
                  </a:lnTo>
                  <a:lnTo>
                    <a:pt x="162" y="375"/>
                  </a:lnTo>
                  <a:lnTo>
                    <a:pt x="162" y="364"/>
                  </a:lnTo>
                  <a:lnTo>
                    <a:pt x="159" y="361"/>
                  </a:lnTo>
                  <a:lnTo>
                    <a:pt x="159" y="360"/>
                  </a:lnTo>
                  <a:lnTo>
                    <a:pt x="157" y="358"/>
                  </a:lnTo>
                  <a:lnTo>
                    <a:pt x="157" y="355"/>
                  </a:lnTo>
                  <a:lnTo>
                    <a:pt x="156" y="354"/>
                  </a:lnTo>
                  <a:lnTo>
                    <a:pt x="154" y="354"/>
                  </a:lnTo>
                  <a:lnTo>
                    <a:pt x="151" y="352"/>
                  </a:lnTo>
                  <a:lnTo>
                    <a:pt x="150" y="352"/>
                  </a:lnTo>
                  <a:lnTo>
                    <a:pt x="148" y="351"/>
                  </a:lnTo>
                  <a:lnTo>
                    <a:pt x="147" y="351"/>
                  </a:lnTo>
                  <a:lnTo>
                    <a:pt x="144" y="348"/>
                  </a:lnTo>
                  <a:lnTo>
                    <a:pt x="142" y="348"/>
                  </a:lnTo>
                  <a:lnTo>
                    <a:pt x="141" y="345"/>
                  </a:lnTo>
                  <a:lnTo>
                    <a:pt x="139" y="345"/>
                  </a:lnTo>
                  <a:lnTo>
                    <a:pt x="142" y="343"/>
                  </a:lnTo>
                  <a:lnTo>
                    <a:pt x="139" y="340"/>
                  </a:lnTo>
                  <a:lnTo>
                    <a:pt x="139" y="339"/>
                  </a:lnTo>
                  <a:lnTo>
                    <a:pt x="138" y="339"/>
                  </a:lnTo>
                  <a:lnTo>
                    <a:pt x="138" y="337"/>
                  </a:lnTo>
                  <a:lnTo>
                    <a:pt x="135" y="337"/>
                  </a:lnTo>
                  <a:lnTo>
                    <a:pt x="135" y="336"/>
                  </a:lnTo>
                  <a:lnTo>
                    <a:pt x="133" y="337"/>
                  </a:lnTo>
                  <a:lnTo>
                    <a:pt x="132" y="337"/>
                  </a:lnTo>
                  <a:lnTo>
                    <a:pt x="132" y="336"/>
                  </a:lnTo>
                  <a:lnTo>
                    <a:pt x="133" y="336"/>
                  </a:lnTo>
                  <a:lnTo>
                    <a:pt x="132" y="334"/>
                  </a:lnTo>
                  <a:lnTo>
                    <a:pt x="130" y="334"/>
                  </a:lnTo>
                  <a:lnTo>
                    <a:pt x="130" y="333"/>
                  </a:lnTo>
                  <a:lnTo>
                    <a:pt x="129" y="333"/>
                  </a:lnTo>
                  <a:lnTo>
                    <a:pt x="129" y="331"/>
                  </a:lnTo>
                  <a:lnTo>
                    <a:pt x="127" y="331"/>
                  </a:lnTo>
                  <a:lnTo>
                    <a:pt x="127" y="330"/>
                  </a:lnTo>
                  <a:lnTo>
                    <a:pt x="126" y="331"/>
                  </a:lnTo>
                  <a:lnTo>
                    <a:pt x="123" y="331"/>
                  </a:lnTo>
                  <a:lnTo>
                    <a:pt x="121" y="330"/>
                  </a:lnTo>
                  <a:lnTo>
                    <a:pt x="121" y="331"/>
                  </a:lnTo>
                  <a:lnTo>
                    <a:pt x="126" y="336"/>
                  </a:lnTo>
                  <a:lnTo>
                    <a:pt x="126" y="340"/>
                  </a:lnTo>
                  <a:lnTo>
                    <a:pt x="124" y="340"/>
                  </a:lnTo>
                  <a:lnTo>
                    <a:pt x="124" y="343"/>
                  </a:lnTo>
                  <a:lnTo>
                    <a:pt x="126" y="345"/>
                  </a:lnTo>
                  <a:lnTo>
                    <a:pt x="126" y="346"/>
                  </a:lnTo>
                  <a:lnTo>
                    <a:pt x="127" y="348"/>
                  </a:lnTo>
                  <a:lnTo>
                    <a:pt x="130" y="349"/>
                  </a:lnTo>
                  <a:lnTo>
                    <a:pt x="132" y="351"/>
                  </a:lnTo>
                  <a:lnTo>
                    <a:pt x="130" y="351"/>
                  </a:lnTo>
                  <a:lnTo>
                    <a:pt x="129" y="349"/>
                  </a:lnTo>
                  <a:lnTo>
                    <a:pt x="130" y="352"/>
                  </a:lnTo>
                  <a:lnTo>
                    <a:pt x="132" y="354"/>
                  </a:lnTo>
                  <a:lnTo>
                    <a:pt x="132" y="355"/>
                  </a:lnTo>
                  <a:lnTo>
                    <a:pt x="133" y="355"/>
                  </a:lnTo>
                  <a:lnTo>
                    <a:pt x="133" y="363"/>
                  </a:lnTo>
                  <a:lnTo>
                    <a:pt x="135" y="363"/>
                  </a:lnTo>
                  <a:lnTo>
                    <a:pt x="135" y="364"/>
                  </a:lnTo>
                  <a:lnTo>
                    <a:pt x="133" y="364"/>
                  </a:lnTo>
                  <a:lnTo>
                    <a:pt x="133" y="366"/>
                  </a:lnTo>
                  <a:lnTo>
                    <a:pt x="132" y="366"/>
                  </a:lnTo>
                  <a:lnTo>
                    <a:pt x="132" y="367"/>
                  </a:lnTo>
                  <a:lnTo>
                    <a:pt x="129" y="367"/>
                  </a:lnTo>
                  <a:lnTo>
                    <a:pt x="126" y="364"/>
                  </a:lnTo>
                  <a:lnTo>
                    <a:pt x="126" y="358"/>
                  </a:lnTo>
                  <a:lnTo>
                    <a:pt x="121" y="352"/>
                  </a:lnTo>
                  <a:lnTo>
                    <a:pt x="121" y="351"/>
                  </a:lnTo>
                  <a:lnTo>
                    <a:pt x="120" y="351"/>
                  </a:lnTo>
                  <a:lnTo>
                    <a:pt x="120" y="349"/>
                  </a:lnTo>
                  <a:lnTo>
                    <a:pt x="118" y="349"/>
                  </a:lnTo>
                  <a:lnTo>
                    <a:pt x="117" y="348"/>
                  </a:lnTo>
                  <a:lnTo>
                    <a:pt x="114" y="348"/>
                  </a:lnTo>
                  <a:lnTo>
                    <a:pt x="114" y="346"/>
                  </a:lnTo>
                  <a:lnTo>
                    <a:pt x="111" y="346"/>
                  </a:lnTo>
                  <a:lnTo>
                    <a:pt x="111" y="345"/>
                  </a:lnTo>
                  <a:lnTo>
                    <a:pt x="108" y="340"/>
                  </a:lnTo>
                  <a:lnTo>
                    <a:pt x="105" y="337"/>
                  </a:lnTo>
                  <a:lnTo>
                    <a:pt x="105" y="339"/>
                  </a:lnTo>
                  <a:lnTo>
                    <a:pt x="103" y="337"/>
                  </a:lnTo>
                  <a:lnTo>
                    <a:pt x="102" y="337"/>
                  </a:lnTo>
                  <a:lnTo>
                    <a:pt x="100" y="336"/>
                  </a:lnTo>
                  <a:lnTo>
                    <a:pt x="97" y="336"/>
                  </a:lnTo>
                  <a:lnTo>
                    <a:pt x="97" y="334"/>
                  </a:lnTo>
                  <a:lnTo>
                    <a:pt x="96" y="334"/>
                  </a:lnTo>
                  <a:lnTo>
                    <a:pt x="93" y="331"/>
                  </a:lnTo>
                  <a:lnTo>
                    <a:pt x="90" y="330"/>
                  </a:lnTo>
                  <a:lnTo>
                    <a:pt x="90" y="331"/>
                  </a:lnTo>
                  <a:lnTo>
                    <a:pt x="88" y="331"/>
                  </a:lnTo>
                  <a:lnTo>
                    <a:pt x="85" y="333"/>
                  </a:lnTo>
                  <a:lnTo>
                    <a:pt x="85" y="334"/>
                  </a:lnTo>
                  <a:lnTo>
                    <a:pt x="84" y="333"/>
                  </a:lnTo>
                  <a:lnTo>
                    <a:pt x="82" y="334"/>
                  </a:lnTo>
                  <a:lnTo>
                    <a:pt x="81" y="334"/>
                  </a:lnTo>
                  <a:lnTo>
                    <a:pt x="81" y="336"/>
                  </a:lnTo>
                  <a:lnTo>
                    <a:pt x="79" y="336"/>
                  </a:lnTo>
                  <a:lnTo>
                    <a:pt x="76" y="339"/>
                  </a:lnTo>
                  <a:lnTo>
                    <a:pt x="76" y="343"/>
                  </a:lnTo>
                  <a:lnTo>
                    <a:pt x="78" y="343"/>
                  </a:lnTo>
                  <a:lnTo>
                    <a:pt x="76" y="345"/>
                  </a:lnTo>
                  <a:lnTo>
                    <a:pt x="73" y="345"/>
                  </a:lnTo>
                  <a:lnTo>
                    <a:pt x="70" y="346"/>
                  </a:lnTo>
                  <a:lnTo>
                    <a:pt x="69" y="348"/>
                  </a:lnTo>
                  <a:lnTo>
                    <a:pt x="67" y="346"/>
                  </a:lnTo>
                  <a:lnTo>
                    <a:pt x="64" y="346"/>
                  </a:lnTo>
                  <a:lnTo>
                    <a:pt x="64" y="345"/>
                  </a:lnTo>
                  <a:lnTo>
                    <a:pt x="63" y="345"/>
                  </a:lnTo>
                  <a:lnTo>
                    <a:pt x="61" y="346"/>
                  </a:lnTo>
                  <a:lnTo>
                    <a:pt x="58" y="346"/>
                  </a:lnTo>
                  <a:lnTo>
                    <a:pt x="58" y="340"/>
                  </a:lnTo>
                  <a:lnTo>
                    <a:pt x="57" y="339"/>
                  </a:lnTo>
                  <a:lnTo>
                    <a:pt x="55" y="339"/>
                  </a:lnTo>
                  <a:lnTo>
                    <a:pt x="52" y="343"/>
                  </a:lnTo>
                  <a:lnTo>
                    <a:pt x="51" y="343"/>
                  </a:lnTo>
                  <a:lnTo>
                    <a:pt x="51" y="342"/>
                  </a:lnTo>
                  <a:lnTo>
                    <a:pt x="54" y="339"/>
                  </a:lnTo>
                  <a:lnTo>
                    <a:pt x="52" y="337"/>
                  </a:lnTo>
                  <a:lnTo>
                    <a:pt x="52" y="333"/>
                  </a:lnTo>
                  <a:lnTo>
                    <a:pt x="46" y="333"/>
                  </a:lnTo>
                  <a:lnTo>
                    <a:pt x="45" y="331"/>
                  </a:lnTo>
                  <a:lnTo>
                    <a:pt x="43" y="331"/>
                  </a:lnTo>
                  <a:lnTo>
                    <a:pt x="42" y="333"/>
                  </a:lnTo>
                  <a:lnTo>
                    <a:pt x="43" y="333"/>
                  </a:lnTo>
                  <a:lnTo>
                    <a:pt x="43" y="336"/>
                  </a:lnTo>
                  <a:lnTo>
                    <a:pt x="40" y="336"/>
                  </a:lnTo>
                  <a:lnTo>
                    <a:pt x="40" y="337"/>
                  </a:lnTo>
                  <a:lnTo>
                    <a:pt x="42" y="339"/>
                  </a:lnTo>
                  <a:lnTo>
                    <a:pt x="40" y="339"/>
                  </a:lnTo>
                  <a:lnTo>
                    <a:pt x="39" y="337"/>
                  </a:lnTo>
                  <a:lnTo>
                    <a:pt x="39" y="331"/>
                  </a:lnTo>
                  <a:lnTo>
                    <a:pt x="37" y="330"/>
                  </a:lnTo>
                  <a:lnTo>
                    <a:pt x="39" y="330"/>
                  </a:lnTo>
                  <a:lnTo>
                    <a:pt x="39" y="322"/>
                  </a:lnTo>
                  <a:lnTo>
                    <a:pt x="37" y="322"/>
                  </a:lnTo>
                  <a:lnTo>
                    <a:pt x="37" y="318"/>
                  </a:lnTo>
                  <a:lnTo>
                    <a:pt x="39" y="318"/>
                  </a:lnTo>
                  <a:lnTo>
                    <a:pt x="39" y="316"/>
                  </a:lnTo>
                  <a:lnTo>
                    <a:pt x="40" y="315"/>
                  </a:lnTo>
                  <a:lnTo>
                    <a:pt x="43" y="315"/>
                  </a:lnTo>
                  <a:lnTo>
                    <a:pt x="43" y="313"/>
                  </a:lnTo>
                  <a:lnTo>
                    <a:pt x="45" y="313"/>
                  </a:lnTo>
                  <a:lnTo>
                    <a:pt x="46" y="312"/>
                  </a:lnTo>
                  <a:lnTo>
                    <a:pt x="46" y="310"/>
                  </a:lnTo>
                  <a:lnTo>
                    <a:pt x="51" y="307"/>
                  </a:lnTo>
                  <a:lnTo>
                    <a:pt x="52" y="307"/>
                  </a:lnTo>
                  <a:lnTo>
                    <a:pt x="55" y="304"/>
                  </a:lnTo>
                  <a:lnTo>
                    <a:pt x="55" y="303"/>
                  </a:lnTo>
                  <a:lnTo>
                    <a:pt x="54" y="301"/>
                  </a:lnTo>
                  <a:lnTo>
                    <a:pt x="54" y="297"/>
                  </a:lnTo>
                  <a:lnTo>
                    <a:pt x="51" y="294"/>
                  </a:lnTo>
                  <a:lnTo>
                    <a:pt x="49" y="294"/>
                  </a:lnTo>
                  <a:lnTo>
                    <a:pt x="49" y="292"/>
                  </a:lnTo>
                  <a:lnTo>
                    <a:pt x="40" y="292"/>
                  </a:lnTo>
                  <a:lnTo>
                    <a:pt x="40" y="291"/>
                  </a:lnTo>
                  <a:lnTo>
                    <a:pt x="39" y="291"/>
                  </a:lnTo>
                  <a:lnTo>
                    <a:pt x="39" y="289"/>
                  </a:lnTo>
                  <a:lnTo>
                    <a:pt x="37" y="289"/>
                  </a:lnTo>
                  <a:lnTo>
                    <a:pt x="39" y="286"/>
                  </a:lnTo>
                  <a:lnTo>
                    <a:pt x="37" y="286"/>
                  </a:lnTo>
                  <a:lnTo>
                    <a:pt x="37" y="289"/>
                  </a:lnTo>
                  <a:lnTo>
                    <a:pt x="36" y="288"/>
                  </a:lnTo>
                  <a:lnTo>
                    <a:pt x="36" y="291"/>
                  </a:lnTo>
                  <a:lnTo>
                    <a:pt x="34" y="294"/>
                  </a:lnTo>
                  <a:lnTo>
                    <a:pt x="37" y="297"/>
                  </a:lnTo>
                  <a:lnTo>
                    <a:pt x="37" y="306"/>
                  </a:lnTo>
                  <a:lnTo>
                    <a:pt x="36" y="307"/>
                  </a:lnTo>
                  <a:lnTo>
                    <a:pt x="33" y="307"/>
                  </a:lnTo>
                  <a:lnTo>
                    <a:pt x="33" y="309"/>
                  </a:lnTo>
                  <a:lnTo>
                    <a:pt x="31" y="309"/>
                  </a:lnTo>
                  <a:lnTo>
                    <a:pt x="31" y="307"/>
                  </a:lnTo>
                  <a:lnTo>
                    <a:pt x="28" y="307"/>
                  </a:lnTo>
                  <a:lnTo>
                    <a:pt x="28" y="300"/>
                  </a:lnTo>
                  <a:lnTo>
                    <a:pt x="27" y="300"/>
                  </a:lnTo>
                  <a:lnTo>
                    <a:pt x="25" y="298"/>
                  </a:lnTo>
                  <a:lnTo>
                    <a:pt x="24" y="298"/>
                  </a:lnTo>
                  <a:lnTo>
                    <a:pt x="22" y="295"/>
                  </a:lnTo>
                  <a:lnTo>
                    <a:pt x="21" y="294"/>
                  </a:lnTo>
                  <a:lnTo>
                    <a:pt x="22" y="294"/>
                  </a:lnTo>
                  <a:lnTo>
                    <a:pt x="22" y="291"/>
                  </a:lnTo>
                  <a:lnTo>
                    <a:pt x="24" y="291"/>
                  </a:lnTo>
                  <a:lnTo>
                    <a:pt x="24" y="289"/>
                  </a:lnTo>
                  <a:lnTo>
                    <a:pt x="22" y="289"/>
                  </a:lnTo>
                  <a:lnTo>
                    <a:pt x="22" y="288"/>
                  </a:lnTo>
                  <a:lnTo>
                    <a:pt x="21" y="288"/>
                  </a:lnTo>
                  <a:lnTo>
                    <a:pt x="19" y="286"/>
                  </a:lnTo>
                  <a:lnTo>
                    <a:pt x="19" y="292"/>
                  </a:lnTo>
                  <a:lnTo>
                    <a:pt x="16" y="292"/>
                  </a:lnTo>
                  <a:lnTo>
                    <a:pt x="16" y="291"/>
                  </a:lnTo>
                  <a:lnTo>
                    <a:pt x="15" y="291"/>
                  </a:lnTo>
                  <a:lnTo>
                    <a:pt x="15" y="289"/>
                  </a:lnTo>
                  <a:lnTo>
                    <a:pt x="13" y="289"/>
                  </a:lnTo>
                  <a:lnTo>
                    <a:pt x="13" y="279"/>
                  </a:lnTo>
                  <a:lnTo>
                    <a:pt x="12" y="271"/>
                  </a:lnTo>
                  <a:lnTo>
                    <a:pt x="10" y="271"/>
                  </a:lnTo>
                  <a:lnTo>
                    <a:pt x="10" y="268"/>
                  </a:lnTo>
                  <a:lnTo>
                    <a:pt x="9" y="267"/>
                  </a:lnTo>
                  <a:lnTo>
                    <a:pt x="9" y="264"/>
                  </a:lnTo>
                  <a:lnTo>
                    <a:pt x="6" y="262"/>
                  </a:lnTo>
                  <a:lnTo>
                    <a:pt x="6" y="258"/>
                  </a:lnTo>
                  <a:lnTo>
                    <a:pt x="7" y="259"/>
                  </a:lnTo>
                  <a:lnTo>
                    <a:pt x="9" y="258"/>
                  </a:lnTo>
                  <a:lnTo>
                    <a:pt x="9" y="256"/>
                  </a:lnTo>
                  <a:lnTo>
                    <a:pt x="7" y="256"/>
                  </a:lnTo>
                  <a:lnTo>
                    <a:pt x="7" y="255"/>
                  </a:lnTo>
                  <a:lnTo>
                    <a:pt x="6" y="253"/>
                  </a:lnTo>
                  <a:lnTo>
                    <a:pt x="6" y="250"/>
                  </a:lnTo>
                  <a:lnTo>
                    <a:pt x="7" y="250"/>
                  </a:lnTo>
                  <a:lnTo>
                    <a:pt x="7" y="249"/>
                  </a:lnTo>
                  <a:lnTo>
                    <a:pt x="6" y="248"/>
                  </a:lnTo>
                  <a:lnTo>
                    <a:pt x="5" y="248"/>
                  </a:lnTo>
                  <a:lnTo>
                    <a:pt x="5" y="246"/>
                  </a:lnTo>
                  <a:lnTo>
                    <a:pt x="6" y="246"/>
                  </a:lnTo>
                  <a:lnTo>
                    <a:pt x="6" y="240"/>
                  </a:lnTo>
                  <a:lnTo>
                    <a:pt x="5" y="239"/>
                  </a:lnTo>
                  <a:lnTo>
                    <a:pt x="5" y="237"/>
                  </a:lnTo>
                  <a:lnTo>
                    <a:pt x="3" y="236"/>
                  </a:lnTo>
                  <a:lnTo>
                    <a:pt x="2" y="237"/>
                  </a:lnTo>
                  <a:lnTo>
                    <a:pt x="0" y="237"/>
                  </a:lnTo>
                  <a:lnTo>
                    <a:pt x="0" y="219"/>
                  </a:lnTo>
                  <a:lnTo>
                    <a:pt x="2" y="218"/>
                  </a:lnTo>
                  <a:lnTo>
                    <a:pt x="2" y="216"/>
                  </a:lnTo>
                  <a:lnTo>
                    <a:pt x="7" y="216"/>
                  </a:lnTo>
                  <a:lnTo>
                    <a:pt x="7" y="218"/>
                  </a:lnTo>
                  <a:lnTo>
                    <a:pt x="6" y="222"/>
                  </a:lnTo>
                  <a:lnTo>
                    <a:pt x="9" y="224"/>
                  </a:lnTo>
                  <a:lnTo>
                    <a:pt x="10" y="225"/>
                  </a:lnTo>
                  <a:lnTo>
                    <a:pt x="13" y="225"/>
                  </a:lnTo>
                  <a:lnTo>
                    <a:pt x="13" y="227"/>
                  </a:lnTo>
                  <a:lnTo>
                    <a:pt x="15" y="227"/>
                  </a:lnTo>
                  <a:lnTo>
                    <a:pt x="15" y="231"/>
                  </a:lnTo>
                  <a:lnTo>
                    <a:pt x="16" y="231"/>
                  </a:lnTo>
                  <a:lnTo>
                    <a:pt x="16" y="233"/>
                  </a:lnTo>
                  <a:lnTo>
                    <a:pt x="21" y="233"/>
                  </a:lnTo>
                  <a:lnTo>
                    <a:pt x="22" y="231"/>
                  </a:lnTo>
                  <a:lnTo>
                    <a:pt x="24" y="231"/>
                  </a:lnTo>
                  <a:lnTo>
                    <a:pt x="24" y="233"/>
                  </a:lnTo>
                  <a:lnTo>
                    <a:pt x="25" y="233"/>
                  </a:lnTo>
                  <a:lnTo>
                    <a:pt x="25" y="230"/>
                  </a:lnTo>
                  <a:lnTo>
                    <a:pt x="27" y="230"/>
                  </a:lnTo>
                  <a:lnTo>
                    <a:pt x="27" y="228"/>
                  </a:lnTo>
                  <a:lnTo>
                    <a:pt x="28" y="228"/>
                  </a:lnTo>
                  <a:lnTo>
                    <a:pt x="28" y="222"/>
                  </a:lnTo>
                  <a:lnTo>
                    <a:pt x="27" y="221"/>
                  </a:lnTo>
                  <a:lnTo>
                    <a:pt x="25" y="221"/>
                  </a:lnTo>
                  <a:lnTo>
                    <a:pt x="25" y="213"/>
                  </a:lnTo>
                  <a:lnTo>
                    <a:pt x="24" y="210"/>
                  </a:lnTo>
                  <a:lnTo>
                    <a:pt x="24" y="206"/>
                  </a:lnTo>
                  <a:lnTo>
                    <a:pt x="22" y="206"/>
                  </a:lnTo>
                  <a:lnTo>
                    <a:pt x="24" y="204"/>
                  </a:lnTo>
                  <a:lnTo>
                    <a:pt x="24" y="201"/>
                  </a:lnTo>
                  <a:lnTo>
                    <a:pt x="25" y="200"/>
                  </a:lnTo>
                  <a:lnTo>
                    <a:pt x="25" y="194"/>
                  </a:lnTo>
                  <a:lnTo>
                    <a:pt x="27" y="194"/>
                  </a:lnTo>
                  <a:lnTo>
                    <a:pt x="30" y="188"/>
                  </a:lnTo>
                  <a:lnTo>
                    <a:pt x="30" y="177"/>
                  </a:lnTo>
                  <a:lnTo>
                    <a:pt x="28" y="177"/>
                  </a:lnTo>
                  <a:lnTo>
                    <a:pt x="28" y="176"/>
                  </a:lnTo>
                  <a:lnTo>
                    <a:pt x="30" y="174"/>
                  </a:lnTo>
                  <a:lnTo>
                    <a:pt x="30" y="170"/>
                  </a:lnTo>
                  <a:lnTo>
                    <a:pt x="31" y="168"/>
                  </a:lnTo>
                  <a:lnTo>
                    <a:pt x="30" y="167"/>
                  </a:lnTo>
                  <a:lnTo>
                    <a:pt x="28" y="162"/>
                  </a:lnTo>
                  <a:lnTo>
                    <a:pt x="27" y="161"/>
                  </a:lnTo>
                  <a:lnTo>
                    <a:pt x="25" y="161"/>
                  </a:lnTo>
                  <a:lnTo>
                    <a:pt x="25" y="159"/>
                  </a:lnTo>
                  <a:lnTo>
                    <a:pt x="27" y="155"/>
                  </a:lnTo>
                  <a:lnTo>
                    <a:pt x="27" y="153"/>
                  </a:lnTo>
                  <a:lnTo>
                    <a:pt x="28" y="153"/>
                  </a:lnTo>
                  <a:lnTo>
                    <a:pt x="30" y="152"/>
                  </a:lnTo>
                  <a:lnTo>
                    <a:pt x="30" y="150"/>
                  </a:lnTo>
                  <a:lnTo>
                    <a:pt x="28" y="150"/>
                  </a:lnTo>
                  <a:lnTo>
                    <a:pt x="28" y="149"/>
                  </a:lnTo>
                  <a:lnTo>
                    <a:pt x="30" y="147"/>
                  </a:lnTo>
                  <a:lnTo>
                    <a:pt x="30" y="143"/>
                  </a:lnTo>
                  <a:lnTo>
                    <a:pt x="33" y="140"/>
                  </a:lnTo>
                  <a:lnTo>
                    <a:pt x="33" y="135"/>
                  </a:lnTo>
                  <a:lnTo>
                    <a:pt x="31" y="135"/>
                  </a:lnTo>
                  <a:lnTo>
                    <a:pt x="31" y="134"/>
                  </a:lnTo>
                  <a:lnTo>
                    <a:pt x="34" y="129"/>
                  </a:lnTo>
                  <a:lnTo>
                    <a:pt x="34" y="128"/>
                  </a:lnTo>
                  <a:lnTo>
                    <a:pt x="36" y="125"/>
                  </a:lnTo>
                  <a:lnTo>
                    <a:pt x="37" y="123"/>
                  </a:lnTo>
                  <a:lnTo>
                    <a:pt x="37" y="117"/>
                  </a:lnTo>
                  <a:lnTo>
                    <a:pt x="36" y="116"/>
                  </a:lnTo>
                  <a:lnTo>
                    <a:pt x="37" y="114"/>
                  </a:lnTo>
                  <a:lnTo>
                    <a:pt x="37" y="113"/>
                  </a:lnTo>
                  <a:lnTo>
                    <a:pt x="45" y="113"/>
                  </a:lnTo>
                  <a:lnTo>
                    <a:pt x="45" y="111"/>
                  </a:lnTo>
                  <a:lnTo>
                    <a:pt x="46" y="111"/>
                  </a:lnTo>
                  <a:lnTo>
                    <a:pt x="46" y="108"/>
                  </a:lnTo>
                  <a:lnTo>
                    <a:pt x="48" y="108"/>
                  </a:lnTo>
                  <a:lnTo>
                    <a:pt x="49" y="107"/>
                  </a:lnTo>
                  <a:close/>
                  <a:moveTo>
                    <a:pt x="73" y="95"/>
                  </a:moveTo>
                  <a:lnTo>
                    <a:pt x="76" y="95"/>
                  </a:lnTo>
                  <a:lnTo>
                    <a:pt x="78" y="96"/>
                  </a:lnTo>
                  <a:lnTo>
                    <a:pt x="76" y="98"/>
                  </a:lnTo>
                  <a:lnTo>
                    <a:pt x="69" y="98"/>
                  </a:lnTo>
                  <a:lnTo>
                    <a:pt x="69" y="96"/>
                  </a:lnTo>
                  <a:lnTo>
                    <a:pt x="70" y="96"/>
                  </a:lnTo>
                  <a:lnTo>
                    <a:pt x="73" y="95"/>
                  </a:lnTo>
                  <a:close/>
                  <a:moveTo>
                    <a:pt x="97" y="90"/>
                  </a:moveTo>
                  <a:lnTo>
                    <a:pt x="100" y="90"/>
                  </a:lnTo>
                  <a:lnTo>
                    <a:pt x="100" y="92"/>
                  </a:lnTo>
                  <a:lnTo>
                    <a:pt x="102" y="92"/>
                  </a:lnTo>
                  <a:lnTo>
                    <a:pt x="102" y="93"/>
                  </a:lnTo>
                  <a:lnTo>
                    <a:pt x="100" y="93"/>
                  </a:lnTo>
                  <a:lnTo>
                    <a:pt x="100" y="95"/>
                  </a:lnTo>
                  <a:lnTo>
                    <a:pt x="99" y="95"/>
                  </a:lnTo>
                  <a:lnTo>
                    <a:pt x="97" y="96"/>
                  </a:lnTo>
                  <a:lnTo>
                    <a:pt x="97" y="99"/>
                  </a:lnTo>
                  <a:lnTo>
                    <a:pt x="96" y="99"/>
                  </a:lnTo>
                  <a:lnTo>
                    <a:pt x="94" y="98"/>
                  </a:lnTo>
                  <a:lnTo>
                    <a:pt x="97" y="95"/>
                  </a:lnTo>
                  <a:lnTo>
                    <a:pt x="96" y="95"/>
                  </a:lnTo>
                  <a:lnTo>
                    <a:pt x="96" y="93"/>
                  </a:lnTo>
                  <a:lnTo>
                    <a:pt x="97" y="92"/>
                  </a:lnTo>
                  <a:lnTo>
                    <a:pt x="97" y="90"/>
                  </a:lnTo>
                  <a:close/>
                  <a:moveTo>
                    <a:pt x="66" y="83"/>
                  </a:moveTo>
                  <a:lnTo>
                    <a:pt x="67" y="83"/>
                  </a:lnTo>
                  <a:lnTo>
                    <a:pt x="67" y="86"/>
                  </a:lnTo>
                  <a:lnTo>
                    <a:pt x="69" y="89"/>
                  </a:lnTo>
                  <a:lnTo>
                    <a:pt x="67" y="89"/>
                  </a:lnTo>
                  <a:lnTo>
                    <a:pt x="66" y="87"/>
                  </a:lnTo>
                  <a:lnTo>
                    <a:pt x="66" y="83"/>
                  </a:lnTo>
                  <a:close/>
                  <a:moveTo>
                    <a:pt x="75" y="71"/>
                  </a:moveTo>
                  <a:lnTo>
                    <a:pt x="78" y="72"/>
                  </a:lnTo>
                  <a:lnTo>
                    <a:pt x="79" y="72"/>
                  </a:lnTo>
                  <a:lnTo>
                    <a:pt x="79" y="71"/>
                  </a:lnTo>
                  <a:lnTo>
                    <a:pt x="81" y="71"/>
                  </a:lnTo>
                  <a:lnTo>
                    <a:pt x="81" y="77"/>
                  </a:lnTo>
                  <a:lnTo>
                    <a:pt x="79" y="77"/>
                  </a:lnTo>
                  <a:lnTo>
                    <a:pt x="79" y="78"/>
                  </a:lnTo>
                  <a:lnTo>
                    <a:pt x="78" y="77"/>
                  </a:lnTo>
                  <a:lnTo>
                    <a:pt x="76" y="77"/>
                  </a:lnTo>
                  <a:lnTo>
                    <a:pt x="76" y="75"/>
                  </a:lnTo>
                  <a:lnTo>
                    <a:pt x="75" y="75"/>
                  </a:lnTo>
                  <a:lnTo>
                    <a:pt x="72" y="72"/>
                  </a:lnTo>
                  <a:lnTo>
                    <a:pt x="73" y="72"/>
                  </a:lnTo>
                  <a:lnTo>
                    <a:pt x="75" y="71"/>
                  </a:lnTo>
                  <a:close/>
                  <a:moveTo>
                    <a:pt x="100" y="62"/>
                  </a:moveTo>
                  <a:lnTo>
                    <a:pt x="102" y="62"/>
                  </a:lnTo>
                  <a:lnTo>
                    <a:pt x="102" y="66"/>
                  </a:lnTo>
                  <a:lnTo>
                    <a:pt x="100" y="66"/>
                  </a:lnTo>
                  <a:lnTo>
                    <a:pt x="99" y="65"/>
                  </a:lnTo>
                  <a:lnTo>
                    <a:pt x="97" y="65"/>
                  </a:lnTo>
                  <a:lnTo>
                    <a:pt x="97" y="63"/>
                  </a:lnTo>
                  <a:lnTo>
                    <a:pt x="100" y="63"/>
                  </a:lnTo>
                  <a:lnTo>
                    <a:pt x="100" y="62"/>
                  </a:lnTo>
                  <a:close/>
                  <a:moveTo>
                    <a:pt x="96" y="24"/>
                  </a:moveTo>
                  <a:lnTo>
                    <a:pt x="97" y="26"/>
                  </a:lnTo>
                  <a:lnTo>
                    <a:pt x="97" y="27"/>
                  </a:lnTo>
                  <a:lnTo>
                    <a:pt x="96" y="29"/>
                  </a:lnTo>
                  <a:lnTo>
                    <a:pt x="94" y="26"/>
                  </a:lnTo>
                  <a:lnTo>
                    <a:pt x="96" y="24"/>
                  </a:lnTo>
                  <a:close/>
                  <a:moveTo>
                    <a:pt x="102" y="18"/>
                  </a:moveTo>
                  <a:lnTo>
                    <a:pt x="103" y="18"/>
                  </a:lnTo>
                  <a:lnTo>
                    <a:pt x="103" y="20"/>
                  </a:lnTo>
                  <a:lnTo>
                    <a:pt x="102" y="21"/>
                  </a:lnTo>
                  <a:lnTo>
                    <a:pt x="100" y="21"/>
                  </a:lnTo>
                  <a:lnTo>
                    <a:pt x="100" y="23"/>
                  </a:lnTo>
                  <a:lnTo>
                    <a:pt x="102" y="23"/>
                  </a:lnTo>
                  <a:lnTo>
                    <a:pt x="100" y="24"/>
                  </a:lnTo>
                  <a:lnTo>
                    <a:pt x="99" y="24"/>
                  </a:lnTo>
                  <a:lnTo>
                    <a:pt x="99" y="23"/>
                  </a:lnTo>
                  <a:lnTo>
                    <a:pt x="100" y="20"/>
                  </a:lnTo>
                  <a:lnTo>
                    <a:pt x="102" y="18"/>
                  </a:lnTo>
                  <a:close/>
                  <a:moveTo>
                    <a:pt x="96" y="0"/>
                  </a:moveTo>
                  <a:lnTo>
                    <a:pt x="97" y="2"/>
                  </a:lnTo>
                  <a:lnTo>
                    <a:pt x="97" y="5"/>
                  </a:lnTo>
                  <a:lnTo>
                    <a:pt x="96" y="5"/>
                  </a:lnTo>
                  <a:lnTo>
                    <a:pt x="96" y="6"/>
                  </a:lnTo>
                  <a:lnTo>
                    <a:pt x="94" y="8"/>
                  </a:lnTo>
                  <a:lnTo>
                    <a:pt x="93" y="8"/>
                  </a:lnTo>
                  <a:lnTo>
                    <a:pt x="93" y="5"/>
                  </a:lnTo>
                  <a:lnTo>
                    <a:pt x="94" y="3"/>
                  </a:lnTo>
                  <a:lnTo>
                    <a:pt x="94" y="2"/>
                  </a:lnTo>
                  <a:lnTo>
                    <a:pt x="96" y="2"/>
                  </a:lnTo>
                  <a:lnTo>
                    <a:pt x="96"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17">
              <a:extLst>
                <a:ext uri="{FF2B5EF4-FFF2-40B4-BE49-F238E27FC236}">
                  <a16:creationId xmlns:a16="http://schemas.microsoft.com/office/drawing/2014/main" id="{009F83CC-1861-0318-3A60-97A08F68135B}"/>
                </a:ext>
              </a:extLst>
            </p:cNvPr>
            <p:cNvSpPr>
              <a:spLocks noEditPoints="1"/>
            </p:cNvSpPr>
            <p:nvPr/>
          </p:nvSpPr>
          <p:spPr bwMode="auto">
            <a:xfrm>
              <a:off x="860855" y="3325308"/>
              <a:ext cx="780831" cy="745149"/>
            </a:xfrm>
            <a:custGeom>
              <a:avLst/>
              <a:gdLst/>
              <a:ahLst/>
              <a:cxnLst>
                <a:cxn ang="0">
                  <a:pos x="261" y="624"/>
                </a:cxn>
                <a:cxn ang="0">
                  <a:pos x="646" y="5"/>
                </a:cxn>
                <a:cxn ang="0">
                  <a:pos x="696" y="45"/>
                </a:cxn>
                <a:cxn ang="0">
                  <a:pos x="718" y="67"/>
                </a:cxn>
                <a:cxn ang="0">
                  <a:pos x="736" y="120"/>
                </a:cxn>
                <a:cxn ang="0">
                  <a:pos x="687" y="142"/>
                </a:cxn>
                <a:cxn ang="0">
                  <a:pos x="600" y="141"/>
                </a:cxn>
                <a:cxn ang="0">
                  <a:pos x="617" y="174"/>
                </a:cxn>
                <a:cxn ang="0">
                  <a:pos x="603" y="214"/>
                </a:cxn>
                <a:cxn ang="0">
                  <a:pos x="631" y="240"/>
                </a:cxn>
                <a:cxn ang="0">
                  <a:pos x="645" y="256"/>
                </a:cxn>
                <a:cxn ang="0">
                  <a:pos x="651" y="277"/>
                </a:cxn>
                <a:cxn ang="0">
                  <a:pos x="631" y="309"/>
                </a:cxn>
                <a:cxn ang="0">
                  <a:pos x="627" y="335"/>
                </a:cxn>
                <a:cxn ang="0">
                  <a:pos x="609" y="353"/>
                </a:cxn>
                <a:cxn ang="0">
                  <a:pos x="593" y="385"/>
                </a:cxn>
                <a:cxn ang="0">
                  <a:pos x="521" y="469"/>
                </a:cxn>
                <a:cxn ang="0">
                  <a:pos x="451" y="502"/>
                </a:cxn>
                <a:cxn ang="0">
                  <a:pos x="397" y="556"/>
                </a:cxn>
                <a:cxn ang="0">
                  <a:pos x="434" y="609"/>
                </a:cxn>
                <a:cxn ang="0">
                  <a:pos x="466" y="663"/>
                </a:cxn>
                <a:cxn ang="0">
                  <a:pos x="445" y="674"/>
                </a:cxn>
                <a:cxn ang="0">
                  <a:pos x="382" y="681"/>
                </a:cxn>
                <a:cxn ang="0">
                  <a:pos x="343" y="699"/>
                </a:cxn>
                <a:cxn ang="0">
                  <a:pos x="332" y="707"/>
                </a:cxn>
                <a:cxn ang="0">
                  <a:pos x="322" y="701"/>
                </a:cxn>
                <a:cxn ang="0">
                  <a:pos x="306" y="699"/>
                </a:cxn>
                <a:cxn ang="0">
                  <a:pos x="295" y="677"/>
                </a:cxn>
                <a:cxn ang="0">
                  <a:pos x="289" y="663"/>
                </a:cxn>
                <a:cxn ang="0">
                  <a:pos x="279" y="653"/>
                </a:cxn>
                <a:cxn ang="0">
                  <a:pos x="264" y="626"/>
                </a:cxn>
                <a:cxn ang="0">
                  <a:pos x="241" y="621"/>
                </a:cxn>
                <a:cxn ang="0">
                  <a:pos x="196" y="629"/>
                </a:cxn>
                <a:cxn ang="0">
                  <a:pos x="165" y="633"/>
                </a:cxn>
                <a:cxn ang="0">
                  <a:pos x="148" y="624"/>
                </a:cxn>
                <a:cxn ang="0">
                  <a:pos x="96" y="633"/>
                </a:cxn>
                <a:cxn ang="0">
                  <a:pos x="57" y="635"/>
                </a:cxn>
                <a:cxn ang="0">
                  <a:pos x="41" y="635"/>
                </a:cxn>
                <a:cxn ang="0">
                  <a:pos x="54" y="578"/>
                </a:cxn>
                <a:cxn ang="0">
                  <a:pos x="107" y="562"/>
                </a:cxn>
                <a:cxn ang="0">
                  <a:pos x="89" y="532"/>
                </a:cxn>
                <a:cxn ang="0">
                  <a:pos x="74" y="473"/>
                </a:cxn>
                <a:cxn ang="0">
                  <a:pos x="27" y="431"/>
                </a:cxn>
                <a:cxn ang="0">
                  <a:pos x="24" y="403"/>
                </a:cxn>
                <a:cxn ang="0">
                  <a:pos x="135" y="415"/>
                </a:cxn>
                <a:cxn ang="0">
                  <a:pos x="217" y="404"/>
                </a:cxn>
                <a:cxn ang="0">
                  <a:pos x="249" y="358"/>
                </a:cxn>
                <a:cxn ang="0">
                  <a:pos x="288" y="320"/>
                </a:cxn>
                <a:cxn ang="0">
                  <a:pos x="308" y="306"/>
                </a:cxn>
                <a:cxn ang="0">
                  <a:pos x="353" y="294"/>
                </a:cxn>
                <a:cxn ang="0">
                  <a:pos x="386" y="264"/>
                </a:cxn>
                <a:cxn ang="0">
                  <a:pos x="413" y="222"/>
                </a:cxn>
                <a:cxn ang="0">
                  <a:pos x="425" y="187"/>
                </a:cxn>
                <a:cxn ang="0">
                  <a:pos x="443" y="175"/>
                </a:cxn>
                <a:cxn ang="0">
                  <a:pos x="471" y="151"/>
                </a:cxn>
                <a:cxn ang="0">
                  <a:pos x="488" y="117"/>
                </a:cxn>
                <a:cxn ang="0">
                  <a:pos x="489" y="81"/>
                </a:cxn>
                <a:cxn ang="0">
                  <a:pos x="480" y="48"/>
                </a:cxn>
                <a:cxn ang="0">
                  <a:pos x="501" y="35"/>
                </a:cxn>
                <a:cxn ang="0">
                  <a:pos x="537" y="14"/>
                </a:cxn>
                <a:cxn ang="0">
                  <a:pos x="609" y="12"/>
                </a:cxn>
              </a:cxnLst>
              <a:rect l="0" t="0" r="r" b="b"/>
              <a:pathLst>
                <a:path w="744" h="710">
                  <a:moveTo>
                    <a:pt x="306" y="699"/>
                  </a:moveTo>
                  <a:lnTo>
                    <a:pt x="307" y="699"/>
                  </a:lnTo>
                  <a:lnTo>
                    <a:pt x="307" y="701"/>
                  </a:lnTo>
                  <a:lnTo>
                    <a:pt x="306" y="701"/>
                  </a:lnTo>
                  <a:lnTo>
                    <a:pt x="306" y="699"/>
                  </a:lnTo>
                  <a:close/>
                  <a:moveTo>
                    <a:pt x="306" y="692"/>
                  </a:moveTo>
                  <a:lnTo>
                    <a:pt x="304" y="693"/>
                  </a:lnTo>
                  <a:lnTo>
                    <a:pt x="307" y="693"/>
                  </a:lnTo>
                  <a:lnTo>
                    <a:pt x="307" y="692"/>
                  </a:lnTo>
                  <a:lnTo>
                    <a:pt x="306" y="692"/>
                  </a:lnTo>
                  <a:close/>
                  <a:moveTo>
                    <a:pt x="249" y="617"/>
                  </a:moveTo>
                  <a:lnTo>
                    <a:pt x="253" y="617"/>
                  </a:lnTo>
                  <a:lnTo>
                    <a:pt x="253" y="618"/>
                  </a:lnTo>
                  <a:lnTo>
                    <a:pt x="255" y="618"/>
                  </a:lnTo>
                  <a:lnTo>
                    <a:pt x="256" y="620"/>
                  </a:lnTo>
                  <a:lnTo>
                    <a:pt x="259" y="620"/>
                  </a:lnTo>
                  <a:lnTo>
                    <a:pt x="258" y="621"/>
                  </a:lnTo>
                  <a:lnTo>
                    <a:pt x="261" y="624"/>
                  </a:lnTo>
                  <a:lnTo>
                    <a:pt x="258" y="624"/>
                  </a:lnTo>
                  <a:lnTo>
                    <a:pt x="256" y="623"/>
                  </a:lnTo>
                  <a:lnTo>
                    <a:pt x="253" y="621"/>
                  </a:lnTo>
                  <a:lnTo>
                    <a:pt x="241" y="621"/>
                  </a:lnTo>
                  <a:lnTo>
                    <a:pt x="243" y="620"/>
                  </a:lnTo>
                  <a:lnTo>
                    <a:pt x="247" y="620"/>
                  </a:lnTo>
                  <a:lnTo>
                    <a:pt x="247" y="618"/>
                  </a:lnTo>
                  <a:lnTo>
                    <a:pt x="249" y="618"/>
                  </a:lnTo>
                  <a:lnTo>
                    <a:pt x="249" y="617"/>
                  </a:lnTo>
                  <a:close/>
                  <a:moveTo>
                    <a:pt x="633" y="0"/>
                  </a:moveTo>
                  <a:lnTo>
                    <a:pt x="636" y="0"/>
                  </a:lnTo>
                  <a:lnTo>
                    <a:pt x="637" y="2"/>
                  </a:lnTo>
                  <a:lnTo>
                    <a:pt x="640" y="2"/>
                  </a:lnTo>
                  <a:lnTo>
                    <a:pt x="643" y="5"/>
                  </a:lnTo>
                  <a:lnTo>
                    <a:pt x="643" y="8"/>
                  </a:lnTo>
                  <a:lnTo>
                    <a:pt x="645" y="8"/>
                  </a:lnTo>
                  <a:lnTo>
                    <a:pt x="645" y="5"/>
                  </a:lnTo>
                  <a:lnTo>
                    <a:pt x="646" y="5"/>
                  </a:lnTo>
                  <a:lnTo>
                    <a:pt x="648" y="3"/>
                  </a:lnTo>
                  <a:lnTo>
                    <a:pt x="655" y="3"/>
                  </a:lnTo>
                  <a:lnTo>
                    <a:pt x="658" y="6"/>
                  </a:lnTo>
                  <a:lnTo>
                    <a:pt x="664" y="6"/>
                  </a:lnTo>
                  <a:lnTo>
                    <a:pt x="667" y="9"/>
                  </a:lnTo>
                  <a:lnTo>
                    <a:pt x="667" y="11"/>
                  </a:lnTo>
                  <a:lnTo>
                    <a:pt x="669" y="12"/>
                  </a:lnTo>
                  <a:lnTo>
                    <a:pt x="669" y="18"/>
                  </a:lnTo>
                  <a:lnTo>
                    <a:pt x="673" y="18"/>
                  </a:lnTo>
                  <a:lnTo>
                    <a:pt x="673" y="17"/>
                  </a:lnTo>
                  <a:lnTo>
                    <a:pt x="679" y="17"/>
                  </a:lnTo>
                  <a:lnTo>
                    <a:pt x="684" y="18"/>
                  </a:lnTo>
                  <a:lnTo>
                    <a:pt x="685" y="21"/>
                  </a:lnTo>
                  <a:lnTo>
                    <a:pt x="688" y="23"/>
                  </a:lnTo>
                  <a:lnTo>
                    <a:pt x="690" y="24"/>
                  </a:lnTo>
                  <a:lnTo>
                    <a:pt x="694" y="33"/>
                  </a:lnTo>
                  <a:lnTo>
                    <a:pt x="694" y="44"/>
                  </a:lnTo>
                  <a:lnTo>
                    <a:pt x="696" y="45"/>
                  </a:lnTo>
                  <a:lnTo>
                    <a:pt x="696" y="47"/>
                  </a:lnTo>
                  <a:lnTo>
                    <a:pt x="694" y="48"/>
                  </a:lnTo>
                  <a:lnTo>
                    <a:pt x="694" y="51"/>
                  </a:lnTo>
                  <a:lnTo>
                    <a:pt x="691" y="53"/>
                  </a:lnTo>
                  <a:lnTo>
                    <a:pt x="691" y="58"/>
                  </a:lnTo>
                  <a:lnTo>
                    <a:pt x="693" y="58"/>
                  </a:lnTo>
                  <a:lnTo>
                    <a:pt x="694" y="60"/>
                  </a:lnTo>
                  <a:lnTo>
                    <a:pt x="699" y="60"/>
                  </a:lnTo>
                  <a:lnTo>
                    <a:pt x="700" y="61"/>
                  </a:lnTo>
                  <a:lnTo>
                    <a:pt x="700" y="63"/>
                  </a:lnTo>
                  <a:lnTo>
                    <a:pt x="702" y="64"/>
                  </a:lnTo>
                  <a:lnTo>
                    <a:pt x="702" y="69"/>
                  </a:lnTo>
                  <a:lnTo>
                    <a:pt x="703" y="70"/>
                  </a:lnTo>
                  <a:lnTo>
                    <a:pt x="709" y="70"/>
                  </a:lnTo>
                  <a:lnTo>
                    <a:pt x="712" y="69"/>
                  </a:lnTo>
                  <a:lnTo>
                    <a:pt x="714" y="69"/>
                  </a:lnTo>
                  <a:lnTo>
                    <a:pt x="715" y="67"/>
                  </a:lnTo>
                  <a:lnTo>
                    <a:pt x="718" y="67"/>
                  </a:lnTo>
                  <a:lnTo>
                    <a:pt x="720" y="64"/>
                  </a:lnTo>
                  <a:lnTo>
                    <a:pt x="721" y="66"/>
                  </a:lnTo>
                  <a:lnTo>
                    <a:pt x="721" y="73"/>
                  </a:lnTo>
                  <a:lnTo>
                    <a:pt x="723" y="75"/>
                  </a:lnTo>
                  <a:lnTo>
                    <a:pt x="727" y="75"/>
                  </a:lnTo>
                  <a:lnTo>
                    <a:pt x="729" y="76"/>
                  </a:lnTo>
                  <a:lnTo>
                    <a:pt x="729" y="78"/>
                  </a:lnTo>
                  <a:lnTo>
                    <a:pt x="730" y="79"/>
                  </a:lnTo>
                  <a:lnTo>
                    <a:pt x="732" y="79"/>
                  </a:lnTo>
                  <a:lnTo>
                    <a:pt x="744" y="109"/>
                  </a:lnTo>
                  <a:lnTo>
                    <a:pt x="742" y="111"/>
                  </a:lnTo>
                  <a:lnTo>
                    <a:pt x="742" y="112"/>
                  </a:lnTo>
                  <a:lnTo>
                    <a:pt x="744" y="114"/>
                  </a:lnTo>
                  <a:lnTo>
                    <a:pt x="742" y="115"/>
                  </a:lnTo>
                  <a:lnTo>
                    <a:pt x="742" y="117"/>
                  </a:lnTo>
                  <a:lnTo>
                    <a:pt x="739" y="118"/>
                  </a:lnTo>
                  <a:lnTo>
                    <a:pt x="739" y="120"/>
                  </a:lnTo>
                  <a:lnTo>
                    <a:pt x="736" y="120"/>
                  </a:lnTo>
                  <a:lnTo>
                    <a:pt x="735" y="118"/>
                  </a:lnTo>
                  <a:lnTo>
                    <a:pt x="733" y="118"/>
                  </a:lnTo>
                  <a:lnTo>
                    <a:pt x="732" y="120"/>
                  </a:lnTo>
                  <a:lnTo>
                    <a:pt x="730" y="120"/>
                  </a:lnTo>
                  <a:lnTo>
                    <a:pt x="730" y="126"/>
                  </a:lnTo>
                  <a:lnTo>
                    <a:pt x="726" y="130"/>
                  </a:lnTo>
                  <a:lnTo>
                    <a:pt x="720" y="130"/>
                  </a:lnTo>
                  <a:lnTo>
                    <a:pt x="717" y="129"/>
                  </a:lnTo>
                  <a:lnTo>
                    <a:pt x="715" y="129"/>
                  </a:lnTo>
                  <a:lnTo>
                    <a:pt x="714" y="130"/>
                  </a:lnTo>
                  <a:lnTo>
                    <a:pt x="708" y="133"/>
                  </a:lnTo>
                  <a:lnTo>
                    <a:pt x="703" y="135"/>
                  </a:lnTo>
                  <a:lnTo>
                    <a:pt x="702" y="135"/>
                  </a:lnTo>
                  <a:lnTo>
                    <a:pt x="699" y="133"/>
                  </a:lnTo>
                  <a:lnTo>
                    <a:pt x="697" y="133"/>
                  </a:lnTo>
                  <a:lnTo>
                    <a:pt x="693" y="138"/>
                  </a:lnTo>
                  <a:lnTo>
                    <a:pt x="690" y="139"/>
                  </a:lnTo>
                  <a:lnTo>
                    <a:pt x="687" y="142"/>
                  </a:lnTo>
                  <a:lnTo>
                    <a:pt x="687" y="144"/>
                  </a:lnTo>
                  <a:lnTo>
                    <a:pt x="678" y="144"/>
                  </a:lnTo>
                  <a:lnTo>
                    <a:pt x="666" y="141"/>
                  </a:lnTo>
                  <a:lnTo>
                    <a:pt x="664" y="139"/>
                  </a:lnTo>
                  <a:lnTo>
                    <a:pt x="661" y="138"/>
                  </a:lnTo>
                  <a:lnTo>
                    <a:pt x="660" y="136"/>
                  </a:lnTo>
                  <a:lnTo>
                    <a:pt x="660" y="135"/>
                  </a:lnTo>
                  <a:lnTo>
                    <a:pt x="658" y="135"/>
                  </a:lnTo>
                  <a:lnTo>
                    <a:pt x="655" y="136"/>
                  </a:lnTo>
                  <a:lnTo>
                    <a:pt x="651" y="136"/>
                  </a:lnTo>
                  <a:lnTo>
                    <a:pt x="634" y="133"/>
                  </a:lnTo>
                  <a:lnTo>
                    <a:pt x="623" y="129"/>
                  </a:lnTo>
                  <a:lnTo>
                    <a:pt x="617" y="129"/>
                  </a:lnTo>
                  <a:lnTo>
                    <a:pt x="611" y="132"/>
                  </a:lnTo>
                  <a:lnTo>
                    <a:pt x="609" y="133"/>
                  </a:lnTo>
                  <a:lnTo>
                    <a:pt x="602" y="135"/>
                  </a:lnTo>
                  <a:lnTo>
                    <a:pt x="600" y="136"/>
                  </a:lnTo>
                  <a:lnTo>
                    <a:pt x="600" y="141"/>
                  </a:lnTo>
                  <a:lnTo>
                    <a:pt x="597" y="142"/>
                  </a:lnTo>
                  <a:lnTo>
                    <a:pt x="597" y="147"/>
                  </a:lnTo>
                  <a:lnTo>
                    <a:pt x="596" y="147"/>
                  </a:lnTo>
                  <a:lnTo>
                    <a:pt x="596" y="148"/>
                  </a:lnTo>
                  <a:lnTo>
                    <a:pt x="594" y="148"/>
                  </a:lnTo>
                  <a:lnTo>
                    <a:pt x="594" y="153"/>
                  </a:lnTo>
                  <a:lnTo>
                    <a:pt x="596" y="154"/>
                  </a:lnTo>
                  <a:lnTo>
                    <a:pt x="602" y="154"/>
                  </a:lnTo>
                  <a:lnTo>
                    <a:pt x="602" y="156"/>
                  </a:lnTo>
                  <a:lnTo>
                    <a:pt x="603" y="159"/>
                  </a:lnTo>
                  <a:lnTo>
                    <a:pt x="603" y="162"/>
                  </a:lnTo>
                  <a:lnTo>
                    <a:pt x="600" y="163"/>
                  </a:lnTo>
                  <a:lnTo>
                    <a:pt x="599" y="165"/>
                  </a:lnTo>
                  <a:lnTo>
                    <a:pt x="599" y="168"/>
                  </a:lnTo>
                  <a:lnTo>
                    <a:pt x="602" y="171"/>
                  </a:lnTo>
                  <a:lnTo>
                    <a:pt x="615" y="171"/>
                  </a:lnTo>
                  <a:lnTo>
                    <a:pt x="615" y="172"/>
                  </a:lnTo>
                  <a:lnTo>
                    <a:pt x="617" y="174"/>
                  </a:lnTo>
                  <a:lnTo>
                    <a:pt x="617" y="175"/>
                  </a:lnTo>
                  <a:lnTo>
                    <a:pt x="612" y="180"/>
                  </a:lnTo>
                  <a:lnTo>
                    <a:pt x="611" y="180"/>
                  </a:lnTo>
                  <a:lnTo>
                    <a:pt x="606" y="181"/>
                  </a:lnTo>
                  <a:lnTo>
                    <a:pt x="605" y="181"/>
                  </a:lnTo>
                  <a:lnTo>
                    <a:pt x="603" y="184"/>
                  </a:lnTo>
                  <a:lnTo>
                    <a:pt x="603" y="186"/>
                  </a:lnTo>
                  <a:lnTo>
                    <a:pt x="602" y="186"/>
                  </a:lnTo>
                  <a:lnTo>
                    <a:pt x="602" y="189"/>
                  </a:lnTo>
                  <a:lnTo>
                    <a:pt x="608" y="195"/>
                  </a:lnTo>
                  <a:lnTo>
                    <a:pt x="611" y="196"/>
                  </a:lnTo>
                  <a:lnTo>
                    <a:pt x="611" y="204"/>
                  </a:lnTo>
                  <a:lnTo>
                    <a:pt x="609" y="207"/>
                  </a:lnTo>
                  <a:lnTo>
                    <a:pt x="608" y="208"/>
                  </a:lnTo>
                  <a:lnTo>
                    <a:pt x="608" y="210"/>
                  </a:lnTo>
                  <a:lnTo>
                    <a:pt x="606" y="210"/>
                  </a:lnTo>
                  <a:lnTo>
                    <a:pt x="603" y="213"/>
                  </a:lnTo>
                  <a:lnTo>
                    <a:pt x="603" y="214"/>
                  </a:lnTo>
                  <a:lnTo>
                    <a:pt x="605" y="216"/>
                  </a:lnTo>
                  <a:lnTo>
                    <a:pt x="605" y="217"/>
                  </a:lnTo>
                  <a:lnTo>
                    <a:pt x="608" y="219"/>
                  </a:lnTo>
                  <a:lnTo>
                    <a:pt x="609" y="220"/>
                  </a:lnTo>
                  <a:lnTo>
                    <a:pt x="611" y="223"/>
                  </a:lnTo>
                  <a:lnTo>
                    <a:pt x="612" y="225"/>
                  </a:lnTo>
                  <a:lnTo>
                    <a:pt x="617" y="226"/>
                  </a:lnTo>
                  <a:lnTo>
                    <a:pt x="618" y="226"/>
                  </a:lnTo>
                  <a:lnTo>
                    <a:pt x="618" y="231"/>
                  </a:lnTo>
                  <a:lnTo>
                    <a:pt x="620" y="234"/>
                  </a:lnTo>
                  <a:lnTo>
                    <a:pt x="618" y="235"/>
                  </a:lnTo>
                  <a:lnTo>
                    <a:pt x="618" y="238"/>
                  </a:lnTo>
                  <a:lnTo>
                    <a:pt x="620" y="238"/>
                  </a:lnTo>
                  <a:lnTo>
                    <a:pt x="621" y="240"/>
                  </a:lnTo>
                  <a:lnTo>
                    <a:pt x="621" y="238"/>
                  </a:lnTo>
                  <a:lnTo>
                    <a:pt x="624" y="238"/>
                  </a:lnTo>
                  <a:lnTo>
                    <a:pt x="626" y="240"/>
                  </a:lnTo>
                  <a:lnTo>
                    <a:pt x="631" y="240"/>
                  </a:lnTo>
                  <a:lnTo>
                    <a:pt x="631" y="238"/>
                  </a:lnTo>
                  <a:lnTo>
                    <a:pt x="633" y="238"/>
                  </a:lnTo>
                  <a:lnTo>
                    <a:pt x="633" y="235"/>
                  </a:lnTo>
                  <a:lnTo>
                    <a:pt x="636" y="235"/>
                  </a:lnTo>
                  <a:lnTo>
                    <a:pt x="636" y="237"/>
                  </a:lnTo>
                  <a:lnTo>
                    <a:pt x="634" y="238"/>
                  </a:lnTo>
                  <a:lnTo>
                    <a:pt x="634" y="240"/>
                  </a:lnTo>
                  <a:lnTo>
                    <a:pt x="633" y="241"/>
                  </a:lnTo>
                  <a:lnTo>
                    <a:pt x="633" y="243"/>
                  </a:lnTo>
                  <a:lnTo>
                    <a:pt x="634" y="244"/>
                  </a:lnTo>
                  <a:lnTo>
                    <a:pt x="634" y="246"/>
                  </a:lnTo>
                  <a:lnTo>
                    <a:pt x="633" y="247"/>
                  </a:lnTo>
                  <a:lnTo>
                    <a:pt x="633" y="250"/>
                  </a:lnTo>
                  <a:lnTo>
                    <a:pt x="634" y="253"/>
                  </a:lnTo>
                  <a:lnTo>
                    <a:pt x="637" y="256"/>
                  </a:lnTo>
                  <a:lnTo>
                    <a:pt x="639" y="255"/>
                  </a:lnTo>
                  <a:lnTo>
                    <a:pt x="642" y="255"/>
                  </a:lnTo>
                  <a:lnTo>
                    <a:pt x="645" y="256"/>
                  </a:lnTo>
                  <a:lnTo>
                    <a:pt x="648" y="256"/>
                  </a:lnTo>
                  <a:lnTo>
                    <a:pt x="649" y="255"/>
                  </a:lnTo>
                  <a:lnTo>
                    <a:pt x="651" y="255"/>
                  </a:lnTo>
                  <a:lnTo>
                    <a:pt x="654" y="258"/>
                  </a:lnTo>
                  <a:lnTo>
                    <a:pt x="655" y="258"/>
                  </a:lnTo>
                  <a:lnTo>
                    <a:pt x="658" y="259"/>
                  </a:lnTo>
                  <a:lnTo>
                    <a:pt x="660" y="259"/>
                  </a:lnTo>
                  <a:lnTo>
                    <a:pt x="666" y="265"/>
                  </a:lnTo>
                  <a:lnTo>
                    <a:pt x="666" y="267"/>
                  </a:lnTo>
                  <a:lnTo>
                    <a:pt x="664" y="270"/>
                  </a:lnTo>
                  <a:lnTo>
                    <a:pt x="663" y="271"/>
                  </a:lnTo>
                  <a:lnTo>
                    <a:pt x="663" y="273"/>
                  </a:lnTo>
                  <a:lnTo>
                    <a:pt x="660" y="273"/>
                  </a:lnTo>
                  <a:lnTo>
                    <a:pt x="658" y="274"/>
                  </a:lnTo>
                  <a:lnTo>
                    <a:pt x="657" y="274"/>
                  </a:lnTo>
                  <a:lnTo>
                    <a:pt x="658" y="276"/>
                  </a:lnTo>
                  <a:lnTo>
                    <a:pt x="651" y="276"/>
                  </a:lnTo>
                  <a:lnTo>
                    <a:pt x="651" y="277"/>
                  </a:lnTo>
                  <a:lnTo>
                    <a:pt x="649" y="277"/>
                  </a:lnTo>
                  <a:lnTo>
                    <a:pt x="648" y="279"/>
                  </a:lnTo>
                  <a:lnTo>
                    <a:pt x="645" y="279"/>
                  </a:lnTo>
                  <a:lnTo>
                    <a:pt x="643" y="280"/>
                  </a:lnTo>
                  <a:lnTo>
                    <a:pt x="642" y="279"/>
                  </a:lnTo>
                  <a:lnTo>
                    <a:pt x="640" y="280"/>
                  </a:lnTo>
                  <a:lnTo>
                    <a:pt x="640" y="283"/>
                  </a:lnTo>
                  <a:lnTo>
                    <a:pt x="636" y="283"/>
                  </a:lnTo>
                  <a:lnTo>
                    <a:pt x="634" y="286"/>
                  </a:lnTo>
                  <a:lnTo>
                    <a:pt x="633" y="286"/>
                  </a:lnTo>
                  <a:lnTo>
                    <a:pt x="630" y="289"/>
                  </a:lnTo>
                  <a:lnTo>
                    <a:pt x="628" y="289"/>
                  </a:lnTo>
                  <a:lnTo>
                    <a:pt x="628" y="294"/>
                  </a:lnTo>
                  <a:lnTo>
                    <a:pt x="627" y="294"/>
                  </a:lnTo>
                  <a:lnTo>
                    <a:pt x="627" y="297"/>
                  </a:lnTo>
                  <a:lnTo>
                    <a:pt x="630" y="301"/>
                  </a:lnTo>
                  <a:lnTo>
                    <a:pt x="630" y="306"/>
                  </a:lnTo>
                  <a:lnTo>
                    <a:pt x="631" y="309"/>
                  </a:lnTo>
                  <a:lnTo>
                    <a:pt x="631" y="312"/>
                  </a:lnTo>
                  <a:lnTo>
                    <a:pt x="630" y="312"/>
                  </a:lnTo>
                  <a:lnTo>
                    <a:pt x="630" y="313"/>
                  </a:lnTo>
                  <a:lnTo>
                    <a:pt x="628" y="317"/>
                  </a:lnTo>
                  <a:lnTo>
                    <a:pt x="628" y="322"/>
                  </a:lnTo>
                  <a:lnTo>
                    <a:pt x="627" y="323"/>
                  </a:lnTo>
                  <a:lnTo>
                    <a:pt x="627" y="326"/>
                  </a:lnTo>
                  <a:lnTo>
                    <a:pt x="628" y="326"/>
                  </a:lnTo>
                  <a:lnTo>
                    <a:pt x="628" y="328"/>
                  </a:lnTo>
                  <a:lnTo>
                    <a:pt x="633" y="328"/>
                  </a:lnTo>
                  <a:lnTo>
                    <a:pt x="633" y="329"/>
                  </a:lnTo>
                  <a:lnTo>
                    <a:pt x="634" y="329"/>
                  </a:lnTo>
                  <a:lnTo>
                    <a:pt x="631" y="331"/>
                  </a:lnTo>
                  <a:lnTo>
                    <a:pt x="630" y="331"/>
                  </a:lnTo>
                  <a:lnTo>
                    <a:pt x="630" y="334"/>
                  </a:lnTo>
                  <a:lnTo>
                    <a:pt x="628" y="334"/>
                  </a:lnTo>
                  <a:lnTo>
                    <a:pt x="628" y="335"/>
                  </a:lnTo>
                  <a:lnTo>
                    <a:pt x="627" y="335"/>
                  </a:lnTo>
                  <a:lnTo>
                    <a:pt x="627" y="337"/>
                  </a:lnTo>
                  <a:lnTo>
                    <a:pt x="624" y="337"/>
                  </a:lnTo>
                  <a:lnTo>
                    <a:pt x="623" y="338"/>
                  </a:lnTo>
                  <a:lnTo>
                    <a:pt x="623" y="340"/>
                  </a:lnTo>
                  <a:lnTo>
                    <a:pt x="621" y="340"/>
                  </a:lnTo>
                  <a:lnTo>
                    <a:pt x="620" y="338"/>
                  </a:lnTo>
                  <a:lnTo>
                    <a:pt x="620" y="340"/>
                  </a:lnTo>
                  <a:lnTo>
                    <a:pt x="618" y="340"/>
                  </a:lnTo>
                  <a:lnTo>
                    <a:pt x="618" y="343"/>
                  </a:lnTo>
                  <a:lnTo>
                    <a:pt x="615" y="343"/>
                  </a:lnTo>
                  <a:lnTo>
                    <a:pt x="615" y="344"/>
                  </a:lnTo>
                  <a:lnTo>
                    <a:pt x="617" y="344"/>
                  </a:lnTo>
                  <a:lnTo>
                    <a:pt x="614" y="347"/>
                  </a:lnTo>
                  <a:lnTo>
                    <a:pt x="614" y="349"/>
                  </a:lnTo>
                  <a:lnTo>
                    <a:pt x="612" y="349"/>
                  </a:lnTo>
                  <a:lnTo>
                    <a:pt x="612" y="352"/>
                  </a:lnTo>
                  <a:lnTo>
                    <a:pt x="611" y="352"/>
                  </a:lnTo>
                  <a:lnTo>
                    <a:pt x="609" y="353"/>
                  </a:lnTo>
                  <a:lnTo>
                    <a:pt x="608" y="353"/>
                  </a:lnTo>
                  <a:lnTo>
                    <a:pt x="608" y="355"/>
                  </a:lnTo>
                  <a:lnTo>
                    <a:pt x="606" y="355"/>
                  </a:lnTo>
                  <a:lnTo>
                    <a:pt x="606" y="359"/>
                  </a:lnTo>
                  <a:lnTo>
                    <a:pt x="605" y="359"/>
                  </a:lnTo>
                  <a:lnTo>
                    <a:pt x="603" y="361"/>
                  </a:lnTo>
                  <a:lnTo>
                    <a:pt x="602" y="364"/>
                  </a:lnTo>
                  <a:lnTo>
                    <a:pt x="600" y="365"/>
                  </a:lnTo>
                  <a:lnTo>
                    <a:pt x="599" y="364"/>
                  </a:lnTo>
                  <a:lnTo>
                    <a:pt x="599" y="365"/>
                  </a:lnTo>
                  <a:lnTo>
                    <a:pt x="597" y="367"/>
                  </a:lnTo>
                  <a:lnTo>
                    <a:pt x="597" y="368"/>
                  </a:lnTo>
                  <a:lnTo>
                    <a:pt x="600" y="371"/>
                  </a:lnTo>
                  <a:lnTo>
                    <a:pt x="600" y="373"/>
                  </a:lnTo>
                  <a:lnTo>
                    <a:pt x="602" y="376"/>
                  </a:lnTo>
                  <a:lnTo>
                    <a:pt x="602" y="377"/>
                  </a:lnTo>
                  <a:lnTo>
                    <a:pt x="594" y="383"/>
                  </a:lnTo>
                  <a:lnTo>
                    <a:pt x="593" y="385"/>
                  </a:lnTo>
                  <a:lnTo>
                    <a:pt x="584" y="386"/>
                  </a:lnTo>
                  <a:lnTo>
                    <a:pt x="576" y="389"/>
                  </a:lnTo>
                  <a:lnTo>
                    <a:pt x="575" y="391"/>
                  </a:lnTo>
                  <a:lnTo>
                    <a:pt x="573" y="397"/>
                  </a:lnTo>
                  <a:lnTo>
                    <a:pt x="572" y="404"/>
                  </a:lnTo>
                  <a:lnTo>
                    <a:pt x="569" y="412"/>
                  </a:lnTo>
                  <a:lnTo>
                    <a:pt x="566" y="416"/>
                  </a:lnTo>
                  <a:lnTo>
                    <a:pt x="564" y="421"/>
                  </a:lnTo>
                  <a:lnTo>
                    <a:pt x="560" y="427"/>
                  </a:lnTo>
                  <a:lnTo>
                    <a:pt x="557" y="431"/>
                  </a:lnTo>
                  <a:lnTo>
                    <a:pt x="557" y="433"/>
                  </a:lnTo>
                  <a:lnTo>
                    <a:pt x="555" y="437"/>
                  </a:lnTo>
                  <a:lnTo>
                    <a:pt x="554" y="437"/>
                  </a:lnTo>
                  <a:lnTo>
                    <a:pt x="554" y="439"/>
                  </a:lnTo>
                  <a:lnTo>
                    <a:pt x="530" y="451"/>
                  </a:lnTo>
                  <a:lnTo>
                    <a:pt x="525" y="455"/>
                  </a:lnTo>
                  <a:lnTo>
                    <a:pt x="524" y="458"/>
                  </a:lnTo>
                  <a:lnTo>
                    <a:pt x="521" y="469"/>
                  </a:lnTo>
                  <a:lnTo>
                    <a:pt x="521" y="470"/>
                  </a:lnTo>
                  <a:lnTo>
                    <a:pt x="519" y="473"/>
                  </a:lnTo>
                  <a:lnTo>
                    <a:pt x="518" y="475"/>
                  </a:lnTo>
                  <a:lnTo>
                    <a:pt x="512" y="479"/>
                  </a:lnTo>
                  <a:lnTo>
                    <a:pt x="507" y="485"/>
                  </a:lnTo>
                  <a:lnTo>
                    <a:pt x="507" y="487"/>
                  </a:lnTo>
                  <a:lnTo>
                    <a:pt x="506" y="493"/>
                  </a:lnTo>
                  <a:lnTo>
                    <a:pt x="506" y="494"/>
                  </a:lnTo>
                  <a:lnTo>
                    <a:pt x="498" y="496"/>
                  </a:lnTo>
                  <a:lnTo>
                    <a:pt x="492" y="499"/>
                  </a:lnTo>
                  <a:lnTo>
                    <a:pt x="480" y="499"/>
                  </a:lnTo>
                  <a:lnTo>
                    <a:pt x="476" y="500"/>
                  </a:lnTo>
                  <a:lnTo>
                    <a:pt x="473" y="500"/>
                  </a:lnTo>
                  <a:lnTo>
                    <a:pt x="467" y="503"/>
                  </a:lnTo>
                  <a:lnTo>
                    <a:pt x="463" y="506"/>
                  </a:lnTo>
                  <a:lnTo>
                    <a:pt x="458" y="508"/>
                  </a:lnTo>
                  <a:lnTo>
                    <a:pt x="455" y="506"/>
                  </a:lnTo>
                  <a:lnTo>
                    <a:pt x="451" y="502"/>
                  </a:lnTo>
                  <a:lnTo>
                    <a:pt x="449" y="499"/>
                  </a:lnTo>
                  <a:lnTo>
                    <a:pt x="449" y="494"/>
                  </a:lnTo>
                  <a:lnTo>
                    <a:pt x="446" y="491"/>
                  </a:lnTo>
                  <a:lnTo>
                    <a:pt x="445" y="491"/>
                  </a:lnTo>
                  <a:lnTo>
                    <a:pt x="443" y="490"/>
                  </a:lnTo>
                  <a:lnTo>
                    <a:pt x="439" y="490"/>
                  </a:lnTo>
                  <a:lnTo>
                    <a:pt x="437" y="491"/>
                  </a:lnTo>
                  <a:lnTo>
                    <a:pt x="436" y="491"/>
                  </a:lnTo>
                  <a:lnTo>
                    <a:pt x="425" y="502"/>
                  </a:lnTo>
                  <a:lnTo>
                    <a:pt x="421" y="512"/>
                  </a:lnTo>
                  <a:lnTo>
                    <a:pt x="421" y="514"/>
                  </a:lnTo>
                  <a:lnTo>
                    <a:pt x="416" y="518"/>
                  </a:lnTo>
                  <a:lnTo>
                    <a:pt x="413" y="523"/>
                  </a:lnTo>
                  <a:lnTo>
                    <a:pt x="407" y="527"/>
                  </a:lnTo>
                  <a:lnTo>
                    <a:pt x="398" y="536"/>
                  </a:lnTo>
                  <a:lnTo>
                    <a:pt x="398" y="541"/>
                  </a:lnTo>
                  <a:lnTo>
                    <a:pt x="395" y="553"/>
                  </a:lnTo>
                  <a:lnTo>
                    <a:pt x="397" y="556"/>
                  </a:lnTo>
                  <a:lnTo>
                    <a:pt x="398" y="557"/>
                  </a:lnTo>
                  <a:lnTo>
                    <a:pt x="404" y="560"/>
                  </a:lnTo>
                  <a:lnTo>
                    <a:pt x="407" y="560"/>
                  </a:lnTo>
                  <a:lnTo>
                    <a:pt x="412" y="565"/>
                  </a:lnTo>
                  <a:lnTo>
                    <a:pt x="425" y="565"/>
                  </a:lnTo>
                  <a:lnTo>
                    <a:pt x="428" y="568"/>
                  </a:lnTo>
                  <a:lnTo>
                    <a:pt x="428" y="577"/>
                  </a:lnTo>
                  <a:lnTo>
                    <a:pt x="427" y="577"/>
                  </a:lnTo>
                  <a:lnTo>
                    <a:pt x="427" y="585"/>
                  </a:lnTo>
                  <a:lnTo>
                    <a:pt x="424" y="588"/>
                  </a:lnTo>
                  <a:lnTo>
                    <a:pt x="424" y="597"/>
                  </a:lnTo>
                  <a:lnTo>
                    <a:pt x="425" y="600"/>
                  </a:lnTo>
                  <a:lnTo>
                    <a:pt x="427" y="602"/>
                  </a:lnTo>
                  <a:lnTo>
                    <a:pt x="430" y="603"/>
                  </a:lnTo>
                  <a:lnTo>
                    <a:pt x="430" y="605"/>
                  </a:lnTo>
                  <a:lnTo>
                    <a:pt x="431" y="608"/>
                  </a:lnTo>
                  <a:lnTo>
                    <a:pt x="431" y="609"/>
                  </a:lnTo>
                  <a:lnTo>
                    <a:pt x="434" y="609"/>
                  </a:lnTo>
                  <a:lnTo>
                    <a:pt x="437" y="611"/>
                  </a:lnTo>
                  <a:lnTo>
                    <a:pt x="442" y="611"/>
                  </a:lnTo>
                  <a:lnTo>
                    <a:pt x="445" y="609"/>
                  </a:lnTo>
                  <a:lnTo>
                    <a:pt x="449" y="609"/>
                  </a:lnTo>
                  <a:lnTo>
                    <a:pt x="451" y="611"/>
                  </a:lnTo>
                  <a:lnTo>
                    <a:pt x="451" y="626"/>
                  </a:lnTo>
                  <a:lnTo>
                    <a:pt x="454" y="627"/>
                  </a:lnTo>
                  <a:lnTo>
                    <a:pt x="454" y="632"/>
                  </a:lnTo>
                  <a:lnTo>
                    <a:pt x="455" y="633"/>
                  </a:lnTo>
                  <a:lnTo>
                    <a:pt x="458" y="635"/>
                  </a:lnTo>
                  <a:lnTo>
                    <a:pt x="460" y="636"/>
                  </a:lnTo>
                  <a:lnTo>
                    <a:pt x="460" y="638"/>
                  </a:lnTo>
                  <a:lnTo>
                    <a:pt x="461" y="644"/>
                  </a:lnTo>
                  <a:lnTo>
                    <a:pt x="464" y="650"/>
                  </a:lnTo>
                  <a:lnTo>
                    <a:pt x="467" y="654"/>
                  </a:lnTo>
                  <a:lnTo>
                    <a:pt x="468" y="659"/>
                  </a:lnTo>
                  <a:lnTo>
                    <a:pt x="468" y="662"/>
                  </a:lnTo>
                  <a:lnTo>
                    <a:pt x="466" y="663"/>
                  </a:lnTo>
                  <a:lnTo>
                    <a:pt x="464" y="663"/>
                  </a:lnTo>
                  <a:lnTo>
                    <a:pt x="464" y="666"/>
                  </a:lnTo>
                  <a:lnTo>
                    <a:pt x="466" y="668"/>
                  </a:lnTo>
                  <a:lnTo>
                    <a:pt x="466" y="672"/>
                  </a:lnTo>
                  <a:lnTo>
                    <a:pt x="470" y="672"/>
                  </a:lnTo>
                  <a:lnTo>
                    <a:pt x="470" y="675"/>
                  </a:lnTo>
                  <a:lnTo>
                    <a:pt x="467" y="675"/>
                  </a:lnTo>
                  <a:lnTo>
                    <a:pt x="467" y="677"/>
                  </a:lnTo>
                  <a:lnTo>
                    <a:pt x="463" y="677"/>
                  </a:lnTo>
                  <a:lnTo>
                    <a:pt x="460" y="678"/>
                  </a:lnTo>
                  <a:lnTo>
                    <a:pt x="460" y="681"/>
                  </a:lnTo>
                  <a:lnTo>
                    <a:pt x="458" y="681"/>
                  </a:lnTo>
                  <a:lnTo>
                    <a:pt x="458" y="683"/>
                  </a:lnTo>
                  <a:lnTo>
                    <a:pt x="449" y="683"/>
                  </a:lnTo>
                  <a:lnTo>
                    <a:pt x="448" y="681"/>
                  </a:lnTo>
                  <a:lnTo>
                    <a:pt x="446" y="681"/>
                  </a:lnTo>
                  <a:lnTo>
                    <a:pt x="446" y="674"/>
                  </a:lnTo>
                  <a:lnTo>
                    <a:pt x="445" y="674"/>
                  </a:lnTo>
                  <a:lnTo>
                    <a:pt x="440" y="675"/>
                  </a:lnTo>
                  <a:lnTo>
                    <a:pt x="437" y="677"/>
                  </a:lnTo>
                  <a:lnTo>
                    <a:pt x="433" y="677"/>
                  </a:lnTo>
                  <a:lnTo>
                    <a:pt x="431" y="678"/>
                  </a:lnTo>
                  <a:lnTo>
                    <a:pt x="430" y="678"/>
                  </a:lnTo>
                  <a:lnTo>
                    <a:pt x="427" y="680"/>
                  </a:lnTo>
                  <a:lnTo>
                    <a:pt x="425" y="680"/>
                  </a:lnTo>
                  <a:lnTo>
                    <a:pt x="424" y="681"/>
                  </a:lnTo>
                  <a:lnTo>
                    <a:pt x="424" y="684"/>
                  </a:lnTo>
                  <a:lnTo>
                    <a:pt x="422" y="684"/>
                  </a:lnTo>
                  <a:lnTo>
                    <a:pt x="419" y="687"/>
                  </a:lnTo>
                  <a:lnTo>
                    <a:pt x="410" y="687"/>
                  </a:lnTo>
                  <a:lnTo>
                    <a:pt x="407" y="686"/>
                  </a:lnTo>
                  <a:lnTo>
                    <a:pt x="406" y="686"/>
                  </a:lnTo>
                  <a:lnTo>
                    <a:pt x="401" y="681"/>
                  </a:lnTo>
                  <a:lnTo>
                    <a:pt x="383" y="681"/>
                  </a:lnTo>
                  <a:lnTo>
                    <a:pt x="382" y="683"/>
                  </a:lnTo>
                  <a:lnTo>
                    <a:pt x="382" y="681"/>
                  </a:lnTo>
                  <a:lnTo>
                    <a:pt x="379" y="681"/>
                  </a:lnTo>
                  <a:lnTo>
                    <a:pt x="377" y="680"/>
                  </a:lnTo>
                  <a:lnTo>
                    <a:pt x="377" y="681"/>
                  </a:lnTo>
                  <a:lnTo>
                    <a:pt x="374" y="681"/>
                  </a:lnTo>
                  <a:lnTo>
                    <a:pt x="373" y="683"/>
                  </a:lnTo>
                  <a:lnTo>
                    <a:pt x="373" y="681"/>
                  </a:lnTo>
                  <a:lnTo>
                    <a:pt x="370" y="678"/>
                  </a:lnTo>
                  <a:lnTo>
                    <a:pt x="370" y="680"/>
                  </a:lnTo>
                  <a:lnTo>
                    <a:pt x="368" y="680"/>
                  </a:lnTo>
                  <a:lnTo>
                    <a:pt x="367" y="683"/>
                  </a:lnTo>
                  <a:lnTo>
                    <a:pt x="365" y="680"/>
                  </a:lnTo>
                  <a:lnTo>
                    <a:pt x="365" y="678"/>
                  </a:lnTo>
                  <a:lnTo>
                    <a:pt x="362" y="678"/>
                  </a:lnTo>
                  <a:lnTo>
                    <a:pt x="362" y="696"/>
                  </a:lnTo>
                  <a:lnTo>
                    <a:pt x="346" y="696"/>
                  </a:lnTo>
                  <a:lnTo>
                    <a:pt x="344" y="698"/>
                  </a:lnTo>
                  <a:lnTo>
                    <a:pt x="343" y="698"/>
                  </a:lnTo>
                  <a:lnTo>
                    <a:pt x="343" y="699"/>
                  </a:lnTo>
                  <a:lnTo>
                    <a:pt x="341" y="699"/>
                  </a:lnTo>
                  <a:lnTo>
                    <a:pt x="341" y="698"/>
                  </a:lnTo>
                  <a:lnTo>
                    <a:pt x="340" y="698"/>
                  </a:lnTo>
                  <a:lnTo>
                    <a:pt x="340" y="701"/>
                  </a:lnTo>
                  <a:lnTo>
                    <a:pt x="338" y="701"/>
                  </a:lnTo>
                  <a:lnTo>
                    <a:pt x="337" y="702"/>
                  </a:lnTo>
                  <a:lnTo>
                    <a:pt x="335" y="699"/>
                  </a:lnTo>
                  <a:lnTo>
                    <a:pt x="335" y="702"/>
                  </a:lnTo>
                  <a:lnTo>
                    <a:pt x="337" y="702"/>
                  </a:lnTo>
                  <a:lnTo>
                    <a:pt x="337" y="704"/>
                  </a:lnTo>
                  <a:lnTo>
                    <a:pt x="335" y="705"/>
                  </a:lnTo>
                  <a:lnTo>
                    <a:pt x="335" y="710"/>
                  </a:lnTo>
                  <a:lnTo>
                    <a:pt x="334" y="710"/>
                  </a:lnTo>
                  <a:lnTo>
                    <a:pt x="334" y="708"/>
                  </a:lnTo>
                  <a:lnTo>
                    <a:pt x="332" y="710"/>
                  </a:lnTo>
                  <a:lnTo>
                    <a:pt x="331" y="708"/>
                  </a:lnTo>
                  <a:lnTo>
                    <a:pt x="331" y="707"/>
                  </a:lnTo>
                  <a:lnTo>
                    <a:pt x="332" y="707"/>
                  </a:lnTo>
                  <a:lnTo>
                    <a:pt x="332" y="702"/>
                  </a:lnTo>
                  <a:lnTo>
                    <a:pt x="331" y="702"/>
                  </a:lnTo>
                  <a:lnTo>
                    <a:pt x="331" y="699"/>
                  </a:lnTo>
                  <a:lnTo>
                    <a:pt x="329" y="698"/>
                  </a:lnTo>
                  <a:lnTo>
                    <a:pt x="331" y="702"/>
                  </a:lnTo>
                  <a:lnTo>
                    <a:pt x="331" y="704"/>
                  </a:lnTo>
                  <a:lnTo>
                    <a:pt x="329" y="705"/>
                  </a:lnTo>
                  <a:lnTo>
                    <a:pt x="329" y="707"/>
                  </a:lnTo>
                  <a:lnTo>
                    <a:pt x="328" y="705"/>
                  </a:lnTo>
                  <a:lnTo>
                    <a:pt x="326" y="705"/>
                  </a:lnTo>
                  <a:lnTo>
                    <a:pt x="326" y="704"/>
                  </a:lnTo>
                  <a:lnTo>
                    <a:pt x="325" y="704"/>
                  </a:lnTo>
                  <a:lnTo>
                    <a:pt x="323" y="702"/>
                  </a:lnTo>
                  <a:lnTo>
                    <a:pt x="325" y="702"/>
                  </a:lnTo>
                  <a:lnTo>
                    <a:pt x="323" y="701"/>
                  </a:lnTo>
                  <a:lnTo>
                    <a:pt x="323" y="702"/>
                  </a:lnTo>
                  <a:lnTo>
                    <a:pt x="322" y="702"/>
                  </a:lnTo>
                  <a:lnTo>
                    <a:pt x="322" y="701"/>
                  </a:lnTo>
                  <a:lnTo>
                    <a:pt x="320" y="704"/>
                  </a:lnTo>
                  <a:lnTo>
                    <a:pt x="317" y="704"/>
                  </a:lnTo>
                  <a:lnTo>
                    <a:pt x="316" y="702"/>
                  </a:lnTo>
                  <a:lnTo>
                    <a:pt x="316" y="704"/>
                  </a:lnTo>
                  <a:lnTo>
                    <a:pt x="317" y="704"/>
                  </a:lnTo>
                  <a:lnTo>
                    <a:pt x="316" y="705"/>
                  </a:lnTo>
                  <a:lnTo>
                    <a:pt x="311" y="705"/>
                  </a:lnTo>
                  <a:lnTo>
                    <a:pt x="311" y="702"/>
                  </a:lnTo>
                  <a:lnTo>
                    <a:pt x="313" y="699"/>
                  </a:lnTo>
                  <a:lnTo>
                    <a:pt x="313" y="698"/>
                  </a:lnTo>
                  <a:lnTo>
                    <a:pt x="311" y="699"/>
                  </a:lnTo>
                  <a:lnTo>
                    <a:pt x="311" y="702"/>
                  </a:lnTo>
                  <a:lnTo>
                    <a:pt x="310" y="702"/>
                  </a:lnTo>
                  <a:lnTo>
                    <a:pt x="310" y="701"/>
                  </a:lnTo>
                  <a:lnTo>
                    <a:pt x="308" y="701"/>
                  </a:lnTo>
                  <a:lnTo>
                    <a:pt x="307" y="699"/>
                  </a:lnTo>
                  <a:lnTo>
                    <a:pt x="307" y="698"/>
                  </a:lnTo>
                  <a:lnTo>
                    <a:pt x="306" y="699"/>
                  </a:lnTo>
                  <a:lnTo>
                    <a:pt x="306" y="696"/>
                  </a:lnTo>
                  <a:lnTo>
                    <a:pt x="304" y="696"/>
                  </a:lnTo>
                  <a:lnTo>
                    <a:pt x="304" y="695"/>
                  </a:lnTo>
                  <a:lnTo>
                    <a:pt x="301" y="695"/>
                  </a:lnTo>
                  <a:lnTo>
                    <a:pt x="301" y="693"/>
                  </a:lnTo>
                  <a:lnTo>
                    <a:pt x="300" y="693"/>
                  </a:lnTo>
                  <a:lnTo>
                    <a:pt x="300" y="692"/>
                  </a:lnTo>
                  <a:lnTo>
                    <a:pt x="298" y="690"/>
                  </a:lnTo>
                  <a:lnTo>
                    <a:pt x="298" y="687"/>
                  </a:lnTo>
                  <a:lnTo>
                    <a:pt x="297" y="686"/>
                  </a:lnTo>
                  <a:lnTo>
                    <a:pt x="297" y="681"/>
                  </a:lnTo>
                  <a:lnTo>
                    <a:pt x="295" y="681"/>
                  </a:lnTo>
                  <a:lnTo>
                    <a:pt x="295" y="680"/>
                  </a:lnTo>
                  <a:lnTo>
                    <a:pt x="297" y="680"/>
                  </a:lnTo>
                  <a:lnTo>
                    <a:pt x="295" y="678"/>
                  </a:lnTo>
                  <a:lnTo>
                    <a:pt x="297" y="678"/>
                  </a:lnTo>
                  <a:lnTo>
                    <a:pt x="298" y="677"/>
                  </a:lnTo>
                  <a:lnTo>
                    <a:pt x="295" y="677"/>
                  </a:lnTo>
                  <a:lnTo>
                    <a:pt x="295" y="675"/>
                  </a:lnTo>
                  <a:lnTo>
                    <a:pt x="297" y="672"/>
                  </a:lnTo>
                  <a:lnTo>
                    <a:pt x="295" y="674"/>
                  </a:lnTo>
                  <a:lnTo>
                    <a:pt x="295" y="672"/>
                  </a:lnTo>
                  <a:lnTo>
                    <a:pt x="292" y="669"/>
                  </a:lnTo>
                  <a:lnTo>
                    <a:pt x="294" y="668"/>
                  </a:lnTo>
                  <a:lnTo>
                    <a:pt x="292" y="668"/>
                  </a:lnTo>
                  <a:lnTo>
                    <a:pt x="291" y="666"/>
                  </a:lnTo>
                  <a:lnTo>
                    <a:pt x="291" y="665"/>
                  </a:lnTo>
                  <a:lnTo>
                    <a:pt x="292" y="665"/>
                  </a:lnTo>
                  <a:lnTo>
                    <a:pt x="292" y="666"/>
                  </a:lnTo>
                  <a:lnTo>
                    <a:pt x="294" y="666"/>
                  </a:lnTo>
                  <a:lnTo>
                    <a:pt x="294" y="665"/>
                  </a:lnTo>
                  <a:lnTo>
                    <a:pt x="292" y="665"/>
                  </a:lnTo>
                  <a:lnTo>
                    <a:pt x="292" y="663"/>
                  </a:lnTo>
                  <a:lnTo>
                    <a:pt x="291" y="663"/>
                  </a:lnTo>
                  <a:lnTo>
                    <a:pt x="291" y="665"/>
                  </a:lnTo>
                  <a:lnTo>
                    <a:pt x="289" y="663"/>
                  </a:lnTo>
                  <a:lnTo>
                    <a:pt x="291" y="662"/>
                  </a:lnTo>
                  <a:lnTo>
                    <a:pt x="291" y="660"/>
                  </a:lnTo>
                  <a:lnTo>
                    <a:pt x="292" y="659"/>
                  </a:lnTo>
                  <a:lnTo>
                    <a:pt x="294" y="659"/>
                  </a:lnTo>
                  <a:lnTo>
                    <a:pt x="294" y="656"/>
                  </a:lnTo>
                  <a:lnTo>
                    <a:pt x="292" y="656"/>
                  </a:lnTo>
                  <a:lnTo>
                    <a:pt x="291" y="657"/>
                  </a:lnTo>
                  <a:lnTo>
                    <a:pt x="291" y="656"/>
                  </a:lnTo>
                  <a:lnTo>
                    <a:pt x="289" y="656"/>
                  </a:lnTo>
                  <a:lnTo>
                    <a:pt x="289" y="654"/>
                  </a:lnTo>
                  <a:lnTo>
                    <a:pt x="286" y="654"/>
                  </a:lnTo>
                  <a:lnTo>
                    <a:pt x="286" y="656"/>
                  </a:lnTo>
                  <a:lnTo>
                    <a:pt x="283" y="654"/>
                  </a:lnTo>
                  <a:lnTo>
                    <a:pt x="282" y="654"/>
                  </a:lnTo>
                  <a:lnTo>
                    <a:pt x="282" y="653"/>
                  </a:lnTo>
                  <a:lnTo>
                    <a:pt x="280" y="653"/>
                  </a:lnTo>
                  <a:lnTo>
                    <a:pt x="280" y="654"/>
                  </a:lnTo>
                  <a:lnTo>
                    <a:pt x="279" y="653"/>
                  </a:lnTo>
                  <a:lnTo>
                    <a:pt x="267" y="653"/>
                  </a:lnTo>
                  <a:lnTo>
                    <a:pt x="267" y="651"/>
                  </a:lnTo>
                  <a:lnTo>
                    <a:pt x="268" y="651"/>
                  </a:lnTo>
                  <a:lnTo>
                    <a:pt x="270" y="650"/>
                  </a:lnTo>
                  <a:lnTo>
                    <a:pt x="268" y="650"/>
                  </a:lnTo>
                  <a:lnTo>
                    <a:pt x="268" y="641"/>
                  </a:lnTo>
                  <a:lnTo>
                    <a:pt x="270" y="639"/>
                  </a:lnTo>
                  <a:lnTo>
                    <a:pt x="270" y="638"/>
                  </a:lnTo>
                  <a:lnTo>
                    <a:pt x="271" y="636"/>
                  </a:lnTo>
                  <a:lnTo>
                    <a:pt x="271" y="635"/>
                  </a:lnTo>
                  <a:lnTo>
                    <a:pt x="270" y="633"/>
                  </a:lnTo>
                  <a:lnTo>
                    <a:pt x="270" y="632"/>
                  </a:lnTo>
                  <a:lnTo>
                    <a:pt x="268" y="630"/>
                  </a:lnTo>
                  <a:lnTo>
                    <a:pt x="267" y="630"/>
                  </a:lnTo>
                  <a:lnTo>
                    <a:pt x="264" y="627"/>
                  </a:lnTo>
                  <a:lnTo>
                    <a:pt x="262" y="627"/>
                  </a:lnTo>
                  <a:lnTo>
                    <a:pt x="262" y="626"/>
                  </a:lnTo>
                  <a:lnTo>
                    <a:pt x="264" y="626"/>
                  </a:lnTo>
                  <a:lnTo>
                    <a:pt x="264" y="623"/>
                  </a:lnTo>
                  <a:lnTo>
                    <a:pt x="262" y="623"/>
                  </a:lnTo>
                  <a:lnTo>
                    <a:pt x="262" y="620"/>
                  </a:lnTo>
                  <a:lnTo>
                    <a:pt x="261" y="618"/>
                  </a:lnTo>
                  <a:lnTo>
                    <a:pt x="259" y="618"/>
                  </a:lnTo>
                  <a:lnTo>
                    <a:pt x="259" y="617"/>
                  </a:lnTo>
                  <a:lnTo>
                    <a:pt x="256" y="614"/>
                  </a:lnTo>
                  <a:lnTo>
                    <a:pt x="256" y="615"/>
                  </a:lnTo>
                  <a:lnTo>
                    <a:pt x="255" y="615"/>
                  </a:lnTo>
                  <a:lnTo>
                    <a:pt x="253" y="614"/>
                  </a:lnTo>
                  <a:lnTo>
                    <a:pt x="247" y="614"/>
                  </a:lnTo>
                  <a:lnTo>
                    <a:pt x="246" y="615"/>
                  </a:lnTo>
                  <a:lnTo>
                    <a:pt x="244" y="615"/>
                  </a:lnTo>
                  <a:lnTo>
                    <a:pt x="244" y="617"/>
                  </a:lnTo>
                  <a:lnTo>
                    <a:pt x="243" y="618"/>
                  </a:lnTo>
                  <a:lnTo>
                    <a:pt x="243" y="620"/>
                  </a:lnTo>
                  <a:lnTo>
                    <a:pt x="241" y="620"/>
                  </a:lnTo>
                  <a:lnTo>
                    <a:pt x="241" y="621"/>
                  </a:lnTo>
                  <a:lnTo>
                    <a:pt x="240" y="621"/>
                  </a:lnTo>
                  <a:lnTo>
                    <a:pt x="237" y="623"/>
                  </a:lnTo>
                  <a:lnTo>
                    <a:pt x="231" y="623"/>
                  </a:lnTo>
                  <a:lnTo>
                    <a:pt x="229" y="624"/>
                  </a:lnTo>
                  <a:lnTo>
                    <a:pt x="228" y="624"/>
                  </a:lnTo>
                  <a:lnTo>
                    <a:pt x="226" y="626"/>
                  </a:lnTo>
                  <a:lnTo>
                    <a:pt x="225" y="626"/>
                  </a:lnTo>
                  <a:lnTo>
                    <a:pt x="222" y="627"/>
                  </a:lnTo>
                  <a:lnTo>
                    <a:pt x="220" y="627"/>
                  </a:lnTo>
                  <a:lnTo>
                    <a:pt x="213" y="626"/>
                  </a:lnTo>
                  <a:lnTo>
                    <a:pt x="208" y="626"/>
                  </a:lnTo>
                  <a:lnTo>
                    <a:pt x="208" y="624"/>
                  </a:lnTo>
                  <a:lnTo>
                    <a:pt x="207" y="624"/>
                  </a:lnTo>
                  <a:lnTo>
                    <a:pt x="207" y="626"/>
                  </a:lnTo>
                  <a:lnTo>
                    <a:pt x="201" y="626"/>
                  </a:lnTo>
                  <a:lnTo>
                    <a:pt x="201" y="627"/>
                  </a:lnTo>
                  <a:lnTo>
                    <a:pt x="198" y="630"/>
                  </a:lnTo>
                  <a:lnTo>
                    <a:pt x="196" y="629"/>
                  </a:lnTo>
                  <a:lnTo>
                    <a:pt x="187" y="629"/>
                  </a:lnTo>
                  <a:lnTo>
                    <a:pt x="186" y="627"/>
                  </a:lnTo>
                  <a:lnTo>
                    <a:pt x="184" y="629"/>
                  </a:lnTo>
                  <a:lnTo>
                    <a:pt x="183" y="629"/>
                  </a:lnTo>
                  <a:lnTo>
                    <a:pt x="181" y="627"/>
                  </a:lnTo>
                  <a:lnTo>
                    <a:pt x="178" y="629"/>
                  </a:lnTo>
                  <a:lnTo>
                    <a:pt x="177" y="629"/>
                  </a:lnTo>
                  <a:lnTo>
                    <a:pt x="175" y="630"/>
                  </a:lnTo>
                  <a:lnTo>
                    <a:pt x="175" y="635"/>
                  </a:lnTo>
                  <a:lnTo>
                    <a:pt x="177" y="635"/>
                  </a:lnTo>
                  <a:lnTo>
                    <a:pt x="177" y="636"/>
                  </a:lnTo>
                  <a:lnTo>
                    <a:pt x="172" y="636"/>
                  </a:lnTo>
                  <a:lnTo>
                    <a:pt x="174" y="633"/>
                  </a:lnTo>
                  <a:lnTo>
                    <a:pt x="171" y="630"/>
                  </a:lnTo>
                  <a:lnTo>
                    <a:pt x="169" y="630"/>
                  </a:lnTo>
                  <a:lnTo>
                    <a:pt x="168" y="632"/>
                  </a:lnTo>
                  <a:lnTo>
                    <a:pt x="166" y="632"/>
                  </a:lnTo>
                  <a:lnTo>
                    <a:pt x="165" y="633"/>
                  </a:lnTo>
                  <a:lnTo>
                    <a:pt x="162" y="630"/>
                  </a:lnTo>
                  <a:lnTo>
                    <a:pt x="157" y="630"/>
                  </a:lnTo>
                  <a:lnTo>
                    <a:pt x="157" y="629"/>
                  </a:lnTo>
                  <a:lnTo>
                    <a:pt x="153" y="629"/>
                  </a:lnTo>
                  <a:lnTo>
                    <a:pt x="150" y="627"/>
                  </a:lnTo>
                  <a:lnTo>
                    <a:pt x="150" y="624"/>
                  </a:lnTo>
                  <a:lnTo>
                    <a:pt x="148" y="624"/>
                  </a:lnTo>
                  <a:lnTo>
                    <a:pt x="148" y="623"/>
                  </a:lnTo>
                  <a:lnTo>
                    <a:pt x="151" y="623"/>
                  </a:lnTo>
                  <a:lnTo>
                    <a:pt x="151" y="621"/>
                  </a:lnTo>
                  <a:lnTo>
                    <a:pt x="148" y="623"/>
                  </a:lnTo>
                  <a:lnTo>
                    <a:pt x="147" y="623"/>
                  </a:lnTo>
                  <a:lnTo>
                    <a:pt x="147" y="621"/>
                  </a:lnTo>
                  <a:lnTo>
                    <a:pt x="144" y="623"/>
                  </a:lnTo>
                  <a:lnTo>
                    <a:pt x="146" y="623"/>
                  </a:lnTo>
                  <a:lnTo>
                    <a:pt x="146" y="624"/>
                  </a:lnTo>
                  <a:lnTo>
                    <a:pt x="147" y="623"/>
                  </a:lnTo>
                  <a:lnTo>
                    <a:pt x="148" y="624"/>
                  </a:lnTo>
                  <a:lnTo>
                    <a:pt x="148" y="627"/>
                  </a:lnTo>
                  <a:lnTo>
                    <a:pt x="141" y="627"/>
                  </a:lnTo>
                  <a:lnTo>
                    <a:pt x="137" y="626"/>
                  </a:lnTo>
                  <a:lnTo>
                    <a:pt x="126" y="626"/>
                  </a:lnTo>
                  <a:lnTo>
                    <a:pt x="125" y="627"/>
                  </a:lnTo>
                  <a:lnTo>
                    <a:pt x="123" y="627"/>
                  </a:lnTo>
                  <a:lnTo>
                    <a:pt x="123" y="629"/>
                  </a:lnTo>
                  <a:lnTo>
                    <a:pt x="122" y="630"/>
                  </a:lnTo>
                  <a:lnTo>
                    <a:pt x="122" y="632"/>
                  </a:lnTo>
                  <a:lnTo>
                    <a:pt x="123" y="633"/>
                  </a:lnTo>
                  <a:lnTo>
                    <a:pt x="123" y="635"/>
                  </a:lnTo>
                  <a:lnTo>
                    <a:pt x="120" y="635"/>
                  </a:lnTo>
                  <a:lnTo>
                    <a:pt x="119" y="633"/>
                  </a:lnTo>
                  <a:lnTo>
                    <a:pt x="113" y="633"/>
                  </a:lnTo>
                  <a:lnTo>
                    <a:pt x="110" y="632"/>
                  </a:lnTo>
                  <a:lnTo>
                    <a:pt x="104" y="632"/>
                  </a:lnTo>
                  <a:lnTo>
                    <a:pt x="102" y="633"/>
                  </a:lnTo>
                  <a:lnTo>
                    <a:pt x="96" y="633"/>
                  </a:lnTo>
                  <a:lnTo>
                    <a:pt x="89" y="632"/>
                  </a:lnTo>
                  <a:lnTo>
                    <a:pt x="75" y="632"/>
                  </a:lnTo>
                  <a:lnTo>
                    <a:pt x="75" y="635"/>
                  </a:lnTo>
                  <a:lnTo>
                    <a:pt x="74" y="633"/>
                  </a:lnTo>
                  <a:lnTo>
                    <a:pt x="72" y="635"/>
                  </a:lnTo>
                  <a:lnTo>
                    <a:pt x="71" y="635"/>
                  </a:lnTo>
                  <a:lnTo>
                    <a:pt x="69" y="636"/>
                  </a:lnTo>
                  <a:lnTo>
                    <a:pt x="69" y="639"/>
                  </a:lnTo>
                  <a:lnTo>
                    <a:pt x="71" y="639"/>
                  </a:lnTo>
                  <a:lnTo>
                    <a:pt x="71" y="641"/>
                  </a:lnTo>
                  <a:lnTo>
                    <a:pt x="69" y="641"/>
                  </a:lnTo>
                  <a:lnTo>
                    <a:pt x="66" y="639"/>
                  </a:lnTo>
                  <a:lnTo>
                    <a:pt x="66" y="638"/>
                  </a:lnTo>
                  <a:lnTo>
                    <a:pt x="68" y="638"/>
                  </a:lnTo>
                  <a:lnTo>
                    <a:pt x="68" y="636"/>
                  </a:lnTo>
                  <a:lnTo>
                    <a:pt x="65" y="633"/>
                  </a:lnTo>
                  <a:lnTo>
                    <a:pt x="60" y="633"/>
                  </a:lnTo>
                  <a:lnTo>
                    <a:pt x="57" y="635"/>
                  </a:lnTo>
                  <a:lnTo>
                    <a:pt x="56" y="636"/>
                  </a:lnTo>
                  <a:lnTo>
                    <a:pt x="57" y="636"/>
                  </a:lnTo>
                  <a:lnTo>
                    <a:pt x="57" y="639"/>
                  </a:lnTo>
                  <a:lnTo>
                    <a:pt x="48" y="639"/>
                  </a:lnTo>
                  <a:lnTo>
                    <a:pt x="47" y="641"/>
                  </a:lnTo>
                  <a:lnTo>
                    <a:pt x="47" y="642"/>
                  </a:lnTo>
                  <a:lnTo>
                    <a:pt x="45" y="642"/>
                  </a:lnTo>
                  <a:lnTo>
                    <a:pt x="45" y="644"/>
                  </a:lnTo>
                  <a:lnTo>
                    <a:pt x="41" y="644"/>
                  </a:lnTo>
                  <a:lnTo>
                    <a:pt x="41" y="639"/>
                  </a:lnTo>
                  <a:lnTo>
                    <a:pt x="42" y="639"/>
                  </a:lnTo>
                  <a:lnTo>
                    <a:pt x="42" y="638"/>
                  </a:lnTo>
                  <a:lnTo>
                    <a:pt x="44" y="636"/>
                  </a:lnTo>
                  <a:lnTo>
                    <a:pt x="44" y="635"/>
                  </a:lnTo>
                  <a:lnTo>
                    <a:pt x="42" y="635"/>
                  </a:lnTo>
                  <a:lnTo>
                    <a:pt x="42" y="636"/>
                  </a:lnTo>
                  <a:lnTo>
                    <a:pt x="41" y="636"/>
                  </a:lnTo>
                  <a:lnTo>
                    <a:pt x="41" y="635"/>
                  </a:lnTo>
                  <a:lnTo>
                    <a:pt x="35" y="635"/>
                  </a:lnTo>
                  <a:lnTo>
                    <a:pt x="36" y="630"/>
                  </a:lnTo>
                  <a:lnTo>
                    <a:pt x="36" y="612"/>
                  </a:lnTo>
                  <a:lnTo>
                    <a:pt x="38" y="612"/>
                  </a:lnTo>
                  <a:lnTo>
                    <a:pt x="38" y="606"/>
                  </a:lnTo>
                  <a:lnTo>
                    <a:pt x="39" y="605"/>
                  </a:lnTo>
                  <a:lnTo>
                    <a:pt x="41" y="605"/>
                  </a:lnTo>
                  <a:lnTo>
                    <a:pt x="41" y="603"/>
                  </a:lnTo>
                  <a:lnTo>
                    <a:pt x="42" y="603"/>
                  </a:lnTo>
                  <a:lnTo>
                    <a:pt x="42" y="599"/>
                  </a:lnTo>
                  <a:lnTo>
                    <a:pt x="44" y="594"/>
                  </a:lnTo>
                  <a:lnTo>
                    <a:pt x="44" y="585"/>
                  </a:lnTo>
                  <a:lnTo>
                    <a:pt x="45" y="584"/>
                  </a:lnTo>
                  <a:lnTo>
                    <a:pt x="45" y="582"/>
                  </a:lnTo>
                  <a:lnTo>
                    <a:pt x="47" y="581"/>
                  </a:lnTo>
                  <a:lnTo>
                    <a:pt x="53" y="579"/>
                  </a:lnTo>
                  <a:lnTo>
                    <a:pt x="54" y="579"/>
                  </a:lnTo>
                  <a:lnTo>
                    <a:pt x="54" y="578"/>
                  </a:lnTo>
                  <a:lnTo>
                    <a:pt x="57" y="578"/>
                  </a:lnTo>
                  <a:lnTo>
                    <a:pt x="59" y="577"/>
                  </a:lnTo>
                  <a:lnTo>
                    <a:pt x="59" y="575"/>
                  </a:lnTo>
                  <a:lnTo>
                    <a:pt x="60" y="575"/>
                  </a:lnTo>
                  <a:lnTo>
                    <a:pt x="63" y="577"/>
                  </a:lnTo>
                  <a:lnTo>
                    <a:pt x="65" y="577"/>
                  </a:lnTo>
                  <a:lnTo>
                    <a:pt x="65" y="572"/>
                  </a:lnTo>
                  <a:lnTo>
                    <a:pt x="66" y="571"/>
                  </a:lnTo>
                  <a:lnTo>
                    <a:pt x="66" y="568"/>
                  </a:lnTo>
                  <a:lnTo>
                    <a:pt x="69" y="568"/>
                  </a:lnTo>
                  <a:lnTo>
                    <a:pt x="69" y="566"/>
                  </a:lnTo>
                  <a:lnTo>
                    <a:pt x="72" y="566"/>
                  </a:lnTo>
                  <a:lnTo>
                    <a:pt x="72" y="565"/>
                  </a:lnTo>
                  <a:lnTo>
                    <a:pt x="81" y="565"/>
                  </a:lnTo>
                  <a:lnTo>
                    <a:pt x="83" y="563"/>
                  </a:lnTo>
                  <a:lnTo>
                    <a:pt x="87" y="563"/>
                  </a:lnTo>
                  <a:lnTo>
                    <a:pt x="87" y="562"/>
                  </a:lnTo>
                  <a:lnTo>
                    <a:pt x="107" y="562"/>
                  </a:lnTo>
                  <a:lnTo>
                    <a:pt x="107" y="559"/>
                  </a:lnTo>
                  <a:lnTo>
                    <a:pt x="108" y="551"/>
                  </a:lnTo>
                  <a:lnTo>
                    <a:pt x="111" y="550"/>
                  </a:lnTo>
                  <a:lnTo>
                    <a:pt x="111" y="548"/>
                  </a:lnTo>
                  <a:lnTo>
                    <a:pt x="110" y="547"/>
                  </a:lnTo>
                  <a:lnTo>
                    <a:pt x="110" y="539"/>
                  </a:lnTo>
                  <a:lnTo>
                    <a:pt x="111" y="539"/>
                  </a:lnTo>
                  <a:lnTo>
                    <a:pt x="111" y="538"/>
                  </a:lnTo>
                  <a:lnTo>
                    <a:pt x="113" y="536"/>
                  </a:lnTo>
                  <a:lnTo>
                    <a:pt x="114" y="538"/>
                  </a:lnTo>
                  <a:lnTo>
                    <a:pt x="113" y="533"/>
                  </a:lnTo>
                  <a:lnTo>
                    <a:pt x="111" y="533"/>
                  </a:lnTo>
                  <a:lnTo>
                    <a:pt x="111" y="532"/>
                  </a:lnTo>
                  <a:lnTo>
                    <a:pt x="110" y="532"/>
                  </a:lnTo>
                  <a:lnTo>
                    <a:pt x="108" y="530"/>
                  </a:lnTo>
                  <a:lnTo>
                    <a:pt x="102" y="530"/>
                  </a:lnTo>
                  <a:lnTo>
                    <a:pt x="99" y="532"/>
                  </a:lnTo>
                  <a:lnTo>
                    <a:pt x="89" y="532"/>
                  </a:lnTo>
                  <a:lnTo>
                    <a:pt x="87" y="529"/>
                  </a:lnTo>
                  <a:lnTo>
                    <a:pt x="89" y="529"/>
                  </a:lnTo>
                  <a:lnTo>
                    <a:pt x="89" y="526"/>
                  </a:lnTo>
                  <a:lnTo>
                    <a:pt x="87" y="526"/>
                  </a:lnTo>
                  <a:lnTo>
                    <a:pt x="90" y="520"/>
                  </a:lnTo>
                  <a:lnTo>
                    <a:pt x="90" y="508"/>
                  </a:lnTo>
                  <a:lnTo>
                    <a:pt x="89" y="503"/>
                  </a:lnTo>
                  <a:lnTo>
                    <a:pt x="89" y="500"/>
                  </a:lnTo>
                  <a:lnTo>
                    <a:pt x="87" y="496"/>
                  </a:lnTo>
                  <a:lnTo>
                    <a:pt x="87" y="485"/>
                  </a:lnTo>
                  <a:lnTo>
                    <a:pt x="89" y="481"/>
                  </a:lnTo>
                  <a:lnTo>
                    <a:pt x="89" y="479"/>
                  </a:lnTo>
                  <a:lnTo>
                    <a:pt x="87" y="478"/>
                  </a:lnTo>
                  <a:lnTo>
                    <a:pt x="80" y="479"/>
                  </a:lnTo>
                  <a:lnTo>
                    <a:pt x="78" y="479"/>
                  </a:lnTo>
                  <a:lnTo>
                    <a:pt x="75" y="476"/>
                  </a:lnTo>
                  <a:lnTo>
                    <a:pt x="75" y="473"/>
                  </a:lnTo>
                  <a:lnTo>
                    <a:pt x="74" y="473"/>
                  </a:lnTo>
                  <a:lnTo>
                    <a:pt x="71" y="470"/>
                  </a:lnTo>
                  <a:lnTo>
                    <a:pt x="69" y="470"/>
                  </a:lnTo>
                  <a:lnTo>
                    <a:pt x="63" y="469"/>
                  </a:lnTo>
                  <a:lnTo>
                    <a:pt x="60" y="467"/>
                  </a:lnTo>
                  <a:lnTo>
                    <a:pt x="59" y="467"/>
                  </a:lnTo>
                  <a:lnTo>
                    <a:pt x="56" y="466"/>
                  </a:lnTo>
                  <a:lnTo>
                    <a:pt x="54" y="466"/>
                  </a:lnTo>
                  <a:lnTo>
                    <a:pt x="51" y="464"/>
                  </a:lnTo>
                  <a:lnTo>
                    <a:pt x="50" y="464"/>
                  </a:lnTo>
                  <a:lnTo>
                    <a:pt x="36" y="451"/>
                  </a:lnTo>
                  <a:lnTo>
                    <a:pt x="35" y="448"/>
                  </a:lnTo>
                  <a:lnTo>
                    <a:pt x="33" y="446"/>
                  </a:lnTo>
                  <a:lnTo>
                    <a:pt x="33" y="443"/>
                  </a:lnTo>
                  <a:lnTo>
                    <a:pt x="30" y="439"/>
                  </a:lnTo>
                  <a:lnTo>
                    <a:pt x="29" y="437"/>
                  </a:lnTo>
                  <a:lnTo>
                    <a:pt x="30" y="436"/>
                  </a:lnTo>
                  <a:lnTo>
                    <a:pt x="27" y="433"/>
                  </a:lnTo>
                  <a:lnTo>
                    <a:pt x="27" y="431"/>
                  </a:lnTo>
                  <a:lnTo>
                    <a:pt x="26" y="431"/>
                  </a:lnTo>
                  <a:lnTo>
                    <a:pt x="26" y="430"/>
                  </a:lnTo>
                  <a:lnTo>
                    <a:pt x="23" y="427"/>
                  </a:lnTo>
                  <a:lnTo>
                    <a:pt x="23" y="419"/>
                  </a:lnTo>
                  <a:lnTo>
                    <a:pt x="21" y="419"/>
                  </a:lnTo>
                  <a:lnTo>
                    <a:pt x="20" y="418"/>
                  </a:lnTo>
                  <a:lnTo>
                    <a:pt x="17" y="413"/>
                  </a:lnTo>
                  <a:lnTo>
                    <a:pt x="9" y="406"/>
                  </a:lnTo>
                  <a:lnTo>
                    <a:pt x="6" y="401"/>
                  </a:lnTo>
                  <a:lnTo>
                    <a:pt x="3" y="398"/>
                  </a:lnTo>
                  <a:lnTo>
                    <a:pt x="0" y="394"/>
                  </a:lnTo>
                  <a:lnTo>
                    <a:pt x="2" y="395"/>
                  </a:lnTo>
                  <a:lnTo>
                    <a:pt x="5" y="397"/>
                  </a:lnTo>
                  <a:lnTo>
                    <a:pt x="9" y="397"/>
                  </a:lnTo>
                  <a:lnTo>
                    <a:pt x="12" y="398"/>
                  </a:lnTo>
                  <a:lnTo>
                    <a:pt x="17" y="400"/>
                  </a:lnTo>
                  <a:lnTo>
                    <a:pt x="20" y="401"/>
                  </a:lnTo>
                  <a:lnTo>
                    <a:pt x="24" y="403"/>
                  </a:lnTo>
                  <a:lnTo>
                    <a:pt x="27" y="403"/>
                  </a:lnTo>
                  <a:lnTo>
                    <a:pt x="32" y="404"/>
                  </a:lnTo>
                  <a:lnTo>
                    <a:pt x="35" y="406"/>
                  </a:lnTo>
                  <a:lnTo>
                    <a:pt x="44" y="409"/>
                  </a:lnTo>
                  <a:lnTo>
                    <a:pt x="47" y="410"/>
                  </a:lnTo>
                  <a:lnTo>
                    <a:pt x="51" y="410"/>
                  </a:lnTo>
                  <a:lnTo>
                    <a:pt x="54" y="412"/>
                  </a:lnTo>
                  <a:lnTo>
                    <a:pt x="59" y="413"/>
                  </a:lnTo>
                  <a:lnTo>
                    <a:pt x="62" y="415"/>
                  </a:lnTo>
                  <a:lnTo>
                    <a:pt x="71" y="418"/>
                  </a:lnTo>
                  <a:lnTo>
                    <a:pt x="84" y="418"/>
                  </a:lnTo>
                  <a:lnTo>
                    <a:pt x="89" y="416"/>
                  </a:lnTo>
                  <a:lnTo>
                    <a:pt x="101" y="416"/>
                  </a:lnTo>
                  <a:lnTo>
                    <a:pt x="102" y="415"/>
                  </a:lnTo>
                  <a:lnTo>
                    <a:pt x="116" y="415"/>
                  </a:lnTo>
                  <a:lnTo>
                    <a:pt x="119" y="413"/>
                  </a:lnTo>
                  <a:lnTo>
                    <a:pt x="125" y="413"/>
                  </a:lnTo>
                  <a:lnTo>
                    <a:pt x="135" y="415"/>
                  </a:lnTo>
                  <a:lnTo>
                    <a:pt x="144" y="416"/>
                  </a:lnTo>
                  <a:lnTo>
                    <a:pt x="148" y="419"/>
                  </a:lnTo>
                  <a:lnTo>
                    <a:pt x="150" y="419"/>
                  </a:lnTo>
                  <a:lnTo>
                    <a:pt x="151" y="415"/>
                  </a:lnTo>
                  <a:lnTo>
                    <a:pt x="153" y="415"/>
                  </a:lnTo>
                  <a:lnTo>
                    <a:pt x="154" y="413"/>
                  </a:lnTo>
                  <a:lnTo>
                    <a:pt x="166" y="410"/>
                  </a:lnTo>
                  <a:lnTo>
                    <a:pt x="183" y="410"/>
                  </a:lnTo>
                  <a:lnTo>
                    <a:pt x="190" y="412"/>
                  </a:lnTo>
                  <a:lnTo>
                    <a:pt x="192" y="412"/>
                  </a:lnTo>
                  <a:lnTo>
                    <a:pt x="199" y="409"/>
                  </a:lnTo>
                  <a:lnTo>
                    <a:pt x="202" y="409"/>
                  </a:lnTo>
                  <a:lnTo>
                    <a:pt x="204" y="407"/>
                  </a:lnTo>
                  <a:lnTo>
                    <a:pt x="207" y="407"/>
                  </a:lnTo>
                  <a:lnTo>
                    <a:pt x="210" y="406"/>
                  </a:lnTo>
                  <a:lnTo>
                    <a:pt x="213" y="406"/>
                  </a:lnTo>
                  <a:lnTo>
                    <a:pt x="216" y="404"/>
                  </a:lnTo>
                  <a:lnTo>
                    <a:pt x="217" y="404"/>
                  </a:lnTo>
                  <a:lnTo>
                    <a:pt x="220" y="403"/>
                  </a:lnTo>
                  <a:lnTo>
                    <a:pt x="223" y="403"/>
                  </a:lnTo>
                  <a:lnTo>
                    <a:pt x="226" y="401"/>
                  </a:lnTo>
                  <a:lnTo>
                    <a:pt x="229" y="401"/>
                  </a:lnTo>
                  <a:lnTo>
                    <a:pt x="231" y="400"/>
                  </a:lnTo>
                  <a:lnTo>
                    <a:pt x="234" y="400"/>
                  </a:lnTo>
                  <a:lnTo>
                    <a:pt x="237" y="398"/>
                  </a:lnTo>
                  <a:lnTo>
                    <a:pt x="246" y="395"/>
                  </a:lnTo>
                  <a:lnTo>
                    <a:pt x="252" y="389"/>
                  </a:lnTo>
                  <a:lnTo>
                    <a:pt x="247" y="385"/>
                  </a:lnTo>
                  <a:lnTo>
                    <a:pt x="247" y="380"/>
                  </a:lnTo>
                  <a:lnTo>
                    <a:pt x="250" y="374"/>
                  </a:lnTo>
                  <a:lnTo>
                    <a:pt x="250" y="371"/>
                  </a:lnTo>
                  <a:lnTo>
                    <a:pt x="252" y="364"/>
                  </a:lnTo>
                  <a:lnTo>
                    <a:pt x="252" y="361"/>
                  </a:lnTo>
                  <a:lnTo>
                    <a:pt x="250" y="361"/>
                  </a:lnTo>
                  <a:lnTo>
                    <a:pt x="250" y="359"/>
                  </a:lnTo>
                  <a:lnTo>
                    <a:pt x="249" y="358"/>
                  </a:lnTo>
                  <a:lnTo>
                    <a:pt x="249" y="355"/>
                  </a:lnTo>
                  <a:lnTo>
                    <a:pt x="253" y="338"/>
                  </a:lnTo>
                  <a:lnTo>
                    <a:pt x="255" y="337"/>
                  </a:lnTo>
                  <a:lnTo>
                    <a:pt x="261" y="335"/>
                  </a:lnTo>
                  <a:lnTo>
                    <a:pt x="262" y="335"/>
                  </a:lnTo>
                  <a:lnTo>
                    <a:pt x="267" y="331"/>
                  </a:lnTo>
                  <a:lnTo>
                    <a:pt x="267" y="329"/>
                  </a:lnTo>
                  <a:lnTo>
                    <a:pt x="268" y="323"/>
                  </a:lnTo>
                  <a:lnTo>
                    <a:pt x="270" y="322"/>
                  </a:lnTo>
                  <a:lnTo>
                    <a:pt x="273" y="322"/>
                  </a:lnTo>
                  <a:lnTo>
                    <a:pt x="276" y="319"/>
                  </a:lnTo>
                  <a:lnTo>
                    <a:pt x="279" y="317"/>
                  </a:lnTo>
                  <a:lnTo>
                    <a:pt x="283" y="317"/>
                  </a:lnTo>
                  <a:lnTo>
                    <a:pt x="285" y="319"/>
                  </a:lnTo>
                  <a:lnTo>
                    <a:pt x="283" y="320"/>
                  </a:lnTo>
                  <a:lnTo>
                    <a:pt x="285" y="322"/>
                  </a:lnTo>
                  <a:lnTo>
                    <a:pt x="286" y="322"/>
                  </a:lnTo>
                  <a:lnTo>
                    <a:pt x="288" y="320"/>
                  </a:lnTo>
                  <a:lnTo>
                    <a:pt x="289" y="320"/>
                  </a:lnTo>
                  <a:lnTo>
                    <a:pt x="291" y="322"/>
                  </a:lnTo>
                  <a:lnTo>
                    <a:pt x="295" y="322"/>
                  </a:lnTo>
                  <a:lnTo>
                    <a:pt x="298" y="323"/>
                  </a:lnTo>
                  <a:lnTo>
                    <a:pt x="300" y="322"/>
                  </a:lnTo>
                  <a:lnTo>
                    <a:pt x="303" y="322"/>
                  </a:lnTo>
                  <a:lnTo>
                    <a:pt x="306" y="320"/>
                  </a:lnTo>
                  <a:lnTo>
                    <a:pt x="307" y="320"/>
                  </a:lnTo>
                  <a:lnTo>
                    <a:pt x="313" y="317"/>
                  </a:lnTo>
                  <a:lnTo>
                    <a:pt x="314" y="317"/>
                  </a:lnTo>
                  <a:lnTo>
                    <a:pt x="314" y="316"/>
                  </a:lnTo>
                  <a:lnTo>
                    <a:pt x="317" y="316"/>
                  </a:lnTo>
                  <a:lnTo>
                    <a:pt x="317" y="313"/>
                  </a:lnTo>
                  <a:lnTo>
                    <a:pt x="311" y="313"/>
                  </a:lnTo>
                  <a:lnTo>
                    <a:pt x="310" y="312"/>
                  </a:lnTo>
                  <a:lnTo>
                    <a:pt x="310" y="309"/>
                  </a:lnTo>
                  <a:lnTo>
                    <a:pt x="308" y="309"/>
                  </a:lnTo>
                  <a:lnTo>
                    <a:pt x="308" y="306"/>
                  </a:lnTo>
                  <a:lnTo>
                    <a:pt x="317" y="306"/>
                  </a:lnTo>
                  <a:lnTo>
                    <a:pt x="322" y="301"/>
                  </a:lnTo>
                  <a:lnTo>
                    <a:pt x="322" y="300"/>
                  </a:lnTo>
                  <a:lnTo>
                    <a:pt x="328" y="300"/>
                  </a:lnTo>
                  <a:lnTo>
                    <a:pt x="328" y="298"/>
                  </a:lnTo>
                  <a:lnTo>
                    <a:pt x="331" y="297"/>
                  </a:lnTo>
                  <a:lnTo>
                    <a:pt x="331" y="295"/>
                  </a:lnTo>
                  <a:lnTo>
                    <a:pt x="334" y="292"/>
                  </a:lnTo>
                  <a:lnTo>
                    <a:pt x="334" y="291"/>
                  </a:lnTo>
                  <a:lnTo>
                    <a:pt x="335" y="289"/>
                  </a:lnTo>
                  <a:lnTo>
                    <a:pt x="337" y="291"/>
                  </a:lnTo>
                  <a:lnTo>
                    <a:pt x="338" y="291"/>
                  </a:lnTo>
                  <a:lnTo>
                    <a:pt x="340" y="292"/>
                  </a:lnTo>
                  <a:lnTo>
                    <a:pt x="340" y="294"/>
                  </a:lnTo>
                  <a:lnTo>
                    <a:pt x="344" y="294"/>
                  </a:lnTo>
                  <a:lnTo>
                    <a:pt x="350" y="295"/>
                  </a:lnTo>
                  <a:lnTo>
                    <a:pt x="352" y="295"/>
                  </a:lnTo>
                  <a:lnTo>
                    <a:pt x="353" y="294"/>
                  </a:lnTo>
                  <a:lnTo>
                    <a:pt x="349" y="294"/>
                  </a:lnTo>
                  <a:lnTo>
                    <a:pt x="347" y="292"/>
                  </a:lnTo>
                  <a:lnTo>
                    <a:pt x="349" y="291"/>
                  </a:lnTo>
                  <a:lnTo>
                    <a:pt x="355" y="291"/>
                  </a:lnTo>
                  <a:lnTo>
                    <a:pt x="356" y="292"/>
                  </a:lnTo>
                  <a:lnTo>
                    <a:pt x="361" y="292"/>
                  </a:lnTo>
                  <a:lnTo>
                    <a:pt x="361" y="297"/>
                  </a:lnTo>
                  <a:lnTo>
                    <a:pt x="362" y="298"/>
                  </a:lnTo>
                  <a:lnTo>
                    <a:pt x="364" y="301"/>
                  </a:lnTo>
                  <a:lnTo>
                    <a:pt x="367" y="301"/>
                  </a:lnTo>
                  <a:lnTo>
                    <a:pt x="370" y="300"/>
                  </a:lnTo>
                  <a:lnTo>
                    <a:pt x="374" y="300"/>
                  </a:lnTo>
                  <a:lnTo>
                    <a:pt x="379" y="295"/>
                  </a:lnTo>
                  <a:lnTo>
                    <a:pt x="380" y="295"/>
                  </a:lnTo>
                  <a:lnTo>
                    <a:pt x="385" y="286"/>
                  </a:lnTo>
                  <a:lnTo>
                    <a:pt x="388" y="283"/>
                  </a:lnTo>
                  <a:lnTo>
                    <a:pt x="386" y="279"/>
                  </a:lnTo>
                  <a:lnTo>
                    <a:pt x="386" y="264"/>
                  </a:lnTo>
                  <a:lnTo>
                    <a:pt x="385" y="259"/>
                  </a:lnTo>
                  <a:lnTo>
                    <a:pt x="385" y="255"/>
                  </a:lnTo>
                  <a:lnTo>
                    <a:pt x="388" y="252"/>
                  </a:lnTo>
                  <a:lnTo>
                    <a:pt x="391" y="250"/>
                  </a:lnTo>
                  <a:lnTo>
                    <a:pt x="394" y="246"/>
                  </a:lnTo>
                  <a:lnTo>
                    <a:pt x="394" y="241"/>
                  </a:lnTo>
                  <a:lnTo>
                    <a:pt x="392" y="241"/>
                  </a:lnTo>
                  <a:lnTo>
                    <a:pt x="392" y="238"/>
                  </a:lnTo>
                  <a:lnTo>
                    <a:pt x="397" y="234"/>
                  </a:lnTo>
                  <a:lnTo>
                    <a:pt x="397" y="232"/>
                  </a:lnTo>
                  <a:lnTo>
                    <a:pt x="395" y="226"/>
                  </a:lnTo>
                  <a:lnTo>
                    <a:pt x="397" y="226"/>
                  </a:lnTo>
                  <a:lnTo>
                    <a:pt x="397" y="225"/>
                  </a:lnTo>
                  <a:lnTo>
                    <a:pt x="400" y="222"/>
                  </a:lnTo>
                  <a:lnTo>
                    <a:pt x="406" y="222"/>
                  </a:lnTo>
                  <a:lnTo>
                    <a:pt x="409" y="220"/>
                  </a:lnTo>
                  <a:lnTo>
                    <a:pt x="410" y="220"/>
                  </a:lnTo>
                  <a:lnTo>
                    <a:pt x="413" y="222"/>
                  </a:lnTo>
                  <a:lnTo>
                    <a:pt x="415" y="222"/>
                  </a:lnTo>
                  <a:lnTo>
                    <a:pt x="418" y="219"/>
                  </a:lnTo>
                  <a:lnTo>
                    <a:pt x="421" y="219"/>
                  </a:lnTo>
                  <a:lnTo>
                    <a:pt x="422" y="216"/>
                  </a:lnTo>
                  <a:lnTo>
                    <a:pt x="427" y="216"/>
                  </a:lnTo>
                  <a:lnTo>
                    <a:pt x="434" y="208"/>
                  </a:lnTo>
                  <a:lnTo>
                    <a:pt x="434" y="205"/>
                  </a:lnTo>
                  <a:lnTo>
                    <a:pt x="431" y="202"/>
                  </a:lnTo>
                  <a:lnTo>
                    <a:pt x="431" y="201"/>
                  </a:lnTo>
                  <a:lnTo>
                    <a:pt x="428" y="201"/>
                  </a:lnTo>
                  <a:lnTo>
                    <a:pt x="428" y="198"/>
                  </a:lnTo>
                  <a:lnTo>
                    <a:pt x="427" y="198"/>
                  </a:lnTo>
                  <a:lnTo>
                    <a:pt x="427" y="196"/>
                  </a:lnTo>
                  <a:lnTo>
                    <a:pt x="428" y="193"/>
                  </a:lnTo>
                  <a:lnTo>
                    <a:pt x="428" y="190"/>
                  </a:lnTo>
                  <a:lnTo>
                    <a:pt x="427" y="190"/>
                  </a:lnTo>
                  <a:lnTo>
                    <a:pt x="427" y="189"/>
                  </a:lnTo>
                  <a:lnTo>
                    <a:pt x="425" y="187"/>
                  </a:lnTo>
                  <a:lnTo>
                    <a:pt x="425" y="186"/>
                  </a:lnTo>
                  <a:lnTo>
                    <a:pt x="424" y="187"/>
                  </a:lnTo>
                  <a:lnTo>
                    <a:pt x="421" y="186"/>
                  </a:lnTo>
                  <a:lnTo>
                    <a:pt x="419" y="186"/>
                  </a:lnTo>
                  <a:lnTo>
                    <a:pt x="418" y="184"/>
                  </a:lnTo>
                  <a:lnTo>
                    <a:pt x="418" y="181"/>
                  </a:lnTo>
                  <a:lnTo>
                    <a:pt x="416" y="180"/>
                  </a:lnTo>
                  <a:lnTo>
                    <a:pt x="415" y="177"/>
                  </a:lnTo>
                  <a:lnTo>
                    <a:pt x="413" y="175"/>
                  </a:lnTo>
                  <a:lnTo>
                    <a:pt x="413" y="174"/>
                  </a:lnTo>
                  <a:lnTo>
                    <a:pt x="415" y="172"/>
                  </a:lnTo>
                  <a:lnTo>
                    <a:pt x="415" y="169"/>
                  </a:lnTo>
                  <a:lnTo>
                    <a:pt x="421" y="169"/>
                  </a:lnTo>
                  <a:lnTo>
                    <a:pt x="430" y="172"/>
                  </a:lnTo>
                  <a:lnTo>
                    <a:pt x="433" y="172"/>
                  </a:lnTo>
                  <a:lnTo>
                    <a:pt x="434" y="174"/>
                  </a:lnTo>
                  <a:lnTo>
                    <a:pt x="439" y="174"/>
                  </a:lnTo>
                  <a:lnTo>
                    <a:pt x="443" y="175"/>
                  </a:lnTo>
                  <a:lnTo>
                    <a:pt x="445" y="175"/>
                  </a:lnTo>
                  <a:lnTo>
                    <a:pt x="451" y="174"/>
                  </a:lnTo>
                  <a:lnTo>
                    <a:pt x="460" y="174"/>
                  </a:lnTo>
                  <a:lnTo>
                    <a:pt x="461" y="172"/>
                  </a:lnTo>
                  <a:lnTo>
                    <a:pt x="461" y="171"/>
                  </a:lnTo>
                  <a:lnTo>
                    <a:pt x="464" y="171"/>
                  </a:lnTo>
                  <a:lnTo>
                    <a:pt x="466" y="169"/>
                  </a:lnTo>
                  <a:lnTo>
                    <a:pt x="468" y="169"/>
                  </a:lnTo>
                  <a:lnTo>
                    <a:pt x="468" y="168"/>
                  </a:lnTo>
                  <a:lnTo>
                    <a:pt x="470" y="168"/>
                  </a:lnTo>
                  <a:lnTo>
                    <a:pt x="468" y="166"/>
                  </a:lnTo>
                  <a:lnTo>
                    <a:pt x="468" y="165"/>
                  </a:lnTo>
                  <a:lnTo>
                    <a:pt x="470" y="165"/>
                  </a:lnTo>
                  <a:lnTo>
                    <a:pt x="471" y="163"/>
                  </a:lnTo>
                  <a:lnTo>
                    <a:pt x="471" y="160"/>
                  </a:lnTo>
                  <a:lnTo>
                    <a:pt x="470" y="157"/>
                  </a:lnTo>
                  <a:lnTo>
                    <a:pt x="471" y="153"/>
                  </a:lnTo>
                  <a:lnTo>
                    <a:pt x="471" y="151"/>
                  </a:lnTo>
                  <a:lnTo>
                    <a:pt x="468" y="150"/>
                  </a:lnTo>
                  <a:lnTo>
                    <a:pt x="466" y="147"/>
                  </a:lnTo>
                  <a:lnTo>
                    <a:pt x="466" y="145"/>
                  </a:lnTo>
                  <a:lnTo>
                    <a:pt x="464" y="144"/>
                  </a:lnTo>
                  <a:lnTo>
                    <a:pt x="464" y="141"/>
                  </a:lnTo>
                  <a:lnTo>
                    <a:pt x="468" y="141"/>
                  </a:lnTo>
                  <a:lnTo>
                    <a:pt x="470" y="139"/>
                  </a:lnTo>
                  <a:lnTo>
                    <a:pt x="470" y="133"/>
                  </a:lnTo>
                  <a:lnTo>
                    <a:pt x="473" y="132"/>
                  </a:lnTo>
                  <a:lnTo>
                    <a:pt x="474" y="130"/>
                  </a:lnTo>
                  <a:lnTo>
                    <a:pt x="476" y="130"/>
                  </a:lnTo>
                  <a:lnTo>
                    <a:pt x="477" y="126"/>
                  </a:lnTo>
                  <a:lnTo>
                    <a:pt x="479" y="124"/>
                  </a:lnTo>
                  <a:lnTo>
                    <a:pt x="479" y="123"/>
                  </a:lnTo>
                  <a:lnTo>
                    <a:pt x="480" y="121"/>
                  </a:lnTo>
                  <a:lnTo>
                    <a:pt x="486" y="120"/>
                  </a:lnTo>
                  <a:lnTo>
                    <a:pt x="488" y="118"/>
                  </a:lnTo>
                  <a:lnTo>
                    <a:pt x="488" y="117"/>
                  </a:lnTo>
                  <a:lnTo>
                    <a:pt x="489" y="115"/>
                  </a:lnTo>
                  <a:lnTo>
                    <a:pt x="489" y="112"/>
                  </a:lnTo>
                  <a:lnTo>
                    <a:pt x="495" y="106"/>
                  </a:lnTo>
                  <a:lnTo>
                    <a:pt x="495" y="105"/>
                  </a:lnTo>
                  <a:lnTo>
                    <a:pt x="491" y="100"/>
                  </a:lnTo>
                  <a:lnTo>
                    <a:pt x="491" y="97"/>
                  </a:lnTo>
                  <a:lnTo>
                    <a:pt x="492" y="96"/>
                  </a:lnTo>
                  <a:lnTo>
                    <a:pt x="494" y="93"/>
                  </a:lnTo>
                  <a:lnTo>
                    <a:pt x="495" y="93"/>
                  </a:lnTo>
                  <a:lnTo>
                    <a:pt x="495" y="91"/>
                  </a:lnTo>
                  <a:lnTo>
                    <a:pt x="494" y="91"/>
                  </a:lnTo>
                  <a:lnTo>
                    <a:pt x="494" y="90"/>
                  </a:lnTo>
                  <a:lnTo>
                    <a:pt x="492" y="90"/>
                  </a:lnTo>
                  <a:lnTo>
                    <a:pt x="492" y="87"/>
                  </a:lnTo>
                  <a:lnTo>
                    <a:pt x="494" y="85"/>
                  </a:lnTo>
                  <a:lnTo>
                    <a:pt x="492" y="84"/>
                  </a:lnTo>
                  <a:lnTo>
                    <a:pt x="489" y="82"/>
                  </a:lnTo>
                  <a:lnTo>
                    <a:pt x="489" y="81"/>
                  </a:lnTo>
                  <a:lnTo>
                    <a:pt x="488" y="81"/>
                  </a:lnTo>
                  <a:lnTo>
                    <a:pt x="489" y="79"/>
                  </a:lnTo>
                  <a:lnTo>
                    <a:pt x="489" y="75"/>
                  </a:lnTo>
                  <a:lnTo>
                    <a:pt x="488" y="75"/>
                  </a:lnTo>
                  <a:lnTo>
                    <a:pt x="488" y="70"/>
                  </a:lnTo>
                  <a:lnTo>
                    <a:pt x="483" y="66"/>
                  </a:lnTo>
                  <a:lnTo>
                    <a:pt x="483" y="64"/>
                  </a:lnTo>
                  <a:lnTo>
                    <a:pt x="480" y="61"/>
                  </a:lnTo>
                  <a:lnTo>
                    <a:pt x="477" y="61"/>
                  </a:lnTo>
                  <a:lnTo>
                    <a:pt x="477" y="60"/>
                  </a:lnTo>
                  <a:lnTo>
                    <a:pt x="476" y="60"/>
                  </a:lnTo>
                  <a:lnTo>
                    <a:pt x="474" y="58"/>
                  </a:lnTo>
                  <a:lnTo>
                    <a:pt x="474" y="56"/>
                  </a:lnTo>
                  <a:lnTo>
                    <a:pt x="476" y="54"/>
                  </a:lnTo>
                  <a:lnTo>
                    <a:pt x="476" y="53"/>
                  </a:lnTo>
                  <a:lnTo>
                    <a:pt x="477" y="51"/>
                  </a:lnTo>
                  <a:lnTo>
                    <a:pt x="480" y="51"/>
                  </a:lnTo>
                  <a:lnTo>
                    <a:pt x="480" y="48"/>
                  </a:lnTo>
                  <a:lnTo>
                    <a:pt x="483" y="47"/>
                  </a:lnTo>
                  <a:lnTo>
                    <a:pt x="485" y="47"/>
                  </a:lnTo>
                  <a:lnTo>
                    <a:pt x="488" y="42"/>
                  </a:lnTo>
                  <a:lnTo>
                    <a:pt x="491" y="42"/>
                  </a:lnTo>
                  <a:lnTo>
                    <a:pt x="492" y="41"/>
                  </a:lnTo>
                  <a:lnTo>
                    <a:pt x="491" y="41"/>
                  </a:lnTo>
                  <a:lnTo>
                    <a:pt x="491" y="39"/>
                  </a:lnTo>
                  <a:lnTo>
                    <a:pt x="492" y="38"/>
                  </a:lnTo>
                  <a:lnTo>
                    <a:pt x="492" y="36"/>
                  </a:lnTo>
                  <a:lnTo>
                    <a:pt x="494" y="36"/>
                  </a:lnTo>
                  <a:lnTo>
                    <a:pt x="494" y="33"/>
                  </a:lnTo>
                  <a:lnTo>
                    <a:pt x="495" y="33"/>
                  </a:lnTo>
                  <a:lnTo>
                    <a:pt x="495" y="35"/>
                  </a:lnTo>
                  <a:lnTo>
                    <a:pt x="498" y="36"/>
                  </a:lnTo>
                  <a:lnTo>
                    <a:pt x="500" y="38"/>
                  </a:lnTo>
                  <a:lnTo>
                    <a:pt x="501" y="38"/>
                  </a:lnTo>
                  <a:lnTo>
                    <a:pt x="503" y="36"/>
                  </a:lnTo>
                  <a:lnTo>
                    <a:pt x="501" y="35"/>
                  </a:lnTo>
                  <a:lnTo>
                    <a:pt x="501" y="33"/>
                  </a:lnTo>
                  <a:lnTo>
                    <a:pt x="503" y="32"/>
                  </a:lnTo>
                  <a:lnTo>
                    <a:pt x="506" y="32"/>
                  </a:lnTo>
                  <a:lnTo>
                    <a:pt x="507" y="30"/>
                  </a:lnTo>
                  <a:lnTo>
                    <a:pt x="510" y="29"/>
                  </a:lnTo>
                  <a:lnTo>
                    <a:pt x="510" y="27"/>
                  </a:lnTo>
                  <a:lnTo>
                    <a:pt x="513" y="27"/>
                  </a:lnTo>
                  <a:lnTo>
                    <a:pt x="515" y="26"/>
                  </a:lnTo>
                  <a:lnTo>
                    <a:pt x="515" y="24"/>
                  </a:lnTo>
                  <a:lnTo>
                    <a:pt x="516" y="23"/>
                  </a:lnTo>
                  <a:lnTo>
                    <a:pt x="519" y="23"/>
                  </a:lnTo>
                  <a:lnTo>
                    <a:pt x="519" y="20"/>
                  </a:lnTo>
                  <a:lnTo>
                    <a:pt x="522" y="18"/>
                  </a:lnTo>
                  <a:lnTo>
                    <a:pt x="525" y="18"/>
                  </a:lnTo>
                  <a:lnTo>
                    <a:pt x="528" y="17"/>
                  </a:lnTo>
                  <a:lnTo>
                    <a:pt x="533" y="17"/>
                  </a:lnTo>
                  <a:lnTo>
                    <a:pt x="536" y="14"/>
                  </a:lnTo>
                  <a:lnTo>
                    <a:pt x="537" y="14"/>
                  </a:lnTo>
                  <a:lnTo>
                    <a:pt x="540" y="12"/>
                  </a:lnTo>
                  <a:lnTo>
                    <a:pt x="554" y="12"/>
                  </a:lnTo>
                  <a:lnTo>
                    <a:pt x="555" y="11"/>
                  </a:lnTo>
                  <a:lnTo>
                    <a:pt x="557" y="12"/>
                  </a:lnTo>
                  <a:lnTo>
                    <a:pt x="558" y="12"/>
                  </a:lnTo>
                  <a:lnTo>
                    <a:pt x="560" y="11"/>
                  </a:lnTo>
                  <a:lnTo>
                    <a:pt x="567" y="9"/>
                  </a:lnTo>
                  <a:lnTo>
                    <a:pt x="569" y="11"/>
                  </a:lnTo>
                  <a:lnTo>
                    <a:pt x="570" y="11"/>
                  </a:lnTo>
                  <a:lnTo>
                    <a:pt x="573" y="9"/>
                  </a:lnTo>
                  <a:lnTo>
                    <a:pt x="596" y="9"/>
                  </a:lnTo>
                  <a:lnTo>
                    <a:pt x="597" y="11"/>
                  </a:lnTo>
                  <a:lnTo>
                    <a:pt x="602" y="12"/>
                  </a:lnTo>
                  <a:lnTo>
                    <a:pt x="603" y="12"/>
                  </a:lnTo>
                  <a:lnTo>
                    <a:pt x="605" y="14"/>
                  </a:lnTo>
                  <a:lnTo>
                    <a:pt x="606" y="14"/>
                  </a:lnTo>
                  <a:lnTo>
                    <a:pt x="608" y="12"/>
                  </a:lnTo>
                  <a:lnTo>
                    <a:pt x="609" y="12"/>
                  </a:lnTo>
                  <a:lnTo>
                    <a:pt x="609" y="9"/>
                  </a:lnTo>
                  <a:lnTo>
                    <a:pt x="611" y="8"/>
                  </a:lnTo>
                  <a:lnTo>
                    <a:pt x="614" y="9"/>
                  </a:lnTo>
                  <a:lnTo>
                    <a:pt x="617" y="6"/>
                  </a:lnTo>
                  <a:lnTo>
                    <a:pt x="621" y="5"/>
                  </a:lnTo>
                  <a:lnTo>
                    <a:pt x="623" y="3"/>
                  </a:lnTo>
                  <a:lnTo>
                    <a:pt x="626" y="3"/>
                  </a:lnTo>
                  <a:lnTo>
                    <a:pt x="627" y="5"/>
                  </a:lnTo>
                  <a:lnTo>
                    <a:pt x="628" y="5"/>
                  </a:lnTo>
                  <a:lnTo>
                    <a:pt x="628" y="2"/>
                  </a:lnTo>
                  <a:lnTo>
                    <a:pt x="630" y="2"/>
                  </a:lnTo>
                  <a:lnTo>
                    <a:pt x="633"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highlight>
                  <a:srgbClr val="FFFF00"/>
                </a:highlight>
              </a:endParaRPr>
            </a:p>
          </p:txBody>
        </p:sp>
        <p:sp>
          <p:nvSpPr>
            <p:cNvPr id="75" name="Freeform 18">
              <a:extLst>
                <a:ext uri="{FF2B5EF4-FFF2-40B4-BE49-F238E27FC236}">
                  <a16:creationId xmlns:a16="http://schemas.microsoft.com/office/drawing/2014/main" id="{051C11F4-C198-B4FC-C722-300D7E99386B}"/>
                </a:ext>
              </a:extLst>
            </p:cNvPr>
            <p:cNvSpPr>
              <a:spLocks noEditPoints="1"/>
            </p:cNvSpPr>
            <p:nvPr/>
          </p:nvSpPr>
          <p:spPr bwMode="auto">
            <a:xfrm>
              <a:off x="3911764" y="2951685"/>
              <a:ext cx="312752" cy="335842"/>
            </a:xfrm>
            <a:custGeom>
              <a:avLst/>
              <a:gdLst/>
              <a:ahLst/>
              <a:cxnLst>
                <a:cxn ang="0">
                  <a:pos x="39" y="311"/>
                </a:cxn>
                <a:cxn ang="0">
                  <a:pos x="27" y="271"/>
                </a:cxn>
                <a:cxn ang="0">
                  <a:pos x="30" y="212"/>
                </a:cxn>
                <a:cxn ang="0">
                  <a:pos x="30" y="208"/>
                </a:cxn>
                <a:cxn ang="0">
                  <a:pos x="267" y="3"/>
                </a:cxn>
                <a:cxn ang="0">
                  <a:pos x="284" y="24"/>
                </a:cxn>
                <a:cxn ang="0">
                  <a:pos x="295" y="36"/>
                </a:cxn>
                <a:cxn ang="0">
                  <a:pos x="286" y="42"/>
                </a:cxn>
                <a:cxn ang="0">
                  <a:pos x="276" y="55"/>
                </a:cxn>
                <a:cxn ang="0">
                  <a:pos x="264" y="67"/>
                </a:cxn>
                <a:cxn ang="0">
                  <a:pos x="255" y="97"/>
                </a:cxn>
                <a:cxn ang="0">
                  <a:pos x="255" y="124"/>
                </a:cxn>
                <a:cxn ang="0">
                  <a:pos x="234" y="144"/>
                </a:cxn>
                <a:cxn ang="0">
                  <a:pos x="214" y="161"/>
                </a:cxn>
                <a:cxn ang="0">
                  <a:pos x="199" y="175"/>
                </a:cxn>
                <a:cxn ang="0">
                  <a:pos x="186" y="181"/>
                </a:cxn>
                <a:cxn ang="0">
                  <a:pos x="165" y="190"/>
                </a:cxn>
                <a:cxn ang="0">
                  <a:pos x="154" y="205"/>
                </a:cxn>
                <a:cxn ang="0">
                  <a:pos x="145" y="220"/>
                </a:cxn>
                <a:cxn ang="0">
                  <a:pos x="151" y="230"/>
                </a:cxn>
                <a:cxn ang="0">
                  <a:pos x="174" y="250"/>
                </a:cxn>
                <a:cxn ang="0">
                  <a:pos x="168" y="283"/>
                </a:cxn>
                <a:cxn ang="0">
                  <a:pos x="124" y="295"/>
                </a:cxn>
                <a:cxn ang="0">
                  <a:pos x="104" y="310"/>
                </a:cxn>
                <a:cxn ang="0">
                  <a:pos x="84" y="310"/>
                </a:cxn>
                <a:cxn ang="0">
                  <a:pos x="74" y="301"/>
                </a:cxn>
                <a:cxn ang="0">
                  <a:pos x="68" y="307"/>
                </a:cxn>
                <a:cxn ang="0">
                  <a:pos x="53" y="320"/>
                </a:cxn>
                <a:cxn ang="0">
                  <a:pos x="60" y="307"/>
                </a:cxn>
                <a:cxn ang="0">
                  <a:pos x="51" y="308"/>
                </a:cxn>
                <a:cxn ang="0">
                  <a:pos x="39" y="302"/>
                </a:cxn>
                <a:cxn ang="0">
                  <a:pos x="50" y="298"/>
                </a:cxn>
                <a:cxn ang="0">
                  <a:pos x="26" y="292"/>
                </a:cxn>
                <a:cxn ang="0">
                  <a:pos x="32" y="281"/>
                </a:cxn>
                <a:cxn ang="0">
                  <a:pos x="42" y="266"/>
                </a:cxn>
                <a:cxn ang="0">
                  <a:pos x="60" y="263"/>
                </a:cxn>
                <a:cxn ang="0">
                  <a:pos x="51" y="259"/>
                </a:cxn>
                <a:cxn ang="0">
                  <a:pos x="47" y="244"/>
                </a:cxn>
                <a:cxn ang="0">
                  <a:pos x="56" y="221"/>
                </a:cxn>
                <a:cxn ang="0">
                  <a:pos x="51" y="211"/>
                </a:cxn>
                <a:cxn ang="0">
                  <a:pos x="35" y="205"/>
                </a:cxn>
                <a:cxn ang="0">
                  <a:pos x="18" y="205"/>
                </a:cxn>
                <a:cxn ang="0">
                  <a:pos x="11" y="194"/>
                </a:cxn>
                <a:cxn ang="0">
                  <a:pos x="9" y="181"/>
                </a:cxn>
                <a:cxn ang="0">
                  <a:pos x="32" y="155"/>
                </a:cxn>
                <a:cxn ang="0">
                  <a:pos x="47" y="147"/>
                </a:cxn>
                <a:cxn ang="0">
                  <a:pos x="65" y="138"/>
                </a:cxn>
                <a:cxn ang="0">
                  <a:pos x="86" y="127"/>
                </a:cxn>
                <a:cxn ang="0">
                  <a:pos x="101" y="106"/>
                </a:cxn>
                <a:cxn ang="0">
                  <a:pos x="114" y="82"/>
                </a:cxn>
                <a:cxn ang="0">
                  <a:pos x="127" y="76"/>
                </a:cxn>
                <a:cxn ang="0">
                  <a:pos x="138" y="90"/>
                </a:cxn>
                <a:cxn ang="0">
                  <a:pos x="154" y="96"/>
                </a:cxn>
                <a:cxn ang="0">
                  <a:pos x="175" y="94"/>
                </a:cxn>
                <a:cxn ang="0">
                  <a:pos x="186" y="82"/>
                </a:cxn>
                <a:cxn ang="0">
                  <a:pos x="192" y="61"/>
                </a:cxn>
                <a:cxn ang="0">
                  <a:pos x="228" y="51"/>
                </a:cxn>
                <a:cxn ang="0">
                  <a:pos x="231" y="39"/>
                </a:cxn>
                <a:cxn ang="0">
                  <a:pos x="246" y="39"/>
                </a:cxn>
                <a:cxn ang="0">
                  <a:pos x="255" y="16"/>
                </a:cxn>
              </a:cxnLst>
              <a:rect l="0" t="0" r="r" b="b"/>
              <a:pathLst>
                <a:path w="298" h="320">
                  <a:moveTo>
                    <a:pt x="50" y="316"/>
                  </a:moveTo>
                  <a:lnTo>
                    <a:pt x="51" y="316"/>
                  </a:lnTo>
                  <a:lnTo>
                    <a:pt x="51" y="317"/>
                  </a:lnTo>
                  <a:lnTo>
                    <a:pt x="50" y="317"/>
                  </a:lnTo>
                  <a:lnTo>
                    <a:pt x="48" y="319"/>
                  </a:lnTo>
                  <a:lnTo>
                    <a:pt x="47" y="319"/>
                  </a:lnTo>
                  <a:lnTo>
                    <a:pt x="50" y="316"/>
                  </a:lnTo>
                  <a:close/>
                  <a:moveTo>
                    <a:pt x="45" y="311"/>
                  </a:moveTo>
                  <a:lnTo>
                    <a:pt x="45" y="313"/>
                  </a:lnTo>
                  <a:lnTo>
                    <a:pt x="44" y="313"/>
                  </a:lnTo>
                  <a:lnTo>
                    <a:pt x="45" y="311"/>
                  </a:lnTo>
                  <a:close/>
                  <a:moveTo>
                    <a:pt x="36" y="311"/>
                  </a:moveTo>
                  <a:lnTo>
                    <a:pt x="39" y="311"/>
                  </a:lnTo>
                  <a:lnTo>
                    <a:pt x="38" y="313"/>
                  </a:lnTo>
                  <a:lnTo>
                    <a:pt x="36" y="313"/>
                  </a:lnTo>
                  <a:lnTo>
                    <a:pt x="36" y="311"/>
                  </a:lnTo>
                  <a:close/>
                  <a:moveTo>
                    <a:pt x="56" y="308"/>
                  </a:moveTo>
                  <a:lnTo>
                    <a:pt x="57" y="308"/>
                  </a:lnTo>
                  <a:lnTo>
                    <a:pt x="57" y="310"/>
                  </a:lnTo>
                  <a:lnTo>
                    <a:pt x="56" y="308"/>
                  </a:lnTo>
                  <a:close/>
                  <a:moveTo>
                    <a:pt x="27" y="269"/>
                  </a:moveTo>
                  <a:lnTo>
                    <a:pt x="32" y="269"/>
                  </a:lnTo>
                  <a:lnTo>
                    <a:pt x="32" y="272"/>
                  </a:lnTo>
                  <a:lnTo>
                    <a:pt x="30" y="272"/>
                  </a:lnTo>
                  <a:lnTo>
                    <a:pt x="30" y="271"/>
                  </a:lnTo>
                  <a:lnTo>
                    <a:pt x="27" y="271"/>
                  </a:lnTo>
                  <a:lnTo>
                    <a:pt x="27" y="269"/>
                  </a:lnTo>
                  <a:close/>
                  <a:moveTo>
                    <a:pt x="42" y="262"/>
                  </a:moveTo>
                  <a:lnTo>
                    <a:pt x="44" y="262"/>
                  </a:lnTo>
                  <a:lnTo>
                    <a:pt x="44" y="265"/>
                  </a:lnTo>
                  <a:lnTo>
                    <a:pt x="42" y="265"/>
                  </a:lnTo>
                  <a:lnTo>
                    <a:pt x="42" y="262"/>
                  </a:lnTo>
                  <a:close/>
                  <a:moveTo>
                    <a:pt x="18" y="215"/>
                  </a:moveTo>
                  <a:lnTo>
                    <a:pt x="20" y="215"/>
                  </a:lnTo>
                  <a:lnTo>
                    <a:pt x="20" y="217"/>
                  </a:lnTo>
                  <a:lnTo>
                    <a:pt x="18" y="217"/>
                  </a:lnTo>
                  <a:lnTo>
                    <a:pt x="18" y="215"/>
                  </a:lnTo>
                  <a:close/>
                  <a:moveTo>
                    <a:pt x="29" y="212"/>
                  </a:moveTo>
                  <a:lnTo>
                    <a:pt x="30" y="212"/>
                  </a:lnTo>
                  <a:lnTo>
                    <a:pt x="29" y="214"/>
                  </a:lnTo>
                  <a:lnTo>
                    <a:pt x="29" y="212"/>
                  </a:lnTo>
                  <a:close/>
                  <a:moveTo>
                    <a:pt x="18" y="209"/>
                  </a:moveTo>
                  <a:lnTo>
                    <a:pt x="23" y="209"/>
                  </a:lnTo>
                  <a:lnTo>
                    <a:pt x="23" y="211"/>
                  </a:lnTo>
                  <a:lnTo>
                    <a:pt x="18" y="211"/>
                  </a:lnTo>
                  <a:lnTo>
                    <a:pt x="18" y="209"/>
                  </a:lnTo>
                  <a:close/>
                  <a:moveTo>
                    <a:pt x="32" y="206"/>
                  </a:moveTo>
                  <a:lnTo>
                    <a:pt x="33" y="206"/>
                  </a:lnTo>
                  <a:lnTo>
                    <a:pt x="33" y="211"/>
                  </a:lnTo>
                  <a:lnTo>
                    <a:pt x="32" y="211"/>
                  </a:lnTo>
                  <a:lnTo>
                    <a:pt x="30" y="212"/>
                  </a:lnTo>
                  <a:lnTo>
                    <a:pt x="30" y="208"/>
                  </a:lnTo>
                  <a:lnTo>
                    <a:pt x="32" y="206"/>
                  </a:lnTo>
                  <a:close/>
                  <a:moveTo>
                    <a:pt x="26" y="196"/>
                  </a:moveTo>
                  <a:lnTo>
                    <a:pt x="24" y="197"/>
                  </a:lnTo>
                  <a:lnTo>
                    <a:pt x="26" y="197"/>
                  </a:lnTo>
                  <a:lnTo>
                    <a:pt x="26" y="196"/>
                  </a:lnTo>
                  <a:close/>
                  <a:moveTo>
                    <a:pt x="0" y="194"/>
                  </a:moveTo>
                  <a:lnTo>
                    <a:pt x="2" y="194"/>
                  </a:lnTo>
                  <a:lnTo>
                    <a:pt x="2" y="196"/>
                  </a:lnTo>
                  <a:lnTo>
                    <a:pt x="0" y="196"/>
                  </a:lnTo>
                  <a:lnTo>
                    <a:pt x="0" y="194"/>
                  </a:lnTo>
                  <a:close/>
                  <a:moveTo>
                    <a:pt x="261" y="0"/>
                  </a:moveTo>
                  <a:lnTo>
                    <a:pt x="264" y="0"/>
                  </a:lnTo>
                  <a:lnTo>
                    <a:pt x="267" y="3"/>
                  </a:lnTo>
                  <a:lnTo>
                    <a:pt x="268" y="3"/>
                  </a:lnTo>
                  <a:lnTo>
                    <a:pt x="271" y="1"/>
                  </a:lnTo>
                  <a:lnTo>
                    <a:pt x="273" y="1"/>
                  </a:lnTo>
                  <a:lnTo>
                    <a:pt x="273" y="3"/>
                  </a:lnTo>
                  <a:lnTo>
                    <a:pt x="271" y="4"/>
                  </a:lnTo>
                  <a:lnTo>
                    <a:pt x="273" y="6"/>
                  </a:lnTo>
                  <a:lnTo>
                    <a:pt x="277" y="6"/>
                  </a:lnTo>
                  <a:lnTo>
                    <a:pt x="279" y="9"/>
                  </a:lnTo>
                  <a:lnTo>
                    <a:pt x="277" y="13"/>
                  </a:lnTo>
                  <a:lnTo>
                    <a:pt x="277" y="16"/>
                  </a:lnTo>
                  <a:lnTo>
                    <a:pt x="282" y="21"/>
                  </a:lnTo>
                  <a:lnTo>
                    <a:pt x="282" y="22"/>
                  </a:lnTo>
                  <a:lnTo>
                    <a:pt x="284" y="24"/>
                  </a:lnTo>
                  <a:lnTo>
                    <a:pt x="284" y="25"/>
                  </a:lnTo>
                  <a:lnTo>
                    <a:pt x="286" y="25"/>
                  </a:lnTo>
                  <a:lnTo>
                    <a:pt x="286" y="27"/>
                  </a:lnTo>
                  <a:lnTo>
                    <a:pt x="287" y="28"/>
                  </a:lnTo>
                  <a:lnTo>
                    <a:pt x="287" y="25"/>
                  </a:lnTo>
                  <a:lnTo>
                    <a:pt x="289" y="24"/>
                  </a:lnTo>
                  <a:lnTo>
                    <a:pt x="290" y="25"/>
                  </a:lnTo>
                  <a:lnTo>
                    <a:pt x="290" y="30"/>
                  </a:lnTo>
                  <a:lnTo>
                    <a:pt x="292" y="30"/>
                  </a:lnTo>
                  <a:lnTo>
                    <a:pt x="292" y="33"/>
                  </a:lnTo>
                  <a:lnTo>
                    <a:pt x="293" y="34"/>
                  </a:lnTo>
                  <a:lnTo>
                    <a:pt x="293" y="36"/>
                  </a:lnTo>
                  <a:lnTo>
                    <a:pt x="295" y="36"/>
                  </a:lnTo>
                  <a:lnTo>
                    <a:pt x="296" y="37"/>
                  </a:lnTo>
                  <a:lnTo>
                    <a:pt x="296" y="42"/>
                  </a:lnTo>
                  <a:lnTo>
                    <a:pt x="298" y="43"/>
                  </a:lnTo>
                  <a:lnTo>
                    <a:pt x="298" y="45"/>
                  </a:lnTo>
                  <a:lnTo>
                    <a:pt x="295" y="45"/>
                  </a:lnTo>
                  <a:lnTo>
                    <a:pt x="293" y="46"/>
                  </a:lnTo>
                  <a:lnTo>
                    <a:pt x="293" y="43"/>
                  </a:lnTo>
                  <a:lnTo>
                    <a:pt x="292" y="43"/>
                  </a:lnTo>
                  <a:lnTo>
                    <a:pt x="290" y="42"/>
                  </a:lnTo>
                  <a:lnTo>
                    <a:pt x="287" y="42"/>
                  </a:lnTo>
                  <a:lnTo>
                    <a:pt x="287" y="43"/>
                  </a:lnTo>
                  <a:lnTo>
                    <a:pt x="286" y="43"/>
                  </a:lnTo>
                  <a:lnTo>
                    <a:pt x="286" y="42"/>
                  </a:lnTo>
                  <a:lnTo>
                    <a:pt x="284" y="42"/>
                  </a:lnTo>
                  <a:lnTo>
                    <a:pt x="284" y="46"/>
                  </a:lnTo>
                  <a:lnTo>
                    <a:pt x="283" y="46"/>
                  </a:lnTo>
                  <a:lnTo>
                    <a:pt x="283" y="49"/>
                  </a:lnTo>
                  <a:lnTo>
                    <a:pt x="282" y="49"/>
                  </a:lnTo>
                  <a:lnTo>
                    <a:pt x="282" y="51"/>
                  </a:lnTo>
                  <a:lnTo>
                    <a:pt x="280" y="51"/>
                  </a:lnTo>
                  <a:lnTo>
                    <a:pt x="280" y="49"/>
                  </a:lnTo>
                  <a:lnTo>
                    <a:pt x="282" y="48"/>
                  </a:lnTo>
                  <a:lnTo>
                    <a:pt x="280" y="48"/>
                  </a:lnTo>
                  <a:lnTo>
                    <a:pt x="277" y="51"/>
                  </a:lnTo>
                  <a:lnTo>
                    <a:pt x="276" y="51"/>
                  </a:lnTo>
                  <a:lnTo>
                    <a:pt x="276" y="55"/>
                  </a:lnTo>
                  <a:lnTo>
                    <a:pt x="274" y="55"/>
                  </a:lnTo>
                  <a:lnTo>
                    <a:pt x="274" y="58"/>
                  </a:lnTo>
                  <a:lnTo>
                    <a:pt x="273" y="57"/>
                  </a:lnTo>
                  <a:lnTo>
                    <a:pt x="270" y="57"/>
                  </a:lnTo>
                  <a:lnTo>
                    <a:pt x="270" y="58"/>
                  </a:lnTo>
                  <a:lnTo>
                    <a:pt x="268" y="58"/>
                  </a:lnTo>
                  <a:lnTo>
                    <a:pt x="268" y="63"/>
                  </a:lnTo>
                  <a:lnTo>
                    <a:pt x="267" y="61"/>
                  </a:lnTo>
                  <a:lnTo>
                    <a:pt x="267" y="64"/>
                  </a:lnTo>
                  <a:lnTo>
                    <a:pt x="265" y="64"/>
                  </a:lnTo>
                  <a:lnTo>
                    <a:pt x="265" y="69"/>
                  </a:lnTo>
                  <a:lnTo>
                    <a:pt x="264" y="69"/>
                  </a:lnTo>
                  <a:lnTo>
                    <a:pt x="264" y="67"/>
                  </a:lnTo>
                  <a:lnTo>
                    <a:pt x="262" y="67"/>
                  </a:lnTo>
                  <a:lnTo>
                    <a:pt x="261" y="69"/>
                  </a:lnTo>
                  <a:lnTo>
                    <a:pt x="261" y="75"/>
                  </a:lnTo>
                  <a:lnTo>
                    <a:pt x="259" y="75"/>
                  </a:lnTo>
                  <a:lnTo>
                    <a:pt x="259" y="76"/>
                  </a:lnTo>
                  <a:lnTo>
                    <a:pt x="256" y="76"/>
                  </a:lnTo>
                  <a:lnTo>
                    <a:pt x="256" y="79"/>
                  </a:lnTo>
                  <a:lnTo>
                    <a:pt x="252" y="84"/>
                  </a:lnTo>
                  <a:lnTo>
                    <a:pt x="252" y="88"/>
                  </a:lnTo>
                  <a:lnTo>
                    <a:pt x="250" y="90"/>
                  </a:lnTo>
                  <a:lnTo>
                    <a:pt x="250" y="94"/>
                  </a:lnTo>
                  <a:lnTo>
                    <a:pt x="253" y="97"/>
                  </a:lnTo>
                  <a:lnTo>
                    <a:pt x="255" y="97"/>
                  </a:lnTo>
                  <a:lnTo>
                    <a:pt x="255" y="99"/>
                  </a:lnTo>
                  <a:lnTo>
                    <a:pt x="256" y="100"/>
                  </a:lnTo>
                  <a:lnTo>
                    <a:pt x="258" y="100"/>
                  </a:lnTo>
                  <a:lnTo>
                    <a:pt x="258" y="102"/>
                  </a:lnTo>
                  <a:lnTo>
                    <a:pt x="256" y="103"/>
                  </a:lnTo>
                  <a:lnTo>
                    <a:pt x="256" y="105"/>
                  </a:lnTo>
                  <a:lnTo>
                    <a:pt x="255" y="105"/>
                  </a:lnTo>
                  <a:lnTo>
                    <a:pt x="253" y="114"/>
                  </a:lnTo>
                  <a:lnTo>
                    <a:pt x="253" y="115"/>
                  </a:lnTo>
                  <a:lnTo>
                    <a:pt x="255" y="118"/>
                  </a:lnTo>
                  <a:lnTo>
                    <a:pt x="253" y="118"/>
                  </a:lnTo>
                  <a:lnTo>
                    <a:pt x="253" y="121"/>
                  </a:lnTo>
                  <a:lnTo>
                    <a:pt x="255" y="124"/>
                  </a:lnTo>
                  <a:lnTo>
                    <a:pt x="255" y="126"/>
                  </a:lnTo>
                  <a:lnTo>
                    <a:pt x="256" y="127"/>
                  </a:lnTo>
                  <a:lnTo>
                    <a:pt x="255" y="127"/>
                  </a:lnTo>
                  <a:lnTo>
                    <a:pt x="255" y="132"/>
                  </a:lnTo>
                  <a:lnTo>
                    <a:pt x="253" y="132"/>
                  </a:lnTo>
                  <a:lnTo>
                    <a:pt x="253" y="133"/>
                  </a:lnTo>
                  <a:lnTo>
                    <a:pt x="246" y="133"/>
                  </a:lnTo>
                  <a:lnTo>
                    <a:pt x="246" y="135"/>
                  </a:lnTo>
                  <a:lnTo>
                    <a:pt x="244" y="136"/>
                  </a:lnTo>
                  <a:lnTo>
                    <a:pt x="240" y="136"/>
                  </a:lnTo>
                  <a:lnTo>
                    <a:pt x="235" y="141"/>
                  </a:lnTo>
                  <a:lnTo>
                    <a:pt x="235" y="142"/>
                  </a:lnTo>
                  <a:lnTo>
                    <a:pt x="234" y="144"/>
                  </a:lnTo>
                  <a:lnTo>
                    <a:pt x="234" y="142"/>
                  </a:lnTo>
                  <a:lnTo>
                    <a:pt x="232" y="141"/>
                  </a:lnTo>
                  <a:lnTo>
                    <a:pt x="231" y="141"/>
                  </a:lnTo>
                  <a:lnTo>
                    <a:pt x="231" y="144"/>
                  </a:lnTo>
                  <a:lnTo>
                    <a:pt x="229" y="144"/>
                  </a:lnTo>
                  <a:lnTo>
                    <a:pt x="229" y="148"/>
                  </a:lnTo>
                  <a:lnTo>
                    <a:pt x="228" y="150"/>
                  </a:lnTo>
                  <a:lnTo>
                    <a:pt x="228" y="151"/>
                  </a:lnTo>
                  <a:lnTo>
                    <a:pt x="226" y="153"/>
                  </a:lnTo>
                  <a:lnTo>
                    <a:pt x="225" y="155"/>
                  </a:lnTo>
                  <a:lnTo>
                    <a:pt x="219" y="155"/>
                  </a:lnTo>
                  <a:lnTo>
                    <a:pt x="216" y="160"/>
                  </a:lnTo>
                  <a:lnTo>
                    <a:pt x="214" y="161"/>
                  </a:lnTo>
                  <a:lnTo>
                    <a:pt x="211" y="161"/>
                  </a:lnTo>
                  <a:lnTo>
                    <a:pt x="210" y="163"/>
                  </a:lnTo>
                  <a:lnTo>
                    <a:pt x="207" y="163"/>
                  </a:lnTo>
                  <a:lnTo>
                    <a:pt x="205" y="164"/>
                  </a:lnTo>
                  <a:lnTo>
                    <a:pt x="204" y="164"/>
                  </a:lnTo>
                  <a:lnTo>
                    <a:pt x="202" y="166"/>
                  </a:lnTo>
                  <a:lnTo>
                    <a:pt x="202" y="167"/>
                  </a:lnTo>
                  <a:lnTo>
                    <a:pt x="205" y="167"/>
                  </a:lnTo>
                  <a:lnTo>
                    <a:pt x="205" y="170"/>
                  </a:lnTo>
                  <a:lnTo>
                    <a:pt x="204" y="172"/>
                  </a:lnTo>
                  <a:lnTo>
                    <a:pt x="201" y="172"/>
                  </a:lnTo>
                  <a:lnTo>
                    <a:pt x="199" y="173"/>
                  </a:lnTo>
                  <a:lnTo>
                    <a:pt x="199" y="175"/>
                  </a:lnTo>
                  <a:lnTo>
                    <a:pt x="196" y="175"/>
                  </a:lnTo>
                  <a:lnTo>
                    <a:pt x="196" y="176"/>
                  </a:lnTo>
                  <a:lnTo>
                    <a:pt x="195" y="176"/>
                  </a:lnTo>
                  <a:lnTo>
                    <a:pt x="193" y="178"/>
                  </a:lnTo>
                  <a:lnTo>
                    <a:pt x="192" y="178"/>
                  </a:lnTo>
                  <a:lnTo>
                    <a:pt x="190" y="179"/>
                  </a:lnTo>
                  <a:lnTo>
                    <a:pt x="190" y="181"/>
                  </a:lnTo>
                  <a:lnTo>
                    <a:pt x="189" y="181"/>
                  </a:lnTo>
                  <a:lnTo>
                    <a:pt x="187" y="179"/>
                  </a:lnTo>
                  <a:lnTo>
                    <a:pt x="187" y="178"/>
                  </a:lnTo>
                  <a:lnTo>
                    <a:pt x="186" y="179"/>
                  </a:lnTo>
                  <a:lnTo>
                    <a:pt x="184" y="179"/>
                  </a:lnTo>
                  <a:lnTo>
                    <a:pt x="186" y="181"/>
                  </a:lnTo>
                  <a:lnTo>
                    <a:pt x="183" y="181"/>
                  </a:lnTo>
                  <a:lnTo>
                    <a:pt x="183" y="182"/>
                  </a:lnTo>
                  <a:lnTo>
                    <a:pt x="181" y="182"/>
                  </a:lnTo>
                  <a:lnTo>
                    <a:pt x="181" y="181"/>
                  </a:lnTo>
                  <a:lnTo>
                    <a:pt x="175" y="181"/>
                  </a:lnTo>
                  <a:lnTo>
                    <a:pt x="175" y="182"/>
                  </a:lnTo>
                  <a:lnTo>
                    <a:pt x="172" y="182"/>
                  </a:lnTo>
                  <a:lnTo>
                    <a:pt x="172" y="185"/>
                  </a:lnTo>
                  <a:lnTo>
                    <a:pt x="171" y="185"/>
                  </a:lnTo>
                  <a:lnTo>
                    <a:pt x="171" y="184"/>
                  </a:lnTo>
                  <a:lnTo>
                    <a:pt x="169" y="185"/>
                  </a:lnTo>
                  <a:lnTo>
                    <a:pt x="169" y="190"/>
                  </a:lnTo>
                  <a:lnTo>
                    <a:pt x="165" y="190"/>
                  </a:lnTo>
                  <a:lnTo>
                    <a:pt x="165" y="191"/>
                  </a:lnTo>
                  <a:lnTo>
                    <a:pt x="162" y="191"/>
                  </a:lnTo>
                  <a:lnTo>
                    <a:pt x="160" y="193"/>
                  </a:lnTo>
                  <a:lnTo>
                    <a:pt x="160" y="194"/>
                  </a:lnTo>
                  <a:lnTo>
                    <a:pt x="159" y="194"/>
                  </a:lnTo>
                  <a:lnTo>
                    <a:pt x="157" y="193"/>
                  </a:lnTo>
                  <a:lnTo>
                    <a:pt x="154" y="196"/>
                  </a:lnTo>
                  <a:lnTo>
                    <a:pt x="154" y="197"/>
                  </a:lnTo>
                  <a:lnTo>
                    <a:pt x="151" y="200"/>
                  </a:lnTo>
                  <a:lnTo>
                    <a:pt x="151" y="203"/>
                  </a:lnTo>
                  <a:lnTo>
                    <a:pt x="153" y="203"/>
                  </a:lnTo>
                  <a:lnTo>
                    <a:pt x="153" y="205"/>
                  </a:lnTo>
                  <a:lnTo>
                    <a:pt x="154" y="205"/>
                  </a:lnTo>
                  <a:lnTo>
                    <a:pt x="154" y="208"/>
                  </a:lnTo>
                  <a:lnTo>
                    <a:pt x="153" y="209"/>
                  </a:lnTo>
                  <a:lnTo>
                    <a:pt x="153" y="217"/>
                  </a:lnTo>
                  <a:lnTo>
                    <a:pt x="154" y="223"/>
                  </a:lnTo>
                  <a:lnTo>
                    <a:pt x="154" y="224"/>
                  </a:lnTo>
                  <a:lnTo>
                    <a:pt x="153" y="224"/>
                  </a:lnTo>
                  <a:lnTo>
                    <a:pt x="153" y="220"/>
                  </a:lnTo>
                  <a:lnTo>
                    <a:pt x="151" y="218"/>
                  </a:lnTo>
                  <a:lnTo>
                    <a:pt x="151" y="217"/>
                  </a:lnTo>
                  <a:lnTo>
                    <a:pt x="150" y="217"/>
                  </a:lnTo>
                  <a:lnTo>
                    <a:pt x="148" y="218"/>
                  </a:lnTo>
                  <a:lnTo>
                    <a:pt x="148" y="220"/>
                  </a:lnTo>
                  <a:lnTo>
                    <a:pt x="145" y="220"/>
                  </a:lnTo>
                  <a:lnTo>
                    <a:pt x="147" y="221"/>
                  </a:lnTo>
                  <a:lnTo>
                    <a:pt x="150" y="221"/>
                  </a:lnTo>
                  <a:lnTo>
                    <a:pt x="150" y="223"/>
                  </a:lnTo>
                  <a:lnTo>
                    <a:pt x="147" y="223"/>
                  </a:lnTo>
                  <a:lnTo>
                    <a:pt x="147" y="224"/>
                  </a:lnTo>
                  <a:lnTo>
                    <a:pt x="145" y="227"/>
                  </a:lnTo>
                  <a:lnTo>
                    <a:pt x="145" y="229"/>
                  </a:lnTo>
                  <a:lnTo>
                    <a:pt x="147" y="229"/>
                  </a:lnTo>
                  <a:lnTo>
                    <a:pt x="147" y="232"/>
                  </a:lnTo>
                  <a:lnTo>
                    <a:pt x="148" y="232"/>
                  </a:lnTo>
                  <a:lnTo>
                    <a:pt x="150" y="233"/>
                  </a:lnTo>
                  <a:lnTo>
                    <a:pt x="150" y="232"/>
                  </a:lnTo>
                  <a:lnTo>
                    <a:pt x="151" y="230"/>
                  </a:lnTo>
                  <a:lnTo>
                    <a:pt x="153" y="233"/>
                  </a:lnTo>
                  <a:lnTo>
                    <a:pt x="157" y="233"/>
                  </a:lnTo>
                  <a:lnTo>
                    <a:pt x="159" y="235"/>
                  </a:lnTo>
                  <a:lnTo>
                    <a:pt x="163" y="235"/>
                  </a:lnTo>
                  <a:lnTo>
                    <a:pt x="163" y="236"/>
                  </a:lnTo>
                  <a:lnTo>
                    <a:pt x="166" y="239"/>
                  </a:lnTo>
                  <a:lnTo>
                    <a:pt x="166" y="241"/>
                  </a:lnTo>
                  <a:lnTo>
                    <a:pt x="169" y="244"/>
                  </a:lnTo>
                  <a:lnTo>
                    <a:pt x="169" y="245"/>
                  </a:lnTo>
                  <a:lnTo>
                    <a:pt x="171" y="244"/>
                  </a:lnTo>
                  <a:lnTo>
                    <a:pt x="171" y="247"/>
                  </a:lnTo>
                  <a:lnTo>
                    <a:pt x="172" y="247"/>
                  </a:lnTo>
                  <a:lnTo>
                    <a:pt x="174" y="250"/>
                  </a:lnTo>
                  <a:lnTo>
                    <a:pt x="175" y="251"/>
                  </a:lnTo>
                  <a:lnTo>
                    <a:pt x="178" y="251"/>
                  </a:lnTo>
                  <a:lnTo>
                    <a:pt x="184" y="259"/>
                  </a:lnTo>
                  <a:lnTo>
                    <a:pt x="187" y="257"/>
                  </a:lnTo>
                  <a:lnTo>
                    <a:pt x="192" y="262"/>
                  </a:lnTo>
                  <a:lnTo>
                    <a:pt x="192" y="265"/>
                  </a:lnTo>
                  <a:lnTo>
                    <a:pt x="189" y="266"/>
                  </a:lnTo>
                  <a:lnTo>
                    <a:pt x="187" y="266"/>
                  </a:lnTo>
                  <a:lnTo>
                    <a:pt x="187" y="275"/>
                  </a:lnTo>
                  <a:lnTo>
                    <a:pt x="180" y="283"/>
                  </a:lnTo>
                  <a:lnTo>
                    <a:pt x="177" y="283"/>
                  </a:lnTo>
                  <a:lnTo>
                    <a:pt x="174" y="284"/>
                  </a:lnTo>
                  <a:lnTo>
                    <a:pt x="168" y="283"/>
                  </a:lnTo>
                  <a:lnTo>
                    <a:pt x="165" y="284"/>
                  </a:lnTo>
                  <a:lnTo>
                    <a:pt x="165" y="283"/>
                  </a:lnTo>
                  <a:lnTo>
                    <a:pt x="154" y="283"/>
                  </a:lnTo>
                  <a:lnTo>
                    <a:pt x="151" y="284"/>
                  </a:lnTo>
                  <a:lnTo>
                    <a:pt x="150" y="284"/>
                  </a:lnTo>
                  <a:lnTo>
                    <a:pt x="145" y="283"/>
                  </a:lnTo>
                  <a:lnTo>
                    <a:pt x="136" y="283"/>
                  </a:lnTo>
                  <a:lnTo>
                    <a:pt x="130" y="286"/>
                  </a:lnTo>
                  <a:lnTo>
                    <a:pt x="127" y="289"/>
                  </a:lnTo>
                  <a:lnTo>
                    <a:pt x="126" y="289"/>
                  </a:lnTo>
                  <a:lnTo>
                    <a:pt x="126" y="290"/>
                  </a:lnTo>
                  <a:lnTo>
                    <a:pt x="124" y="293"/>
                  </a:lnTo>
                  <a:lnTo>
                    <a:pt x="124" y="295"/>
                  </a:lnTo>
                  <a:lnTo>
                    <a:pt x="123" y="295"/>
                  </a:lnTo>
                  <a:lnTo>
                    <a:pt x="122" y="296"/>
                  </a:lnTo>
                  <a:lnTo>
                    <a:pt x="117" y="302"/>
                  </a:lnTo>
                  <a:lnTo>
                    <a:pt x="116" y="304"/>
                  </a:lnTo>
                  <a:lnTo>
                    <a:pt x="114" y="304"/>
                  </a:lnTo>
                  <a:lnTo>
                    <a:pt x="114" y="305"/>
                  </a:lnTo>
                  <a:lnTo>
                    <a:pt x="113" y="307"/>
                  </a:lnTo>
                  <a:lnTo>
                    <a:pt x="114" y="311"/>
                  </a:lnTo>
                  <a:lnTo>
                    <a:pt x="113" y="311"/>
                  </a:lnTo>
                  <a:lnTo>
                    <a:pt x="113" y="313"/>
                  </a:lnTo>
                  <a:lnTo>
                    <a:pt x="111" y="313"/>
                  </a:lnTo>
                  <a:lnTo>
                    <a:pt x="110" y="314"/>
                  </a:lnTo>
                  <a:lnTo>
                    <a:pt x="104" y="310"/>
                  </a:lnTo>
                  <a:lnTo>
                    <a:pt x="102" y="310"/>
                  </a:lnTo>
                  <a:lnTo>
                    <a:pt x="102" y="308"/>
                  </a:lnTo>
                  <a:lnTo>
                    <a:pt x="101" y="307"/>
                  </a:lnTo>
                  <a:lnTo>
                    <a:pt x="99" y="308"/>
                  </a:lnTo>
                  <a:lnTo>
                    <a:pt x="96" y="310"/>
                  </a:lnTo>
                  <a:lnTo>
                    <a:pt x="92" y="310"/>
                  </a:lnTo>
                  <a:lnTo>
                    <a:pt x="90" y="311"/>
                  </a:lnTo>
                  <a:lnTo>
                    <a:pt x="90" y="317"/>
                  </a:lnTo>
                  <a:lnTo>
                    <a:pt x="87" y="314"/>
                  </a:lnTo>
                  <a:lnTo>
                    <a:pt x="87" y="313"/>
                  </a:lnTo>
                  <a:lnTo>
                    <a:pt x="86" y="313"/>
                  </a:lnTo>
                  <a:lnTo>
                    <a:pt x="86" y="308"/>
                  </a:lnTo>
                  <a:lnTo>
                    <a:pt x="84" y="310"/>
                  </a:lnTo>
                  <a:lnTo>
                    <a:pt x="83" y="308"/>
                  </a:lnTo>
                  <a:lnTo>
                    <a:pt x="83" y="307"/>
                  </a:lnTo>
                  <a:lnTo>
                    <a:pt x="81" y="307"/>
                  </a:lnTo>
                  <a:lnTo>
                    <a:pt x="81" y="308"/>
                  </a:lnTo>
                  <a:lnTo>
                    <a:pt x="83" y="311"/>
                  </a:lnTo>
                  <a:lnTo>
                    <a:pt x="81" y="311"/>
                  </a:lnTo>
                  <a:lnTo>
                    <a:pt x="81" y="310"/>
                  </a:lnTo>
                  <a:lnTo>
                    <a:pt x="78" y="310"/>
                  </a:lnTo>
                  <a:lnTo>
                    <a:pt x="78" y="308"/>
                  </a:lnTo>
                  <a:lnTo>
                    <a:pt x="75" y="305"/>
                  </a:lnTo>
                  <a:lnTo>
                    <a:pt x="75" y="304"/>
                  </a:lnTo>
                  <a:lnTo>
                    <a:pt x="74" y="304"/>
                  </a:lnTo>
                  <a:lnTo>
                    <a:pt x="74" y="301"/>
                  </a:lnTo>
                  <a:lnTo>
                    <a:pt x="69" y="301"/>
                  </a:lnTo>
                  <a:lnTo>
                    <a:pt x="66" y="299"/>
                  </a:lnTo>
                  <a:lnTo>
                    <a:pt x="63" y="299"/>
                  </a:lnTo>
                  <a:lnTo>
                    <a:pt x="63" y="301"/>
                  </a:lnTo>
                  <a:lnTo>
                    <a:pt x="65" y="301"/>
                  </a:lnTo>
                  <a:lnTo>
                    <a:pt x="66" y="302"/>
                  </a:lnTo>
                  <a:lnTo>
                    <a:pt x="68" y="302"/>
                  </a:lnTo>
                  <a:lnTo>
                    <a:pt x="68" y="304"/>
                  </a:lnTo>
                  <a:lnTo>
                    <a:pt x="71" y="304"/>
                  </a:lnTo>
                  <a:lnTo>
                    <a:pt x="69" y="305"/>
                  </a:lnTo>
                  <a:lnTo>
                    <a:pt x="71" y="305"/>
                  </a:lnTo>
                  <a:lnTo>
                    <a:pt x="69" y="307"/>
                  </a:lnTo>
                  <a:lnTo>
                    <a:pt x="68" y="307"/>
                  </a:lnTo>
                  <a:lnTo>
                    <a:pt x="66" y="305"/>
                  </a:lnTo>
                  <a:lnTo>
                    <a:pt x="66" y="313"/>
                  </a:lnTo>
                  <a:lnTo>
                    <a:pt x="65" y="313"/>
                  </a:lnTo>
                  <a:lnTo>
                    <a:pt x="65" y="314"/>
                  </a:lnTo>
                  <a:lnTo>
                    <a:pt x="63" y="314"/>
                  </a:lnTo>
                  <a:lnTo>
                    <a:pt x="63" y="313"/>
                  </a:lnTo>
                  <a:lnTo>
                    <a:pt x="62" y="314"/>
                  </a:lnTo>
                  <a:lnTo>
                    <a:pt x="60" y="314"/>
                  </a:lnTo>
                  <a:lnTo>
                    <a:pt x="59" y="316"/>
                  </a:lnTo>
                  <a:lnTo>
                    <a:pt x="59" y="317"/>
                  </a:lnTo>
                  <a:lnTo>
                    <a:pt x="54" y="317"/>
                  </a:lnTo>
                  <a:lnTo>
                    <a:pt x="54" y="320"/>
                  </a:lnTo>
                  <a:lnTo>
                    <a:pt x="53" y="320"/>
                  </a:lnTo>
                  <a:lnTo>
                    <a:pt x="53" y="316"/>
                  </a:lnTo>
                  <a:lnTo>
                    <a:pt x="54" y="314"/>
                  </a:lnTo>
                  <a:lnTo>
                    <a:pt x="54" y="316"/>
                  </a:lnTo>
                  <a:lnTo>
                    <a:pt x="57" y="314"/>
                  </a:lnTo>
                  <a:lnTo>
                    <a:pt x="54" y="314"/>
                  </a:lnTo>
                  <a:lnTo>
                    <a:pt x="54" y="313"/>
                  </a:lnTo>
                  <a:lnTo>
                    <a:pt x="56" y="313"/>
                  </a:lnTo>
                  <a:lnTo>
                    <a:pt x="57" y="311"/>
                  </a:lnTo>
                  <a:lnTo>
                    <a:pt x="62" y="311"/>
                  </a:lnTo>
                  <a:lnTo>
                    <a:pt x="62" y="310"/>
                  </a:lnTo>
                  <a:lnTo>
                    <a:pt x="59" y="310"/>
                  </a:lnTo>
                  <a:lnTo>
                    <a:pt x="60" y="308"/>
                  </a:lnTo>
                  <a:lnTo>
                    <a:pt x="60" y="307"/>
                  </a:lnTo>
                  <a:lnTo>
                    <a:pt x="57" y="307"/>
                  </a:lnTo>
                  <a:lnTo>
                    <a:pt x="57" y="305"/>
                  </a:lnTo>
                  <a:lnTo>
                    <a:pt x="56" y="307"/>
                  </a:lnTo>
                  <a:lnTo>
                    <a:pt x="54" y="307"/>
                  </a:lnTo>
                  <a:lnTo>
                    <a:pt x="56" y="308"/>
                  </a:lnTo>
                  <a:lnTo>
                    <a:pt x="53" y="308"/>
                  </a:lnTo>
                  <a:lnTo>
                    <a:pt x="53" y="310"/>
                  </a:lnTo>
                  <a:lnTo>
                    <a:pt x="54" y="310"/>
                  </a:lnTo>
                  <a:lnTo>
                    <a:pt x="53" y="311"/>
                  </a:lnTo>
                  <a:lnTo>
                    <a:pt x="48" y="311"/>
                  </a:lnTo>
                  <a:lnTo>
                    <a:pt x="48" y="310"/>
                  </a:lnTo>
                  <a:lnTo>
                    <a:pt x="50" y="310"/>
                  </a:lnTo>
                  <a:lnTo>
                    <a:pt x="51" y="308"/>
                  </a:lnTo>
                  <a:lnTo>
                    <a:pt x="51" y="307"/>
                  </a:lnTo>
                  <a:lnTo>
                    <a:pt x="48" y="307"/>
                  </a:lnTo>
                  <a:lnTo>
                    <a:pt x="48" y="305"/>
                  </a:lnTo>
                  <a:lnTo>
                    <a:pt x="47" y="305"/>
                  </a:lnTo>
                  <a:lnTo>
                    <a:pt x="47" y="308"/>
                  </a:lnTo>
                  <a:lnTo>
                    <a:pt x="41" y="308"/>
                  </a:lnTo>
                  <a:lnTo>
                    <a:pt x="39" y="307"/>
                  </a:lnTo>
                  <a:lnTo>
                    <a:pt x="38" y="307"/>
                  </a:lnTo>
                  <a:lnTo>
                    <a:pt x="38" y="305"/>
                  </a:lnTo>
                  <a:lnTo>
                    <a:pt x="36" y="305"/>
                  </a:lnTo>
                  <a:lnTo>
                    <a:pt x="36" y="304"/>
                  </a:lnTo>
                  <a:lnTo>
                    <a:pt x="39" y="304"/>
                  </a:lnTo>
                  <a:lnTo>
                    <a:pt x="39" y="302"/>
                  </a:lnTo>
                  <a:lnTo>
                    <a:pt x="41" y="302"/>
                  </a:lnTo>
                  <a:lnTo>
                    <a:pt x="42" y="304"/>
                  </a:lnTo>
                  <a:lnTo>
                    <a:pt x="44" y="304"/>
                  </a:lnTo>
                  <a:lnTo>
                    <a:pt x="45" y="302"/>
                  </a:lnTo>
                  <a:lnTo>
                    <a:pt x="44" y="302"/>
                  </a:lnTo>
                  <a:lnTo>
                    <a:pt x="42" y="301"/>
                  </a:lnTo>
                  <a:lnTo>
                    <a:pt x="42" y="299"/>
                  </a:lnTo>
                  <a:lnTo>
                    <a:pt x="44" y="299"/>
                  </a:lnTo>
                  <a:lnTo>
                    <a:pt x="47" y="298"/>
                  </a:lnTo>
                  <a:lnTo>
                    <a:pt x="47" y="299"/>
                  </a:lnTo>
                  <a:lnTo>
                    <a:pt x="48" y="299"/>
                  </a:lnTo>
                  <a:lnTo>
                    <a:pt x="48" y="298"/>
                  </a:lnTo>
                  <a:lnTo>
                    <a:pt x="50" y="298"/>
                  </a:lnTo>
                  <a:lnTo>
                    <a:pt x="50" y="296"/>
                  </a:lnTo>
                  <a:lnTo>
                    <a:pt x="45" y="296"/>
                  </a:lnTo>
                  <a:lnTo>
                    <a:pt x="44" y="295"/>
                  </a:lnTo>
                  <a:lnTo>
                    <a:pt x="42" y="295"/>
                  </a:lnTo>
                  <a:lnTo>
                    <a:pt x="41" y="296"/>
                  </a:lnTo>
                  <a:lnTo>
                    <a:pt x="38" y="298"/>
                  </a:lnTo>
                  <a:lnTo>
                    <a:pt x="33" y="293"/>
                  </a:lnTo>
                  <a:lnTo>
                    <a:pt x="32" y="293"/>
                  </a:lnTo>
                  <a:lnTo>
                    <a:pt x="32" y="295"/>
                  </a:lnTo>
                  <a:lnTo>
                    <a:pt x="23" y="295"/>
                  </a:lnTo>
                  <a:lnTo>
                    <a:pt x="21" y="293"/>
                  </a:lnTo>
                  <a:lnTo>
                    <a:pt x="23" y="293"/>
                  </a:lnTo>
                  <a:lnTo>
                    <a:pt x="26" y="292"/>
                  </a:lnTo>
                  <a:lnTo>
                    <a:pt x="26" y="290"/>
                  </a:lnTo>
                  <a:lnTo>
                    <a:pt x="29" y="290"/>
                  </a:lnTo>
                  <a:lnTo>
                    <a:pt x="30" y="289"/>
                  </a:lnTo>
                  <a:lnTo>
                    <a:pt x="30" y="287"/>
                  </a:lnTo>
                  <a:lnTo>
                    <a:pt x="32" y="287"/>
                  </a:lnTo>
                  <a:lnTo>
                    <a:pt x="32" y="289"/>
                  </a:lnTo>
                  <a:lnTo>
                    <a:pt x="33" y="290"/>
                  </a:lnTo>
                  <a:lnTo>
                    <a:pt x="36" y="287"/>
                  </a:lnTo>
                  <a:lnTo>
                    <a:pt x="32" y="287"/>
                  </a:lnTo>
                  <a:lnTo>
                    <a:pt x="32" y="286"/>
                  </a:lnTo>
                  <a:lnTo>
                    <a:pt x="30" y="286"/>
                  </a:lnTo>
                  <a:lnTo>
                    <a:pt x="30" y="284"/>
                  </a:lnTo>
                  <a:lnTo>
                    <a:pt x="32" y="281"/>
                  </a:lnTo>
                  <a:lnTo>
                    <a:pt x="32" y="280"/>
                  </a:lnTo>
                  <a:lnTo>
                    <a:pt x="33" y="277"/>
                  </a:lnTo>
                  <a:lnTo>
                    <a:pt x="35" y="275"/>
                  </a:lnTo>
                  <a:lnTo>
                    <a:pt x="35" y="274"/>
                  </a:lnTo>
                  <a:lnTo>
                    <a:pt x="36" y="274"/>
                  </a:lnTo>
                  <a:lnTo>
                    <a:pt x="38" y="272"/>
                  </a:lnTo>
                  <a:lnTo>
                    <a:pt x="38" y="271"/>
                  </a:lnTo>
                  <a:lnTo>
                    <a:pt x="36" y="269"/>
                  </a:lnTo>
                  <a:lnTo>
                    <a:pt x="36" y="266"/>
                  </a:lnTo>
                  <a:lnTo>
                    <a:pt x="39" y="266"/>
                  </a:lnTo>
                  <a:lnTo>
                    <a:pt x="39" y="268"/>
                  </a:lnTo>
                  <a:lnTo>
                    <a:pt x="41" y="266"/>
                  </a:lnTo>
                  <a:lnTo>
                    <a:pt x="42" y="266"/>
                  </a:lnTo>
                  <a:lnTo>
                    <a:pt x="42" y="268"/>
                  </a:lnTo>
                  <a:lnTo>
                    <a:pt x="44" y="266"/>
                  </a:lnTo>
                  <a:lnTo>
                    <a:pt x="44" y="265"/>
                  </a:lnTo>
                  <a:lnTo>
                    <a:pt x="45" y="263"/>
                  </a:lnTo>
                  <a:lnTo>
                    <a:pt x="48" y="263"/>
                  </a:lnTo>
                  <a:lnTo>
                    <a:pt x="48" y="262"/>
                  </a:lnTo>
                  <a:lnTo>
                    <a:pt x="50" y="262"/>
                  </a:lnTo>
                  <a:lnTo>
                    <a:pt x="51" y="263"/>
                  </a:lnTo>
                  <a:lnTo>
                    <a:pt x="51" y="262"/>
                  </a:lnTo>
                  <a:lnTo>
                    <a:pt x="53" y="262"/>
                  </a:lnTo>
                  <a:lnTo>
                    <a:pt x="53" y="260"/>
                  </a:lnTo>
                  <a:lnTo>
                    <a:pt x="60" y="260"/>
                  </a:lnTo>
                  <a:lnTo>
                    <a:pt x="60" y="263"/>
                  </a:lnTo>
                  <a:lnTo>
                    <a:pt x="62" y="263"/>
                  </a:lnTo>
                  <a:lnTo>
                    <a:pt x="62" y="262"/>
                  </a:lnTo>
                  <a:lnTo>
                    <a:pt x="63" y="262"/>
                  </a:lnTo>
                  <a:lnTo>
                    <a:pt x="63" y="263"/>
                  </a:lnTo>
                  <a:lnTo>
                    <a:pt x="65" y="265"/>
                  </a:lnTo>
                  <a:lnTo>
                    <a:pt x="68" y="265"/>
                  </a:lnTo>
                  <a:lnTo>
                    <a:pt x="62" y="259"/>
                  </a:lnTo>
                  <a:lnTo>
                    <a:pt x="59" y="259"/>
                  </a:lnTo>
                  <a:lnTo>
                    <a:pt x="57" y="256"/>
                  </a:lnTo>
                  <a:lnTo>
                    <a:pt x="56" y="257"/>
                  </a:lnTo>
                  <a:lnTo>
                    <a:pt x="57" y="257"/>
                  </a:lnTo>
                  <a:lnTo>
                    <a:pt x="56" y="259"/>
                  </a:lnTo>
                  <a:lnTo>
                    <a:pt x="51" y="259"/>
                  </a:lnTo>
                  <a:lnTo>
                    <a:pt x="51" y="260"/>
                  </a:lnTo>
                  <a:lnTo>
                    <a:pt x="48" y="260"/>
                  </a:lnTo>
                  <a:lnTo>
                    <a:pt x="48" y="254"/>
                  </a:lnTo>
                  <a:lnTo>
                    <a:pt x="47" y="254"/>
                  </a:lnTo>
                  <a:lnTo>
                    <a:pt x="48" y="256"/>
                  </a:lnTo>
                  <a:lnTo>
                    <a:pt x="47" y="257"/>
                  </a:lnTo>
                  <a:lnTo>
                    <a:pt x="45" y="257"/>
                  </a:lnTo>
                  <a:lnTo>
                    <a:pt x="45" y="256"/>
                  </a:lnTo>
                  <a:lnTo>
                    <a:pt x="44" y="256"/>
                  </a:lnTo>
                  <a:lnTo>
                    <a:pt x="44" y="247"/>
                  </a:lnTo>
                  <a:lnTo>
                    <a:pt x="45" y="247"/>
                  </a:lnTo>
                  <a:lnTo>
                    <a:pt x="45" y="245"/>
                  </a:lnTo>
                  <a:lnTo>
                    <a:pt x="47" y="244"/>
                  </a:lnTo>
                  <a:lnTo>
                    <a:pt x="47" y="242"/>
                  </a:lnTo>
                  <a:lnTo>
                    <a:pt x="48" y="241"/>
                  </a:lnTo>
                  <a:lnTo>
                    <a:pt x="48" y="239"/>
                  </a:lnTo>
                  <a:lnTo>
                    <a:pt x="50" y="238"/>
                  </a:lnTo>
                  <a:lnTo>
                    <a:pt x="50" y="233"/>
                  </a:lnTo>
                  <a:lnTo>
                    <a:pt x="53" y="233"/>
                  </a:lnTo>
                  <a:lnTo>
                    <a:pt x="53" y="230"/>
                  </a:lnTo>
                  <a:lnTo>
                    <a:pt x="54" y="229"/>
                  </a:lnTo>
                  <a:lnTo>
                    <a:pt x="56" y="230"/>
                  </a:lnTo>
                  <a:lnTo>
                    <a:pt x="56" y="227"/>
                  </a:lnTo>
                  <a:lnTo>
                    <a:pt x="57" y="224"/>
                  </a:lnTo>
                  <a:lnTo>
                    <a:pt x="56" y="224"/>
                  </a:lnTo>
                  <a:lnTo>
                    <a:pt x="56" y="221"/>
                  </a:lnTo>
                  <a:lnTo>
                    <a:pt x="57" y="221"/>
                  </a:lnTo>
                  <a:lnTo>
                    <a:pt x="57" y="220"/>
                  </a:lnTo>
                  <a:lnTo>
                    <a:pt x="54" y="220"/>
                  </a:lnTo>
                  <a:lnTo>
                    <a:pt x="53" y="218"/>
                  </a:lnTo>
                  <a:lnTo>
                    <a:pt x="54" y="217"/>
                  </a:lnTo>
                  <a:lnTo>
                    <a:pt x="53" y="217"/>
                  </a:lnTo>
                  <a:lnTo>
                    <a:pt x="53" y="214"/>
                  </a:lnTo>
                  <a:lnTo>
                    <a:pt x="54" y="214"/>
                  </a:lnTo>
                  <a:lnTo>
                    <a:pt x="56" y="212"/>
                  </a:lnTo>
                  <a:lnTo>
                    <a:pt x="56" y="211"/>
                  </a:lnTo>
                  <a:lnTo>
                    <a:pt x="57" y="211"/>
                  </a:lnTo>
                  <a:lnTo>
                    <a:pt x="57" y="208"/>
                  </a:lnTo>
                  <a:lnTo>
                    <a:pt x="51" y="211"/>
                  </a:lnTo>
                  <a:lnTo>
                    <a:pt x="50" y="211"/>
                  </a:lnTo>
                  <a:lnTo>
                    <a:pt x="48" y="209"/>
                  </a:lnTo>
                  <a:lnTo>
                    <a:pt x="47" y="209"/>
                  </a:lnTo>
                  <a:lnTo>
                    <a:pt x="47" y="208"/>
                  </a:lnTo>
                  <a:lnTo>
                    <a:pt x="44" y="208"/>
                  </a:lnTo>
                  <a:lnTo>
                    <a:pt x="45" y="209"/>
                  </a:lnTo>
                  <a:lnTo>
                    <a:pt x="42" y="209"/>
                  </a:lnTo>
                  <a:lnTo>
                    <a:pt x="42" y="206"/>
                  </a:lnTo>
                  <a:lnTo>
                    <a:pt x="39" y="206"/>
                  </a:lnTo>
                  <a:lnTo>
                    <a:pt x="38" y="205"/>
                  </a:lnTo>
                  <a:lnTo>
                    <a:pt x="36" y="205"/>
                  </a:lnTo>
                  <a:lnTo>
                    <a:pt x="35" y="203"/>
                  </a:lnTo>
                  <a:lnTo>
                    <a:pt x="35" y="205"/>
                  </a:lnTo>
                  <a:lnTo>
                    <a:pt x="33" y="203"/>
                  </a:lnTo>
                  <a:lnTo>
                    <a:pt x="32" y="203"/>
                  </a:lnTo>
                  <a:lnTo>
                    <a:pt x="32" y="200"/>
                  </a:lnTo>
                  <a:lnTo>
                    <a:pt x="30" y="200"/>
                  </a:lnTo>
                  <a:lnTo>
                    <a:pt x="29" y="199"/>
                  </a:lnTo>
                  <a:lnTo>
                    <a:pt x="26" y="199"/>
                  </a:lnTo>
                  <a:lnTo>
                    <a:pt x="26" y="203"/>
                  </a:lnTo>
                  <a:lnTo>
                    <a:pt x="24" y="203"/>
                  </a:lnTo>
                  <a:lnTo>
                    <a:pt x="26" y="205"/>
                  </a:lnTo>
                  <a:lnTo>
                    <a:pt x="23" y="205"/>
                  </a:lnTo>
                  <a:lnTo>
                    <a:pt x="20" y="208"/>
                  </a:lnTo>
                  <a:lnTo>
                    <a:pt x="20" y="206"/>
                  </a:lnTo>
                  <a:lnTo>
                    <a:pt x="18" y="205"/>
                  </a:lnTo>
                  <a:lnTo>
                    <a:pt x="20" y="205"/>
                  </a:lnTo>
                  <a:lnTo>
                    <a:pt x="20" y="203"/>
                  </a:lnTo>
                  <a:lnTo>
                    <a:pt x="21" y="203"/>
                  </a:lnTo>
                  <a:lnTo>
                    <a:pt x="21" y="202"/>
                  </a:lnTo>
                  <a:lnTo>
                    <a:pt x="20" y="202"/>
                  </a:lnTo>
                  <a:lnTo>
                    <a:pt x="20" y="200"/>
                  </a:lnTo>
                  <a:lnTo>
                    <a:pt x="18" y="200"/>
                  </a:lnTo>
                  <a:lnTo>
                    <a:pt x="18" y="197"/>
                  </a:lnTo>
                  <a:lnTo>
                    <a:pt x="17" y="196"/>
                  </a:lnTo>
                  <a:lnTo>
                    <a:pt x="17" y="194"/>
                  </a:lnTo>
                  <a:lnTo>
                    <a:pt x="15" y="194"/>
                  </a:lnTo>
                  <a:lnTo>
                    <a:pt x="11" y="193"/>
                  </a:lnTo>
                  <a:lnTo>
                    <a:pt x="11" y="194"/>
                  </a:lnTo>
                  <a:lnTo>
                    <a:pt x="9" y="193"/>
                  </a:lnTo>
                  <a:lnTo>
                    <a:pt x="9" y="191"/>
                  </a:lnTo>
                  <a:lnTo>
                    <a:pt x="8" y="191"/>
                  </a:lnTo>
                  <a:lnTo>
                    <a:pt x="6" y="190"/>
                  </a:lnTo>
                  <a:lnTo>
                    <a:pt x="6" y="187"/>
                  </a:lnTo>
                  <a:lnTo>
                    <a:pt x="8" y="187"/>
                  </a:lnTo>
                  <a:lnTo>
                    <a:pt x="8" y="185"/>
                  </a:lnTo>
                  <a:lnTo>
                    <a:pt x="9" y="182"/>
                  </a:lnTo>
                  <a:lnTo>
                    <a:pt x="9" y="181"/>
                  </a:lnTo>
                  <a:lnTo>
                    <a:pt x="11" y="182"/>
                  </a:lnTo>
                  <a:lnTo>
                    <a:pt x="14" y="182"/>
                  </a:lnTo>
                  <a:lnTo>
                    <a:pt x="12" y="181"/>
                  </a:lnTo>
                  <a:lnTo>
                    <a:pt x="9" y="181"/>
                  </a:lnTo>
                  <a:lnTo>
                    <a:pt x="9" y="179"/>
                  </a:lnTo>
                  <a:lnTo>
                    <a:pt x="8" y="178"/>
                  </a:lnTo>
                  <a:lnTo>
                    <a:pt x="15" y="170"/>
                  </a:lnTo>
                  <a:lnTo>
                    <a:pt x="17" y="170"/>
                  </a:lnTo>
                  <a:lnTo>
                    <a:pt x="17" y="167"/>
                  </a:lnTo>
                  <a:lnTo>
                    <a:pt x="20" y="167"/>
                  </a:lnTo>
                  <a:lnTo>
                    <a:pt x="20" y="166"/>
                  </a:lnTo>
                  <a:lnTo>
                    <a:pt x="23" y="164"/>
                  </a:lnTo>
                  <a:lnTo>
                    <a:pt x="24" y="164"/>
                  </a:lnTo>
                  <a:lnTo>
                    <a:pt x="24" y="161"/>
                  </a:lnTo>
                  <a:lnTo>
                    <a:pt x="26" y="160"/>
                  </a:lnTo>
                  <a:lnTo>
                    <a:pt x="27" y="160"/>
                  </a:lnTo>
                  <a:lnTo>
                    <a:pt x="32" y="155"/>
                  </a:lnTo>
                  <a:lnTo>
                    <a:pt x="32" y="154"/>
                  </a:lnTo>
                  <a:lnTo>
                    <a:pt x="33" y="154"/>
                  </a:lnTo>
                  <a:lnTo>
                    <a:pt x="33" y="155"/>
                  </a:lnTo>
                  <a:lnTo>
                    <a:pt x="39" y="155"/>
                  </a:lnTo>
                  <a:lnTo>
                    <a:pt x="39" y="154"/>
                  </a:lnTo>
                  <a:lnTo>
                    <a:pt x="38" y="154"/>
                  </a:lnTo>
                  <a:lnTo>
                    <a:pt x="38" y="151"/>
                  </a:lnTo>
                  <a:lnTo>
                    <a:pt x="41" y="151"/>
                  </a:lnTo>
                  <a:lnTo>
                    <a:pt x="41" y="150"/>
                  </a:lnTo>
                  <a:lnTo>
                    <a:pt x="44" y="150"/>
                  </a:lnTo>
                  <a:lnTo>
                    <a:pt x="44" y="148"/>
                  </a:lnTo>
                  <a:lnTo>
                    <a:pt x="45" y="148"/>
                  </a:lnTo>
                  <a:lnTo>
                    <a:pt x="47" y="147"/>
                  </a:lnTo>
                  <a:lnTo>
                    <a:pt x="50" y="147"/>
                  </a:lnTo>
                  <a:lnTo>
                    <a:pt x="50" y="145"/>
                  </a:lnTo>
                  <a:lnTo>
                    <a:pt x="51" y="144"/>
                  </a:lnTo>
                  <a:lnTo>
                    <a:pt x="51" y="145"/>
                  </a:lnTo>
                  <a:lnTo>
                    <a:pt x="56" y="145"/>
                  </a:lnTo>
                  <a:lnTo>
                    <a:pt x="56" y="144"/>
                  </a:lnTo>
                  <a:lnTo>
                    <a:pt x="57" y="144"/>
                  </a:lnTo>
                  <a:lnTo>
                    <a:pt x="57" y="142"/>
                  </a:lnTo>
                  <a:lnTo>
                    <a:pt x="59" y="141"/>
                  </a:lnTo>
                  <a:lnTo>
                    <a:pt x="62" y="141"/>
                  </a:lnTo>
                  <a:lnTo>
                    <a:pt x="62" y="138"/>
                  </a:lnTo>
                  <a:lnTo>
                    <a:pt x="63" y="136"/>
                  </a:lnTo>
                  <a:lnTo>
                    <a:pt x="65" y="138"/>
                  </a:lnTo>
                  <a:lnTo>
                    <a:pt x="68" y="138"/>
                  </a:lnTo>
                  <a:lnTo>
                    <a:pt x="68" y="136"/>
                  </a:lnTo>
                  <a:lnTo>
                    <a:pt x="66" y="135"/>
                  </a:lnTo>
                  <a:lnTo>
                    <a:pt x="68" y="132"/>
                  </a:lnTo>
                  <a:lnTo>
                    <a:pt x="71" y="132"/>
                  </a:lnTo>
                  <a:lnTo>
                    <a:pt x="71" y="130"/>
                  </a:lnTo>
                  <a:lnTo>
                    <a:pt x="72" y="130"/>
                  </a:lnTo>
                  <a:lnTo>
                    <a:pt x="75" y="132"/>
                  </a:lnTo>
                  <a:lnTo>
                    <a:pt x="78" y="129"/>
                  </a:lnTo>
                  <a:lnTo>
                    <a:pt x="78" y="130"/>
                  </a:lnTo>
                  <a:lnTo>
                    <a:pt x="83" y="130"/>
                  </a:lnTo>
                  <a:lnTo>
                    <a:pt x="83" y="127"/>
                  </a:lnTo>
                  <a:lnTo>
                    <a:pt x="86" y="127"/>
                  </a:lnTo>
                  <a:lnTo>
                    <a:pt x="86" y="123"/>
                  </a:lnTo>
                  <a:lnTo>
                    <a:pt x="87" y="123"/>
                  </a:lnTo>
                  <a:lnTo>
                    <a:pt x="87" y="121"/>
                  </a:lnTo>
                  <a:lnTo>
                    <a:pt x="89" y="121"/>
                  </a:lnTo>
                  <a:lnTo>
                    <a:pt x="89" y="118"/>
                  </a:lnTo>
                  <a:lnTo>
                    <a:pt x="90" y="118"/>
                  </a:lnTo>
                  <a:lnTo>
                    <a:pt x="95" y="115"/>
                  </a:lnTo>
                  <a:lnTo>
                    <a:pt x="96" y="114"/>
                  </a:lnTo>
                  <a:lnTo>
                    <a:pt x="98" y="111"/>
                  </a:lnTo>
                  <a:lnTo>
                    <a:pt x="98" y="109"/>
                  </a:lnTo>
                  <a:lnTo>
                    <a:pt x="99" y="109"/>
                  </a:lnTo>
                  <a:lnTo>
                    <a:pt x="99" y="108"/>
                  </a:lnTo>
                  <a:lnTo>
                    <a:pt x="101" y="106"/>
                  </a:lnTo>
                  <a:lnTo>
                    <a:pt x="101" y="105"/>
                  </a:lnTo>
                  <a:lnTo>
                    <a:pt x="105" y="100"/>
                  </a:lnTo>
                  <a:lnTo>
                    <a:pt x="107" y="100"/>
                  </a:lnTo>
                  <a:lnTo>
                    <a:pt x="105" y="102"/>
                  </a:lnTo>
                  <a:lnTo>
                    <a:pt x="107" y="102"/>
                  </a:lnTo>
                  <a:lnTo>
                    <a:pt x="107" y="96"/>
                  </a:lnTo>
                  <a:lnTo>
                    <a:pt x="108" y="93"/>
                  </a:lnTo>
                  <a:lnTo>
                    <a:pt x="108" y="91"/>
                  </a:lnTo>
                  <a:lnTo>
                    <a:pt x="110" y="88"/>
                  </a:lnTo>
                  <a:lnTo>
                    <a:pt x="110" y="85"/>
                  </a:lnTo>
                  <a:lnTo>
                    <a:pt x="111" y="84"/>
                  </a:lnTo>
                  <a:lnTo>
                    <a:pt x="111" y="82"/>
                  </a:lnTo>
                  <a:lnTo>
                    <a:pt x="114" y="82"/>
                  </a:lnTo>
                  <a:lnTo>
                    <a:pt x="116" y="81"/>
                  </a:lnTo>
                  <a:lnTo>
                    <a:pt x="116" y="79"/>
                  </a:lnTo>
                  <a:lnTo>
                    <a:pt x="114" y="79"/>
                  </a:lnTo>
                  <a:lnTo>
                    <a:pt x="114" y="78"/>
                  </a:lnTo>
                  <a:lnTo>
                    <a:pt x="116" y="78"/>
                  </a:lnTo>
                  <a:lnTo>
                    <a:pt x="119" y="81"/>
                  </a:lnTo>
                  <a:lnTo>
                    <a:pt x="120" y="81"/>
                  </a:lnTo>
                  <a:lnTo>
                    <a:pt x="120" y="79"/>
                  </a:lnTo>
                  <a:lnTo>
                    <a:pt x="123" y="78"/>
                  </a:lnTo>
                  <a:lnTo>
                    <a:pt x="123" y="75"/>
                  </a:lnTo>
                  <a:lnTo>
                    <a:pt x="126" y="75"/>
                  </a:lnTo>
                  <a:lnTo>
                    <a:pt x="126" y="76"/>
                  </a:lnTo>
                  <a:lnTo>
                    <a:pt x="127" y="76"/>
                  </a:lnTo>
                  <a:lnTo>
                    <a:pt x="132" y="81"/>
                  </a:lnTo>
                  <a:lnTo>
                    <a:pt x="132" y="82"/>
                  </a:lnTo>
                  <a:lnTo>
                    <a:pt x="130" y="82"/>
                  </a:lnTo>
                  <a:lnTo>
                    <a:pt x="130" y="84"/>
                  </a:lnTo>
                  <a:lnTo>
                    <a:pt x="132" y="84"/>
                  </a:lnTo>
                  <a:lnTo>
                    <a:pt x="133" y="85"/>
                  </a:lnTo>
                  <a:lnTo>
                    <a:pt x="136" y="87"/>
                  </a:lnTo>
                  <a:lnTo>
                    <a:pt x="136" y="88"/>
                  </a:lnTo>
                  <a:lnTo>
                    <a:pt x="135" y="88"/>
                  </a:lnTo>
                  <a:lnTo>
                    <a:pt x="133" y="90"/>
                  </a:lnTo>
                  <a:lnTo>
                    <a:pt x="133" y="91"/>
                  </a:lnTo>
                  <a:lnTo>
                    <a:pt x="138" y="91"/>
                  </a:lnTo>
                  <a:lnTo>
                    <a:pt x="138" y="90"/>
                  </a:lnTo>
                  <a:lnTo>
                    <a:pt x="139" y="90"/>
                  </a:lnTo>
                  <a:lnTo>
                    <a:pt x="139" y="91"/>
                  </a:lnTo>
                  <a:lnTo>
                    <a:pt x="142" y="91"/>
                  </a:lnTo>
                  <a:lnTo>
                    <a:pt x="142" y="93"/>
                  </a:lnTo>
                  <a:lnTo>
                    <a:pt x="147" y="93"/>
                  </a:lnTo>
                  <a:lnTo>
                    <a:pt x="147" y="94"/>
                  </a:lnTo>
                  <a:lnTo>
                    <a:pt x="148" y="94"/>
                  </a:lnTo>
                  <a:lnTo>
                    <a:pt x="148" y="93"/>
                  </a:lnTo>
                  <a:lnTo>
                    <a:pt x="151" y="93"/>
                  </a:lnTo>
                  <a:lnTo>
                    <a:pt x="153" y="94"/>
                  </a:lnTo>
                  <a:lnTo>
                    <a:pt x="153" y="93"/>
                  </a:lnTo>
                  <a:lnTo>
                    <a:pt x="154" y="94"/>
                  </a:lnTo>
                  <a:lnTo>
                    <a:pt x="154" y="96"/>
                  </a:lnTo>
                  <a:lnTo>
                    <a:pt x="156" y="96"/>
                  </a:lnTo>
                  <a:lnTo>
                    <a:pt x="157" y="97"/>
                  </a:lnTo>
                  <a:lnTo>
                    <a:pt x="159" y="97"/>
                  </a:lnTo>
                  <a:lnTo>
                    <a:pt x="159" y="96"/>
                  </a:lnTo>
                  <a:lnTo>
                    <a:pt x="160" y="96"/>
                  </a:lnTo>
                  <a:lnTo>
                    <a:pt x="165" y="97"/>
                  </a:lnTo>
                  <a:lnTo>
                    <a:pt x="166" y="96"/>
                  </a:lnTo>
                  <a:lnTo>
                    <a:pt x="166" y="97"/>
                  </a:lnTo>
                  <a:lnTo>
                    <a:pt x="168" y="97"/>
                  </a:lnTo>
                  <a:lnTo>
                    <a:pt x="171" y="94"/>
                  </a:lnTo>
                  <a:lnTo>
                    <a:pt x="172" y="94"/>
                  </a:lnTo>
                  <a:lnTo>
                    <a:pt x="174" y="96"/>
                  </a:lnTo>
                  <a:lnTo>
                    <a:pt x="175" y="94"/>
                  </a:lnTo>
                  <a:lnTo>
                    <a:pt x="175" y="99"/>
                  </a:lnTo>
                  <a:lnTo>
                    <a:pt x="177" y="99"/>
                  </a:lnTo>
                  <a:lnTo>
                    <a:pt x="177" y="100"/>
                  </a:lnTo>
                  <a:lnTo>
                    <a:pt x="178" y="100"/>
                  </a:lnTo>
                  <a:lnTo>
                    <a:pt x="180" y="99"/>
                  </a:lnTo>
                  <a:lnTo>
                    <a:pt x="180" y="100"/>
                  </a:lnTo>
                  <a:lnTo>
                    <a:pt x="181" y="100"/>
                  </a:lnTo>
                  <a:lnTo>
                    <a:pt x="183" y="99"/>
                  </a:lnTo>
                  <a:lnTo>
                    <a:pt x="187" y="90"/>
                  </a:lnTo>
                  <a:lnTo>
                    <a:pt x="189" y="88"/>
                  </a:lnTo>
                  <a:lnTo>
                    <a:pt x="187" y="87"/>
                  </a:lnTo>
                  <a:lnTo>
                    <a:pt x="187" y="84"/>
                  </a:lnTo>
                  <a:lnTo>
                    <a:pt x="186" y="82"/>
                  </a:lnTo>
                  <a:lnTo>
                    <a:pt x="184" y="82"/>
                  </a:lnTo>
                  <a:lnTo>
                    <a:pt x="181" y="79"/>
                  </a:lnTo>
                  <a:lnTo>
                    <a:pt x="181" y="78"/>
                  </a:lnTo>
                  <a:lnTo>
                    <a:pt x="178" y="73"/>
                  </a:lnTo>
                  <a:lnTo>
                    <a:pt x="178" y="72"/>
                  </a:lnTo>
                  <a:lnTo>
                    <a:pt x="177" y="72"/>
                  </a:lnTo>
                  <a:lnTo>
                    <a:pt x="177" y="69"/>
                  </a:lnTo>
                  <a:lnTo>
                    <a:pt x="175" y="64"/>
                  </a:lnTo>
                  <a:lnTo>
                    <a:pt x="175" y="63"/>
                  </a:lnTo>
                  <a:lnTo>
                    <a:pt x="180" y="63"/>
                  </a:lnTo>
                  <a:lnTo>
                    <a:pt x="187" y="60"/>
                  </a:lnTo>
                  <a:lnTo>
                    <a:pt x="192" y="60"/>
                  </a:lnTo>
                  <a:lnTo>
                    <a:pt x="192" y="61"/>
                  </a:lnTo>
                  <a:lnTo>
                    <a:pt x="195" y="61"/>
                  </a:lnTo>
                  <a:lnTo>
                    <a:pt x="196" y="63"/>
                  </a:lnTo>
                  <a:lnTo>
                    <a:pt x="198" y="63"/>
                  </a:lnTo>
                  <a:lnTo>
                    <a:pt x="199" y="61"/>
                  </a:lnTo>
                  <a:lnTo>
                    <a:pt x="202" y="61"/>
                  </a:lnTo>
                  <a:lnTo>
                    <a:pt x="202" y="60"/>
                  </a:lnTo>
                  <a:lnTo>
                    <a:pt x="217" y="60"/>
                  </a:lnTo>
                  <a:lnTo>
                    <a:pt x="219" y="57"/>
                  </a:lnTo>
                  <a:lnTo>
                    <a:pt x="220" y="57"/>
                  </a:lnTo>
                  <a:lnTo>
                    <a:pt x="223" y="54"/>
                  </a:lnTo>
                  <a:lnTo>
                    <a:pt x="223" y="52"/>
                  </a:lnTo>
                  <a:lnTo>
                    <a:pt x="225" y="54"/>
                  </a:lnTo>
                  <a:lnTo>
                    <a:pt x="228" y="51"/>
                  </a:lnTo>
                  <a:lnTo>
                    <a:pt x="229" y="51"/>
                  </a:lnTo>
                  <a:lnTo>
                    <a:pt x="229" y="49"/>
                  </a:lnTo>
                  <a:lnTo>
                    <a:pt x="231" y="48"/>
                  </a:lnTo>
                  <a:lnTo>
                    <a:pt x="229" y="48"/>
                  </a:lnTo>
                  <a:lnTo>
                    <a:pt x="229" y="46"/>
                  </a:lnTo>
                  <a:lnTo>
                    <a:pt x="231" y="46"/>
                  </a:lnTo>
                  <a:lnTo>
                    <a:pt x="231" y="43"/>
                  </a:lnTo>
                  <a:lnTo>
                    <a:pt x="229" y="43"/>
                  </a:lnTo>
                  <a:lnTo>
                    <a:pt x="229" y="42"/>
                  </a:lnTo>
                  <a:lnTo>
                    <a:pt x="232" y="42"/>
                  </a:lnTo>
                  <a:lnTo>
                    <a:pt x="232" y="40"/>
                  </a:lnTo>
                  <a:lnTo>
                    <a:pt x="231" y="40"/>
                  </a:lnTo>
                  <a:lnTo>
                    <a:pt x="231" y="39"/>
                  </a:lnTo>
                  <a:lnTo>
                    <a:pt x="234" y="39"/>
                  </a:lnTo>
                  <a:lnTo>
                    <a:pt x="234" y="37"/>
                  </a:lnTo>
                  <a:lnTo>
                    <a:pt x="235" y="37"/>
                  </a:lnTo>
                  <a:lnTo>
                    <a:pt x="235" y="36"/>
                  </a:lnTo>
                  <a:lnTo>
                    <a:pt x="237" y="36"/>
                  </a:lnTo>
                  <a:lnTo>
                    <a:pt x="237" y="34"/>
                  </a:lnTo>
                  <a:lnTo>
                    <a:pt x="238" y="36"/>
                  </a:lnTo>
                  <a:lnTo>
                    <a:pt x="240" y="36"/>
                  </a:lnTo>
                  <a:lnTo>
                    <a:pt x="240" y="34"/>
                  </a:lnTo>
                  <a:lnTo>
                    <a:pt x="243" y="37"/>
                  </a:lnTo>
                  <a:lnTo>
                    <a:pt x="244" y="37"/>
                  </a:lnTo>
                  <a:lnTo>
                    <a:pt x="244" y="39"/>
                  </a:lnTo>
                  <a:lnTo>
                    <a:pt x="246" y="39"/>
                  </a:lnTo>
                  <a:lnTo>
                    <a:pt x="246" y="37"/>
                  </a:lnTo>
                  <a:lnTo>
                    <a:pt x="247" y="37"/>
                  </a:lnTo>
                  <a:lnTo>
                    <a:pt x="247" y="34"/>
                  </a:lnTo>
                  <a:lnTo>
                    <a:pt x="253" y="34"/>
                  </a:lnTo>
                  <a:lnTo>
                    <a:pt x="255" y="33"/>
                  </a:lnTo>
                  <a:lnTo>
                    <a:pt x="255" y="25"/>
                  </a:lnTo>
                  <a:lnTo>
                    <a:pt x="256" y="24"/>
                  </a:lnTo>
                  <a:lnTo>
                    <a:pt x="255" y="24"/>
                  </a:lnTo>
                  <a:lnTo>
                    <a:pt x="255" y="22"/>
                  </a:lnTo>
                  <a:lnTo>
                    <a:pt x="256" y="22"/>
                  </a:lnTo>
                  <a:lnTo>
                    <a:pt x="256" y="19"/>
                  </a:lnTo>
                  <a:lnTo>
                    <a:pt x="255" y="18"/>
                  </a:lnTo>
                  <a:lnTo>
                    <a:pt x="255" y="16"/>
                  </a:lnTo>
                  <a:lnTo>
                    <a:pt x="256" y="16"/>
                  </a:lnTo>
                  <a:lnTo>
                    <a:pt x="256" y="13"/>
                  </a:lnTo>
                  <a:lnTo>
                    <a:pt x="258" y="12"/>
                  </a:lnTo>
                  <a:lnTo>
                    <a:pt x="258" y="10"/>
                  </a:lnTo>
                  <a:lnTo>
                    <a:pt x="259" y="6"/>
                  </a:lnTo>
                  <a:lnTo>
                    <a:pt x="259" y="3"/>
                  </a:lnTo>
                  <a:lnTo>
                    <a:pt x="261" y="1"/>
                  </a:lnTo>
                  <a:lnTo>
                    <a:pt x="261"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19">
              <a:extLst>
                <a:ext uri="{FF2B5EF4-FFF2-40B4-BE49-F238E27FC236}">
                  <a16:creationId xmlns:a16="http://schemas.microsoft.com/office/drawing/2014/main" id="{95089EA9-DF89-37D6-EDF9-F9943D7922CE}"/>
                </a:ext>
              </a:extLst>
            </p:cNvPr>
            <p:cNvSpPr>
              <a:spLocks/>
            </p:cNvSpPr>
            <p:nvPr/>
          </p:nvSpPr>
          <p:spPr bwMode="auto">
            <a:xfrm>
              <a:off x="1785468" y="3708376"/>
              <a:ext cx="391466" cy="222494"/>
            </a:xfrm>
            <a:custGeom>
              <a:avLst/>
              <a:gdLst/>
              <a:ahLst/>
              <a:cxnLst>
                <a:cxn ang="0">
                  <a:pos x="88" y="5"/>
                </a:cxn>
                <a:cxn ang="0">
                  <a:pos x="97" y="14"/>
                </a:cxn>
                <a:cxn ang="0">
                  <a:pos x="109" y="23"/>
                </a:cxn>
                <a:cxn ang="0">
                  <a:pos x="124" y="36"/>
                </a:cxn>
                <a:cxn ang="0">
                  <a:pos x="135" y="39"/>
                </a:cxn>
                <a:cxn ang="0">
                  <a:pos x="147" y="45"/>
                </a:cxn>
                <a:cxn ang="0">
                  <a:pos x="154" y="54"/>
                </a:cxn>
                <a:cxn ang="0">
                  <a:pos x="162" y="65"/>
                </a:cxn>
                <a:cxn ang="0">
                  <a:pos x="177" y="60"/>
                </a:cxn>
                <a:cxn ang="0">
                  <a:pos x="186" y="62"/>
                </a:cxn>
                <a:cxn ang="0">
                  <a:pos x="190" y="72"/>
                </a:cxn>
                <a:cxn ang="0">
                  <a:pos x="202" y="89"/>
                </a:cxn>
                <a:cxn ang="0">
                  <a:pos x="217" y="96"/>
                </a:cxn>
                <a:cxn ang="0">
                  <a:pos x="227" y="95"/>
                </a:cxn>
                <a:cxn ang="0">
                  <a:pos x="233" y="102"/>
                </a:cxn>
                <a:cxn ang="0">
                  <a:pos x="235" y="111"/>
                </a:cxn>
                <a:cxn ang="0">
                  <a:pos x="248" y="111"/>
                </a:cxn>
                <a:cxn ang="0">
                  <a:pos x="257" y="111"/>
                </a:cxn>
                <a:cxn ang="0">
                  <a:pos x="268" y="119"/>
                </a:cxn>
                <a:cxn ang="0">
                  <a:pos x="277" y="126"/>
                </a:cxn>
                <a:cxn ang="0">
                  <a:pos x="287" y="129"/>
                </a:cxn>
                <a:cxn ang="0">
                  <a:pos x="308" y="126"/>
                </a:cxn>
                <a:cxn ang="0">
                  <a:pos x="332" y="137"/>
                </a:cxn>
                <a:cxn ang="0">
                  <a:pos x="347" y="137"/>
                </a:cxn>
                <a:cxn ang="0">
                  <a:pos x="359" y="132"/>
                </a:cxn>
                <a:cxn ang="0">
                  <a:pos x="367" y="162"/>
                </a:cxn>
                <a:cxn ang="0">
                  <a:pos x="368" y="177"/>
                </a:cxn>
                <a:cxn ang="0">
                  <a:pos x="368" y="206"/>
                </a:cxn>
                <a:cxn ang="0">
                  <a:pos x="358" y="207"/>
                </a:cxn>
                <a:cxn ang="0">
                  <a:pos x="350" y="209"/>
                </a:cxn>
                <a:cxn ang="0">
                  <a:pos x="331" y="210"/>
                </a:cxn>
                <a:cxn ang="0">
                  <a:pos x="316" y="203"/>
                </a:cxn>
                <a:cxn ang="0">
                  <a:pos x="295" y="203"/>
                </a:cxn>
                <a:cxn ang="0">
                  <a:pos x="281" y="198"/>
                </a:cxn>
                <a:cxn ang="0">
                  <a:pos x="265" y="198"/>
                </a:cxn>
                <a:cxn ang="0">
                  <a:pos x="250" y="188"/>
                </a:cxn>
                <a:cxn ang="0">
                  <a:pos x="235" y="186"/>
                </a:cxn>
                <a:cxn ang="0">
                  <a:pos x="223" y="179"/>
                </a:cxn>
                <a:cxn ang="0">
                  <a:pos x="211" y="174"/>
                </a:cxn>
                <a:cxn ang="0">
                  <a:pos x="195" y="158"/>
                </a:cxn>
                <a:cxn ang="0">
                  <a:pos x="181" y="156"/>
                </a:cxn>
                <a:cxn ang="0">
                  <a:pos x="154" y="153"/>
                </a:cxn>
                <a:cxn ang="0">
                  <a:pos x="133" y="155"/>
                </a:cxn>
                <a:cxn ang="0">
                  <a:pos x="114" y="143"/>
                </a:cxn>
                <a:cxn ang="0">
                  <a:pos x="93" y="131"/>
                </a:cxn>
                <a:cxn ang="0">
                  <a:pos x="72" y="126"/>
                </a:cxn>
                <a:cxn ang="0">
                  <a:pos x="62" y="117"/>
                </a:cxn>
                <a:cxn ang="0">
                  <a:pos x="51" y="107"/>
                </a:cxn>
                <a:cxn ang="0">
                  <a:pos x="35" y="99"/>
                </a:cxn>
                <a:cxn ang="0">
                  <a:pos x="21" y="92"/>
                </a:cxn>
                <a:cxn ang="0">
                  <a:pos x="12" y="93"/>
                </a:cxn>
                <a:cxn ang="0">
                  <a:pos x="0" y="77"/>
                </a:cxn>
                <a:cxn ang="0">
                  <a:pos x="8" y="63"/>
                </a:cxn>
                <a:cxn ang="0">
                  <a:pos x="11" y="50"/>
                </a:cxn>
                <a:cxn ang="0">
                  <a:pos x="14" y="36"/>
                </a:cxn>
                <a:cxn ang="0">
                  <a:pos x="27" y="24"/>
                </a:cxn>
                <a:cxn ang="0">
                  <a:pos x="39" y="11"/>
                </a:cxn>
                <a:cxn ang="0">
                  <a:pos x="47" y="17"/>
                </a:cxn>
                <a:cxn ang="0">
                  <a:pos x="56" y="15"/>
                </a:cxn>
                <a:cxn ang="0">
                  <a:pos x="67" y="5"/>
                </a:cxn>
              </a:cxnLst>
              <a:rect l="0" t="0" r="r" b="b"/>
              <a:pathLst>
                <a:path w="373" h="212">
                  <a:moveTo>
                    <a:pt x="70" y="0"/>
                  </a:moveTo>
                  <a:lnTo>
                    <a:pt x="73" y="0"/>
                  </a:lnTo>
                  <a:lnTo>
                    <a:pt x="79" y="3"/>
                  </a:lnTo>
                  <a:lnTo>
                    <a:pt x="81" y="3"/>
                  </a:lnTo>
                  <a:lnTo>
                    <a:pt x="82" y="2"/>
                  </a:lnTo>
                  <a:lnTo>
                    <a:pt x="85" y="3"/>
                  </a:lnTo>
                  <a:lnTo>
                    <a:pt x="87" y="3"/>
                  </a:lnTo>
                  <a:lnTo>
                    <a:pt x="88" y="5"/>
                  </a:lnTo>
                  <a:lnTo>
                    <a:pt x="90" y="5"/>
                  </a:lnTo>
                  <a:lnTo>
                    <a:pt x="90" y="3"/>
                  </a:lnTo>
                  <a:lnTo>
                    <a:pt x="93" y="3"/>
                  </a:lnTo>
                  <a:lnTo>
                    <a:pt x="94" y="5"/>
                  </a:lnTo>
                  <a:lnTo>
                    <a:pt x="94" y="11"/>
                  </a:lnTo>
                  <a:lnTo>
                    <a:pt x="96" y="12"/>
                  </a:lnTo>
                  <a:lnTo>
                    <a:pt x="97" y="12"/>
                  </a:lnTo>
                  <a:lnTo>
                    <a:pt x="97" y="14"/>
                  </a:lnTo>
                  <a:lnTo>
                    <a:pt x="96" y="15"/>
                  </a:lnTo>
                  <a:lnTo>
                    <a:pt x="96" y="18"/>
                  </a:lnTo>
                  <a:lnTo>
                    <a:pt x="99" y="18"/>
                  </a:lnTo>
                  <a:lnTo>
                    <a:pt x="102" y="20"/>
                  </a:lnTo>
                  <a:lnTo>
                    <a:pt x="105" y="20"/>
                  </a:lnTo>
                  <a:lnTo>
                    <a:pt x="105" y="21"/>
                  </a:lnTo>
                  <a:lnTo>
                    <a:pt x="108" y="21"/>
                  </a:lnTo>
                  <a:lnTo>
                    <a:pt x="109" y="23"/>
                  </a:lnTo>
                  <a:lnTo>
                    <a:pt x="109" y="24"/>
                  </a:lnTo>
                  <a:lnTo>
                    <a:pt x="112" y="24"/>
                  </a:lnTo>
                  <a:lnTo>
                    <a:pt x="114" y="26"/>
                  </a:lnTo>
                  <a:lnTo>
                    <a:pt x="115" y="26"/>
                  </a:lnTo>
                  <a:lnTo>
                    <a:pt x="118" y="30"/>
                  </a:lnTo>
                  <a:lnTo>
                    <a:pt x="121" y="30"/>
                  </a:lnTo>
                  <a:lnTo>
                    <a:pt x="121" y="33"/>
                  </a:lnTo>
                  <a:lnTo>
                    <a:pt x="124" y="36"/>
                  </a:lnTo>
                  <a:lnTo>
                    <a:pt x="126" y="36"/>
                  </a:lnTo>
                  <a:lnTo>
                    <a:pt x="126" y="38"/>
                  </a:lnTo>
                  <a:lnTo>
                    <a:pt x="127" y="38"/>
                  </a:lnTo>
                  <a:lnTo>
                    <a:pt x="127" y="39"/>
                  </a:lnTo>
                  <a:lnTo>
                    <a:pt x="130" y="39"/>
                  </a:lnTo>
                  <a:lnTo>
                    <a:pt x="132" y="38"/>
                  </a:lnTo>
                  <a:lnTo>
                    <a:pt x="132" y="39"/>
                  </a:lnTo>
                  <a:lnTo>
                    <a:pt x="135" y="39"/>
                  </a:lnTo>
                  <a:lnTo>
                    <a:pt x="138" y="42"/>
                  </a:lnTo>
                  <a:lnTo>
                    <a:pt x="138" y="44"/>
                  </a:lnTo>
                  <a:lnTo>
                    <a:pt x="139" y="44"/>
                  </a:lnTo>
                  <a:lnTo>
                    <a:pt x="139" y="42"/>
                  </a:lnTo>
                  <a:lnTo>
                    <a:pt x="145" y="42"/>
                  </a:lnTo>
                  <a:lnTo>
                    <a:pt x="145" y="44"/>
                  </a:lnTo>
                  <a:lnTo>
                    <a:pt x="147" y="44"/>
                  </a:lnTo>
                  <a:lnTo>
                    <a:pt x="147" y="45"/>
                  </a:lnTo>
                  <a:lnTo>
                    <a:pt x="148" y="45"/>
                  </a:lnTo>
                  <a:lnTo>
                    <a:pt x="148" y="47"/>
                  </a:lnTo>
                  <a:lnTo>
                    <a:pt x="147" y="48"/>
                  </a:lnTo>
                  <a:lnTo>
                    <a:pt x="148" y="50"/>
                  </a:lnTo>
                  <a:lnTo>
                    <a:pt x="151" y="48"/>
                  </a:lnTo>
                  <a:lnTo>
                    <a:pt x="153" y="50"/>
                  </a:lnTo>
                  <a:lnTo>
                    <a:pt x="153" y="53"/>
                  </a:lnTo>
                  <a:lnTo>
                    <a:pt x="154" y="54"/>
                  </a:lnTo>
                  <a:lnTo>
                    <a:pt x="154" y="57"/>
                  </a:lnTo>
                  <a:lnTo>
                    <a:pt x="156" y="57"/>
                  </a:lnTo>
                  <a:lnTo>
                    <a:pt x="156" y="59"/>
                  </a:lnTo>
                  <a:lnTo>
                    <a:pt x="157" y="59"/>
                  </a:lnTo>
                  <a:lnTo>
                    <a:pt x="159" y="60"/>
                  </a:lnTo>
                  <a:lnTo>
                    <a:pt x="159" y="63"/>
                  </a:lnTo>
                  <a:lnTo>
                    <a:pt x="160" y="65"/>
                  </a:lnTo>
                  <a:lnTo>
                    <a:pt x="162" y="65"/>
                  </a:lnTo>
                  <a:lnTo>
                    <a:pt x="162" y="66"/>
                  </a:lnTo>
                  <a:lnTo>
                    <a:pt x="166" y="66"/>
                  </a:lnTo>
                  <a:lnTo>
                    <a:pt x="166" y="63"/>
                  </a:lnTo>
                  <a:lnTo>
                    <a:pt x="168" y="63"/>
                  </a:lnTo>
                  <a:lnTo>
                    <a:pt x="169" y="62"/>
                  </a:lnTo>
                  <a:lnTo>
                    <a:pt x="174" y="62"/>
                  </a:lnTo>
                  <a:lnTo>
                    <a:pt x="175" y="60"/>
                  </a:lnTo>
                  <a:lnTo>
                    <a:pt x="177" y="60"/>
                  </a:lnTo>
                  <a:lnTo>
                    <a:pt x="178" y="59"/>
                  </a:lnTo>
                  <a:lnTo>
                    <a:pt x="180" y="59"/>
                  </a:lnTo>
                  <a:lnTo>
                    <a:pt x="180" y="60"/>
                  </a:lnTo>
                  <a:lnTo>
                    <a:pt x="183" y="60"/>
                  </a:lnTo>
                  <a:lnTo>
                    <a:pt x="183" y="62"/>
                  </a:lnTo>
                  <a:lnTo>
                    <a:pt x="184" y="62"/>
                  </a:lnTo>
                  <a:lnTo>
                    <a:pt x="186" y="60"/>
                  </a:lnTo>
                  <a:lnTo>
                    <a:pt x="186" y="62"/>
                  </a:lnTo>
                  <a:lnTo>
                    <a:pt x="187" y="63"/>
                  </a:lnTo>
                  <a:lnTo>
                    <a:pt x="189" y="63"/>
                  </a:lnTo>
                  <a:lnTo>
                    <a:pt x="189" y="66"/>
                  </a:lnTo>
                  <a:lnTo>
                    <a:pt x="187" y="66"/>
                  </a:lnTo>
                  <a:lnTo>
                    <a:pt x="189" y="68"/>
                  </a:lnTo>
                  <a:lnTo>
                    <a:pt x="189" y="69"/>
                  </a:lnTo>
                  <a:lnTo>
                    <a:pt x="190" y="69"/>
                  </a:lnTo>
                  <a:lnTo>
                    <a:pt x="190" y="72"/>
                  </a:lnTo>
                  <a:lnTo>
                    <a:pt x="192" y="72"/>
                  </a:lnTo>
                  <a:lnTo>
                    <a:pt x="192" y="78"/>
                  </a:lnTo>
                  <a:lnTo>
                    <a:pt x="195" y="81"/>
                  </a:lnTo>
                  <a:lnTo>
                    <a:pt x="199" y="81"/>
                  </a:lnTo>
                  <a:lnTo>
                    <a:pt x="199" y="84"/>
                  </a:lnTo>
                  <a:lnTo>
                    <a:pt x="201" y="84"/>
                  </a:lnTo>
                  <a:lnTo>
                    <a:pt x="202" y="87"/>
                  </a:lnTo>
                  <a:lnTo>
                    <a:pt x="202" y="89"/>
                  </a:lnTo>
                  <a:lnTo>
                    <a:pt x="207" y="89"/>
                  </a:lnTo>
                  <a:lnTo>
                    <a:pt x="207" y="90"/>
                  </a:lnTo>
                  <a:lnTo>
                    <a:pt x="210" y="90"/>
                  </a:lnTo>
                  <a:lnTo>
                    <a:pt x="211" y="92"/>
                  </a:lnTo>
                  <a:lnTo>
                    <a:pt x="213" y="92"/>
                  </a:lnTo>
                  <a:lnTo>
                    <a:pt x="213" y="95"/>
                  </a:lnTo>
                  <a:lnTo>
                    <a:pt x="214" y="96"/>
                  </a:lnTo>
                  <a:lnTo>
                    <a:pt x="217" y="96"/>
                  </a:lnTo>
                  <a:lnTo>
                    <a:pt x="217" y="98"/>
                  </a:lnTo>
                  <a:lnTo>
                    <a:pt x="223" y="98"/>
                  </a:lnTo>
                  <a:lnTo>
                    <a:pt x="223" y="99"/>
                  </a:lnTo>
                  <a:lnTo>
                    <a:pt x="225" y="99"/>
                  </a:lnTo>
                  <a:lnTo>
                    <a:pt x="225" y="98"/>
                  </a:lnTo>
                  <a:lnTo>
                    <a:pt x="226" y="96"/>
                  </a:lnTo>
                  <a:lnTo>
                    <a:pt x="227" y="96"/>
                  </a:lnTo>
                  <a:lnTo>
                    <a:pt x="227" y="95"/>
                  </a:lnTo>
                  <a:lnTo>
                    <a:pt x="229" y="95"/>
                  </a:lnTo>
                  <a:lnTo>
                    <a:pt x="229" y="93"/>
                  </a:lnTo>
                  <a:lnTo>
                    <a:pt x="230" y="93"/>
                  </a:lnTo>
                  <a:lnTo>
                    <a:pt x="232" y="95"/>
                  </a:lnTo>
                  <a:lnTo>
                    <a:pt x="235" y="96"/>
                  </a:lnTo>
                  <a:lnTo>
                    <a:pt x="235" y="99"/>
                  </a:lnTo>
                  <a:lnTo>
                    <a:pt x="233" y="99"/>
                  </a:lnTo>
                  <a:lnTo>
                    <a:pt x="233" y="102"/>
                  </a:lnTo>
                  <a:lnTo>
                    <a:pt x="232" y="102"/>
                  </a:lnTo>
                  <a:lnTo>
                    <a:pt x="232" y="104"/>
                  </a:lnTo>
                  <a:lnTo>
                    <a:pt x="230" y="104"/>
                  </a:lnTo>
                  <a:lnTo>
                    <a:pt x="232" y="107"/>
                  </a:lnTo>
                  <a:lnTo>
                    <a:pt x="232" y="110"/>
                  </a:lnTo>
                  <a:lnTo>
                    <a:pt x="230" y="110"/>
                  </a:lnTo>
                  <a:lnTo>
                    <a:pt x="232" y="111"/>
                  </a:lnTo>
                  <a:lnTo>
                    <a:pt x="235" y="111"/>
                  </a:lnTo>
                  <a:lnTo>
                    <a:pt x="236" y="113"/>
                  </a:lnTo>
                  <a:lnTo>
                    <a:pt x="239" y="113"/>
                  </a:lnTo>
                  <a:lnTo>
                    <a:pt x="241" y="111"/>
                  </a:lnTo>
                  <a:lnTo>
                    <a:pt x="242" y="111"/>
                  </a:lnTo>
                  <a:lnTo>
                    <a:pt x="242" y="113"/>
                  </a:lnTo>
                  <a:lnTo>
                    <a:pt x="245" y="113"/>
                  </a:lnTo>
                  <a:lnTo>
                    <a:pt x="245" y="111"/>
                  </a:lnTo>
                  <a:lnTo>
                    <a:pt x="248" y="111"/>
                  </a:lnTo>
                  <a:lnTo>
                    <a:pt x="250" y="113"/>
                  </a:lnTo>
                  <a:lnTo>
                    <a:pt x="250" y="111"/>
                  </a:lnTo>
                  <a:lnTo>
                    <a:pt x="253" y="111"/>
                  </a:lnTo>
                  <a:lnTo>
                    <a:pt x="253" y="113"/>
                  </a:lnTo>
                  <a:lnTo>
                    <a:pt x="254" y="113"/>
                  </a:lnTo>
                  <a:lnTo>
                    <a:pt x="254" y="114"/>
                  </a:lnTo>
                  <a:lnTo>
                    <a:pt x="256" y="114"/>
                  </a:lnTo>
                  <a:lnTo>
                    <a:pt x="257" y="111"/>
                  </a:lnTo>
                  <a:lnTo>
                    <a:pt x="259" y="111"/>
                  </a:lnTo>
                  <a:lnTo>
                    <a:pt x="259" y="110"/>
                  </a:lnTo>
                  <a:lnTo>
                    <a:pt x="260" y="113"/>
                  </a:lnTo>
                  <a:lnTo>
                    <a:pt x="260" y="114"/>
                  </a:lnTo>
                  <a:lnTo>
                    <a:pt x="263" y="117"/>
                  </a:lnTo>
                  <a:lnTo>
                    <a:pt x="265" y="117"/>
                  </a:lnTo>
                  <a:lnTo>
                    <a:pt x="266" y="119"/>
                  </a:lnTo>
                  <a:lnTo>
                    <a:pt x="268" y="119"/>
                  </a:lnTo>
                  <a:lnTo>
                    <a:pt x="268" y="123"/>
                  </a:lnTo>
                  <a:lnTo>
                    <a:pt x="271" y="126"/>
                  </a:lnTo>
                  <a:lnTo>
                    <a:pt x="271" y="131"/>
                  </a:lnTo>
                  <a:lnTo>
                    <a:pt x="272" y="132"/>
                  </a:lnTo>
                  <a:lnTo>
                    <a:pt x="277" y="132"/>
                  </a:lnTo>
                  <a:lnTo>
                    <a:pt x="278" y="131"/>
                  </a:lnTo>
                  <a:lnTo>
                    <a:pt x="278" y="128"/>
                  </a:lnTo>
                  <a:lnTo>
                    <a:pt x="277" y="126"/>
                  </a:lnTo>
                  <a:lnTo>
                    <a:pt x="277" y="123"/>
                  </a:lnTo>
                  <a:lnTo>
                    <a:pt x="281" y="119"/>
                  </a:lnTo>
                  <a:lnTo>
                    <a:pt x="281" y="123"/>
                  </a:lnTo>
                  <a:lnTo>
                    <a:pt x="283" y="125"/>
                  </a:lnTo>
                  <a:lnTo>
                    <a:pt x="283" y="126"/>
                  </a:lnTo>
                  <a:lnTo>
                    <a:pt x="284" y="128"/>
                  </a:lnTo>
                  <a:lnTo>
                    <a:pt x="287" y="128"/>
                  </a:lnTo>
                  <a:lnTo>
                    <a:pt x="287" y="129"/>
                  </a:lnTo>
                  <a:lnTo>
                    <a:pt x="290" y="129"/>
                  </a:lnTo>
                  <a:lnTo>
                    <a:pt x="292" y="131"/>
                  </a:lnTo>
                  <a:lnTo>
                    <a:pt x="295" y="131"/>
                  </a:lnTo>
                  <a:lnTo>
                    <a:pt x="298" y="128"/>
                  </a:lnTo>
                  <a:lnTo>
                    <a:pt x="298" y="122"/>
                  </a:lnTo>
                  <a:lnTo>
                    <a:pt x="307" y="122"/>
                  </a:lnTo>
                  <a:lnTo>
                    <a:pt x="307" y="125"/>
                  </a:lnTo>
                  <a:lnTo>
                    <a:pt x="308" y="126"/>
                  </a:lnTo>
                  <a:lnTo>
                    <a:pt x="313" y="126"/>
                  </a:lnTo>
                  <a:lnTo>
                    <a:pt x="314" y="128"/>
                  </a:lnTo>
                  <a:lnTo>
                    <a:pt x="314" y="129"/>
                  </a:lnTo>
                  <a:lnTo>
                    <a:pt x="320" y="129"/>
                  </a:lnTo>
                  <a:lnTo>
                    <a:pt x="322" y="131"/>
                  </a:lnTo>
                  <a:lnTo>
                    <a:pt x="325" y="135"/>
                  </a:lnTo>
                  <a:lnTo>
                    <a:pt x="331" y="135"/>
                  </a:lnTo>
                  <a:lnTo>
                    <a:pt x="332" y="137"/>
                  </a:lnTo>
                  <a:lnTo>
                    <a:pt x="334" y="135"/>
                  </a:lnTo>
                  <a:lnTo>
                    <a:pt x="335" y="135"/>
                  </a:lnTo>
                  <a:lnTo>
                    <a:pt x="337" y="134"/>
                  </a:lnTo>
                  <a:lnTo>
                    <a:pt x="337" y="137"/>
                  </a:lnTo>
                  <a:lnTo>
                    <a:pt x="341" y="135"/>
                  </a:lnTo>
                  <a:lnTo>
                    <a:pt x="346" y="135"/>
                  </a:lnTo>
                  <a:lnTo>
                    <a:pt x="346" y="137"/>
                  </a:lnTo>
                  <a:lnTo>
                    <a:pt x="347" y="137"/>
                  </a:lnTo>
                  <a:lnTo>
                    <a:pt x="347" y="135"/>
                  </a:lnTo>
                  <a:lnTo>
                    <a:pt x="350" y="135"/>
                  </a:lnTo>
                  <a:lnTo>
                    <a:pt x="350" y="137"/>
                  </a:lnTo>
                  <a:lnTo>
                    <a:pt x="353" y="137"/>
                  </a:lnTo>
                  <a:lnTo>
                    <a:pt x="356" y="134"/>
                  </a:lnTo>
                  <a:lnTo>
                    <a:pt x="356" y="132"/>
                  </a:lnTo>
                  <a:lnTo>
                    <a:pt x="358" y="131"/>
                  </a:lnTo>
                  <a:lnTo>
                    <a:pt x="359" y="132"/>
                  </a:lnTo>
                  <a:lnTo>
                    <a:pt x="368" y="132"/>
                  </a:lnTo>
                  <a:lnTo>
                    <a:pt x="370" y="134"/>
                  </a:lnTo>
                  <a:lnTo>
                    <a:pt x="373" y="134"/>
                  </a:lnTo>
                  <a:lnTo>
                    <a:pt x="373" y="140"/>
                  </a:lnTo>
                  <a:lnTo>
                    <a:pt x="371" y="141"/>
                  </a:lnTo>
                  <a:lnTo>
                    <a:pt x="368" y="150"/>
                  </a:lnTo>
                  <a:lnTo>
                    <a:pt x="367" y="153"/>
                  </a:lnTo>
                  <a:lnTo>
                    <a:pt x="367" y="162"/>
                  </a:lnTo>
                  <a:lnTo>
                    <a:pt x="365" y="165"/>
                  </a:lnTo>
                  <a:lnTo>
                    <a:pt x="365" y="171"/>
                  </a:lnTo>
                  <a:lnTo>
                    <a:pt x="364" y="173"/>
                  </a:lnTo>
                  <a:lnTo>
                    <a:pt x="365" y="174"/>
                  </a:lnTo>
                  <a:lnTo>
                    <a:pt x="365" y="176"/>
                  </a:lnTo>
                  <a:lnTo>
                    <a:pt x="367" y="176"/>
                  </a:lnTo>
                  <a:lnTo>
                    <a:pt x="367" y="177"/>
                  </a:lnTo>
                  <a:lnTo>
                    <a:pt x="368" y="177"/>
                  </a:lnTo>
                  <a:lnTo>
                    <a:pt x="368" y="179"/>
                  </a:lnTo>
                  <a:lnTo>
                    <a:pt x="371" y="182"/>
                  </a:lnTo>
                  <a:lnTo>
                    <a:pt x="371" y="185"/>
                  </a:lnTo>
                  <a:lnTo>
                    <a:pt x="373" y="185"/>
                  </a:lnTo>
                  <a:lnTo>
                    <a:pt x="373" y="195"/>
                  </a:lnTo>
                  <a:lnTo>
                    <a:pt x="370" y="200"/>
                  </a:lnTo>
                  <a:lnTo>
                    <a:pt x="370" y="204"/>
                  </a:lnTo>
                  <a:lnTo>
                    <a:pt x="368" y="206"/>
                  </a:lnTo>
                  <a:lnTo>
                    <a:pt x="367" y="209"/>
                  </a:lnTo>
                  <a:lnTo>
                    <a:pt x="365" y="210"/>
                  </a:lnTo>
                  <a:lnTo>
                    <a:pt x="364" y="210"/>
                  </a:lnTo>
                  <a:lnTo>
                    <a:pt x="362" y="209"/>
                  </a:lnTo>
                  <a:lnTo>
                    <a:pt x="361" y="209"/>
                  </a:lnTo>
                  <a:lnTo>
                    <a:pt x="361" y="207"/>
                  </a:lnTo>
                  <a:lnTo>
                    <a:pt x="359" y="206"/>
                  </a:lnTo>
                  <a:lnTo>
                    <a:pt x="358" y="207"/>
                  </a:lnTo>
                  <a:lnTo>
                    <a:pt x="356" y="207"/>
                  </a:lnTo>
                  <a:lnTo>
                    <a:pt x="355" y="206"/>
                  </a:lnTo>
                  <a:lnTo>
                    <a:pt x="355" y="207"/>
                  </a:lnTo>
                  <a:lnTo>
                    <a:pt x="353" y="207"/>
                  </a:lnTo>
                  <a:lnTo>
                    <a:pt x="353" y="209"/>
                  </a:lnTo>
                  <a:lnTo>
                    <a:pt x="352" y="209"/>
                  </a:lnTo>
                  <a:lnTo>
                    <a:pt x="350" y="207"/>
                  </a:lnTo>
                  <a:lnTo>
                    <a:pt x="350" y="209"/>
                  </a:lnTo>
                  <a:lnTo>
                    <a:pt x="349" y="209"/>
                  </a:lnTo>
                  <a:lnTo>
                    <a:pt x="346" y="210"/>
                  </a:lnTo>
                  <a:lnTo>
                    <a:pt x="344" y="210"/>
                  </a:lnTo>
                  <a:lnTo>
                    <a:pt x="341" y="207"/>
                  </a:lnTo>
                  <a:lnTo>
                    <a:pt x="337" y="207"/>
                  </a:lnTo>
                  <a:lnTo>
                    <a:pt x="335" y="209"/>
                  </a:lnTo>
                  <a:lnTo>
                    <a:pt x="334" y="212"/>
                  </a:lnTo>
                  <a:lnTo>
                    <a:pt x="331" y="210"/>
                  </a:lnTo>
                  <a:lnTo>
                    <a:pt x="329" y="209"/>
                  </a:lnTo>
                  <a:lnTo>
                    <a:pt x="325" y="209"/>
                  </a:lnTo>
                  <a:lnTo>
                    <a:pt x="322" y="206"/>
                  </a:lnTo>
                  <a:lnTo>
                    <a:pt x="322" y="200"/>
                  </a:lnTo>
                  <a:lnTo>
                    <a:pt x="320" y="200"/>
                  </a:lnTo>
                  <a:lnTo>
                    <a:pt x="319" y="201"/>
                  </a:lnTo>
                  <a:lnTo>
                    <a:pt x="319" y="203"/>
                  </a:lnTo>
                  <a:lnTo>
                    <a:pt x="316" y="203"/>
                  </a:lnTo>
                  <a:lnTo>
                    <a:pt x="311" y="207"/>
                  </a:lnTo>
                  <a:lnTo>
                    <a:pt x="307" y="207"/>
                  </a:lnTo>
                  <a:lnTo>
                    <a:pt x="307" y="209"/>
                  </a:lnTo>
                  <a:lnTo>
                    <a:pt x="305" y="207"/>
                  </a:lnTo>
                  <a:lnTo>
                    <a:pt x="299" y="204"/>
                  </a:lnTo>
                  <a:lnTo>
                    <a:pt x="298" y="204"/>
                  </a:lnTo>
                  <a:lnTo>
                    <a:pt x="298" y="203"/>
                  </a:lnTo>
                  <a:lnTo>
                    <a:pt x="295" y="203"/>
                  </a:lnTo>
                  <a:lnTo>
                    <a:pt x="293" y="201"/>
                  </a:lnTo>
                  <a:lnTo>
                    <a:pt x="290" y="200"/>
                  </a:lnTo>
                  <a:lnTo>
                    <a:pt x="287" y="200"/>
                  </a:lnTo>
                  <a:lnTo>
                    <a:pt x="287" y="198"/>
                  </a:lnTo>
                  <a:lnTo>
                    <a:pt x="284" y="198"/>
                  </a:lnTo>
                  <a:lnTo>
                    <a:pt x="283" y="200"/>
                  </a:lnTo>
                  <a:lnTo>
                    <a:pt x="281" y="200"/>
                  </a:lnTo>
                  <a:lnTo>
                    <a:pt x="281" y="198"/>
                  </a:lnTo>
                  <a:lnTo>
                    <a:pt x="278" y="198"/>
                  </a:lnTo>
                  <a:lnTo>
                    <a:pt x="275" y="197"/>
                  </a:lnTo>
                  <a:lnTo>
                    <a:pt x="274" y="195"/>
                  </a:lnTo>
                  <a:lnTo>
                    <a:pt x="272" y="197"/>
                  </a:lnTo>
                  <a:lnTo>
                    <a:pt x="271" y="197"/>
                  </a:lnTo>
                  <a:lnTo>
                    <a:pt x="268" y="200"/>
                  </a:lnTo>
                  <a:lnTo>
                    <a:pt x="265" y="200"/>
                  </a:lnTo>
                  <a:lnTo>
                    <a:pt x="265" y="198"/>
                  </a:lnTo>
                  <a:lnTo>
                    <a:pt x="263" y="198"/>
                  </a:lnTo>
                  <a:lnTo>
                    <a:pt x="260" y="197"/>
                  </a:lnTo>
                  <a:lnTo>
                    <a:pt x="260" y="189"/>
                  </a:lnTo>
                  <a:lnTo>
                    <a:pt x="259" y="188"/>
                  </a:lnTo>
                  <a:lnTo>
                    <a:pt x="256" y="186"/>
                  </a:lnTo>
                  <a:lnTo>
                    <a:pt x="254" y="186"/>
                  </a:lnTo>
                  <a:lnTo>
                    <a:pt x="251" y="188"/>
                  </a:lnTo>
                  <a:lnTo>
                    <a:pt x="250" y="188"/>
                  </a:lnTo>
                  <a:lnTo>
                    <a:pt x="248" y="189"/>
                  </a:lnTo>
                  <a:lnTo>
                    <a:pt x="244" y="189"/>
                  </a:lnTo>
                  <a:lnTo>
                    <a:pt x="244" y="191"/>
                  </a:lnTo>
                  <a:lnTo>
                    <a:pt x="242" y="191"/>
                  </a:lnTo>
                  <a:lnTo>
                    <a:pt x="241" y="192"/>
                  </a:lnTo>
                  <a:lnTo>
                    <a:pt x="236" y="191"/>
                  </a:lnTo>
                  <a:lnTo>
                    <a:pt x="235" y="189"/>
                  </a:lnTo>
                  <a:lnTo>
                    <a:pt x="235" y="186"/>
                  </a:lnTo>
                  <a:lnTo>
                    <a:pt x="233" y="185"/>
                  </a:lnTo>
                  <a:lnTo>
                    <a:pt x="232" y="185"/>
                  </a:lnTo>
                  <a:lnTo>
                    <a:pt x="229" y="186"/>
                  </a:lnTo>
                  <a:lnTo>
                    <a:pt x="229" y="185"/>
                  </a:lnTo>
                  <a:lnTo>
                    <a:pt x="227" y="185"/>
                  </a:lnTo>
                  <a:lnTo>
                    <a:pt x="225" y="182"/>
                  </a:lnTo>
                  <a:lnTo>
                    <a:pt x="225" y="180"/>
                  </a:lnTo>
                  <a:lnTo>
                    <a:pt x="223" y="179"/>
                  </a:lnTo>
                  <a:lnTo>
                    <a:pt x="220" y="179"/>
                  </a:lnTo>
                  <a:lnTo>
                    <a:pt x="219" y="177"/>
                  </a:lnTo>
                  <a:lnTo>
                    <a:pt x="217" y="177"/>
                  </a:lnTo>
                  <a:lnTo>
                    <a:pt x="217" y="179"/>
                  </a:lnTo>
                  <a:lnTo>
                    <a:pt x="211" y="177"/>
                  </a:lnTo>
                  <a:lnTo>
                    <a:pt x="211" y="176"/>
                  </a:lnTo>
                  <a:lnTo>
                    <a:pt x="210" y="176"/>
                  </a:lnTo>
                  <a:lnTo>
                    <a:pt x="211" y="174"/>
                  </a:lnTo>
                  <a:lnTo>
                    <a:pt x="211" y="171"/>
                  </a:lnTo>
                  <a:lnTo>
                    <a:pt x="213" y="170"/>
                  </a:lnTo>
                  <a:lnTo>
                    <a:pt x="213" y="168"/>
                  </a:lnTo>
                  <a:lnTo>
                    <a:pt x="211" y="165"/>
                  </a:lnTo>
                  <a:lnTo>
                    <a:pt x="211" y="164"/>
                  </a:lnTo>
                  <a:lnTo>
                    <a:pt x="208" y="161"/>
                  </a:lnTo>
                  <a:lnTo>
                    <a:pt x="195" y="159"/>
                  </a:lnTo>
                  <a:lnTo>
                    <a:pt x="195" y="158"/>
                  </a:lnTo>
                  <a:lnTo>
                    <a:pt x="193" y="156"/>
                  </a:lnTo>
                  <a:lnTo>
                    <a:pt x="190" y="156"/>
                  </a:lnTo>
                  <a:lnTo>
                    <a:pt x="190" y="155"/>
                  </a:lnTo>
                  <a:lnTo>
                    <a:pt x="189" y="153"/>
                  </a:lnTo>
                  <a:lnTo>
                    <a:pt x="187" y="153"/>
                  </a:lnTo>
                  <a:lnTo>
                    <a:pt x="187" y="152"/>
                  </a:lnTo>
                  <a:lnTo>
                    <a:pt x="186" y="152"/>
                  </a:lnTo>
                  <a:lnTo>
                    <a:pt x="181" y="156"/>
                  </a:lnTo>
                  <a:lnTo>
                    <a:pt x="178" y="155"/>
                  </a:lnTo>
                  <a:lnTo>
                    <a:pt x="175" y="155"/>
                  </a:lnTo>
                  <a:lnTo>
                    <a:pt x="174" y="156"/>
                  </a:lnTo>
                  <a:lnTo>
                    <a:pt x="175" y="156"/>
                  </a:lnTo>
                  <a:lnTo>
                    <a:pt x="175" y="161"/>
                  </a:lnTo>
                  <a:lnTo>
                    <a:pt x="163" y="155"/>
                  </a:lnTo>
                  <a:lnTo>
                    <a:pt x="157" y="153"/>
                  </a:lnTo>
                  <a:lnTo>
                    <a:pt x="154" y="153"/>
                  </a:lnTo>
                  <a:lnTo>
                    <a:pt x="153" y="155"/>
                  </a:lnTo>
                  <a:lnTo>
                    <a:pt x="153" y="158"/>
                  </a:lnTo>
                  <a:lnTo>
                    <a:pt x="151" y="159"/>
                  </a:lnTo>
                  <a:lnTo>
                    <a:pt x="151" y="161"/>
                  </a:lnTo>
                  <a:lnTo>
                    <a:pt x="147" y="161"/>
                  </a:lnTo>
                  <a:lnTo>
                    <a:pt x="147" y="159"/>
                  </a:lnTo>
                  <a:lnTo>
                    <a:pt x="142" y="155"/>
                  </a:lnTo>
                  <a:lnTo>
                    <a:pt x="133" y="155"/>
                  </a:lnTo>
                  <a:lnTo>
                    <a:pt x="132" y="153"/>
                  </a:lnTo>
                  <a:lnTo>
                    <a:pt x="124" y="153"/>
                  </a:lnTo>
                  <a:lnTo>
                    <a:pt x="123" y="152"/>
                  </a:lnTo>
                  <a:lnTo>
                    <a:pt x="123" y="146"/>
                  </a:lnTo>
                  <a:lnTo>
                    <a:pt x="121" y="144"/>
                  </a:lnTo>
                  <a:lnTo>
                    <a:pt x="121" y="143"/>
                  </a:lnTo>
                  <a:lnTo>
                    <a:pt x="120" y="141"/>
                  </a:lnTo>
                  <a:lnTo>
                    <a:pt x="114" y="143"/>
                  </a:lnTo>
                  <a:lnTo>
                    <a:pt x="111" y="144"/>
                  </a:lnTo>
                  <a:lnTo>
                    <a:pt x="108" y="143"/>
                  </a:lnTo>
                  <a:lnTo>
                    <a:pt x="106" y="141"/>
                  </a:lnTo>
                  <a:lnTo>
                    <a:pt x="102" y="138"/>
                  </a:lnTo>
                  <a:lnTo>
                    <a:pt x="97" y="134"/>
                  </a:lnTo>
                  <a:lnTo>
                    <a:pt x="94" y="134"/>
                  </a:lnTo>
                  <a:lnTo>
                    <a:pt x="93" y="132"/>
                  </a:lnTo>
                  <a:lnTo>
                    <a:pt x="93" y="131"/>
                  </a:lnTo>
                  <a:lnTo>
                    <a:pt x="87" y="131"/>
                  </a:lnTo>
                  <a:lnTo>
                    <a:pt x="85" y="134"/>
                  </a:lnTo>
                  <a:lnTo>
                    <a:pt x="82" y="134"/>
                  </a:lnTo>
                  <a:lnTo>
                    <a:pt x="81" y="132"/>
                  </a:lnTo>
                  <a:lnTo>
                    <a:pt x="78" y="131"/>
                  </a:lnTo>
                  <a:lnTo>
                    <a:pt x="75" y="128"/>
                  </a:lnTo>
                  <a:lnTo>
                    <a:pt x="72" y="128"/>
                  </a:lnTo>
                  <a:lnTo>
                    <a:pt x="72" y="126"/>
                  </a:lnTo>
                  <a:lnTo>
                    <a:pt x="70" y="126"/>
                  </a:lnTo>
                  <a:lnTo>
                    <a:pt x="70" y="125"/>
                  </a:lnTo>
                  <a:lnTo>
                    <a:pt x="66" y="123"/>
                  </a:lnTo>
                  <a:lnTo>
                    <a:pt x="65" y="123"/>
                  </a:lnTo>
                  <a:lnTo>
                    <a:pt x="65" y="120"/>
                  </a:lnTo>
                  <a:lnTo>
                    <a:pt x="63" y="119"/>
                  </a:lnTo>
                  <a:lnTo>
                    <a:pt x="62" y="119"/>
                  </a:lnTo>
                  <a:lnTo>
                    <a:pt x="62" y="117"/>
                  </a:lnTo>
                  <a:lnTo>
                    <a:pt x="60" y="117"/>
                  </a:lnTo>
                  <a:lnTo>
                    <a:pt x="60" y="120"/>
                  </a:lnTo>
                  <a:lnTo>
                    <a:pt x="57" y="120"/>
                  </a:lnTo>
                  <a:lnTo>
                    <a:pt x="57" y="117"/>
                  </a:lnTo>
                  <a:lnTo>
                    <a:pt x="54" y="114"/>
                  </a:lnTo>
                  <a:lnTo>
                    <a:pt x="54" y="113"/>
                  </a:lnTo>
                  <a:lnTo>
                    <a:pt x="53" y="108"/>
                  </a:lnTo>
                  <a:lnTo>
                    <a:pt x="51" y="107"/>
                  </a:lnTo>
                  <a:lnTo>
                    <a:pt x="47" y="107"/>
                  </a:lnTo>
                  <a:lnTo>
                    <a:pt x="44" y="105"/>
                  </a:lnTo>
                  <a:lnTo>
                    <a:pt x="44" y="104"/>
                  </a:lnTo>
                  <a:lnTo>
                    <a:pt x="39" y="104"/>
                  </a:lnTo>
                  <a:lnTo>
                    <a:pt x="39" y="102"/>
                  </a:lnTo>
                  <a:lnTo>
                    <a:pt x="38" y="101"/>
                  </a:lnTo>
                  <a:lnTo>
                    <a:pt x="35" y="101"/>
                  </a:lnTo>
                  <a:lnTo>
                    <a:pt x="35" y="99"/>
                  </a:lnTo>
                  <a:lnTo>
                    <a:pt x="32" y="98"/>
                  </a:lnTo>
                  <a:lnTo>
                    <a:pt x="30" y="98"/>
                  </a:lnTo>
                  <a:lnTo>
                    <a:pt x="29" y="96"/>
                  </a:lnTo>
                  <a:lnTo>
                    <a:pt x="29" y="95"/>
                  </a:lnTo>
                  <a:lnTo>
                    <a:pt x="27" y="93"/>
                  </a:lnTo>
                  <a:lnTo>
                    <a:pt x="24" y="93"/>
                  </a:lnTo>
                  <a:lnTo>
                    <a:pt x="24" y="92"/>
                  </a:lnTo>
                  <a:lnTo>
                    <a:pt x="21" y="92"/>
                  </a:lnTo>
                  <a:lnTo>
                    <a:pt x="20" y="93"/>
                  </a:lnTo>
                  <a:lnTo>
                    <a:pt x="21" y="96"/>
                  </a:lnTo>
                  <a:lnTo>
                    <a:pt x="21" y="98"/>
                  </a:lnTo>
                  <a:lnTo>
                    <a:pt x="17" y="93"/>
                  </a:lnTo>
                  <a:lnTo>
                    <a:pt x="15" y="95"/>
                  </a:lnTo>
                  <a:lnTo>
                    <a:pt x="14" y="95"/>
                  </a:lnTo>
                  <a:lnTo>
                    <a:pt x="14" y="93"/>
                  </a:lnTo>
                  <a:lnTo>
                    <a:pt x="12" y="93"/>
                  </a:lnTo>
                  <a:lnTo>
                    <a:pt x="12" y="90"/>
                  </a:lnTo>
                  <a:lnTo>
                    <a:pt x="9" y="90"/>
                  </a:lnTo>
                  <a:lnTo>
                    <a:pt x="9" y="89"/>
                  </a:lnTo>
                  <a:lnTo>
                    <a:pt x="8" y="87"/>
                  </a:lnTo>
                  <a:lnTo>
                    <a:pt x="5" y="87"/>
                  </a:lnTo>
                  <a:lnTo>
                    <a:pt x="3" y="84"/>
                  </a:lnTo>
                  <a:lnTo>
                    <a:pt x="0" y="84"/>
                  </a:lnTo>
                  <a:lnTo>
                    <a:pt x="0" y="77"/>
                  </a:lnTo>
                  <a:lnTo>
                    <a:pt x="2" y="77"/>
                  </a:lnTo>
                  <a:lnTo>
                    <a:pt x="3" y="75"/>
                  </a:lnTo>
                  <a:lnTo>
                    <a:pt x="3" y="71"/>
                  </a:lnTo>
                  <a:lnTo>
                    <a:pt x="6" y="68"/>
                  </a:lnTo>
                  <a:lnTo>
                    <a:pt x="9" y="68"/>
                  </a:lnTo>
                  <a:lnTo>
                    <a:pt x="9" y="66"/>
                  </a:lnTo>
                  <a:lnTo>
                    <a:pt x="8" y="65"/>
                  </a:lnTo>
                  <a:lnTo>
                    <a:pt x="8" y="63"/>
                  </a:lnTo>
                  <a:lnTo>
                    <a:pt x="11" y="63"/>
                  </a:lnTo>
                  <a:lnTo>
                    <a:pt x="11" y="57"/>
                  </a:lnTo>
                  <a:lnTo>
                    <a:pt x="9" y="57"/>
                  </a:lnTo>
                  <a:lnTo>
                    <a:pt x="9" y="56"/>
                  </a:lnTo>
                  <a:lnTo>
                    <a:pt x="8" y="53"/>
                  </a:lnTo>
                  <a:lnTo>
                    <a:pt x="8" y="51"/>
                  </a:lnTo>
                  <a:lnTo>
                    <a:pt x="11" y="51"/>
                  </a:lnTo>
                  <a:lnTo>
                    <a:pt x="11" y="50"/>
                  </a:lnTo>
                  <a:lnTo>
                    <a:pt x="12" y="48"/>
                  </a:lnTo>
                  <a:lnTo>
                    <a:pt x="12" y="47"/>
                  </a:lnTo>
                  <a:lnTo>
                    <a:pt x="14" y="47"/>
                  </a:lnTo>
                  <a:lnTo>
                    <a:pt x="14" y="45"/>
                  </a:lnTo>
                  <a:lnTo>
                    <a:pt x="15" y="44"/>
                  </a:lnTo>
                  <a:lnTo>
                    <a:pt x="15" y="39"/>
                  </a:lnTo>
                  <a:lnTo>
                    <a:pt x="14" y="38"/>
                  </a:lnTo>
                  <a:lnTo>
                    <a:pt x="14" y="36"/>
                  </a:lnTo>
                  <a:lnTo>
                    <a:pt x="17" y="33"/>
                  </a:lnTo>
                  <a:lnTo>
                    <a:pt x="20" y="33"/>
                  </a:lnTo>
                  <a:lnTo>
                    <a:pt x="20" y="32"/>
                  </a:lnTo>
                  <a:lnTo>
                    <a:pt x="23" y="29"/>
                  </a:lnTo>
                  <a:lnTo>
                    <a:pt x="23" y="27"/>
                  </a:lnTo>
                  <a:lnTo>
                    <a:pt x="24" y="26"/>
                  </a:lnTo>
                  <a:lnTo>
                    <a:pt x="24" y="24"/>
                  </a:lnTo>
                  <a:lnTo>
                    <a:pt x="27" y="24"/>
                  </a:lnTo>
                  <a:lnTo>
                    <a:pt x="29" y="23"/>
                  </a:lnTo>
                  <a:lnTo>
                    <a:pt x="32" y="21"/>
                  </a:lnTo>
                  <a:lnTo>
                    <a:pt x="33" y="18"/>
                  </a:lnTo>
                  <a:lnTo>
                    <a:pt x="38" y="14"/>
                  </a:lnTo>
                  <a:lnTo>
                    <a:pt x="36" y="12"/>
                  </a:lnTo>
                  <a:lnTo>
                    <a:pt x="38" y="12"/>
                  </a:lnTo>
                  <a:lnTo>
                    <a:pt x="38" y="11"/>
                  </a:lnTo>
                  <a:lnTo>
                    <a:pt x="39" y="11"/>
                  </a:lnTo>
                  <a:lnTo>
                    <a:pt x="39" y="12"/>
                  </a:lnTo>
                  <a:lnTo>
                    <a:pt x="41" y="12"/>
                  </a:lnTo>
                  <a:lnTo>
                    <a:pt x="44" y="11"/>
                  </a:lnTo>
                  <a:lnTo>
                    <a:pt x="44" y="12"/>
                  </a:lnTo>
                  <a:lnTo>
                    <a:pt x="45" y="12"/>
                  </a:lnTo>
                  <a:lnTo>
                    <a:pt x="45" y="14"/>
                  </a:lnTo>
                  <a:lnTo>
                    <a:pt x="47" y="15"/>
                  </a:lnTo>
                  <a:lnTo>
                    <a:pt x="47" y="17"/>
                  </a:lnTo>
                  <a:lnTo>
                    <a:pt x="48" y="18"/>
                  </a:lnTo>
                  <a:lnTo>
                    <a:pt x="48" y="21"/>
                  </a:lnTo>
                  <a:lnTo>
                    <a:pt x="54" y="21"/>
                  </a:lnTo>
                  <a:lnTo>
                    <a:pt x="54" y="20"/>
                  </a:lnTo>
                  <a:lnTo>
                    <a:pt x="56" y="18"/>
                  </a:lnTo>
                  <a:lnTo>
                    <a:pt x="57" y="18"/>
                  </a:lnTo>
                  <a:lnTo>
                    <a:pt x="57" y="17"/>
                  </a:lnTo>
                  <a:lnTo>
                    <a:pt x="56" y="15"/>
                  </a:lnTo>
                  <a:lnTo>
                    <a:pt x="59" y="15"/>
                  </a:lnTo>
                  <a:lnTo>
                    <a:pt x="60" y="14"/>
                  </a:lnTo>
                  <a:lnTo>
                    <a:pt x="60" y="11"/>
                  </a:lnTo>
                  <a:lnTo>
                    <a:pt x="62" y="11"/>
                  </a:lnTo>
                  <a:lnTo>
                    <a:pt x="62" y="2"/>
                  </a:lnTo>
                  <a:lnTo>
                    <a:pt x="63" y="2"/>
                  </a:lnTo>
                  <a:lnTo>
                    <a:pt x="66" y="5"/>
                  </a:lnTo>
                  <a:lnTo>
                    <a:pt x="67" y="5"/>
                  </a:lnTo>
                  <a:lnTo>
                    <a:pt x="69" y="2"/>
                  </a:lnTo>
                  <a:lnTo>
                    <a:pt x="70" y="2"/>
                  </a:lnTo>
                  <a:lnTo>
                    <a:pt x="70"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0">
              <a:extLst>
                <a:ext uri="{FF2B5EF4-FFF2-40B4-BE49-F238E27FC236}">
                  <a16:creationId xmlns:a16="http://schemas.microsoft.com/office/drawing/2014/main" id="{D0E7E51E-06EF-8126-9CC4-DCE1EF94A55D}"/>
                </a:ext>
              </a:extLst>
            </p:cNvPr>
            <p:cNvSpPr>
              <a:spLocks noEditPoints="1"/>
            </p:cNvSpPr>
            <p:nvPr/>
          </p:nvSpPr>
          <p:spPr bwMode="auto">
            <a:xfrm>
              <a:off x="2368992" y="3812278"/>
              <a:ext cx="433445" cy="955048"/>
            </a:xfrm>
            <a:custGeom>
              <a:avLst/>
              <a:gdLst/>
              <a:ahLst/>
              <a:cxnLst>
                <a:cxn ang="0">
                  <a:pos x="264" y="882"/>
                </a:cxn>
                <a:cxn ang="0">
                  <a:pos x="291" y="860"/>
                </a:cxn>
                <a:cxn ang="0">
                  <a:pos x="292" y="857"/>
                </a:cxn>
                <a:cxn ang="0">
                  <a:pos x="282" y="818"/>
                </a:cxn>
                <a:cxn ang="0">
                  <a:pos x="253" y="813"/>
                </a:cxn>
                <a:cxn ang="0">
                  <a:pos x="271" y="801"/>
                </a:cxn>
                <a:cxn ang="0">
                  <a:pos x="282" y="783"/>
                </a:cxn>
                <a:cxn ang="0">
                  <a:pos x="282" y="765"/>
                </a:cxn>
                <a:cxn ang="0">
                  <a:pos x="57" y="711"/>
                </a:cxn>
                <a:cxn ang="0">
                  <a:pos x="247" y="596"/>
                </a:cxn>
                <a:cxn ang="0">
                  <a:pos x="66" y="481"/>
                </a:cxn>
                <a:cxn ang="0">
                  <a:pos x="71" y="440"/>
                </a:cxn>
                <a:cxn ang="0">
                  <a:pos x="265" y="12"/>
                </a:cxn>
                <a:cxn ang="0">
                  <a:pos x="298" y="54"/>
                </a:cxn>
                <a:cxn ang="0">
                  <a:pos x="295" y="129"/>
                </a:cxn>
                <a:cxn ang="0">
                  <a:pos x="264" y="171"/>
                </a:cxn>
                <a:cxn ang="0">
                  <a:pos x="255" y="237"/>
                </a:cxn>
                <a:cxn ang="0">
                  <a:pos x="301" y="241"/>
                </a:cxn>
                <a:cxn ang="0">
                  <a:pos x="337" y="280"/>
                </a:cxn>
                <a:cxn ang="0">
                  <a:pos x="344" y="327"/>
                </a:cxn>
                <a:cxn ang="0">
                  <a:pos x="374" y="354"/>
                </a:cxn>
                <a:cxn ang="0">
                  <a:pos x="388" y="386"/>
                </a:cxn>
                <a:cxn ang="0">
                  <a:pos x="343" y="412"/>
                </a:cxn>
                <a:cxn ang="0">
                  <a:pos x="291" y="443"/>
                </a:cxn>
                <a:cxn ang="0">
                  <a:pos x="253" y="481"/>
                </a:cxn>
                <a:cxn ang="0">
                  <a:pos x="255" y="520"/>
                </a:cxn>
                <a:cxn ang="0">
                  <a:pos x="291" y="577"/>
                </a:cxn>
                <a:cxn ang="0">
                  <a:pos x="298" y="614"/>
                </a:cxn>
                <a:cxn ang="0">
                  <a:pos x="288" y="686"/>
                </a:cxn>
                <a:cxn ang="0">
                  <a:pos x="322" y="762"/>
                </a:cxn>
                <a:cxn ang="0">
                  <a:pos x="338" y="825"/>
                </a:cxn>
                <a:cxn ang="0">
                  <a:pos x="303" y="885"/>
                </a:cxn>
                <a:cxn ang="0">
                  <a:pos x="298" y="849"/>
                </a:cxn>
                <a:cxn ang="0">
                  <a:pos x="295" y="819"/>
                </a:cxn>
                <a:cxn ang="0">
                  <a:pos x="295" y="800"/>
                </a:cxn>
                <a:cxn ang="0">
                  <a:pos x="291" y="747"/>
                </a:cxn>
                <a:cxn ang="0">
                  <a:pos x="273" y="729"/>
                </a:cxn>
                <a:cxn ang="0">
                  <a:pos x="264" y="680"/>
                </a:cxn>
                <a:cxn ang="0">
                  <a:pos x="255" y="593"/>
                </a:cxn>
                <a:cxn ang="0">
                  <a:pos x="228" y="569"/>
                </a:cxn>
                <a:cxn ang="0">
                  <a:pos x="216" y="580"/>
                </a:cxn>
                <a:cxn ang="0">
                  <a:pos x="181" y="605"/>
                </a:cxn>
                <a:cxn ang="0">
                  <a:pos x="146" y="620"/>
                </a:cxn>
                <a:cxn ang="0">
                  <a:pos x="126" y="629"/>
                </a:cxn>
                <a:cxn ang="0">
                  <a:pos x="119" y="619"/>
                </a:cxn>
                <a:cxn ang="0">
                  <a:pos x="108" y="614"/>
                </a:cxn>
                <a:cxn ang="0">
                  <a:pos x="101" y="595"/>
                </a:cxn>
                <a:cxn ang="0">
                  <a:pos x="105" y="524"/>
                </a:cxn>
                <a:cxn ang="0">
                  <a:pos x="87" y="479"/>
                </a:cxn>
                <a:cxn ang="0">
                  <a:pos x="66" y="467"/>
                </a:cxn>
                <a:cxn ang="0">
                  <a:pos x="77" y="442"/>
                </a:cxn>
                <a:cxn ang="0">
                  <a:pos x="48" y="436"/>
                </a:cxn>
                <a:cxn ang="0">
                  <a:pos x="42" y="409"/>
                </a:cxn>
                <a:cxn ang="0">
                  <a:pos x="26" y="400"/>
                </a:cxn>
                <a:cxn ang="0">
                  <a:pos x="3" y="360"/>
                </a:cxn>
                <a:cxn ang="0">
                  <a:pos x="33" y="331"/>
                </a:cxn>
                <a:cxn ang="0">
                  <a:pos x="54" y="279"/>
                </a:cxn>
                <a:cxn ang="0">
                  <a:pos x="93" y="228"/>
                </a:cxn>
                <a:cxn ang="0">
                  <a:pos x="116" y="156"/>
                </a:cxn>
                <a:cxn ang="0">
                  <a:pos x="141" y="98"/>
                </a:cxn>
                <a:cxn ang="0">
                  <a:pos x="216" y="66"/>
                </a:cxn>
                <a:cxn ang="0">
                  <a:pos x="226" y="38"/>
                </a:cxn>
              </a:cxnLst>
              <a:rect l="0" t="0" r="r" b="b"/>
              <a:pathLst>
                <a:path w="413" h="910">
                  <a:moveTo>
                    <a:pt x="268" y="909"/>
                  </a:moveTo>
                  <a:lnTo>
                    <a:pt x="270" y="909"/>
                  </a:lnTo>
                  <a:lnTo>
                    <a:pt x="271" y="910"/>
                  </a:lnTo>
                  <a:lnTo>
                    <a:pt x="268" y="910"/>
                  </a:lnTo>
                  <a:lnTo>
                    <a:pt x="268" y="909"/>
                  </a:lnTo>
                  <a:close/>
                  <a:moveTo>
                    <a:pt x="279" y="898"/>
                  </a:moveTo>
                  <a:lnTo>
                    <a:pt x="280" y="898"/>
                  </a:lnTo>
                  <a:lnTo>
                    <a:pt x="280" y="900"/>
                  </a:lnTo>
                  <a:lnTo>
                    <a:pt x="282" y="900"/>
                  </a:lnTo>
                  <a:lnTo>
                    <a:pt x="282" y="901"/>
                  </a:lnTo>
                  <a:lnTo>
                    <a:pt x="280" y="901"/>
                  </a:lnTo>
                  <a:lnTo>
                    <a:pt x="280" y="903"/>
                  </a:lnTo>
                  <a:lnTo>
                    <a:pt x="279" y="903"/>
                  </a:lnTo>
                  <a:lnTo>
                    <a:pt x="277" y="904"/>
                  </a:lnTo>
                  <a:lnTo>
                    <a:pt x="276" y="904"/>
                  </a:lnTo>
                  <a:lnTo>
                    <a:pt x="276" y="906"/>
                  </a:lnTo>
                  <a:lnTo>
                    <a:pt x="274" y="907"/>
                  </a:lnTo>
                  <a:lnTo>
                    <a:pt x="274" y="903"/>
                  </a:lnTo>
                  <a:lnTo>
                    <a:pt x="276" y="903"/>
                  </a:lnTo>
                  <a:lnTo>
                    <a:pt x="276" y="900"/>
                  </a:lnTo>
                  <a:lnTo>
                    <a:pt x="277" y="900"/>
                  </a:lnTo>
                  <a:lnTo>
                    <a:pt x="279" y="898"/>
                  </a:lnTo>
                  <a:close/>
                  <a:moveTo>
                    <a:pt x="277" y="893"/>
                  </a:moveTo>
                  <a:lnTo>
                    <a:pt x="279" y="893"/>
                  </a:lnTo>
                  <a:lnTo>
                    <a:pt x="279" y="895"/>
                  </a:lnTo>
                  <a:lnTo>
                    <a:pt x="276" y="895"/>
                  </a:lnTo>
                  <a:lnTo>
                    <a:pt x="276" y="894"/>
                  </a:lnTo>
                  <a:lnTo>
                    <a:pt x="277" y="894"/>
                  </a:lnTo>
                  <a:lnTo>
                    <a:pt x="277" y="893"/>
                  </a:lnTo>
                  <a:close/>
                  <a:moveTo>
                    <a:pt x="264" y="881"/>
                  </a:moveTo>
                  <a:lnTo>
                    <a:pt x="265" y="882"/>
                  </a:lnTo>
                  <a:lnTo>
                    <a:pt x="264" y="882"/>
                  </a:lnTo>
                  <a:lnTo>
                    <a:pt x="264" y="881"/>
                  </a:lnTo>
                  <a:close/>
                  <a:moveTo>
                    <a:pt x="264" y="879"/>
                  </a:moveTo>
                  <a:lnTo>
                    <a:pt x="265" y="879"/>
                  </a:lnTo>
                  <a:lnTo>
                    <a:pt x="265" y="881"/>
                  </a:lnTo>
                  <a:lnTo>
                    <a:pt x="264" y="881"/>
                  </a:lnTo>
                  <a:lnTo>
                    <a:pt x="264" y="879"/>
                  </a:lnTo>
                  <a:close/>
                  <a:moveTo>
                    <a:pt x="279" y="876"/>
                  </a:moveTo>
                  <a:lnTo>
                    <a:pt x="279" y="878"/>
                  </a:lnTo>
                  <a:lnTo>
                    <a:pt x="277" y="879"/>
                  </a:lnTo>
                  <a:lnTo>
                    <a:pt x="277" y="878"/>
                  </a:lnTo>
                  <a:lnTo>
                    <a:pt x="279" y="876"/>
                  </a:lnTo>
                  <a:close/>
                  <a:moveTo>
                    <a:pt x="280" y="866"/>
                  </a:moveTo>
                  <a:lnTo>
                    <a:pt x="282" y="866"/>
                  </a:lnTo>
                  <a:lnTo>
                    <a:pt x="282" y="867"/>
                  </a:lnTo>
                  <a:lnTo>
                    <a:pt x="280" y="869"/>
                  </a:lnTo>
                  <a:lnTo>
                    <a:pt x="279" y="869"/>
                  </a:lnTo>
                  <a:lnTo>
                    <a:pt x="279" y="867"/>
                  </a:lnTo>
                  <a:lnTo>
                    <a:pt x="280" y="867"/>
                  </a:lnTo>
                  <a:lnTo>
                    <a:pt x="280" y="866"/>
                  </a:lnTo>
                  <a:close/>
                  <a:moveTo>
                    <a:pt x="279" y="861"/>
                  </a:moveTo>
                  <a:lnTo>
                    <a:pt x="280" y="863"/>
                  </a:lnTo>
                  <a:lnTo>
                    <a:pt x="280" y="866"/>
                  </a:lnTo>
                  <a:lnTo>
                    <a:pt x="279" y="866"/>
                  </a:lnTo>
                  <a:lnTo>
                    <a:pt x="279" y="861"/>
                  </a:lnTo>
                  <a:close/>
                  <a:moveTo>
                    <a:pt x="291" y="860"/>
                  </a:moveTo>
                  <a:lnTo>
                    <a:pt x="292" y="861"/>
                  </a:lnTo>
                  <a:lnTo>
                    <a:pt x="294" y="861"/>
                  </a:lnTo>
                  <a:lnTo>
                    <a:pt x="294" y="864"/>
                  </a:lnTo>
                  <a:lnTo>
                    <a:pt x="292" y="864"/>
                  </a:lnTo>
                  <a:lnTo>
                    <a:pt x="292" y="863"/>
                  </a:lnTo>
                  <a:lnTo>
                    <a:pt x="291" y="863"/>
                  </a:lnTo>
                  <a:lnTo>
                    <a:pt x="291" y="860"/>
                  </a:lnTo>
                  <a:close/>
                  <a:moveTo>
                    <a:pt x="273" y="858"/>
                  </a:moveTo>
                  <a:lnTo>
                    <a:pt x="274" y="858"/>
                  </a:lnTo>
                  <a:lnTo>
                    <a:pt x="274" y="860"/>
                  </a:lnTo>
                  <a:lnTo>
                    <a:pt x="273" y="861"/>
                  </a:lnTo>
                  <a:lnTo>
                    <a:pt x="271" y="860"/>
                  </a:lnTo>
                  <a:lnTo>
                    <a:pt x="273" y="860"/>
                  </a:lnTo>
                  <a:lnTo>
                    <a:pt x="273" y="858"/>
                  </a:lnTo>
                  <a:close/>
                  <a:moveTo>
                    <a:pt x="264" y="858"/>
                  </a:moveTo>
                  <a:lnTo>
                    <a:pt x="265" y="858"/>
                  </a:lnTo>
                  <a:lnTo>
                    <a:pt x="265" y="861"/>
                  </a:lnTo>
                  <a:lnTo>
                    <a:pt x="264" y="861"/>
                  </a:lnTo>
                  <a:lnTo>
                    <a:pt x="264" y="858"/>
                  </a:lnTo>
                  <a:close/>
                  <a:moveTo>
                    <a:pt x="288" y="855"/>
                  </a:moveTo>
                  <a:lnTo>
                    <a:pt x="289" y="855"/>
                  </a:lnTo>
                  <a:lnTo>
                    <a:pt x="289" y="857"/>
                  </a:lnTo>
                  <a:lnTo>
                    <a:pt x="288" y="857"/>
                  </a:lnTo>
                  <a:lnTo>
                    <a:pt x="288" y="855"/>
                  </a:lnTo>
                  <a:close/>
                  <a:moveTo>
                    <a:pt x="276" y="855"/>
                  </a:moveTo>
                  <a:lnTo>
                    <a:pt x="276" y="857"/>
                  </a:lnTo>
                  <a:lnTo>
                    <a:pt x="277" y="857"/>
                  </a:lnTo>
                  <a:lnTo>
                    <a:pt x="279" y="858"/>
                  </a:lnTo>
                  <a:lnTo>
                    <a:pt x="279" y="861"/>
                  </a:lnTo>
                  <a:lnTo>
                    <a:pt x="277" y="861"/>
                  </a:lnTo>
                  <a:lnTo>
                    <a:pt x="276" y="860"/>
                  </a:lnTo>
                  <a:lnTo>
                    <a:pt x="276" y="858"/>
                  </a:lnTo>
                  <a:lnTo>
                    <a:pt x="274" y="858"/>
                  </a:lnTo>
                  <a:lnTo>
                    <a:pt x="274" y="857"/>
                  </a:lnTo>
                  <a:lnTo>
                    <a:pt x="276" y="855"/>
                  </a:lnTo>
                  <a:close/>
                  <a:moveTo>
                    <a:pt x="292" y="852"/>
                  </a:moveTo>
                  <a:lnTo>
                    <a:pt x="294" y="854"/>
                  </a:lnTo>
                  <a:lnTo>
                    <a:pt x="294" y="857"/>
                  </a:lnTo>
                  <a:lnTo>
                    <a:pt x="292" y="857"/>
                  </a:lnTo>
                  <a:lnTo>
                    <a:pt x="292" y="858"/>
                  </a:lnTo>
                  <a:lnTo>
                    <a:pt x="291" y="857"/>
                  </a:lnTo>
                  <a:lnTo>
                    <a:pt x="291" y="854"/>
                  </a:lnTo>
                  <a:lnTo>
                    <a:pt x="292" y="854"/>
                  </a:lnTo>
                  <a:lnTo>
                    <a:pt x="292" y="852"/>
                  </a:lnTo>
                  <a:close/>
                  <a:moveTo>
                    <a:pt x="279" y="842"/>
                  </a:moveTo>
                  <a:lnTo>
                    <a:pt x="282" y="842"/>
                  </a:lnTo>
                  <a:lnTo>
                    <a:pt x="280" y="843"/>
                  </a:lnTo>
                  <a:lnTo>
                    <a:pt x="282" y="843"/>
                  </a:lnTo>
                  <a:lnTo>
                    <a:pt x="282" y="845"/>
                  </a:lnTo>
                  <a:lnTo>
                    <a:pt x="280" y="845"/>
                  </a:lnTo>
                  <a:lnTo>
                    <a:pt x="279" y="843"/>
                  </a:lnTo>
                  <a:lnTo>
                    <a:pt x="279" y="842"/>
                  </a:lnTo>
                  <a:close/>
                  <a:moveTo>
                    <a:pt x="276" y="833"/>
                  </a:moveTo>
                  <a:lnTo>
                    <a:pt x="277" y="833"/>
                  </a:lnTo>
                  <a:lnTo>
                    <a:pt x="277" y="834"/>
                  </a:lnTo>
                  <a:lnTo>
                    <a:pt x="276" y="834"/>
                  </a:lnTo>
                  <a:lnTo>
                    <a:pt x="276" y="833"/>
                  </a:lnTo>
                  <a:close/>
                  <a:moveTo>
                    <a:pt x="285" y="818"/>
                  </a:moveTo>
                  <a:lnTo>
                    <a:pt x="294" y="818"/>
                  </a:lnTo>
                  <a:lnTo>
                    <a:pt x="294" y="827"/>
                  </a:lnTo>
                  <a:lnTo>
                    <a:pt x="292" y="827"/>
                  </a:lnTo>
                  <a:lnTo>
                    <a:pt x="292" y="830"/>
                  </a:lnTo>
                  <a:lnTo>
                    <a:pt x="291" y="828"/>
                  </a:lnTo>
                  <a:lnTo>
                    <a:pt x="288" y="828"/>
                  </a:lnTo>
                  <a:lnTo>
                    <a:pt x="288" y="825"/>
                  </a:lnTo>
                  <a:lnTo>
                    <a:pt x="286" y="824"/>
                  </a:lnTo>
                  <a:lnTo>
                    <a:pt x="286" y="819"/>
                  </a:lnTo>
                  <a:lnTo>
                    <a:pt x="285" y="819"/>
                  </a:lnTo>
                  <a:lnTo>
                    <a:pt x="285" y="818"/>
                  </a:lnTo>
                  <a:close/>
                  <a:moveTo>
                    <a:pt x="280" y="818"/>
                  </a:moveTo>
                  <a:lnTo>
                    <a:pt x="282" y="818"/>
                  </a:lnTo>
                  <a:lnTo>
                    <a:pt x="282" y="819"/>
                  </a:lnTo>
                  <a:lnTo>
                    <a:pt x="283" y="821"/>
                  </a:lnTo>
                  <a:lnTo>
                    <a:pt x="283" y="822"/>
                  </a:lnTo>
                  <a:lnTo>
                    <a:pt x="282" y="822"/>
                  </a:lnTo>
                  <a:lnTo>
                    <a:pt x="282" y="831"/>
                  </a:lnTo>
                  <a:lnTo>
                    <a:pt x="280" y="833"/>
                  </a:lnTo>
                  <a:lnTo>
                    <a:pt x="277" y="833"/>
                  </a:lnTo>
                  <a:lnTo>
                    <a:pt x="277" y="828"/>
                  </a:lnTo>
                  <a:lnTo>
                    <a:pt x="279" y="827"/>
                  </a:lnTo>
                  <a:lnTo>
                    <a:pt x="279" y="824"/>
                  </a:lnTo>
                  <a:lnTo>
                    <a:pt x="280" y="821"/>
                  </a:lnTo>
                  <a:lnTo>
                    <a:pt x="280" y="818"/>
                  </a:lnTo>
                  <a:close/>
                  <a:moveTo>
                    <a:pt x="243" y="818"/>
                  </a:moveTo>
                  <a:lnTo>
                    <a:pt x="244" y="818"/>
                  </a:lnTo>
                  <a:lnTo>
                    <a:pt x="244" y="819"/>
                  </a:lnTo>
                  <a:lnTo>
                    <a:pt x="243" y="818"/>
                  </a:lnTo>
                  <a:close/>
                  <a:moveTo>
                    <a:pt x="268" y="816"/>
                  </a:moveTo>
                  <a:lnTo>
                    <a:pt x="271" y="819"/>
                  </a:lnTo>
                  <a:lnTo>
                    <a:pt x="271" y="824"/>
                  </a:lnTo>
                  <a:lnTo>
                    <a:pt x="270" y="824"/>
                  </a:lnTo>
                  <a:lnTo>
                    <a:pt x="268" y="822"/>
                  </a:lnTo>
                  <a:lnTo>
                    <a:pt x="270" y="822"/>
                  </a:lnTo>
                  <a:lnTo>
                    <a:pt x="270" y="819"/>
                  </a:lnTo>
                  <a:lnTo>
                    <a:pt x="268" y="819"/>
                  </a:lnTo>
                  <a:lnTo>
                    <a:pt x="268" y="816"/>
                  </a:lnTo>
                  <a:close/>
                  <a:moveTo>
                    <a:pt x="280" y="813"/>
                  </a:moveTo>
                  <a:lnTo>
                    <a:pt x="282" y="813"/>
                  </a:lnTo>
                  <a:lnTo>
                    <a:pt x="282" y="815"/>
                  </a:lnTo>
                  <a:lnTo>
                    <a:pt x="280" y="815"/>
                  </a:lnTo>
                  <a:lnTo>
                    <a:pt x="280" y="813"/>
                  </a:lnTo>
                  <a:close/>
                  <a:moveTo>
                    <a:pt x="252" y="813"/>
                  </a:moveTo>
                  <a:lnTo>
                    <a:pt x="253" y="813"/>
                  </a:lnTo>
                  <a:lnTo>
                    <a:pt x="253" y="816"/>
                  </a:lnTo>
                  <a:lnTo>
                    <a:pt x="252" y="816"/>
                  </a:lnTo>
                  <a:lnTo>
                    <a:pt x="252" y="813"/>
                  </a:lnTo>
                  <a:close/>
                  <a:moveTo>
                    <a:pt x="279" y="810"/>
                  </a:moveTo>
                  <a:lnTo>
                    <a:pt x="280" y="810"/>
                  </a:lnTo>
                  <a:lnTo>
                    <a:pt x="280" y="812"/>
                  </a:lnTo>
                  <a:lnTo>
                    <a:pt x="279" y="812"/>
                  </a:lnTo>
                  <a:lnTo>
                    <a:pt x="279" y="810"/>
                  </a:lnTo>
                  <a:close/>
                  <a:moveTo>
                    <a:pt x="288" y="803"/>
                  </a:moveTo>
                  <a:lnTo>
                    <a:pt x="292" y="807"/>
                  </a:lnTo>
                  <a:lnTo>
                    <a:pt x="292" y="809"/>
                  </a:lnTo>
                  <a:lnTo>
                    <a:pt x="295" y="809"/>
                  </a:lnTo>
                  <a:lnTo>
                    <a:pt x="295" y="810"/>
                  </a:lnTo>
                  <a:lnTo>
                    <a:pt x="298" y="810"/>
                  </a:lnTo>
                  <a:lnTo>
                    <a:pt x="298" y="812"/>
                  </a:lnTo>
                  <a:lnTo>
                    <a:pt x="294" y="812"/>
                  </a:lnTo>
                  <a:lnTo>
                    <a:pt x="292" y="813"/>
                  </a:lnTo>
                  <a:lnTo>
                    <a:pt x="291" y="813"/>
                  </a:lnTo>
                  <a:lnTo>
                    <a:pt x="289" y="812"/>
                  </a:lnTo>
                  <a:lnTo>
                    <a:pt x="289" y="807"/>
                  </a:lnTo>
                  <a:lnTo>
                    <a:pt x="288" y="807"/>
                  </a:lnTo>
                  <a:lnTo>
                    <a:pt x="288" y="803"/>
                  </a:lnTo>
                  <a:close/>
                  <a:moveTo>
                    <a:pt x="273" y="800"/>
                  </a:moveTo>
                  <a:lnTo>
                    <a:pt x="274" y="800"/>
                  </a:lnTo>
                  <a:lnTo>
                    <a:pt x="274" y="801"/>
                  </a:lnTo>
                  <a:lnTo>
                    <a:pt x="273" y="800"/>
                  </a:lnTo>
                  <a:close/>
                  <a:moveTo>
                    <a:pt x="271" y="795"/>
                  </a:moveTo>
                  <a:lnTo>
                    <a:pt x="274" y="795"/>
                  </a:lnTo>
                  <a:lnTo>
                    <a:pt x="274" y="798"/>
                  </a:lnTo>
                  <a:lnTo>
                    <a:pt x="273" y="798"/>
                  </a:lnTo>
                  <a:lnTo>
                    <a:pt x="273" y="800"/>
                  </a:lnTo>
                  <a:lnTo>
                    <a:pt x="271" y="801"/>
                  </a:lnTo>
                  <a:lnTo>
                    <a:pt x="271" y="800"/>
                  </a:lnTo>
                  <a:lnTo>
                    <a:pt x="270" y="798"/>
                  </a:lnTo>
                  <a:lnTo>
                    <a:pt x="270" y="797"/>
                  </a:lnTo>
                  <a:lnTo>
                    <a:pt x="271" y="795"/>
                  </a:lnTo>
                  <a:close/>
                  <a:moveTo>
                    <a:pt x="271" y="788"/>
                  </a:moveTo>
                  <a:lnTo>
                    <a:pt x="273" y="789"/>
                  </a:lnTo>
                  <a:lnTo>
                    <a:pt x="273" y="792"/>
                  </a:lnTo>
                  <a:lnTo>
                    <a:pt x="270" y="792"/>
                  </a:lnTo>
                  <a:lnTo>
                    <a:pt x="270" y="794"/>
                  </a:lnTo>
                  <a:lnTo>
                    <a:pt x="268" y="794"/>
                  </a:lnTo>
                  <a:lnTo>
                    <a:pt x="268" y="795"/>
                  </a:lnTo>
                  <a:lnTo>
                    <a:pt x="267" y="794"/>
                  </a:lnTo>
                  <a:lnTo>
                    <a:pt x="265" y="794"/>
                  </a:lnTo>
                  <a:lnTo>
                    <a:pt x="267" y="792"/>
                  </a:lnTo>
                  <a:lnTo>
                    <a:pt x="265" y="792"/>
                  </a:lnTo>
                  <a:lnTo>
                    <a:pt x="265" y="791"/>
                  </a:lnTo>
                  <a:lnTo>
                    <a:pt x="267" y="791"/>
                  </a:lnTo>
                  <a:lnTo>
                    <a:pt x="268" y="789"/>
                  </a:lnTo>
                  <a:lnTo>
                    <a:pt x="270" y="789"/>
                  </a:lnTo>
                  <a:lnTo>
                    <a:pt x="268" y="791"/>
                  </a:lnTo>
                  <a:lnTo>
                    <a:pt x="268" y="792"/>
                  </a:lnTo>
                  <a:lnTo>
                    <a:pt x="271" y="789"/>
                  </a:lnTo>
                  <a:lnTo>
                    <a:pt x="271" y="788"/>
                  </a:lnTo>
                  <a:close/>
                  <a:moveTo>
                    <a:pt x="291" y="785"/>
                  </a:moveTo>
                  <a:lnTo>
                    <a:pt x="292" y="785"/>
                  </a:lnTo>
                  <a:lnTo>
                    <a:pt x="292" y="789"/>
                  </a:lnTo>
                  <a:lnTo>
                    <a:pt x="291" y="789"/>
                  </a:lnTo>
                  <a:lnTo>
                    <a:pt x="289" y="788"/>
                  </a:lnTo>
                  <a:lnTo>
                    <a:pt x="291" y="785"/>
                  </a:lnTo>
                  <a:close/>
                  <a:moveTo>
                    <a:pt x="279" y="782"/>
                  </a:moveTo>
                  <a:lnTo>
                    <a:pt x="280" y="782"/>
                  </a:lnTo>
                  <a:lnTo>
                    <a:pt x="282" y="783"/>
                  </a:lnTo>
                  <a:lnTo>
                    <a:pt x="282" y="785"/>
                  </a:lnTo>
                  <a:lnTo>
                    <a:pt x="279" y="785"/>
                  </a:lnTo>
                  <a:lnTo>
                    <a:pt x="279" y="782"/>
                  </a:lnTo>
                  <a:close/>
                  <a:moveTo>
                    <a:pt x="261" y="782"/>
                  </a:moveTo>
                  <a:lnTo>
                    <a:pt x="262" y="782"/>
                  </a:lnTo>
                  <a:lnTo>
                    <a:pt x="261" y="783"/>
                  </a:lnTo>
                  <a:lnTo>
                    <a:pt x="261" y="782"/>
                  </a:lnTo>
                  <a:close/>
                  <a:moveTo>
                    <a:pt x="283" y="776"/>
                  </a:moveTo>
                  <a:lnTo>
                    <a:pt x="283" y="777"/>
                  </a:lnTo>
                  <a:lnTo>
                    <a:pt x="286" y="777"/>
                  </a:lnTo>
                  <a:lnTo>
                    <a:pt x="286" y="782"/>
                  </a:lnTo>
                  <a:lnTo>
                    <a:pt x="288" y="783"/>
                  </a:lnTo>
                  <a:lnTo>
                    <a:pt x="288" y="780"/>
                  </a:lnTo>
                  <a:lnTo>
                    <a:pt x="289" y="780"/>
                  </a:lnTo>
                  <a:lnTo>
                    <a:pt x="289" y="786"/>
                  </a:lnTo>
                  <a:lnTo>
                    <a:pt x="286" y="791"/>
                  </a:lnTo>
                  <a:lnTo>
                    <a:pt x="285" y="794"/>
                  </a:lnTo>
                  <a:lnTo>
                    <a:pt x="282" y="792"/>
                  </a:lnTo>
                  <a:lnTo>
                    <a:pt x="283" y="791"/>
                  </a:lnTo>
                  <a:lnTo>
                    <a:pt x="283" y="782"/>
                  </a:lnTo>
                  <a:lnTo>
                    <a:pt x="282" y="780"/>
                  </a:lnTo>
                  <a:lnTo>
                    <a:pt x="282" y="779"/>
                  </a:lnTo>
                  <a:lnTo>
                    <a:pt x="283" y="776"/>
                  </a:lnTo>
                  <a:close/>
                  <a:moveTo>
                    <a:pt x="261" y="771"/>
                  </a:moveTo>
                  <a:lnTo>
                    <a:pt x="262" y="771"/>
                  </a:lnTo>
                  <a:lnTo>
                    <a:pt x="262" y="773"/>
                  </a:lnTo>
                  <a:lnTo>
                    <a:pt x="261" y="773"/>
                  </a:lnTo>
                  <a:lnTo>
                    <a:pt x="261" y="771"/>
                  </a:lnTo>
                  <a:close/>
                  <a:moveTo>
                    <a:pt x="282" y="762"/>
                  </a:moveTo>
                  <a:lnTo>
                    <a:pt x="283" y="764"/>
                  </a:lnTo>
                  <a:lnTo>
                    <a:pt x="283" y="765"/>
                  </a:lnTo>
                  <a:lnTo>
                    <a:pt x="282" y="765"/>
                  </a:lnTo>
                  <a:lnTo>
                    <a:pt x="282" y="762"/>
                  </a:lnTo>
                  <a:close/>
                  <a:moveTo>
                    <a:pt x="279" y="752"/>
                  </a:moveTo>
                  <a:lnTo>
                    <a:pt x="280" y="752"/>
                  </a:lnTo>
                  <a:lnTo>
                    <a:pt x="282" y="756"/>
                  </a:lnTo>
                  <a:lnTo>
                    <a:pt x="282" y="758"/>
                  </a:lnTo>
                  <a:lnTo>
                    <a:pt x="283" y="758"/>
                  </a:lnTo>
                  <a:lnTo>
                    <a:pt x="283" y="759"/>
                  </a:lnTo>
                  <a:lnTo>
                    <a:pt x="282" y="759"/>
                  </a:lnTo>
                  <a:lnTo>
                    <a:pt x="282" y="762"/>
                  </a:lnTo>
                  <a:lnTo>
                    <a:pt x="279" y="756"/>
                  </a:lnTo>
                  <a:lnTo>
                    <a:pt x="279" y="752"/>
                  </a:lnTo>
                  <a:close/>
                  <a:moveTo>
                    <a:pt x="276" y="735"/>
                  </a:moveTo>
                  <a:lnTo>
                    <a:pt x="277" y="735"/>
                  </a:lnTo>
                  <a:lnTo>
                    <a:pt x="276" y="737"/>
                  </a:lnTo>
                  <a:lnTo>
                    <a:pt x="276" y="735"/>
                  </a:lnTo>
                  <a:close/>
                  <a:moveTo>
                    <a:pt x="274" y="734"/>
                  </a:moveTo>
                  <a:lnTo>
                    <a:pt x="276" y="734"/>
                  </a:lnTo>
                  <a:lnTo>
                    <a:pt x="276" y="735"/>
                  </a:lnTo>
                  <a:lnTo>
                    <a:pt x="274" y="737"/>
                  </a:lnTo>
                  <a:lnTo>
                    <a:pt x="274" y="734"/>
                  </a:lnTo>
                  <a:close/>
                  <a:moveTo>
                    <a:pt x="274" y="732"/>
                  </a:moveTo>
                  <a:lnTo>
                    <a:pt x="276" y="732"/>
                  </a:lnTo>
                  <a:lnTo>
                    <a:pt x="276" y="734"/>
                  </a:lnTo>
                  <a:lnTo>
                    <a:pt x="274" y="732"/>
                  </a:lnTo>
                  <a:close/>
                  <a:moveTo>
                    <a:pt x="264" y="722"/>
                  </a:moveTo>
                  <a:lnTo>
                    <a:pt x="265" y="722"/>
                  </a:lnTo>
                  <a:lnTo>
                    <a:pt x="265" y="725"/>
                  </a:lnTo>
                  <a:lnTo>
                    <a:pt x="264" y="725"/>
                  </a:lnTo>
                  <a:lnTo>
                    <a:pt x="264" y="722"/>
                  </a:lnTo>
                  <a:close/>
                  <a:moveTo>
                    <a:pt x="56" y="707"/>
                  </a:moveTo>
                  <a:lnTo>
                    <a:pt x="57" y="708"/>
                  </a:lnTo>
                  <a:lnTo>
                    <a:pt x="57" y="711"/>
                  </a:lnTo>
                  <a:lnTo>
                    <a:pt x="56" y="711"/>
                  </a:lnTo>
                  <a:lnTo>
                    <a:pt x="56" y="707"/>
                  </a:lnTo>
                  <a:close/>
                  <a:moveTo>
                    <a:pt x="267" y="681"/>
                  </a:moveTo>
                  <a:lnTo>
                    <a:pt x="270" y="684"/>
                  </a:lnTo>
                  <a:lnTo>
                    <a:pt x="268" y="681"/>
                  </a:lnTo>
                  <a:lnTo>
                    <a:pt x="267" y="681"/>
                  </a:lnTo>
                  <a:close/>
                  <a:moveTo>
                    <a:pt x="72" y="671"/>
                  </a:moveTo>
                  <a:lnTo>
                    <a:pt x="72" y="672"/>
                  </a:lnTo>
                  <a:lnTo>
                    <a:pt x="71" y="672"/>
                  </a:lnTo>
                  <a:lnTo>
                    <a:pt x="72" y="671"/>
                  </a:lnTo>
                  <a:close/>
                  <a:moveTo>
                    <a:pt x="252" y="639"/>
                  </a:moveTo>
                  <a:lnTo>
                    <a:pt x="253" y="639"/>
                  </a:lnTo>
                  <a:lnTo>
                    <a:pt x="253" y="644"/>
                  </a:lnTo>
                  <a:lnTo>
                    <a:pt x="252" y="642"/>
                  </a:lnTo>
                  <a:lnTo>
                    <a:pt x="252" y="639"/>
                  </a:lnTo>
                  <a:close/>
                  <a:moveTo>
                    <a:pt x="126" y="610"/>
                  </a:moveTo>
                  <a:lnTo>
                    <a:pt x="125" y="613"/>
                  </a:lnTo>
                  <a:lnTo>
                    <a:pt x="123" y="613"/>
                  </a:lnTo>
                  <a:lnTo>
                    <a:pt x="123" y="616"/>
                  </a:lnTo>
                  <a:lnTo>
                    <a:pt x="125" y="617"/>
                  </a:lnTo>
                  <a:lnTo>
                    <a:pt x="125" y="613"/>
                  </a:lnTo>
                  <a:lnTo>
                    <a:pt x="126" y="611"/>
                  </a:lnTo>
                  <a:lnTo>
                    <a:pt x="129" y="611"/>
                  </a:lnTo>
                  <a:lnTo>
                    <a:pt x="129" y="610"/>
                  </a:lnTo>
                  <a:lnTo>
                    <a:pt x="126" y="610"/>
                  </a:lnTo>
                  <a:close/>
                  <a:moveTo>
                    <a:pt x="114" y="605"/>
                  </a:moveTo>
                  <a:lnTo>
                    <a:pt x="114" y="607"/>
                  </a:lnTo>
                  <a:lnTo>
                    <a:pt x="111" y="610"/>
                  </a:lnTo>
                  <a:lnTo>
                    <a:pt x="111" y="608"/>
                  </a:lnTo>
                  <a:lnTo>
                    <a:pt x="114" y="605"/>
                  </a:lnTo>
                  <a:close/>
                  <a:moveTo>
                    <a:pt x="244" y="596"/>
                  </a:moveTo>
                  <a:lnTo>
                    <a:pt x="247" y="596"/>
                  </a:lnTo>
                  <a:lnTo>
                    <a:pt x="249" y="598"/>
                  </a:lnTo>
                  <a:lnTo>
                    <a:pt x="250" y="598"/>
                  </a:lnTo>
                  <a:lnTo>
                    <a:pt x="250" y="599"/>
                  </a:lnTo>
                  <a:lnTo>
                    <a:pt x="249" y="601"/>
                  </a:lnTo>
                  <a:lnTo>
                    <a:pt x="249" y="610"/>
                  </a:lnTo>
                  <a:lnTo>
                    <a:pt x="247" y="611"/>
                  </a:lnTo>
                  <a:lnTo>
                    <a:pt x="246" y="610"/>
                  </a:lnTo>
                  <a:lnTo>
                    <a:pt x="246" y="607"/>
                  </a:lnTo>
                  <a:lnTo>
                    <a:pt x="243" y="605"/>
                  </a:lnTo>
                  <a:lnTo>
                    <a:pt x="244" y="604"/>
                  </a:lnTo>
                  <a:lnTo>
                    <a:pt x="244" y="601"/>
                  </a:lnTo>
                  <a:lnTo>
                    <a:pt x="243" y="599"/>
                  </a:lnTo>
                  <a:lnTo>
                    <a:pt x="243" y="598"/>
                  </a:lnTo>
                  <a:lnTo>
                    <a:pt x="244" y="596"/>
                  </a:lnTo>
                  <a:close/>
                  <a:moveTo>
                    <a:pt x="66" y="481"/>
                  </a:moveTo>
                  <a:lnTo>
                    <a:pt x="68" y="481"/>
                  </a:lnTo>
                  <a:lnTo>
                    <a:pt x="68" y="482"/>
                  </a:lnTo>
                  <a:lnTo>
                    <a:pt x="74" y="482"/>
                  </a:lnTo>
                  <a:lnTo>
                    <a:pt x="74" y="484"/>
                  </a:lnTo>
                  <a:lnTo>
                    <a:pt x="72" y="485"/>
                  </a:lnTo>
                  <a:lnTo>
                    <a:pt x="72" y="487"/>
                  </a:lnTo>
                  <a:lnTo>
                    <a:pt x="74" y="488"/>
                  </a:lnTo>
                  <a:lnTo>
                    <a:pt x="74" y="490"/>
                  </a:lnTo>
                  <a:lnTo>
                    <a:pt x="72" y="490"/>
                  </a:lnTo>
                  <a:lnTo>
                    <a:pt x="72" y="491"/>
                  </a:lnTo>
                  <a:lnTo>
                    <a:pt x="71" y="493"/>
                  </a:lnTo>
                  <a:lnTo>
                    <a:pt x="69" y="493"/>
                  </a:lnTo>
                  <a:lnTo>
                    <a:pt x="66" y="490"/>
                  </a:lnTo>
                  <a:lnTo>
                    <a:pt x="62" y="484"/>
                  </a:lnTo>
                  <a:lnTo>
                    <a:pt x="60" y="482"/>
                  </a:lnTo>
                  <a:lnTo>
                    <a:pt x="66" y="482"/>
                  </a:lnTo>
                  <a:lnTo>
                    <a:pt x="66" y="481"/>
                  </a:lnTo>
                  <a:close/>
                  <a:moveTo>
                    <a:pt x="81" y="466"/>
                  </a:moveTo>
                  <a:lnTo>
                    <a:pt x="80" y="467"/>
                  </a:lnTo>
                  <a:lnTo>
                    <a:pt x="81" y="469"/>
                  </a:lnTo>
                  <a:lnTo>
                    <a:pt x="81" y="466"/>
                  </a:lnTo>
                  <a:close/>
                  <a:moveTo>
                    <a:pt x="71" y="449"/>
                  </a:moveTo>
                  <a:lnTo>
                    <a:pt x="72" y="449"/>
                  </a:lnTo>
                  <a:lnTo>
                    <a:pt x="72" y="451"/>
                  </a:lnTo>
                  <a:lnTo>
                    <a:pt x="74" y="451"/>
                  </a:lnTo>
                  <a:lnTo>
                    <a:pt x="77" y="454"/>
                  </a:lnTo>
                  <a:lnTo>
                    <a:pt x="78" y="452"/>
                  </a:lnTo>
                  <a:lnTo>
                    <a:pt x="80" y="454"/>
                  </a:lnTo>
                  <a:lnTo>
                    <a:pt x="81" y="454"/>
                  </a:lnTo>
                  <a:lnTo>
                    <a:pt x="83" y="455"/>
                  </a:lnTo>
                  <a:lnTo>
                    <a:pt x="83" y="460"/>
                  </a:lnTo>
                  <a:lnTo>
                    <a:pt x="81" y="460"/>
                  </a:lnTo>
                  <a:lnTo>
                    <a:pt x="81" y="461"/>
                  </a:lnTo>
                  <a:lnTo>
                    <a:pt x="78" y="461"/>
                  </a:lnTo>
                  <a:lnTo>
                    <a:pt x="78" y="463"/>
                  </a:lnTo>
                  <a:lnTo>
                    <a:pt x="75" y="463"/>
                  </a:lnTo>
                  <a:lnTo>
                    <a:pt x="74" y="461"/>
                  </a:lnTo>
                  <a:lnTo>
                    <a:pt x="74" y="460"/>
                  </a:lnTo>
                  <a:lnTo>
                    <a:pt x="72" y="460"/>
                  </a:lnTo>
                  <a:lnTo>
                    <a:pt x="72" y="457"/>
                  </a:lnTo>
                  <a:lnTo>
                    <a:pt x="71" y="455"/>
                  </a:lnTo>
                  <a:lnTo>
                    <a:pt x="69" y="455"/>
                  </a:lnTo>
                  <a:lnTo>
                    <a:pt x="69" y="454"/>
                  </a:lnTo>
                  <a:lnTo>
                    <a:pt x="68" y="452"/>
                  </a:lnTo>
                  <a:lnTo>
                    <a:pt x="69" y="452"/>
                  </a:lnTo>
                  <a:lnTo>
                    <a:pt x="68" y="451"/>
                  </a:lnTo>
                  <a:lnTo>
                    <a:pt x="71" y="449"/>
                  </a:lnTo>
                  <a:close/>
                  <a:moveTo>
                    <a:pt x="72" y="439"/>
                  </a:moveTo>
                  <a:lnTo>
                    <a:pt x="71" y="440"/>
                  </a:lnTo>
                  <a:lnTo>
                    <a:pt x="72" y="440"/>
                  </a:lnTo>
                  <a:lnTo>
                    <a:pt x="74" y="439"/>
                  </a:lnTo>
                  <a:lnTo>
                    <a:pt x="72" y="439"/>
                  </a:lnTo>
                  <a:close/>
                  <a:moveTo>
                    <a:pt x="57" y="430"/>
                  </a:moveTo>
                  <a:lnTo>
                    <a:pt x="59" y="431"/>
                  </a:lnTo>
                  <a:lnTo>
                    <a:pt x="60" y="431"/>
                  </a:lnTo>
                  <a:lnTo>
                    <a:pt x="60" y="433"/>
                  </a:lnTo>
                  <a:lnTo>
                    <a:pt x="62" y="433"/>
                  </a:lnTo>
                  <a:lnTo>
                    <a:pt x="62" y="440"/>
                  </a:lnTo>
                  <a:lnTo>
                    <a:pt x="59" y="437"/>
                  </a:lnTo>
                  <a:lnTo>
                    <a:pt x="57" y="431"/>
                  </a:lnTo>
                  <a:lnTo>
                    <a:pt x="57" y="430"/>
                  </a:lnTo>
                  <a:close/>
                  <a:moveTo>
                    <a:pt x="35" y="424"/>
                  </a:moveTo>
                  <a:lnTo>
                    <a:pt x="36" y="424"/>
                  </a:lnTo>
                  <a:lnTo>
                    <a:pt x="36" y="427"/>
                  </a:lnTo>
                  <a:lnTo>
                    <a:pt x="38" y="427"/>
                  </a:lnTo>
                  <a:lnTo>
                    <a:pt x="39" y="433"/>
                  </a:lnTo>
                  <a:lnTo>
                    <a:pt x="38" y="431"/>
                  </a:lnTo>
                  <a:lnTo>
                    <a:pt x="35" y="427"/>
                  </a:lnTo>
                  <a:lnTo>
                    <a:pt x="35" y="424"/>
                  </a:lnTo>
                  <a:close/>
                  <a:moveTo>
                    <a:pt x="246" y="0"/>
                  </a:moveTo>
                  <a:lnTo>
                    <a:pt x="249" y="0"/>
                  </a:lnTo>
                  <a:lnTo>
                    <a:pt x="249" y="2"/>
                  </a:lnTo>
                  <a:lnTo>
                    <a:pt x="250" y="3"/>
                  </a:lnTo>
                  <a:lnTo>
                    <a:pt x="253" y="0"/>
                  </a:lnTo>
                  <a:lnTo>
                    <a:pt x="255" y="2"/>
                  </a:lnTo>
                  <a:lnTo>
                    <a:pt x="256" y="8"/>
                  </a:lnTo>
                  <a:lnTo>
                    <a:pt x="258" y="9"/>
                  </a:lnTo>
                  <a:lnTo>
                    <a:pt x="259" y="9"/>
                  </a:lnTo>
                  <a:lnTo>
                    <a:pt x="262" y="8"/>
                  </a:lnTo>
                  <a:lnTo>
                    <a:pt x="264" y="9"/>
                  </a:lnTo>
                  <a:lnTo>
                    <a:pt x="265" y="12"/>
                  </a:lnTo>
                  <a:lnTo>
                    <a:pt x="267" y="12"/>
                  </a:lnTo>
                  <a:lnTo>
                    <a:pt x="268" y="14"/>
                  </a:lnTo>
                  <a:lnTo>
                    <a:pt x="267" y="15"/>
                  </a:lnTo>
                  <a:lnTo>
                    <a:pt x="268" y="17"/>
                  </a:lnTo>
                  <a:lnTo>
                    <a:pt x="270" y="17"/>
                  </a:lnTo>
                  <a:lnTo>
                    <a:pt x="273" y="20"/>
                  </a:lnTo>
                  <a:lnTo>
                    <a:pt x="274" y="20"/>
                  </a:lnTo>
                  <a:lnTo>
                    <a:pt x="274" y="27"/>
                  </a:lnTo>
                  <a:lnTo>
                    <a:pt x="273" y="29"/>
                  </a:lnTo>
                  <a:lnTo>
                    <a:pt x="273" y="30"/>
                  </a:lnTo>
                  <a:lnTo>
                    <a:pt x="276" y="30"/>
                  </a:lnTo>
                  <a:lnTo>
                    <a:pt x="276" y="33"/>
                  </a:lnTo>
                  <a:lnTo>
                    <a:pt x="274" y="33"/>
                  </a:lnTo>
                  <a:lnTo>
                    <a:pt x="274" y="35"/>
                  </a:lnTo>
                  <a:lnTo>
                    <a:pt x="276" y="36"/>
                  </a:lnTo>
                  <a:lnTo>
                    <a:pt x="277" y="36"/>
                  </a:lnTo>
                  <a:lnTo>
                    <a:pt x="277" y="42"/>
                  </a:lnTo>
                  <a:lnTo>
                    <a:pt x="280" y="45"/>
                  </a:lnTo>
                  <a:lnTo>
                    <a:pt x="280" y="50"/>
                  </a:lnTo>
                  <a:lnTo>
                    <a:pt x="283" y="53"/>
                  </a:lnTo>
                  <a:lnTo>
                    <a:pt x="285" y="51"/>
                  </a:lnTo>
                  <a:lnTo>
                    <a:pt x="286" y="51"/>
                  </a:lnTo>
                  <a:lnTo>
                    <a:pt x="286" y="44"/>
                  </a:lnTo>
                  <a:lnTo>
                    <a:pt x="288" y="44"/>
                  </a:lnTo>
                  <a:lnTo>
                    <a:pt x="291" y="45"/>
                  </a:lnTo>
                  <a:lnTo>
                    <a:pt x="291" y="47"/>
                  </a:lnTo>
                  <a:lnTo>
                    <a:pt x="292" y="45"/>
                  </a:lnTo>
                  <a:lnTo>
                    <a:pt x="294" y="47"/>
                  </a:lnTo>
                  <a:lnTo>
                    <a:pt x="294" y="48"/>
                  </a:lnTo>
                  <a:lnTo>
                    <a:pt x="300" y="48"/>
                  </a:lnTo>
                  <a:lnTo>
                    <a:pt x="300" y="53"/>
                  </a:lnTo>
                  <a:lnTo>
                    <a:pt x="298" y="54"/>
                  </a:lnTo>
                  <a:lnTo>
                    <a:pt x="300" y="59"/>
                  </a:lnTo>
                  <a:lnTo>
                    <a:pt x="300" y="60"/>
                  </a:lnTo>
                  <a:lnTo>
                    <a:pt x="301" y="62"/>
                  </a:lnTo>
                  <a:lnTo>
                    <a:pt x="301" y="63"/>
                  </a:lnTo>
                  <a:lnTo>
                    <a:pt x="300" y="66"/>
                  </a:lnTo>
                  <a:lnTo>
                    <a:pt x="300" y="74"/>
                  </a:lnTo>
                  <a:lnTo>
                    <a:pt x="303" y="77"/>
                  </a:lnTo>
                  <a:lnTo>
                    <a:pt x="301" y="78"/>
                  </a:lnTo>
                  <a:lnTo>
                    <a:pt x="301" y="80"/>
                  </a:lnTo>
                  <a:lnTo>
                    <a:pt x="303" y="84"/>
                  </a:lnTo>
                  <a:lnTo>
                    <a:pt x="301" y="84"/>
                  </a:lnTo>
                  <a:lnTo>
                    <a:pt x="301" y="87"/>
                  </a:lnTo>
                  <a:lnTo>
                    <a:pt x="303" y="89"/>
                  </a:lnTo>
                  <a:lnTo>
                    <a:pt x="303" y="90"/>
                  </a:lnTo>
                  <a:lnTo>
                    <a:pt x="301" y="93"/>
                  </a:lnTo>
                  <a:lnTo>
                    <a:pt x="303" y="96"/>
                  </a:lnTo>
                  <a:lnTo>
                    <a:pt x="303" y="99"/>
                  </a:lnTo>
                  <a:lnTo>
                    <a:pt x="301" y="101"/>
                  </a:lnTo>
                  <a:lnTo>
                    <a:pt x="301" y="111"/>
                  </a:lnTo>
                  <a:lnTo>
                    <a:pt x="298" y="114"/>
                  </a:lnTo>
                  <a:lnTo>
                    <a:pt x="298" y="117"/>
                  </a:lnTo>
                  <a:lnTo>
                    <a:pt x="300" y="118"/>
                  </a:lnTo>
                  <a:lnTo>
                    <a:pt x="300" y="120"/>
                  </a:lnTo>
                  <a:lnTo>
                    <a:pt x="301" y="121"/>
                  </a:lnTo>
                  <a:lnTo>
                    <a:pt x="300" y="121"/>
                  </a:lnTo>
                  <a:lnTo>
                    <a:pt x="300" y="123"/>
                  </a:lnTo>
                  <a:lnTo>
                    <a:pt x="298" y="124"/>
                  </a:lnTo>
                  <a:lnTo>
                    <a:pt x="297" y="124"/>
                  </a:lnTo>
                  <a:lnTo>
                    <a:pt x="297" y="123"/>
                  </a:lnTo>
                  <a:lnTo>
                    <a:pt x="294" y="123"/>
                  </a:lnTo>
                  <a:lnTo>
                    <a:pt x="294" y="126"/>
                  </a:lnTo>
                  <a:lnTo>
                    <a:pt x="295" y="129"/>
                  </a:lnTo>
                  <a:lnTo>
                    <a:pt x="295" y="130"/>
                  </a:lnTo>
                  <a:lnTo>
                    <a:pt x="297" y="130"/>
                  </a:lnTo>
                  <a:lnTo>
                    <a:pt x="297" y="132"/>
                  </a:lnTo>
                  <a:lnTo>
                    <a:pt x="298" y="133"/>
                  </a:lnTo>
                  <a:lnTo>
                    <a:pt x="298" y="135"/>
                  </a:lnTo>
                  <a:lnTo>
                    <a:pt x="300" y="135"/>
                  </a:lnTo>
                  <a:lnTo>
                    <a:pt x="300" y="138"/>
                  </a:lnTo>
                  <a:lnTo>
                    <a:pt x="297" y="139"/>
                  </a:lnTo>
                  <a:lnTo>
                    <a:pt x="294" y="139"/>
                  </a:lnTo>
                  <a:lnTo>
                    <a:pt x="292" y="138"/>
                  </a:lnTo>
                  <a:lnTo>
                    <a:pt x="291" y="138"/>
                  </a:lnTo>
                  <a:lnTo>
                    <a:pt x="291" y="139"/>
                  </a:lnTo>
                  <a:lnTo>
                    <a:pt x="288" y="142"/>
                  </a:lnTo>
                  <a:lnTo>
                    <a:pt x="288" y="145"/>
                  </a:lnTo>
                  <a:lnTo>
                    <a:pt x="285" y="148"/>
                  </a:lnTo>
                  <a:lnTo>
                    <a:pt x="285" y="151"/>
                  </a:lnTo>
                  <a:lnTo>
                    <a:pt x="283" y="151"/>
                  </a:lnTo>
                  <a:lnTo>
                    <a:pt x="283" y="153"/>
                  </a:lnTo>
                  <a:lnTo>
                    <a:pt x="280" y="153"/>
                  </a:lnTo>
                  <a:lnTo>
                    <a:pt x="280" y="151"/>
                  </a:lnTo>
                  <a:lnTo>
                    <a:pt x="279" y="151"/>
                  </a:lnTo>
                  <a:lnTo>
                    <a:pt x="276" y="150"/>
                  </a:lnTo>
                  <a:lnTo>
                    <a:pt x="274" y="150"/>
                  </a:lnTo>
                  <a:lnTo>
                    <a:pt x="274" y="154"/>
                  </a:lnTo>
                  <a:lnTo>
                    <a:pt x="273" y="154"/>
                  </a:lnTo>
                  <a:lnTo>
                    <a:pt x="273" y="162"/>
                  </a:lnTo>
                  <a:lnTo>
                    <a:pt x="271" y="162"/>
                  </a:lnTo>
                  <a:lnTo>
                    <a:pt x="271" y="163"/>
                  </a:lnTo>
                  <a:lnTo>
                    <a:pt x="268" y="166"/>
                  </a:lnTo>
                  <a:lnTo>
                    <a:pt x="267" y="166"/>
                  </a:lnTo>
                  <a:lnTo>
                    <a:pt x="265" y="169"/>
                  </a:lnTo>
                  <a:lnTo>
                    <a:pt x="264" y="171"/>
                  </a:lnTo>
                  <a:lnTo>
                    <a:pt x="262" y="169"/>
                  </a:lnTo>
                  <a:lnTo>
                    <a:pt x="262" y="168"/>
                  </a:lnTo>
                  <a:lnTo>
                    <a:pt x="261" y="168"/>
                  </a:lnTo>
                  <a:lnTo>
                    <a:pt x="259" y="169"/>
                  </a:lnTo>
                  <a:lnTo>
                    <a:pt x="256" y="175"/>
                  </a:lnTo>
                  <a:lnTo>
                    <a:pt x="255" y="177"/>
                  </a:lnTo>
                  <a:lnTo>
                    <a:pt x="255" y="186"/>
                  </a:lnTo>
                  <a:lnTo>
                    <a:pt x="258" y="187"/>
                  </a:lnTo>
                  <a:lnTo>
                    <a:pt x="258" y="189"/>
                  </a:lnTo>
                  <a:lnTo>
                    <a:pt x="253" y="189"/>
                  </a:lnTo>
                  <a:lnTo>
                    <a:pt x="250" y="192"/>
                  </a:lnTo>
                  <a:lnTo>
                    <a:pt x="247" y="193"/>
                  </a:lnTo>
                  <a:lnTo>
                    <a:pt x="247" y="201"/>
                  </a:lnTo>
                  <a:lnTo>
                    <a:pt x="246" y="208"/>
                  </a:lnTo>
                  <a:lnTo>
                    <a:pt x="246" y="210"/>
                  </a:lnTo>
                  <a:lnTo>
                    <a:pt x="250" y="208"/>
                  </a:lnTo>
                  <a:lnTo>
                    <a:pt x="252" y="208"/>
                  </a:lnTo>
                  <a:lnTo>
                    <a:pt x="252" y="211"/>
                  </a:lnTo>
                  <a:lnTo>
                    <a:pt x="253" y="211"/>
                  </a:lnTo>
                  <a:lnTo>
                    <a:pt x="253" y="214"/>
                  </a:lnTo>
                  <a:lnTo>
                    <a:pt x="252" y="214"/>
                  </a:lnTo>
                  <a:lnTo>
                    <a:pt x="252" y="216"/>
                  </a:lnTo>
                  <a:lnTo>
                    <a:pt x="255" y="217"/>
                  </a:lnTo>
                  <a:lnTo>
                    <a:pt x="255" y="225"/>
                  </a:lnTo>
                  <a:lnTo>
                    <a:pt x="246" y="234"/>
                  </a:lnTo>
                  <a:lnTo>
                    <a:pt x="247" y="235"/>
                  </a:lnTo>
                  <a:lnTo>
                    <a:pt x="249" y="235"/>
                  </a:lnTo>
                  <a:lnTo>
                    <a:pt x="250" y="237"/>
                  </a:lnTo>
                  <a:lnTo>
                    <a:pt x="250" y="238"/>
                  </a:lnTo>
                  <a:lnTo>
                    <a:pt x="252" y="238"/>
                  </a:lnTo>
                  <a:lnTo>
                    <a:pt x="252" y="237"/>
                  </a:lnTo>
                  <a:lnTo>
                    <a:pt x="255" y="237"/>
                  </a:lnTo>
                  <a:lnTo>
                    <a:pt x="256" y="234"/>
                  </a:lnTo>
                  <a:lnTo>
                    <a:pt x="259" y="234"/>
                  </a:lnTo>
                  <a:lnTo>
                    <a:pt x="259" y="232"/>
                  </a:lnTo>
                  <a:lnTo>
                    <a:pt x="261" y="232"/>
                  </a:lnTo>
                  <a:lnTo>
                    <a:pt x="264" y="229"/>
                  </a:lnTo>
                  <a:lnTo>
                    <a:pt x="277" y="225"/>
                  </a:lnTo>
                  <a:lnTo>
                    <a:pt x="279" y="225"/>
                  </a:lnTo>
                  <a:lnTo>
                    <a:pt x="282" y="226"/>
                  </a:lnTo>
                  <a:lnTo>
                    <a:pt x="285" y="226"/>
                  </a:lnTo>
                  <a:lnTo>
                    <a:pt x="286" y="225"/>
                  </a:lnTo>
                  <a:lnTo>
                    <a:pt x="291" y="225"/>
                  </a:lnTo>
                  <a:lnTo>
                    <a:pt x="294" y="226"/>
                  </a:lnTo>
                  <a:lnTo>
                    <a:pt x="295" y="228"/>
                  </a:lnTo>
                  <a:lnTo>
                    <a:pt x="295" y="226"/>
                  </a:lnTo>
                  <a:lnTo>
                    <a:pt x="298" y="226"/>
                  </a:lnTo>
                  <a:lnTo>
                    <a:pt x="300" y="225"/>
                  </a:lnTo>
                  <a:lnTo>
                    <a:pt x="306" y="225"/>
                  </a:lnTo>
                  <a:lnTo>
                    <a:pt x="307" y="223"/>
                  </a:lnTo>
                  <a:lnTo>
                    <a:pt x="309" y="223"/>
                  </a:lnTo>
                  <a:lnTo>
                    <a:pt x="309" y="225"/>
                  </a:lnTo>
                  <a:lnTo>
                    <a:pt x="307" y="226"/>
                  </a:lnTo>
                  <a:lnTo>
                    <a:pt x="303" y="229"/>
                  </a:lnTo>
                  <a:lnTo>
                    <a:pt x="300" y="232"/>
                  </a:lnTo>
                  <a:lnTo>
                    <a:pt x="298" y="232"/>
                  </a:lnTo>
                  <a:lnTo>
                    <a:pt x="298" y="234"/>
                  </a:lnTo>
                  <a:lnTo>
                    <a:pt x="300" y="234"/>
                  </a:lnTo>
                  <a:lnTo>
                    <a:pt x="298" y="235"/>
                  </a:lnTo>
                  <a:lnTo>
                    <a:pt x="298" y="237"/>
                  </a:lnTo>
                  <a:lnTo>
                    <a:pt x="300" y="240"/>
                  </a:lnTo>
                  <a:lnTo>
                    <a:pt x="298" y="240"/>
                  </a:lnTo>
                  <a:lnTo>
                    <a:pt x="298" y="241"/>
                  </a:lnTo>
                  <a:lnTo>
                    <a:pt x="301" y="241"/>
                  </a:lnTo>
                  <a:lnTo>
                    <a:pt x="303" y="243"/>
                  </a:lnTo>
                  <a:lnTo>
                    <a:pt x="304" y="243"/>
                  </a:lnTo>
                  <a:lnTo>
                    <a:pt x="304" y="246"/>
                  </a:lnTo>
                  <a:lnTo>
                    <a:pt x="306" y="247"/>
                  </a:lnTo>
                  <a:lnTo>
                    <a:pt x="307" y="250"/>
                  </a:lnTo>
                  <a:lnTo>
                    <a:pt x="307" y="252"/>
                  </a:lnTo>
                  <a:lnTo>
                    <a:pt x="304" y="253"/>
                  </a:lnTo>
                  <a:lnTo>
                    <a:pt x="304" y="256"/>
                  </a:lnTo>
                  <a:lnTo>
                    <a:pt x="306" y="258"/>
                  </a:lnTo>
                  <a:lnTo>
                    <a:pt x="306" y="256"/>
                  </a:lnTo>
                  <a:lnTo>
                    <a:pt x="307" y="256"/>
                  </a:lnTo>
                  <a:lnTo>
                    <a:pt x="307" y="258"/>
                  </a:lnTo>
                  <a:lnTo>
                    <a:pt x="309" y="259"/>
                  </a:lnTo>
                  <a:lnTo>
                    <a:pt x="309" y="264"/>
                  </a:lnTo>
                  <a:lnTo>
                    <a:pt x="307" y="264"/>
                  </a:lnTo>
                  <a:lnTo>
                    <a:pt x="307" y="265"/>
                  </a:lnTo>
                  <a:lnTo>
                    <a:pt x="310" y="265"/>
                  </a:lnTo>
                  <a:lnTo>
                    <a:pt x="307" y="270"/>
                  </a:lnTo>
                  <a:lnTo>
                    <a:pt x="307" y="271"/>
                  </a:lnTo>
                  <a:lnTo>
                    <a:pt x="311" y="273"/>
                  </a:lnTo>
                  <a:lnTo>
                    <a:pt x="316" y="273"/>
                  </a:lnTo>
                  <a:lnTo>
                    <a:pt x="316" y="276"/>
                  </a:lnTo>
                  <a:lnTo>
                    <a:pt x="323" y="276"/>
                  </a:lnTo>
                  <a:lnTo>
                    <a:pt x="323" y="277"/>
                  </a:lnTo>
                  <a:lnTo>
                    <a:pt x="326" y="277"/>
                  </a:lnTo>
                  <a:lnTo>
                    <a:pt x="326" y="276"/>
                  </a:lnTo>
                  <a:lnTo>
                    <a:pt x="328" y="276"/>
                  </a:lnTo>
                  <a:lnTo>
                    <a:pt x="328" y="274"/>
                  </a:lnTo>
                  <a:lnTo>
                    <a:pt x="329" y="274"/>
                  </a:lnTo>
                  <a:lnTo>
                    <a:pt x="331" y="277"/>
                  </a:lnTo>
                  <a:lnTo>
                    <a:pt x="337" y="277"/>
                  </a:lnTo>
                  <a:lnTo>
                    <a:pt x="337" y="280"/>
                  </a:lnTo>
                  <a:lnTo>
                    <a:pt x="338" y="283"/>
                  </a:lnTo>
                  <a:lnTo>
                    <a:pt x="338" y="285"/>
                  </a:lnTo>
                  <a:lnTo>
                    <a:pt x="335" y="285"/>
                  </a:lnTo>
                  <a:lnTo>
                    <a:pt x="334" y="283"/>
                  </a:lnTo>
                  <a:lnTo>
                    <a:pt x="332" y="285"/>
                  </a:lnTo>
                  <a:lnTo>
                    <a:pt x="332" y="289"/>
                  </a:lnTo>
                  <a:lnTo>
                    <a:pt x="331" y="291"/>
                  </a:lnTo>
                  <a:lnTo>
                    <a:pt x="331" y="292"/>
                  </a:lnTo>
                  <a:lnTo>
                    <a:pt x="328" y="292"/>
                  </a:lnTo>
                  <a:lnTo>
                    <a:pt x="328" y="295"/>
                  </a:lnTo>
                  <a:lnTo>
                    <a:pt x="331" y="300"/>
                  </a:lnTo>
                  <a:lnTo>
                    <a:pt x="331" y="301"/>
                  </a:lnTo>
                  <a:lnTo>
                    <a:pt x="329" y="303"/>
                  </a:lnTo>
                  <a:lnTo>
                    <a:pt x="329" y="304"/>
                  </a:lnTo>
                  <a:lnTo>
                    <a:pt x="331" y="306"/>
                  </a:lnTo>
                  <a:lnTo>
                    <a:pt x="329" y="306"/>
                  </a:lnTo>
                  <a:lnTo>
                    <a:pt x="329" y="307"/>
                  </a:lnTo>
                  <a:lnTo>
                    <a:pt x="326" y="310"/>
                  </a:lnTo>
                  <a:lnTo>
                    <a:pt x="325" y="310"/>
                  </a:lnTo>
                  <a:lnTo>
                    <a:pt x="325" y="315"/>
                  </a:lnTo>
                  <a:lnTo>
                    <a:pt x="323" y="315"/>
                  </a:lnTo>
                  <a:lnTo>
                    <a:pt x="323" y="318"/>
                  </a:lnTo>
                  <a:lnTo>
                    <a:pt x="322" y="321"/>
                  </a:lnTo>
                  <a:lnTo>
                    <a:pt x="322" y="322"/>
                  </a:lnTo>
                  <a:lnTo>
                    <a:pt x="320" y="322"/>
                  </a:lnTo>
                  <a:lnTo>
                    <a:pt x="323" y="325"/>
                  </a:lnTo>
                  <a:lnTo>
                    <a:pt x="331" y="325"/>
                  </a:lnTo>
                  <a:lnTo>
                    <a:pt x="334" y="324"/>
                  </a:lnTo>
                  <a:lnTo>
                    <a:pt x="337" y="325"/>
                  </a:lnTo>
                  <a:lnTo>
                    <a:pt x="338" y="325"/>
                  </a:lnTo>
                  <a:lnTo>
                    <a:pt x="343" y="327"/>
                  </a:lnTo>
                  <a:lnTo>
                    <a:pt x="344" y="327"/>
                  </a:lnTo>
                  <a:lnTo>
                    <a:pt x="344" y="328"/>
                  </a:lnTo>
                  <a:lnTo>
                    <a:pt x="346" y="328"/>
                  </a:lnTo>
                  <a:lnTo>
                    <a:pt x="346" y="327"/>
                  </a:lnTo>
                  <a:lnTo>
                    <a:pt x="347" y="327"/>
                  </a:lnTo>
                  <a:lnTo>
                    <a:pt x="350" y="328"/>
                  </a:lnTo>
                  <a:lnTo>
                    <a:pt x="352" y="330"/>
                  </a:lnTo>
                  <a:lnTo>
                    <a:pt x="352" y="328"/>
                  </a:lnTo>
                  <a:lnTo>
                    <a:pt x="353" y="328"/>
                  </a:lnTo>
                  <a:lnTo>
                    <a:pt x="353" y="327"/>
                  </a:lnTo>
                  <a:lnTo>
                    <a:pt x="358" y="328"/>
                  </a:lnTo>
                  <a:lnTo>
                    <a:pt x="356" y="328"/>
                  </a:lnTo>
                  <a:lnTo>
                    <a:pt x="356" y="330"/>
                  </a:lnTo>
                  <a:lnTo>
                    <a:pt x="358" y="331"/>
                  </a:lnTo>
                  <a:lnTo>
                    <a:pt x="358" y="334"/>
                  </a:lnTo>
                  <a:lnTo>
                    <a:pt x="356" y="337"/>
                  </a:lnTo>
                  <a:lnTo>
                    <a:pt x="356" y="342"/>
                  </a:lnTo>
                  <a:lnTo>
                    <a:pt x="358" y="345"/>
                  </a:lnTo>
                  <a:lnTo>
                    <a:pt x="359" y="346"/>
                  </a:lnTo>
                  <a:lnTo>
                    <a:pt x="365" y="346"/>
                  </a:lnTo>
                  <a:lnTo>
                    <a:pt x="367" y="348"/>
                  </a:lnTo>
                  <a:lnTo>
                    <a:pt x="365" y="348"/>
                  </a:lnTo>
                  <a:lnTo>
                    <a:pt x="365" y="349"/>
                  </a:lnTo>
                  <a:lnTo>
                    <a:pt x="364" y="351"/>
                  </a:lnTo>
                  <a:lnTo>
                    <a:pt x="364" y="355"/>
                  </a:lnTo>
                  <a:lnTo>
                    <a:pt x="365" y="355"/>
                  </a:lnTo>
                  <a:lnTo>
                    <a:pt x="367" y="358"/>
                  </a:lnTo>
                  <a:lnTo>
                    <a:pt x="368" y="358"/>
                  </a:lnTo>
                  <a:lnTo>
                    <a:pt x="370" y="357"/>
                  </a:lnTo>
                  <a:lnTo>
                    <a:pt x="373" y="357"/>
                  </a:lnTo>
                  <a:lnTo>
                    <a:pt x="373" y="355"/>
                  </a:lnTo>
                  <a:lnTo>
                    <a:pt x="374" y="355"/>
                  </a:lnTo>
                  <a:lnTo>
                    <a:pt x="374" y="354"/>
                  </a:lnTo>
                  <a:lnTo>
                    <a:pt x="379" y="354"/>
                  </a:lnTo>
                  <a:lnTo>
                    <a:pt x="379" y="355"/>
                  </a:lnTo>
                  <a:lnTo>
                    <a:pt x="380" y="355"/>
                  </a:lnTo>
                  <a:lnTo>
                    <a:pt x="380" y="357"/>
                  </a:lnTo>
                  <a:lnTo>
                    <a:pt x="388" y="357"/>
                  </a:lnTo>
                  <a:lnTo>
                    <a:pt x="389" y="355"/>
                  </a:lnTo>
                  <a:lnTo>
                    <a:pt x="391" y="355"/>
                  </a:lnTo>
                  <a:lnTo>
                    <a:pt x="400" y="346"/>
                  </a:lnTo>
                  <a:lnTo>
                    <a:pt x="404" y="345"/>
                  </a:lnTo>
                  <a:lnTo>
                    <a:pt x="406" y="345"/>
                  </a:lnTo>
                  <a:lnTo>
                    <a:pt x="409" y="342"/>
                  </a:lnTo>
                  <a:lnTo>
                    <a:pt x="412" y="342"/>
                  </a:lnTo>
                  <a:lnTo>
                    <a:pt x="412" y="346"/>
                  </a:lnTo>
                  <a:lnTo>
                    <a:pt x="413" y="346"/>
                  </a:lnTo>
                  <a:lnTo>
                    <a:pt x="413" y="354"/>
                  </a:lnTo>
                  <a:lnTo>
                    <a:pt x="412" y="354"/>
                  </a:lnTo>
                  <a:lnTo>
                    <a:pt x="406" y="360"/>
                  </a:lnTo>
                  <a:lnTo>
                    <a:pt x="401" y="361"/>
                  </a:lnTo>
                  <a:lnTo>
                    <a:pt x="401" y="363"/>
                  </a:lnTo>
                  <a:lnTo>
                    <a:pt x="400" y="364"/>
                  </a:lnTo>
                  <a:lnTo>
                    <a:pt x="392" y="364"/>
                  </a:lnTo>
                  <a:lnTo>
                    <a:pt x="392" y="366"/>
                  </a:lnTo>
                  <a:lnTo>
                    <a:pt x="391" y="372"/>
                  </a:lnTo>
                  <a:lnTo>
                    <a:pt x="389" y="376"/>
                  </a:lnTo>
                  <a:lnTo>
                    <a:pt x="388" y="377"/>
                  </a:lnTo>
                  <a:lnTo>
                    <a:pt x="385" y="377"/>
                  </a:lnTo>
                  <a:lnTo>
                    <a:pt x="385" y="380"/>
                  </a:lnTo>
                  <a:lnTo>
                    <a:pt x="383" y="382"/>
                  </a:lnTo>
                  <a:lnTo>
                    <a:pt x="383" y="385"/>
                  </a:lnTo>
                  <a:lnTo>
                    <a:pt x="389" y="385"/>
                  </a:lnTo>
                  <a:lnTo>
                    <a:pt x="389" y="386"/>
                  </a:lnTo>
                  <a:lnTo>
                    <a:pt x="388" y="386"/>
                  </a:lnTo>
                  <a:lnTo>
                    <a:pt x="388" y="388"/>
                  </a:lnTo>
                  <a:lnTo>
                    <a:pt x="376" y="388"/>
                  </a:lnTo>
                  <a:lnTo>
                    <a:pt x="376" y="389"/>
                  </a:lnTo>
                  <a:lnTo>
                    <a:pt x="373" y="389"/>
                  </a:lnTo>
                  <a:lnTo>
                    <a:pt x="373" y="391"/>
                  </a:lnTo>
                  <a:lnTo>
                    <a:pt x="370" y="392"/>
                  </a:lnTo>
                  <a:lnTo>
                    <a:pt x="370" y="395"/>
                  </a:lnTo>
                  <a:lnTo>
                    <a:pt x="368" y="397"/>
                  </a:lnTo>
                  <a:lnTo>
                    <a:pt x="368" y="398"/>
                  </a:lnTo>
                  <a:lnTo>
                    <a:pt x="367" y="400"/>
                  </a:lnTo>
                  <a:lnTo>
                    <a:pt x="367" y="406"/>
                  </a:lnTo>
                  <a:lnTo>
                    <a:pt x="365" y="407"/>
                  </a:lnTo>
                  <a:lnTo>
                    <a:pt x="365" y="410"/>
                  </a:lnTo>
                  <a:lnTo>
                    <a:pt x="364" y="410"/>
                  </a:lnTo>
                  <a:lnTo>
                    <a:pt x="364" y="412"/>
                  </a:lnTo>
                  <a:lnTo>
                    <a:pt x="362" y="412"/>
                  </a:lnTo>
                  <a:lnTo>
                    <a:pt x="362" y="410"/>
                  </a:lnTo>
                  <a:lnTo>
                    <a:pt x="361" y="410"/>
                  </a:lnTo>
                  <a:lnTo>
                    <a:pt x="361" y="409"/>
                  </a:lnTo>
                  <a:lnTo>
                    <a:pt x="359" y="409"/>
                  </a:lnTo>
                  <a:lnTo>
                    <a:pt x="358" y="407"/>
                  </a:lnTo>
                  <a:lnTo>
                    <a:pt x="358" y="406"/>
                  </a:lnTo>
                  <a:lnTo>
                    <a:pt x="356" y="406"/>
                  </a:lnTo>
                  <a:lnTo>
                    <a:pt x="355" y="407"/>
                  </a:lnTo>
                  <a:lnTo>
                    <a:pt x="352" y="407"/>
                  </a:lnTo>
                  <a:lnTo>
                    <a:pt x="352" y="410"/>
                  </a:lnTo>
                  <a:lnTo>
                    <a:pt x="350" y="410"/>
                  </a:lnTo>
                  <a:lnTo>
                    <a:pt x="350" y="412"/>
                  </a:lnTo>
                  <a:lnTo>
                    <a:pt x="346" y="412"/>
                  </a:lnTo>
                  <a:lnTo>
                    <a:pt x="344" y="413"/>
                  </a:lnTo>
                  <a:lnTo>
                    <a:pt x="343" y="413"/>
                  </a:lnTo>
                  <a:lnTo>
                    <a:pt x="343" y="412"/>
                  </a:lnTo>
                  <a:lnTo>
                    <a:pt x="340" y="412"/>
                  </a:lnTo>
                  <a:lnTo>
                    <a:pt x="337" y="410"/>
                  </a:lnTo>
                  <a:lnTo>
                    <a:pt x="335" y="409"/>
                  </a:lnTo>
                  <a:lnTo>
                    <a:pt x="334" y="409"/>
                  </a:lnTo>
                  <a:lnTo>
                    <a:pt x="334" y="410"/>
                  </a:lnTo>
                  <a:lnTo>
                    <a:pt x="335" y="412"/>
                  </a:lnTo>
                  <a:lnTo>
                    <a:pt x="335" y="413"/>
                  </a:lnTo>
                  <a:lnTo>
                    <a:pt x="337" y="416"/>
                  </a:lnTo>
                  <a:lnTo>
                    <a:pt x="338" y="418"/>
                  </a:lnTo>
                  <a:lnTo>
                    <a:pt x="338" y="419"/>
                  </a:lnTo>
                  <a:lnTo>
                    <a:pt x="335" y="422"/>
                  </a:lnTo>
                  <a:lnTo>
                    <a:pt x="334" y="422"/>
                  </a:lnTo>
                  <a:lnTo>
                    <a:pt x="328" y="425"/>
                  </a:lnTo>
                  <a:lnTo>
                    <a:pt x="325" y="422"/>
                  </a:lnTo>
                  <a:lnTo>
                    <a:pt x="317" y="422"/>
                  </a:lnTo>
                  <a:lnTo>
                    <a:pt x="314" y="425"/>
                  </a:lnTo>
                  <a:lnTo>
                    <a:pt x="314" y="437"/>
                  </a:lnTo>
                  <a:lnTo>
                    <a:pt x="313" y="437"/>
                  </a:lnTo>
                  <a:lnTo>
                    <a:pt x="313" y="439"/>
                  </a:lnTo>
                  <a:lnTo>
                    <a:pt x="311" y="439"/>
                  </a:lnTo>
                  <a:lnTo>
                    <a:pt x="310" y="440"/>
                  </a:lnTo>
                  <a:lnTo>
                    <a:pt x="309" y="440"/>
                  </a:lnTo>
                  <a:lnTo>
                    <a:pt x="307" y="439"/>
                  </a:lnTo>
                  <a:lnTo>
                    <a:pt x="307" y="437"/>
                  </a:lnTo>
                  <a:lnTo>
                    <a:pt x="306" y="437"/>
                  </a:lnTo>
                  <a:lnTo>
                    <a:pt x="303" y="439"/>
                  </a:lnTo>
                  <a:lnTo>
                    <a:pt x="301" y="440"/>
                  </a:lnTo>
                  <a:lnTo>
                    <a:pt x="297" y="440"/>
                  </a:lnTo>
                  <a:lnTo>
                    <a:pt x="295" y="442"/>
                  </a:lnTo>
                  <a:lnTo>
                    <a:pt x="294" y="442"/>
                  </a:lnTo>
                  <a:lnTo>
                    <a:pt x="294" y="443"/>
                  </a:lnTo>
                  <a:lnTo>
                    <a:pt x="291" y="443"/>
                  </a:lnTo>
                  <a:lnTo>
                    <a:pt x="291" y="442"/>
                  </a:lnTo>
                  <a:lnTo>
                    <a:pt x="288" y="443"/>
                  </a:lnTo>
                  <a:lnTo>
                    <a:pt x="280" y="443"/>
                  </a:lnTo>
                  <a:lnTo>
                    <a:pt x="279" y="445"/>
                  </a:lnTo>
                  <a:lnTo>
                    <a:pt x="279" y="442"/>
                  </a:lnTo>
                  <a:lnTo>
                    <a:pt x="277" y="442"/>
                  </a:lnTo>
                  <a:lnTo>
                    <a:pt x="274" y="439"/>
                  </a:lnTo>
                  <a:lnTo>
                    <a:pt x="271" y="439"/>
                  </a:lnTo>
                  <a:lnTo>
                    <a:pt x="271" y="437"/>
                  </a:lnTo>
                  <a:lnTo>
                    <a:pt x="270" y="437"/>
                  </a:lnTo>
                  <a:lnTo>
                    <a:pt x="268" y="439"/>
                  </a:lnTo>
                  <a:lnTo>
                    <a:pt x="268" y="446"/>
                  </a:lnTo>
                  <a:lnTo>
                    <a:pt x="267" y="446"/>
                  </a:lnTo>
                  <a:lnTo>
                    <a:pt x="265" y="448"/>
                  </a:lnTo>
                  <a:lnTo>
                    <a:pt x="262" y="449"/>
                  </a:lnTo>
                  <a:lnTo>
                    <a:pt x="261" y="449"/>
                  </a:lnTo>
                  <a:lnTo>
                    <a:pt x="261" y="454"/>
                  </a:lnTo>
                  <a:lnTo>
                    <a:pt x="258" y="457"/>
                  </a:lnTo>
                  <a:lnTo>
                    <a:pt x="258" y="460"/>
                  </a:lnTo>
                  <a:lnTo>
                    <a:pt x="259" y="461"/>
                  </a:lnTo>
                  <a:lnTo>
                    <a:pt x="259" y="463"/>
                  </a:lnTo>
                  <a:lnTo>
                    <a:pt x="258" y="463"/>
                  </a:lnTo>
                  <a:lnTo>
                    <a:pt x="258" y="464"/>
                  </a:lnTo>
                  <a:lnTo>
                    <a:pt x="259" y="464"/>
                  </a:lnTo>
                  <a:lnTo>
                    <a:pt x="259" y="472"/>
                  </a:lnTo>
                  <a:lnTo>
                    <a:pt x="258" y="472"/>
                  </a:lnTo>
                  <a:lnTo>
                    <a:pt x="256" y="475"/>
                  </a:lnTo>
                  <a:lnTo>
                    <a:pt x="255" y="475"/>
                  </a:lnTo>
                  <a:lnTo>
                    <a:pt x="255" y="478"/>
                  </a:lnTo>
                  <a:lnTo>
                    <a:pt x="253" y="479"/>
                  </a:lnTo>
                  <a:lnTo>
                    <a:pt x="252" y="479"/>
                  </a:lnTo>
                  <a:lnTo>
                    <a:pt x="253" y="481"/>
                  </a:lnTo>
                  <a:lnTo>
                    <a:pt x="253" y="482"/>
                  </a:lnTo>
                  <a:lnTo>
                    <a:pt x="255" y="482"/>
                  </a:lnTo>
                  <a:lnTo>
                    <a:pt x="255" y="485"/>
                  </a:lnTo>
                  <a:lnTo>
                    <a:pt x="256" y="487"/>
                  </a:lnTo>
                  <a:lnTo>
                    <a:pt x="256" y="493"/>
                  </a:lnTo>
                  <a:lnTo>
                    <a:pt x="258" y="494"/>
                  </a:lnTo>
                  <a:lnTo>
                    <a:pt x="256" y="497"/>
                  </a:lnTo>
                  <a:lnTo>
                    <a:pt x="250" y="497"/>
                  </a:lnTo>
                  <a:lnTo>
                    <a:pt x="247" y="500"/>
                  </a:lnTo>
                  <a:lnTo>
                    <a:pt x="243" y="500"/>
                  </a:lnTo>
                  <a:lnTo>
                    <a:pt x="243" y="502"/>
                  </a:lnTo>
                  <a:lnTo>
                    <a:pt x="241" y="502"/>
                  </a:lnTo>
                  <a:lnTo>
                    <a:pt x="241" y="500"/>
                  </a:lnTo>
                  <a:lnTo>
                    <a:pt x="240" y="499"/>
                  </a:lnTo>
                  <a:lnTo>
                    <a:pt x="238" y="499"/>
                  </a:lnTo>
                  <a:lnTo>
                    <a:pt x="240" y="500"/>
                  </a:lnTo>
                  <a:lnTo>
                    <a:pt x="240" y="502"/>
                  </a:lnTo>
                  <a:lnTo>
                    <a:pt x="243" y="505"/>
                  </a:lnTo>
                  <a:lnTo>
                    <a:pt x="243" y="509"/>
                  </a:lnTo>
                  <a:lnTo>
                    <a:pt x="244" y="509"/>
                  </a:lnTo>
                  <a:lnTo>
                    <a:pt x="244" y="511"/>
                  </a:lnTo>
                  <a:lnTo>
                    <a:pt x="246" y="511"/>
                  </a:lnTo>
                  <a:lnTo>
                    <a:pt x="246" y="512"/>
                  </a:lnTo>
                  <a:lnTo>
                    <a:pt x="247" y="511"/>
                  </a:lnTo>
                  <a:lnTo>
                    <a:pt x="247" y="509"/>
                  </a:lnTo>
                  <a:lnTo>
                    <a:pt x="252" y="509"/>
                  </a:lnTo>
                  <a:lnTo>
                    <a:pt x="252" y="512"/>
                  </a:lnTo>
                  <a:lnTo>
                    <a:pt x="250" y="512"/>
                  </a:lnTo>
                  <a:lnTo>
                    <a:pt x="252" y="514"/>
                  </a:lnTo>
                  <a:lnTo>
                    <a:pt x="253" y="517"/>
                  </a:lnTo>
                  <a:lnTo>
                    <a:pt x="253" y="518"/>
                  </a:lnTo>
                  <a:lnTo>
                    <a:pt x="255" y="520"/>
                  </a:lnTo>
                  <a:lnTo>
                    <a:pt x="255" y="523"/>
                  </a:lnTo>
                  <a:lnTo>
                    <a:pt x="256" y="523"/>
                  </a:lnTo>
                  <a:lnTo>
                    <a:pt x="256" y="526"/>
                  </a:lnTo>
                  <a:lnTo>
                    <a:pt x="255" y="527"/>
                  </a:lnTo>
                  <a:lnTo>
                    <a:pt x="253" y="530"/>
                  </a:lnTo>
                  <a:lnTo>
                    <a:pt x="255" y="533"/>
                  </a:lnTo>
                  <a:lnTo>
                    <a:pt x="255" y="536"/>
                  </a:lnTo>
                  <a:lnTo>
                    <a:pt x="256" y="536"/>
                  </a:lnTo>
                  <a:lnTo>
                    <a:pt x="256" y="539"/>
                  </a:lnTo>
                  <a:lnTo>
                    <a:pt x="258" y="539"/>
                  </a:lnTo>
                  <a:lnTo>
                    <a:pt x="258" y="541"/>
                  </a:lnTo>
                  <a:lnTo>
                    <a:pt x="264" y="545"/>
                  </a:lnTo>
                  <a:lnTo>
                    <a:pt x="265" y="547"/>
                  </a:lnTo>
                  <a:lnTo>
                    <a:pt x="265" y="548"/>
                  </a:lnTo>
                  <a:lnTo>
                    <a:pt x="268" y="548"/>
                  </a:lnTo>
                  <a:lnTo>
                    <a:pt x="268" y="551"/>
                  </a:lnTo>
                  <a:lnTo>
                    <a:pt x="270" y="553"/>
                  </a:lnTo>
                  <a:lnTo>
                    <a:pt x="270" y="554"/>
                  </a:lnTo>
                  <a:lnTo>
                    <a:pt x="273" y="554"/>
                  </a:lnTo>
                  <a:lnTo>
                    <a:pt x="273" y="559"/>
                  </a:lnTo>
                  <a:lnTo>
                    <a:pt x="277" y="562"/>
                  </a:lnTo>
                  <a:lnTo>
                    <a:pt x="280" y="565"/>
                  </a:lnTo>
                  <a:lnTo>
                    <a:pt x="280" y="568"/>
                  </a:lnTo>
                  <a:lnTo>
                    <a:pt x="282" y="568"/>
                  </a:lnTo>
                  <a:lnTo>
                    <a:pt x="282" y="569"/>
                  </a:lnTo>
                  <a:lnTo>
                    <a:pt x="283" y="571"/>
                  </a:lnTo>
                  <a:lnTo>
                    <a:pt x="288" y="571"/>
                  </a:lnTo>
                  <a:lnTo>
                    <a:pt x="288" y="572"/>
                  </a:lnTo>
                  <a:lnTo>
                    <a:pt x="289" y="572"/>
                  </a:lnTo>
                  <a:lnTo>
                    <a:pt x="289" y="574"/>
                  </a:lnTo>
                  <a:lnTo>
                    <a:pt x="291" y="575"/>
                  </a:lnTo>
                  <a:lnTo>
                    <a:pt x="291" y="577"/>
                  </a:lnTo>
                  <a:lnTo>
                    <a:pt x="292" y="578"/>
                  </a:lnTo>
                  <a:lnTo>
                    <a:pt x="292" y="580"/>
                  </a:lnTo>
                  <a:lnTo>
                    <a:pt x="291" y="580"/>
                  </a:lnTo>
                  <a:lnTo>
                    <a:pt x="291" y="581"/>
                  </a:lnTo>
                  <a:lnTo>
                    <a:pt x="292" y="581"/>
                  </a:lnTo>
                  <a:lnTo>
                    <a:pt x="289" y="584"/>
                  </a:lnTo>
                  <a:lnTo>
                    <a:pt x="289" y="586"/>
                  </a:lnTo>
                  <a:lnTo>
                    <a:pt x="291" y="587"/>
                  </a:lnTo>
                  <a:lnTo>
                    <a:pt x="291" y="589"/>
                  </a:lnTo>
                  <a:lnTo>
                    <a:pt x="292" y="590"/>
                  </a:lnTo>
                  <a:lnTo>
                    <a:pt x="294" y="590"/>
                  </a:lnTo>
                  <a:lnTo>
                    <a:pt x="294" y="595"/>
                  </a:lnTo>
                  <a:lnTo>
                    <a:pt x="298" y="599"/>
                  </a:lnTo>
                  <a:lnTo>
                    <a:pt x="297" y="601"/>
                  </a:lnTo>
                  <a:lnTo>
                    <a:pt x="298" y="602"/>
                  </a:lnTo>
                  <a:lnTo>
                    <a:pt x="298" y="607"/>
                  </a:lnTo>
                  <a:lnTo>
                    <a:pt x="300" y="607"/>
                  </a:lnTo>
                  <a:lnTo>
                    <a:pt x="306" y="601"/>
                  </a:lnTo>
                  <a:lnTo>
                    <a:pt x="306" y="599"/>
                  </a:lnTo>
                  <a:lnTo>
                    <a:pt x="307" y="598"/>
                  </a:lnTo>
                  <a:lnTo>
                    <a:pt x="307" y="601"/>
                  </a:lnTo>
                  <a:lnTo>
                    <a:pt x="309" y="601"/>
                  </a:lnTo>
                  <a:lnTo>
                    <a:pt x="310" y="602"/>
                  </a:lnTo>
                  <a:lnTo>
                    <a:pt x="309" y="605"/>
                  </a:lnTo>
                  <a:lnTo>
                    <a:pt x="309" y="608"/>
                  </a:lnTo>
                  <a:lnTo>
                    <a:pt x="307" y="610"/>
                  </a:lnTo>
                  <a:lnTo>
                    <a:pt x="307" y="613"/>
                  </a:lnTo>
                  <a:lnTo>
                    <a:pt x="306" y="614"/>
                  </a:lnTo>
                  <a:lnTo>
                    <a:pt x="306" y="616"/>
                  </a:lnTo>
                  <a:lnTo>
                    <a:pt x="304" y="616"/>
                  </a:lnTo>
                  <a:lnTo>
                    <a:pt x="304" y="614"/>
                  </a:lnTo>
                  <a:lnTo>
                    <a:pt x="298" y="614"/>
                  </a:lnTo>
                  <a:lnTo>
                    <a:pt x="298" y="616"/>
                  </a:lnTo>
                  <a:lnTo>
                    <a:pt x="297" y="617"/>
                  </a:lnTo>
                  <a:lnTo>
                    <a:pt x="297" y="619"/>
                  </a:lnTo>
                  <a:lnTo>
                    <a:pt x="295" y="619"/>
                  </a:lnTo>
                  <a:lnTo>
                    <a:pt x="295" y="617"/>
                  </a:lnTo>
                  <a:lnTo>
                    <a:pt x="294" y="617"/>
                  </a:lnTo>
                  <a:lnTo>
                    <a:pt x="294" y="619"/>
                  </a:lnTo>
                  <a:lnTo>
                    <a:pt x="295" y="620"/>
                  </a:lnTo>
                  <a:lnTo>
                    <a:pt x="295" y="622"/>
                  </a:lnTo>
                  <a:lnTo>
                    <a:pt x="294" y="625"/>
                  </a:lnTo>
                  <a:lnTo>
                    <a:pt x="295" y="628"/>
                  </a:lnTo>
                  <a:lnTo>
                    <a:pt x="294" y="632"/>
                  </a:lnTo>
                  <a:lnTo>
                    <a:pt x="294" y="650"/>
                  </a:lnTo>
                  <a:lnTo>
                    <a:pt x="292" y="651"/>
                  </a:lnTo>
                  <a:lnTo>
                    <a:pt x="292" y="650"/>
                  </a:lnTo>
                  <a:lnTo>
                    <a:pt x="286" y="650"/>
                  </a:lnTo>
                  <a:lnTo>
                    <a:pt x="286" y="656"/>
                  </a:lnTo>
                  <a:lnTo>
                    <a:pt x="285" y="654"/>
                  </a:lnTo>
                  <a:lnTo>
                    <a:pt x="283" y="654"/>
                  </a:lnTo>
                  <a:lnTo>
                    <a:pt x="282" y="653"/>
                  </a:lnTo>
                  <a:lnTo>
                    <a:pt x="282" y="654"/>
                  </a:lnTo>
                  <a:lnTo>
                    <a:pt x="279" y="657"/>
                  </a:lnTo>
                  <a:lnTo>
                    <a:pt x="276" y="657"/>
                  </a:lnTo>
                  <a:lnTo>
                    <a:pt x="277" y="659"/>
                  </a:lnTo>
                  <a:lnTo>
                    <a:pt x="277" y="660"/>
                  </a:lnTo>
                  <a:lnTo>
                    <a:pt x="276" y="662"/>
                  </a:lnTo>
                  <a:lnTo>
                    <a:pt x="276" y="663"/>
                  </a:lnTo>
                  <a:lnTo>
                    <a:pt x="277" y="665"/>
                  </a:lnTo>
                  <a:lnTo>
                    <a:pt x="277" y="668"/>
                  </a:lnTo>
                  <a:lnTo>
                    <a:pt x="279" y="669"/>
                  </a:lnTo>
                  <a:lnTo>
                    <a:pt x="279" y="677"/>
                  </a:lnTo>
                  <a:lnTo>
                    <a:pt x="288" y="686"/>
                  </a:lnTo>
                  <a:lnTo>
                    <a:pt x="288" y="687"/>
                  </a:lnTo>
                  <a:lnTo>
                    <a:pt x="289" y="689"/>
                  </a:lnTo>
                  <a:lnTo>
                    <a:pt x="289" y="690"/>
                  </a:lnTo>
                  <a:lnTo>
                    <a:pt x="291" y="690"/>
                  </a:lnTo>
                  <a:lnTo>
                    <a:pt x="295" y="699"/>
                  </a:lnTo>
                  <a:lnTo>
                    <a:pt x="297" y="701"/>
                  </a:lnTo>
                  <a:lnTo>
                    <a:pt x="298" y="701"/>
                  </a:lnTo>
                  <a:lnTo>
                    <a:pt x="298" y="702"/>
                  </a:lnTo>
                  <a:lnTo>
                    <a:pt x="301" y="702"/>
                  </a:lnTo>
                  <a:lnTo>
                    <a:pt x="301" y="704"/>
                  </a:lnTo>
                  <a:lnTo>
                    <a:pt x="303" y="705"/>
                  </a:lnTo>
                  <a:lnTo>
                    <a:pt x="309" y="710"/>
                  </a:lnTo>
                  <a:lnTo>
                    <a:pt x="311" y="710"/>
                  </a:lnTo>
                  <a:lnTo>
                    <a:pt x="311" y="713"/>
                  </a:lnTo>
                  <a:lnTo>
                    <a:pt x="314" y="716"/>
                  </a:lnTo>
                  <a:lnTo>
                    <a:pt x="314" y="717"/>
                  </a:lnTo>
                  <a:lnTo>
                    <a:pt x="317" y="720"/>
                  </a:lnTo>
                  <a:lnTo>
                    <a:pt x="317" y="723"/>
                  </a:lnTo>
                  <a:lnTo>
                    <a:pt x="319" y="725"/>
                  </a:lnTo>
                  <a:lnTo>
                    <a:pt x="319" y="726"/>
                  </a:lnTo>
                  <a:lnTo>
                    <a:pt x="320" y="728"/>
                  </a:lnTo>
                  <a:lnTo>
                    <a:pt x="320" y="734"/>
                  </a:lnTo>
                  <a:lnTo>
                    <a:pt x="322" y="741"/>
                  </a:lnTo>
                  <a:lnTo>
                    <a:pt x="322" y="752"/>
                  </a:lnTo>
                  <a:lnTo>
                    <a:pt x="320" y="752"/>
                  </a:lnTo>
                  <a:lnTo>
                    <a:pt x="319" y="753"/>
                  </a:lnTo>
                  <a:lnTo>
                    <a:pt x="319" y="758"/>
                  </a:lnTo>
                  <a:lnTo>
                    <a:pt x="317" y="759"/>
                  </a:lnTo>
                  <a:lnTo>
                    <a:pt x="319" y="761"/>
                  </a:lnTo>
                  <a:lnTo>
                    <a:pt x="320" y="761"/>
                  </a:lnTo>
                  <a:lnTo>
                    <a:pt x="320" y="762"/>
                  </a:lnTo>
                  <a:lnTo>
                    <a:pt x="322" y="762"/>
                  </a:lnTo>
                  <a:lnTo>
                    <a:pt x="322" y="764"/>
                  </a:lnTo>
                  <a:lnTo>
                    <a:pt x="320" y="765"/>
                  </a:lnTo>
                  <a:lnTo>
                    <a:pt x="320" y="767"/>
                  </a:lnTo>
                  <a:lnTo>
                    <a:pt x="322" y="767"/>
                  </a:lnTo>
                  <a:lnTo>
                    <a:pt x="322" y="770"/>
                  </a:lnTo>
                  <a:lnTo>
                    <a:pt x="323" y="771"/>
                  </a:lnTo>
                  <a:lnTo>
                    <a:pt x="323" y="774"/>
                  </a:lnTo>
                  <a:lnTo>
                    <a:pt x="325" y="774"/>
                  </a:lnTo>
                  <a:lnTo>
                    <a:pt x="325" y="776"/>
                  </a:lnTo>
                  <a:lnTo>
                    <a:pt x="326" y="776"/>
                  </a:lnTo>
                  <a:lnTo>
                    <a:pt x="326" y="777"/>
                  </a:lnTo>
                  <a:lnTo>
                    <a:pt x="328" y="777"/>
                  </a:lnTo>
                  <a:lnTo>
                    <a:pt x="328" y="779"/>
                  </a:lnTo>
                  <a:lnTo>
                    <a:pt x="329" y="779"/>
                  </a:lnTo>
                  <a:lnTo>
                    <a:pt x="329" y="780"/>
                  </a:lnTo>
                  <a:lnTo>
                    <a:pt x="332" y="780"/>
                  </a:lnTo>
                  <a:lnTo>
                    <a:pt x="332" y="789"/>
                  </a:lnTo>
                  <a:lnTo>
                    <a:pt x="334" y="791"/>
                  </a:lnTo>
                  <a:lnTo>
                    <a:pt x="334" y="795"/>
                  </a:lnTo>
                  <a:lnTo>
                    <a:pt x="335" y="795"/>
                  </a:lnTo>
                  <a:lnTo>
                    <a:pt x="335" y="801"/>
                  </a:lnTo>
                  <a:lnTo>
                    <a:pt x="334" y="801"/>
                  </a:lnTo>
                  <a:lnTo>
                    <a:pt x="335" y="803"/>
                  </a:lnTo>
                  <a:lnTo>
                    <a:pt x="338" y="801"/>
                  </a:lnTo>
                  <a:lnTo>
                    <a:pt x="338" y="807"/>
                  </a:lnTo>
                  <a:lnTo>
                    <a:pt x="340" y="809"/>
                  </a:lnTo>
                  <a:lnTo>
                    <a:pt x="340" y="815"/>
                  </a:lnTo>
                  <a:lnTo>
                    <a:pt x="341" y="816"/>
                  </a:lnTo>
                  <a:lnTo>
                    <a:pt x="343" y="816"/>
                  </a:lnTo>
                  <a:lnTo>
                    <a:pt x="343" y="821"/>
                  </a:lnTo>
                  <a:lnTo>
                    <a:pt x="341" y="821"/>
                  </a:lnTo>
                  <a:lnTo>
                    <a:pt x="338" y="825"/>
                  </a:lnTo>
                  <a:lnTo>
                    <a:pt x="335" y="825"/>
                  </a:lnTo>
                  <a:lnTo>
                    <a:pt x="334" y="827"/>
                  </a:lnTo>
                  <a:lnTo>
                    <a:pt x="334" y="831"/>
                  </a:lnTo>
                  <a:lnTo>
                    <a:pt x="332" y="833"/>
                  </a:lnTo>
                  <a:lnTo>
                    <a:pt x="332" y="834"/>
                  </a:lnTo>
                  <a:lnTo>
                    <a:pt x="331" y="834"/>
                  </a:lnTo>
                  <a:lnTo>
                    <a:pt x="331" y="837"/>
                  </a:lnTo>
                  <a:lnTo>
                    <a:pt x="328" y="840"/>
                  </a:lnTo>
                  <a:lnTo>
                    <a:pt x="328" y="842"/>
                  </a:lnTo>
                  <a:lnTo>
                    <a:pt x="325" y="845"/>
                  </a:lnTo>
                  <a:lnTo>
                    <a:pt x="325" y="846"/>
                  </a:lnTo>
                  <a:lnTo>
                    <a:pt x="323" y="851"/>
                  </a:lnTo>
                  <a:lnTo>
                    <a:pt x="322" y="851"/>
                  </a:lnTo>
                  <a:lnTo>
                    <a:pt x="320" y="852"/>
                  </a:lnTo>
                  <a:lnTo>
                    <a:pt x="320" y="854"/>
                  </a:lnTo>
                  <a:lnTo>
                    <a:pt x="317" y="854"/>
                  </a:lnTo>
                  <a:lnTo>
                    <a:pt x="317" y="857"/>
                  </a:lnTo>
                  <a:lnTo>
                    <a:pt x="316" y="858"/>
                  </a:lnTo>
                  <a:lnTo>
                    <a:pt x="316" y="857"/>
                  </a:lnTo>
                  <a:lnTo>
                    <a:pt x="313" y="857"/>
                  </a:lnTo>
                  <a:lnTo>
                    <a:pt x="313" y="863"/>
                  </a:lnTo>
                  <a:lnTo>
                    <a:pt x="311" y="864"/>
                  </a:lnTo>
                  <a:lnTo>
                    <a:pt x="309" y="864"/>
                  </a:lnTo>
                  <a:lnTo>
                    <a:pt x="309" y="866"/>
                  </a:lnTo>
                  <a:lnTo>
                    <a:pt x="306" y="866"/>
                  </a:lnTo>
                  <a:lnTo>
                    <a:pt x="306" y="867"/>
                  </a:lnTo>
                  <a:lnTo>
                    <a:pt x="303" y="870"/>
                  </a:lnTo>
                  <a:lnTo>
                    <a:pt x="303" y="873"/>
                  </a:lnTo>
                  <a:lnTo>
                    <a:pt x="304" y="873"/>
                  </a:lnTo>
                  <a:lnTo>
                    <a:pt x="304" y="881"/>
                  </a:lnTo>
                  <a:lnTo>
                    <a:pt x="303" y="882"/>
                  </a:lnTo>
                  <a:lnTo>
                    <a:pt x="303" y="885"/>
                  </a:lnTo>
                  <a:lnTo>
                    <a:pt x="301" y="885"/>
                  </a:lnTo>
                  <a:lnTo>
                    <a:pt x="301" y="890"/>
                  </a:lnTo>
                  <a:lnTo>
                    <a:pt x="298" y="893"/>
                  </a:lnTo>
                  <a:lnTo>
                    <a:pt x="298" y="894"/>
                  </a:lnTo>
                  <a:lnTo>
                    <a:pt x="295" y="900"/>
                  </a:lnTo>
                  <a:lnTo>
                    <a:pt x="294" y="901"/>
                  </a:lnTo>
                  <a:lnTo>
                    <a:pt x="292" y="901"/>
                  </a:lnTo>
                  <a:lnTo>
                    <a:pt x="292" y="894"/>
                  </a:lnTo>
                  <a:lnTo>
                    <a:pt x="291" y="893"/>
                  </a:lnTo>
                  <a:lnTo>
                    <a:pt x="292" y="890"/>
                  </a:lnTo>
                  <a:lnTo>
                    <a:pt x="292" y="882"/>
                  </a:lnTo>
                  <a:lnTo>
                    <a:pt x="291" y="881"/>
                  </a:lnTo>
                  <a:lnTo>
                    <a:pt x="291" y="876"/>
                  </a:lnTo>
                  <a:lnTo>
                    <a:pt x="289" y="872"/>
                  </a:lnTo>
                  <a:lnTo>
                    <a:pt x="289" y="867"/>
                  </a:lnTo>
                  <a:lnTo>
                    <a:pt x="294" y="867"/>
                  </a:lnTo>
                  <a:lnTo>
                    <a:pt x="295" y="866"/>
                  </a:lnTo>
                  <a:lnTo>
                    <a:pt x="295" y="863"/>
                  </a:lnTo>
                  <a:lnTo>
                    <a:pt x="297" y="863"/>
                  </a:lnTo>
                  <a:lnTo>
                    <a:pt x="297" y="861"/>
                  </a:lnTo>
                  <a:lnTo>
                    <a:pt x="295" y="861"/>
                  </a:lnTo>
                  <a:lnTo>
                    <a:pt x="298" y="858"/>
                  </a:lnTo>
                  <a:lnTo>
                    <a:pt x="298" y="860"/>
                  </a:lnTo>
                  <a:lnTo>
                    <a:pt x="300" y="860"/>
                  </a:lnTo>
                  <a:lnTo>
                    <a:pt x="301" y="858"/>
                  </a:lnTo>
                  <a:lnTo>
                    <a:pt x="301" y="855"/>
                  </a:lnTo>
                  <a:lnTo>
                    <a:pt x="300" y="855"/>
                  </a:lnTo>
                  <a:lnTo>
                    <a:pt x="300" y="854"/>
                  </a:lnTo>
                  <a:lnTo>
                    <a:pt x="301" y="854"/>
                  </a:lnTo>
                  <a:lnTo>
                    <a:pt x="301" y="851"/>
                  </a:lnTo>
                  <a:lnTo>
                    <a:pt x="300" y="851"/>
                  </a:lnTo>
                  <a:lnTo>
                    <a:pt x="298" y="849"/>
                  </a:lnTo>
                  <a:lnTo>
                    <a:pt x="301" y="848"/>
                  </a:lnTo>
                  <a:lnTo>
                    <a:pt x="301" y="845"/>
                  </a:lnTo>
                  <a:lnTo>
                    <a:pt x="303" y="845"/>
                  </a:lnTo>
                  <a:lnTo>
                    <a:pt x="303" y="842"/>
                  </a:lnTo>
                  <a:lnTo>
                    <a:pt x="301" y="840"/>
                  </a:lnTo>
                  <a:lnTo>
                    <a:pt x="301" y="837"/>
                  </a:lnTo>
                  <a:lnTo>
                    <a:pt x="300" y="837"/>
                  </a:lnTo>
                  <a:lnTo>
                    <a:pt x="301" y="836"/>
                  </a:lnTo>
                  <a:lnTo>
                    <a:pt x="301" y="834"/>
                  </a:lnTo>
                  <a:lnTo>
                    <a:pt x="304" y="834"/>
                  </a:lnTo>
                  <a:lnTo>
                    <a:pt x="303" y="833"/>
                  </a:lnTo>
                  <a:lnTo>
                    <a:pt x="303" y="831"/>
                  </a:lnTo>
                  <a:lnTo>
                    <a:pt x="301" y="831"/>
                  </a:lnTo>
                  <a:lnTo>
                    <a:pt x="301" y="828"/>
                  </a:lnTo>
                  <a:lnTo>
                    <a:pt x="303" y="828"/>
                  </a:lnTo>
                  <a:lnTo>
                    <a:pt x="301" y="825"/>
                  </a:lnTo>
                  <a:lnTo>
                    <a:pt x="303" y="825"/>
                  </a:lnTo>
                  <a:lnTo>
                    <a:pt x="303" y="824"/>
                  </a:lnTo>
                  <a:lnTo>
                    <a:pt x="306" y="824"/>
                  </a:lnTo>
                  <a:lnTo>
                    <a:pt x="306" y="822"/>
                  </a:lnTo>
                  <a:lnTo>
                    <a:pt x="309" y="822"/>
                  </a:lnTo>
                  <a:lnTo>
                    <a:pt x="309" y="821"/>
                  </a:lnTo>
                  <a:lnTo>
                    <a:pt x="306" y="821"/>
                  </a:lnTo>
                  <a:lnTo>
                    <a:pt x="304" y="819"/>
                  </a:lnTo>
                  <a:lnTo>
                    <a:pt x="306" y="818"/>
                  </a:lnTo>
                  <a:lnTo>
                    <a:pt x="304" y="818"/>
                  </a:lnTo>
                  <a:lnTo>
                    <a:pt x="304" y="819"/>
                  </a:lnTo>
                  <a:lnTo>
                    <a:pt x="303" y="819"/>
                  </a:lnTo>
                  <a:lnTo>
                    <a:pt x="301" y="821"/>
                  </a:lnTo>
                  <a:lnTo>
                    <a:pt x="301" y="822"/>
                  </a:lnTo>
                  <a:lnTo>
                    <a:pt x="300" y="824"/>
                  </a:lnTo>
                  <a:lnTo>
                    <a:pt x="295" y="819"/>
                  </a:lnTo>
                  <a:lnTo>
                    <a:pt x="297" y="819"/>
                  </a:lnTo>
                  <a:lnTo>
                    <a:pt x="297" y="818"/>
                  </a:lnTo>
                  <a:lnTo>
                    <a:pt x="295" y="818"/>
                  </a:lnTo>
                  <a:lnTo>
                    <a:pt x="297" y="816"/>
                  </a:lnTo>
                  <a:lnTo>
                    <a:pt x="298" y="816"/>
                  </a:lnTo>
                  <a:lnTo>
                    <a:pt x="298" y="815"/>
                  </a:lnTo>
                  <a:lnTo>
                    <a:pt x="301" y="815"/>
                  </a:lnTo>
                  <a:lnTo>
                    <a:pt x="300" y="813"/>
                  </a:lnTo>
                  <a:lnTo>
                    <a:pt x="297" y="815"/>
                  </a:lnTo>
                  <a:lnTo>
                    <a:pt x="294" y="815"/>
                  </a:lnTo>
                  <a:lnTo>
                    <a:pt x="294" y="813"/>
                  </a:lnTo>
                  <a:lnTo>
                    <a:pt x="298" y="813"/>
                  </a:lnTo>
                  <a:lnTo>
                    <a:pt x="298" y="812"/>
                  </a:lnTo>
                  <a:lnTo>
                    <a:pt x="300" y="812"/>
                  </a:lnTo>
                  <a:lnTo>
                    <a:pt x="300" y="810"/>
                  </a:lnTo>
                  <a:lnTo>
                    <a:pt x="301" y="810"/>
                  </a:lnTo>
                  <a:lnTo>
                    <a:pt x="301" y="806"/>
                  </a:lnTo>
                  <a:lnTo>
                    <a:pt x="298" y="806"/>
                  </a:lnTo>
                  <a:lnTo>
                    <a:pt x="298" y="804"/>
                  </a:lnTo>
                  <a:lnTo>
                    <a:pt x="297" y="804"/>
                  </a:lnTo>
                  <a:lnTo>
                    <a:pt x="298" y="803"/>
                  </a:lnTo>
                  <a:lnTo>
                    <a:pt x="297" y="803"/>
                  </a:lnTo>
                  <a:lnTo>
                    <a:pt x="297" y="801"/>
                  </a:lnTo>
                  <a:lnTo>
                    <a:pt x="298" y="801"/>
                  </a:lnTo>
                  <a:lnTo>
                    <a:pt x="298" y="800"/>
                  </a:lnTo>
                  <a:lnTo>
                    <a:pt x="300" y="800"/>
                  </a:lnTo>
                  <a:lnTo>
                    <a:pt x="301" y="798"/>
                  </a:lnTo>
                  <a:lnTo>
                    <a:pt x="301" y="797"/>
                  </a:lnTo>
                  <a:lnTo>
                    <a:pt x="298" y="797"/>
                  </a:lnTo>
                  <a:lnTo>
                    <a:pt x="298" y="798"/>
                  </a:lnTo>
                  <a:lnTo>
                    <a:pt x="297" y="798"/>
                  </a:lnTo>
                  <a:lnTo>
                    <a:pt x="295" y="800"/>
                  </a:lnTo>
                  <a:lnTo>
                    <a:pt x="292" y="797"/>
                  </a:lnTo>
                  <a:lnTo>
                    <a:pt x="294" y="797"/>
                  </a:lnTo>
                  <a:lnTo>
                    <a:pt x="294" y="795"/>
                  </a:lnTo>
                  <a:lnTo>
                    <a:pt x="295" y="794"/>
                  </a:lnTo>
                  <a:lnTo>
                    <a:pt x="300" y="794"/>
                  </a:lnTo>
                  <a:lnTo>
                    <a:pt x="301" y="792"/>
                  </a:lnTo>
                  <a:lnTo>
                    <a:pt x="300" y="791"/>
                  </a:lnTo>
                  <a:lnTo>
                    <a:pt x="298" y="791"/>
                  </a:lnTo>
                  <a:lnTo>
                    <a:pt x="297" y="789"/>
                  </a:lnTo>
                  <a:lnTo>
                    <a:pt x="297" y="785"/>
                  </a:lnTo>
                  <a:lnTo>
                    <a:pt x="300" y="785"/>
                  </a:lnTo>
                  <a:lnTo>
                    <a:pt x="300" y="783"/>
                  </a:lnTo>
                  <a:lnTo>
                    <a:pt x="297" y="783"/>
                  </a:lnTo>
                  <a:lnTo>
                    <a:pt x="297" y="782"/>
                  </a:lnTo>
                  <a:lnTo>
                    <a:pt x="298" y="780"/>
                  </a:lnTo>
                  <a:lnTo>
                    <a:pt x="298" y="777"/>
                  </a:lnTo>
                  <a:lnTo>
                    <a:pt x="300" y="776"/>
                  </a:lnTo>
                  <a:lnTo>
                    <a:pt x="300" y="774"/>
                  </a:lnTo>
                  <a:lnTo>
                    <a:pt x="298" y="774"/>
                  </a:lnTo>
                  <a:lnTo>
                    <a:pt x="298" y="773"/>
                  </a:lnTo>
                  <a:lnTo>
                    <a:pt x="297" y="773"/>
                  </a:lnTo>
                  <a:lnTo>
                    <a:pt x="297" y="771"/>
                  </a:lnTo>
                  <a:lnTo>
                    <a:pt x="298" y="771"/>
                  </a:lnTo>
                  <a:lnTo>
                    <a:pt x="297" y="767"/>
                  </a:lnTo>
                  <a:lnTo>
                    <a:pt x="295" y="765"/>
                  </a:lnTo>
                  <a:lnTo>
                    <a:pt x="295" y="764"/>
                  </a:lnTo>
                  <a:lnTo>
                    <a:pt x="297" y="764"/>
                  </a:lnTo>
                  <a:lnTo>
                    <a:pt x="295" y="762"/>
                  </a:lnTo>
                  <a:lnTo>
                    <a:pt x="295" y="753"/>
                  </a:lnTo>
                  <a:lnTo>
                    <a:pt x="294" y="752"/>
                  </a:lnTo>
                  <a:lnTo>
                    <a:pt x="291" y="750"/>
                  </a:lnTo>
                  <a:lnTo>
                    <a:pt x="291" y="747"/>
                  </a:lnTo>
                  <a:lnTo>
                    <a:pt x="289" y="747"/>
                  </a:lnTo>
                  <a:lnTo>
                    <a:pt x="289" y="741"/>
                  </a:lnTo>
                  <a:lnTo>
                    <a:pt x="288" y="741"/>
                  </a:lnTo>
                  <a:lnTo>
                    <a:pt x="288" y="738"/>
                  </a:lnTo>
                  <a:lnTo>
                    <a:pt x="286" y="737"/>
                  </a:lnTo>
                  <a:lnTo>
                    <a:pt x="286" y="735"/>
                  </a:lnTo>
                  <a:lnTo>
                    <a:pt x="285" y="735"/>
                  </a:lnTo>
                  <a:lnTo>
                    <a:pt x="285" y="734"/>
                  </a:lnTo>
                  <a:lnTo>
                    <a:pt x="283" y="734"/>
                  </a:lnTo>
                  <a:lnTo>
                    <a:pt x="283" y="732"/>
                  </a:lnTo>
                  <a:lnTo>
                    <a:pt x="282" y="729"/>
                  </a:lnTo>
                  <a:lnTo>
                    <a:pt x="280" y="728"/>
                  </a:lnTo>
                  <a:lnTo>
                    <a:pt x="279" y="728"/>
                  </a:lnTo>
                  <a:lnTo>
                    <a:pt x="279" y="726"/>
                  </a:lnTo>
                  <a:lnTo>
                    <a:pt x="280" y="725"/>
                  </a:lnTo>
                  <a:lnTo>
                    <a:pt x="280" y="720"/>
                  </a:lnTo>
                  <a:lnTo>
                    <a:pt x="279" y="719"/>
                  </a:lnTo>
                  <a:lnTo>
                    <a:pt x="279" y="714"/>
                  </a:lnTo>
                  <a:lnTo>
                    <a:pt x="277" y="713"/>
                  </a:lnTo>
                  <a:lnTo>
                    <a:pt x="276" y="713"/>
                  </a:lnTo>
                  <a:lnTo>
                    <a:pt x="276" y="714"/>
                  </a:lnTo>
                  <a:lnTo>
                    <a:pt x="277" y="714"/>
                  </a:lnTo>
                  <a:lnTo>
                    <a:pt x="277" y="717"/>
                  </a:lnTo>
                  <a:lnTo>
                    <a:pt x="276" y="719"/>
                  </a:lnTo>
                  <a:lnTo>
                    <a:pt x="277" y="720"/>
                  </a:lnTo>
                  <a:lnTo>
                    <a:pt x="277" y="723"/>
                  </a:lnTo>
                  <a:lnTo>
                    <a:pt x="276" y="728"/>
                  </a:lnTo>
                  <a:lnTo>
                    <a:pt x="277" y="729"/>
                  </a:lnTo>
                  <a:lnTo>
                    <a:pt x="277" y="732"/>
                  </a:lnTo>
                  <a:lnTo>
                    <a:pt x="276" y="732"/>
                  </a:lnTo>
                  <a:lnTo>
                    <a:pt x="276" y="729"/>
                  </a:lnTo>
                  <a:lnTo>
                    <a:pt x="273" y="729"/>
                  </a:lnTo>
                  <a:lnTo>
                    <a:pt x="273" y="728"/>
                  </a:lnTo>
                  <a:lnTo>
                    <a:pt x="274" y="728"/>
                  </a:lnTo>
                  <a:lnTo>
                    <a:pt x="271" y="725"/>
                  </a:lnTo>
                  <a:lnTo>
                    <a:pt x="273" y="725"/>
                  </a:lnTo>
                  <a:lnTo>
                    <a:pt x="273" y="719"/>
                  </a:lnTo>
                  <a:lnTo>
                    <a:pt x="271" y="719"/>
                  </a:lnTo>
                  <a:lnTo>
                    <a:pt x="271" y="713"/>
                  </a:lnTo>
                  <a:lnTo>
                    <a:pt x="273" y="711"/>
                  </a:lnTo>
                  <a:lnTo>
                    <a:pt x="273" y="705"/>
                  </a:lnTo>
                  <a:lnTo>
                    <a:pt x="270" y="704"/>
                  </a:lnTo>
                  <a:lnTo>
                    <a:pt x="268" y="701"/>
                  </a:lnTo>
                  <a:lnTo>
                    <a:pt x="268" y="698"/>
                  </a:lnTo>
                  <a:lnTo>
                    <a:pt x="267" y="696"/>
                  </a:lnTo>
                  <a:lnTo>
                    <a:pt x="267" y="695"/>
                  </a:lnTo>
                  <a:lnTo>
                    <a:pt x="268" y="693"/>
                  </a:lnTo>
                  <a:lnTo>
                    <a:pt x="267" y="693"/>
                  </a:lnTo>
                  <a:lnTo>
                    <a:pt x="265" y="690"/>
                  </a:lnTo>
                  <a:lnTo>
                    <a:pt x="265" y="689"/>
                  </a:lnTo>
                  <a:lnTo>
                    <a:pt x="264" y="687"/>
                  </a:lnTo>
                  <a:lnTo>
                    <a:pt x="265" y="686"/>
                  </a:lnTo>
                  <a:lnTo>
                    <a:pt x="264" y="684"/>
                  </a:lnTo>
                  <a:lnTo>
                    <a:pt x="262" y="684"/>
                  </a:lnTo>
                  <a:lnTo>
                    <a:pt x="262" y="683"/>
                  </a:lnTo>
                  <a:lnTo>
                    <a:pt x="265" y="680"/>
                  </a:lnTo>
                  <a:lnTo>
                    <a:pt x="267" y="681"/>
                  </a:lnTo>
                  <a:lnTo>
                    <a:pt x="268" y="680"/>
                  </a:lnTo>
                  <a:lnTo>
                    <a:pt x="267" y="680"/>
                  </a:lnTo>
                  <a:lnTo>
                    <a:pt x="267" y="677"/>
                  </a:lnTo>
                  <a:lnTo>
                    <a:pt x="265" y="677"/>
                  </a:lnTo>
                  <a:lnTo>
                    <a:pt x="265" y="678"/>
                  </a:lnTo>
                  <a:lnTo>
                    <a:pt x="264" y="678"/>
                  </a:lnTo>
                  <a:lnTo>
                    <a:pt x="264" y="680"/>
                  </a:lnTo>
                  <a:lnTo>
                    <a:pt x="262" y="680"/>
                  </a:lnTo>
                  <a:lnTo>
                    <a:pt x="262" y="681"/>
                  </a:lnTo>
                  <a:lnTo>
                    <a:pt x="261" y="680"/>
                  </a:lnTo>
                  <a:lnTo>
                    <a:pt x="259" y="674"/>
                  </a:lnTo>
                  <a:lnTo>
                    <a:pt x="259" y="659"/>
                  </a:lnTo>
                  <a:lnTo>
                    <a:pt x="261" y="657"/>
                  </a:lnTo>
                  <a:lnTo>
                    <a:pt x="258" y="657"/>
                  </a:lnTo>
                  <a:lnTo>
                    <a:pt x="256" y="654"/>
                  </a:lnTo>
                  <a:lnTo>
                    <a:pt x="256" y="650"/>
                  </a:lnTo>
                  <a:lnTo>
                    <a:pt x="258" y="648"/>
                  </a:lnTo>
                  <a:lnTo>
                    <a:pt x="259" y="648"/>
                  </a:lnTo>
                  <a:lnTo>
                    <a:pt x="258" y="647"/>
                  </a:lnTo>
                  <a:lnTo>
                    <a:pt x="258" y="641"/>
                  </a:lnTo>
                  <a:lnTo>
                    <a:pt x="256" y="639"/>
                  </a:lnTo>
                  <a:lnTo>
                    <a:pt x="256" y="632"/>
                  </a:lnTo>
                  <a:lnTo>
                    <a:pt x="255" y="632"/>
                  </a:lnTo>
                  <a:lnTo>
                    <a:pt x="255" y="631"/>
                  </a:lnTo>
                  <a:lnTo>
                    <a:pt x="256" y="631"/>
                  </a:lnTo>
                  <a:lnTo>
                    <a:pt x="256" y="628"/>
                  </a:lnTo>
                  <a:lnTo>
                    <a:pt x="255" y="628"/>
                  </a:lnTo>
                  <a:lnTo>
                    <a:pt x="255" y="626"/>
                  </a:lnTo>
                  <a:lnTo>
                    <a:pt x="249" y="620"/>
                  </a:lnTo>
                  <a:lnTo>
                    <a:pt x="249" y="616"/>
                  </a:lnTo>
                  <a:lnTo>
                    <a:pt x="250" y="616"/>
                  </a:lnTo>
                  <a:lnTo>
                    <a:pt x="250" y="614"/>
                  </a:lnTo>
                  <a:lnTo>
                    <a:pt x="252" y="608"/>
                  </a:lnTo>
                  <a:lnTo>
                    <a:pt x="252" y="605"/>
                  </a:lnTo>
                  <a:lnTo>
                    <a:pt x="250" y="604"/>
                  </a:lnTo>
                  <a:lnTo>
                    <a:pt x="250" y="599"/>
                  </a:lnTo>
                  <a:lnTo>
                    <a:pt x="252" y="598"/>
                  </a:lnTo>
                  <a:lnTo>
                    <a:pt x="252" y="596"/>
                  </a:lnTo>
                  <a:lnTo>
                    <a:pt x="255" y="593"/>
                  </a:lnTo>
                  <a:lnTo>
                    <a:pt x="252" y="595"/>
                  </a:lnTo>
                  <a:lnTo>
                    <a:pt x="244" y="595"/>
                  </a:lnTo>
                  <a:lnTo>
                    <a:pt x="244" y="596"/>
                  </a:lnTo>
                  <a:lnTo>
                    <a:pt x="243" y="595"/>
                  </a:lnTo>
                  <a:lnTo>
                    <a:pt x="241" y="595"/>
                  </a:lnTo>
                  <a:lnTo>
                    <a:pt x="241" y="596"/>
                  </a:lnTo>
                  <a:lnTo>
                    <a:pt x="240" y="596"/>
                  </a:lnTo>
                  <a:lnTo>
                    <a:pt x="240" y="598"/>
                  </a:lnTo>
                  <a:lnTo>
                    <a:pt x="238" y="590"/>
                  </a:lnTo>
                  <a:lnTo>
                    <a:pt x="238" y="589"/>
                  </a:lnTo>
                  <a:lnTo>
                    <a:pt x="237" y="587"/>
                  </a:lnTo>
                  <a:lnTo>
                    <a:pt x="237" y="589"/>
                  </a:lnTo>
                  <a:lnTo>
                    <a:pt x="235" y="589"/>
                  </a:lnTo>
                  <a:lnTo>
                    <a:pt x="234" y="587"/>
                  </a:lnTo>
                  <a:lnTo>
                    <a:pt x="234" y="586"/>
                  </a:lnTo>
                  <a:lnTo>
                    <a:pt x="232" y="584"/>
                  </a:lnTo>
                  <a:lnTo>
                    <a:pt x="232" y="583"/>
                  </a:lnTo>
                  <a:lnTo>
                    <a:pt x="234" y="581"/>
                  </a:lnTo>
                  <a:lnTo>
                    <a:pt x="232" y="581"/>
                  </a:lnTo>
                  <a:lnTo>
                    <a:pt x="232" y="580"/>
                  </a:lnTo>
                  <a:lnTo>
                    <a:pt x="234" y="578"/>
                  </a:lnTo>
                  <a:lnTo>
                    <a:pt x="232" y="578"/>
                  </a:lnTo>
                  <a:lnTo>
                    <a:pt x="232" y="577"/>
                  </a:lnTo>
                  <a:lnTo>
                    <a:pt x="231" y="577"/>
                  </a:lnTo>
                  <a:lnTo>
                    <a:pt x="231" y="571"/>
                  </a:lnTo>
                  <a:lnTo>
                    <a:pt x="229" y="569"/>
                  </a:lnTo>
                  <a:lnTo>
                    <a:pt x="229" y="568"/>
                  </a:lnTo>
                  <a:lnTo>
                    <a:pt x="234" y="568"/>
                  </a:lnTo>
                  <a:lnTo>
                    <a:pt x="232" y="566"/>
                  </a:lnTo>
                  <a:lnTo>
                    <a:pt x="229" y="566"/>
                  </a:lnTo>
                  <a:lnTo>
                    <a:pt x="229" y="568"/>
                  </a:lnTo>
                  <a:lnTo>
                    <a:pt x="228" y="569"/>
                  </a:lnTo>
                  <a:lnTo>
                    <a:pt x="228" y="568"/>
                  </a:lnTo>
                  <a:lnTo>
                    <a:pt x="226" y="566"/>
                  </a:lnTo>
                  <a:lnTo>
                    <a:pt x="226" y="565"/>
                  </a:lnTo>
                  <a:lnTo>
                    <a:pt x="228" y="563"/>
                  </a:lnTo>
                  <a:lnTo>
                    <a:pt x="226" y="563"/>
                  </a:lnTo>
                  <a:lnTo>
                    <a:pt x="226" y="562"/>
                  </a:lnTo>
                  <a:lnTo>
                    <a:pt x="225" y="560"/>
                  </a:lnTo>
                  <a:lnTo>
                    <a:pt x="223" y="560"/>
                  </a:lnTo>
                  <a:lnTo>
                    <a:pt x="222" y="559"/>
                  </a:lnTo>
                  <a:lnTo>
                    <a:pt x="223" y="559"/>
                  </a:lnTo>
                  <a:lnTo>
                    <a:pt x="217" y="554"/>
                  </a:lnTo>
                  <a:lnTo>
                    <a:pt x="217" y="551"/>
                  </a:lnTo>
                  <a:lnTo>
                    <a:pt x="216" y="551"/>
                  </a:lnTo>
                  <a:lnTo>
                    <a:pt x="216" y="554"/>
                  </a:lnTo>
                  <a:lnTo>
                    <a:pt x="214" y="553"/>
                  </a:lnTo>
                  <a:lnTo>
                    <a:pt x="214" y="554"/>
                  </a:lnTo>
                  <a:lnTo>
                    <a:pt x="216" y="556"/>
                  </a:lnTo>
                  <a:lnTo>
                    <a:pt x="217" y="556"/>
                  </a:lnTo>
                  <a:lnTo>
                    <a:pt x="219" y="557"/>
                  </a:lnTo>
                  <a:lnTo>
                    <a:pt x="219" y="559"/>
                  </a:lnTo>
                  <a:lnTo>
                    <a:pt x="216" y="562"/>
                  </a:lnTo>
                  <a:lnTo>
                    <a:pt x="216" y="565"/>
                  </a:lnTo>
                  <a:lnTo>
                    <a:pt x="217" y="568"/>
                  </a:lnTo>
                  <a:lnTo>
                    <a:pt x="217" y="569"/>
                  </a:lnTo>
                  <a:lnTo>
                    <a:pt x="219" y="571"/>
                  </a:lnTo>
                  <a:lnTo>
                    <a:pt x="217" y="572"/>
                  </a:lnTo>
                  <a:lnTo>
                    <a:pt x="217" y="575"/>
                  </a:lnTo>
                  <a:lnTo>
                    <a:pt x="216" y="577"/>
                  </a:lnTo>
                  <a:lnTo>
                    <a:pt x="214" y="575"/>
                  </a:lnTo>
                  <a:lnTo>
                    <a:pt x="214" y="577"/>
                  </a:lnTo>
                  <a:lnTo>
                    <a:pt x="213" y="577"/>
                  </a:lnTo>
                  <a:lnTo>
                    <a:pt x="216" y="580"/>
                  </a:lnTo>
                  <a:lnTo>
                    <a:pt x="214" y="581"/>
                  </a:lnTo>
                  <a:lnTo>
                    <a:pt x="214" y="583"/>
                  </a:lnTo>
                  <a:lnTo>
                    <a:pt x="213" y="584"/>
                  </a:lnTo>
                  <a:lnTo>
                    <a:pt x="213" y="586"/>
                  </a:lnTo>
                  <a:lnTo>
                    <a:pt x="208" y="590"/>
                  </a:lnTo>
                  <a:lnTo>
                    <a:pt x="207" y="593"/>
                  </a:lnTo>
                  <a:lnTo>
                    <a:pt x="204" y="596"/>
                  </a:lnTo>
                  <a:lnTo>
                    <a:pt x="202" y="596"/>
                  </a:lnTo>
                  <a:lnTo>
                    <a:pt x="199" y="598"/>
                  </a:lnTo>
                  <a:lnTo>
                    <a:pt x="196" y="598"/>
                  </a:lnTo>
                  <a:lnTo>
                    <a:pt x="195" y="596"/>
                  </a:lnTo>
                  <a:lnTo>
                    <a:pt x="193" y="596"/>
                  </a:lnTo>
                  <a:lnTo>
                    <a:pt x="189" y="593"/>
                  </a:lnTo>
                  <a:lnTo>
                    <a:pt x="189" y="590"/>
                  </a:lnTo>
                  <a:lnTo>
                    <a:pt x="187" y="589"/>
                  </a:lnTo>
                  <a:lnTo>
                    <a:pt x="187" y="583"/>
                  </a:lnTo>
                  <a:lnTo>
                    <a:pt x="189" y="583"/>
                  </a:lnTo>
                  <a:lnTo>
                    <a:pt x="189" y="581"/>
                  </a:lnTo>
                  <a:lnTo>
                    <a:pt x="187" y="581"/>
                  </a:lnTo>
                  <a:lnTo>
                    <a:pt x="184" y="584"/>
                  </a:lnTo>
                  <a:lnTo>
                    <a:pt x="186" y="584"/>
                  </a:lnTo>
                  <a:lnTo>
                    <a:pt x="186" y="587"/>
                  </a:lnTo>
                  <a:lnTo>
                    <a:pt x="187" y="589"/>
                  </a:lnTo>
                  <a:lnTo>
                    <a:pt x="187" y="593"/>
                  </a:lnTo>
                  <a:lnTo>
                    <a:pt x="190" y="596"/>
                  </a:lnTo>
                  <a:lnTo>
                    <a:pt x="190" y="598"/>
                  </a:lnTo>
                  <a:lnTo>
                    <a:pt x="192" y="599"/>
                  </a:lnTo>
                  <a:lnTo>
                    <a:pt x="189" y="602"/>
                  </a:lnTo>
                  <a:lnTo>
                    <a:pt x="186" y="604"/>
                  </a:lnTo>
                  <a:lnTo>
                    <a:pt x="184" y="604"/>
                  </a:lnTo>
                  <a:lnTo>
                    <a:pt x="183" y="605"/>
                  </a:lnTo>
                  <a:lnTo>
                    <a:pt x="181" y="605"/>
                  </a:lnTo>
                  <a:lnTo>
                    <a:pt x="180" y="604"/>
                  </a:lnTo>
                  <a:lnTo>
                    <a:pt x="180" y="605"/>
                  </a:lnTo>
                  <a:lnTo>
                    <a:pt x="175" y="610"/>
                  </a:lnTo>
                  <a:lnTo>
                    <a:pt x="174" y="610"/>
                  </a:lnTo>
                  <a:lnTo>
                    <a:pt x="174" y="608"/>
                  </a:lnTo>
                  <a:lnTo>
                    <a:pt x="172" y="610"/>
                  </a:lnTo>
                  <a:lnTo>
                    <a:pt x="171" y="610"/>
                  </a:lnTo>
                  <a:lnTo>
                    <a:pt x="171" y="608"/>
                  </a:lnTo>
                  <a:lnTo>
                    <a:pt x="166" y="613"/>
                  </a:lnTo>
                  <a:lnTo>
                    <a:pt x="166" y="614"/>
                  </a:lnTo>
                  <a:lnTo>
                    <a:pt x="165" y="613"/>
                  </a:lnTo>
                  <a:lnTo>
                    <a:pt x="165" y="611"/>
                  </a:lnTo>
                  <a:lnTo>
                    <a:pt x="163" y="610"/>
                  </a:lnTo>
                  <a:lnTo>
                    <a:pt x="163" y="616"/>
                  </a:lnTo>
                  <a:lnTo>
                    <a:pt x="162" y="617"/>
                  </a:lnTo>
                  <a:lnTo>
                    <a:pt x="162" y="620"/>
                  </a:lnTo>
                  <a:lnTo>
                    <a:pt x="160" y="623"/>
                  </a:lnTo>
                  <a:lnTo>
                    <a:pt x="151" y="632"/>
                  </a:lnTo>
                  <a:lnTo>
                    <a:pt x="150" y="632"/>
                  </a:lnTo>
                  <a:lnTo>
                    <a:pt x="150" y="634"/>
                  </a:lnTo>
                  <a:lnTo>
                    <a:pt x="144" y="634"/>
                  </a:lnTo>
                  <a:lnTo>
                    <a:pt x="144" y="626"/>
                  </a:lnTo>
                  <a:lnTo>
                    <a:pt x="146" y="626"/>
                  </a:lnTo>
                  <a:lnTo>
                    <a:pt x="146" y="623"/>
                  </a:lnTo>
                  <a:lnTo>
                    <a:pt x="147" y="623"/>
                  </a:lnTo>
                  <a:lnTo>
                    <a:pt x="147" y="616"/>
                  </a:lnTo>
                  <a:lnTo>
                    <a:pt x="146" y="616"/>
                  </a:lnTo>
                  <a:lnTo>
                    <a:pt x="147" y="614"/>
                  </a:lnTo>
                  <a:lnTo>
                    <a:pt x="146" y="614"/>
                  </a:lnTo>
                  <a:lnTo>
                    <a:pt x="146" y="617"/>
                  </a:lnTo>
                  <a:lnTo>
                    <a:pt x="147" y="619"/>
                  </a:lnTo>
                  <a:lnTo>
                    <a:pt x="146" y="620"/>
                  </a:lnTo>
                  <a:lnTo>
                    <a:pt x="146" y="622"/>
                  </a:lnTo>
                  <a:lnTo>
                    <a:pt x="144" y="623"/>
                  </a:lnTo>
                  <a:lnTo>
                    <a:pt x="144" y="625"/>
                  </a:lnTo>
                  <a:lnTo>
                    <a:pt x="143" y="626"/>
                  </a:lnTo>
                  <a:lnTo>
                    <a:pt x="141" y="625"/>
                  </a:lnTo>
                  <a:lnTo>
                    <a:pt x="143" y="623"/>
                  </a:lnTo>
                  <a:lnTo>
                    <a:pt x="143" y="620"/>
                  </a:lnTo>
                  <a:lnTo>
                    <a:pt x="141" y="623"/>
                  </a:lnTo>
                  <a:lnTo>
                    <a:pt x="141" y="629"/>
                  </a:lnTo>
                  <a:lnTo>
                    <a:pt x="140" y="631"/>
                  </a:lnTo>
                  <a:lnTo>
                    <a:pt x="137" y="631"/>
                  </a:lnTo>
                  <a:lnTo>
                    <a:pt x="137" y="629"/>
                  </a:lnTo>
                  <a:lnTo>
                    <a:pt x="135" y="628"/>
                  </a:lnTo>
                  <a:lnTo>
                    <a:pt x="135" y="625"/>
                  </a:lnTo>
                  <a:lnTo>
                    <a:pt x="137" y="620"/>
                  </a:lnTo>
                  <a:lnTo>
                    <a:pt x="137" y="619"/>
                  </a:lnTo>
                  <a:lnTo>
                    <a:pt x="135" y="622"/>
                  </a:lnTo>
                  <a:lnTo>
                    <a:pt x="135" y="617"/>
                  </a:lnTo>
                  <a:lnTo>
                    <a:pt x="138" y="614"/>
                  </a:lnTo>
                  <a:lnTo>
                    <a:pt x="137" y="614"/>
                  </a:lnTo>
                  <a:lnTo>
                    <a:pt x="134" y="617"/>
                  </a:lnTo>
                  <a:lnTo>
                    <a:pt x="134" y="628"/>
                  </a:lnTo>
                  <a:lnTo>
                    <a:pt x="132" y="629"/>
                  </a:lnTo>
                  <a:lnTo>
                    <a:pt x="131" y="629"/>
                  </a:lnTo>
                  <a:lnTo>
                    <a:pt x="131" y="631"/>
                  </a:lnTo>
                  <a:lnTo>
                    <a:pt x="129" y="631"/>
                  </a:lnTo>
                  <a:lnTo>
                    <a:pt x="129" y="632"/>
                  </a:lnTo>
                  <a:lnTo>
                    <a:pt x="128" y="632"/>
                  </a:lnTo>
                  <a:lnTo>
                    <a:pt x="126" y="631"/>
                  </a:lnTo>
                  <a:lnTo>
                    <a:pt x="123" y="631"/>
                  </a:lnTo>
                  <a:lnTo>
                    <a:pt x="125" y="629"/>
                  </a:lnTo>
                  <a:lnTo>
                    <a:pt x="126" y="629"/>
                  </a:lnTo>
                  <a:lnTo>
                    <a:pt x="126" y="628"/>
                  </a:lnTo>
                  <a:lnTo>
                    <a:pt x="125" y="626"/>
                  </a:lnTo>
                  <a:lnTo>
                    <a:pt x="125" y="628"/>
                  </a:lnTo>
                  <a:lnTo>
                    <a:pt x="123" y="628"/>
                  </a:lnTo>
                  <a:lnTo>
                    <a:pt x="123" y="626"/>
                  </a:lnTo>
                  <a:lnTo>
                    <a:pt x="122" y="628"/>
                  </a:lnTo>
                  <a:lnTo>
                    <a:pt x="122" y="629"/>
                  </a:lnTo>
                  <a:lnTo>
                    <a:pt x="120" y="631"/>
                  </a:lnTo>
                  <a:lnTo>
                    <a:pt x="119" y="629"/>
                  </a:lnTo>
                  <a:lnTo>
                    <a:pt x="117" y="629"/>
                  </a:lnTo>
                  <a:lnTo>
                    <a:pt x="119" y="628"/>
                  </a:lnTo>
                  <a:lnTo>
                    <a:pt x="120" y="628"/>
                  </a:lnTo>
                  <a:lnTo>
                    <a:pt x="120" y="625"/>
                  </a:lnTo>
                  <a:lnTo>
                    <a:pt x="122" y="623"/>
                  </a:lnTo>
                  <a:lnTo>
                    <a:pt x="123" y="623"/>
                  </a:lnTo>
                  <a:lnTo>
                    <a:pt x="123" y="622"/>
                  </a:lnTo>
                  <a:lnTo>
                    <a:pt x="125" y="620"/>
                  </a:lnTo>
                  <a:lnTo>
                    <a:pt x="126" y="620"/>
                  </a:lnTo>
                  <a:lnTo>
                    <a:pt x="126" y="619"/>
                  </a:lnTo>
                  <a:lnTo>
                    <a:pt x="123" y="619"/>
                  </a:lnTo>
                  <a:lnTo>
                    <a:pt x="123" y="620"/>
                  </a:lnTo>
                  <a:lnTo>
                    <a:pt x="120" y="622"/>
                  </a:lnTo>
                  <a:lnTo>
                    <a:pt x="120" y="623"/>
                  </a:lnTo>
                  <a:lnTo>
                    <a:pt x="119" y="626"/>
                  </a:lnTo>
                  <a:lnTo>
                    <a:pt x="117" y="628"/>
                  </a:lnTo>
                  <a:lnTo>
                    <a:pt x="114" y="628"/>
                  </a:lnTo>
                  <a:lnTo>
                    <a:pt x="114" y="626"/>
                  </a:lnTo>
                  <a:lnTo>
                    <a:pt x="113" y="625"/>
                  </a:lnTo>
                  <a:lnTo>
                    <a:pt x="113" y="623"/>
                  </a:lnTo>
                  <a:lnTo>
                    <a:pt x="116" y="622"/>
                  </a:lnTo>
                  <a:lnTo>
                    <a:pt x="117" y="622"/>
                  </a:lnTo>
                  <a:lnTo>
                    <a:pt x="119" y="619"/>
                  </a:lnTo>
                  <a:lnTo>
                    <a:pt x="119" y="616"/>
                  </a:lnTo>
                  <a:lnTo>
                    <a:pt x="120" y="616"/>
                  </a:lnTo>
                  <a:lnTo>
                    <a:pt x="120" y="614"/>
                  </a:lnTo>
                  <a:lnTo>
                    <a:pt x="122" y="613"/>
                  </a:lnTo>
                  <a:lnTo>
                    <a:pt x="120" y="613"/>
                  </a:lnTo>
                  <a:lnTo>
                    <a:pt x="120" y="614"/>
                  </a:lnTo>
                  <a:lnTo>
                    <a:pt x="117" y="617"/>
                  </a:lnTo>
                  <a:lnTo>
                    <a:pt x="117" y="619"/>
                  </a:lnTo>
                  <a:lnTo>
                    <a:pt x="113" y="623"/>
                  </a:lnTo>
                  <a:lnTo>
                    <a:pt x="111" y="623"/>
                  </a:lnTo>
                  <a:lnTo>
                    <a:pt x="110" y="622"/>
                  </a:lnTo>
                  <a:lnTo>
                    <a:pt x="111" y="620"/>
                  </a:lnTo>
                  <a:lnTo>
                    <a:pt x="114" y="619"/>
                  </a:lnTo>
                  <a:lnTo>
                    <a:pt x="116" y="616"/>
                  </a:lnTo>
                  <a:lnTo>
                    <a:pt x="116" y="613"/>
                  </a:lnTo>
                  <a:lnTo>
                    <a:pt x="114" y="614"/>
                  </a:lnTo>
                  <a:lnTo>
                    <a:pt x="114" y="617"/>
                  </a:lnTo>
                  <a:lnTo>
                    <a:pt x="111" y="620"/>
                  </a:lnTo>
                  <a:lnTo>
                    <a:pt x="110" y="620"/>
                  </a:lnTo>
                  <a:lnTo>
                    <a:pt x="108" y="622"/>
                  </a:lnTo>
                  <a:lnTo>
                    <a:pt x="107" y="622"/>
                  </a:lnTo>
                  <a:lnTo>
                    <a:pt x="107" y="623"/>
                  </a:lnTo>
                  <a:lnTo>
                    <a:pt x="105" y="625"/>
                  </a:lnTo>
                  <a:lnTo>
                    <a:pt x="105" y="626"/>
                  </a:lnTo>
                  <a:lnTo>
                    <a:pt x="104" y="626"/>
                  </a:lnTo>
                  <a:lnTo>
                    <a:pt x="104" y="625"/>
                  </a:lnTo>
                  <a:lnTo>
                    <a:pt x="102" y="622"/>
                  </a:lnTo>
                  <a:lnTo>
                    <a:pt x="102" y="620"/>
                  </a:lnTo>
                  <a:lnTo>
                    <a:pt x="104" y="619"/>
                  </a:lnTo>
                  <a:lnTo>
                    <a:pt x="105" y="619"/>
                  </a:lnTo>
                  <a:lnTo>
                    <a:pt x="108" y="616"/>
                  </a:lnTo>
                  <a:lnTo>
                    <a:pt x="108" y="614"/>
                  </a:lnTo>
                  <a:lnTo>
                    <a:pt x="114" y="608"/>
                  </a:lnTo>
                  <a:lnTo>
                    <a:pt x="116" y="610"/>
                  </a:lnTo>
                  <a:lnTo>
                    <a:pt x="116" y="607"/>
                  </a:lnTo>
                  <a:lnTo>
                    <a:pt x="117" y="604"/>
                  </a:lnTo>
                  <a:lnTo>
                    <a:pt x="119" y="604"/>
                  </a:lnTo>
                  <a:lnTo>
                    <a:pt x="119" y="602"/>
                  </a:lnTo>
                  <a:lnTo>
                    <a:pt x="117" y="602"/>
                  </a:lnTo>
                  <a:lnTo>
                    <a:pt x="117" y="596"/>
                  </a:lnTo>
                  <a:lnTo>
                    <a:pt x="119" y="596"/>
                  </a:lnTo>
                  <a:lnTo>
                    <a:pt x="119" y="595"/>
                  </a:lnTo>
                  <a:lnTo>
                    <a:pt x="117" y="596"/>
                  </a:lnTo>
                  <a:lnTo>
                    <a:pt x="116" y="596"/>
                  </a:lnTo>
                  <a:lnTo>
                    <a:pt x="116" y="604"/>
                  </a:lnTo>
                  <a:lnTo>
                    <a:pt x="114" y="605"/>
                  </a:lnTo>
                  <a:lnTo>
                    <a:pt x="114" y="604"/>
                  </a:lnTo>
                  <a:lnTo>
                    <a:pt x="113" y="604"/>
                  </a:lnTo>
                  <a:lnTo>
                    <a:pt x="113" y="607"/>
                  </a:lnTo>
                  <a:lnTo>
                    <a:pt x="108" y="607"/>
                  </a:lnTo>
                  <a:lnTo>
                    <a:pt x="108" y="611"/>
                  </a:lnTo>
                  <a:lnTo>
                    <a:pt x="105" y="616"/>
                  </a:lnTo>
                  <a:lnTo>
                    <a:pt x="104" y="617"/>
                  </a:lnTo>
                  <a:lnTo>
                    <a:pt x="101" y="617"/>
                  </a:lnTo>
                  <a:lnTo>
                    <a:pt x="101" y="620"/>
                  </a:lnTo>
                  <a:lnTo>
                    <a:pt x="98" y="620"/>
                  </a:lnTo>
                  <a:lnTo>
                    <a:pt x="96" y="622"/>
                  </a:lnTo>
                  <a:lnTo>
                    <a:pt x="95" y="620"/>
                  </a:lnTo>
                  <a:lnTo>
                    <a:pt x="95" y="604"/>
                  </a:lnTo>
                  <a:lnTo>
                    <a:pt x="96" y="604"/>
                  </a:lnTo>
                  <a:lnTo>
                    <a:pt x="96" y="602"/>
                  </a:lnTo>
                  <a:lnTo>
                    <a:pt x="98" y="598"/>
                  </a:lnTo>
                  <a:lnTo>
                    <a:pt x="96" y="595"/>
                  </a:lnTo>
                  <a:lnTo>
                    <a:pt x="101" y="595"/>
                  </a:lnTo>
                  <a:lnTo>
                    <a:pt x="101" y="592"/>
                  </a:lnTo>
                  <a:lnTo>
                    <a:pt x="99" y="592"/>
                  </a:lnTo>
                  <a:lnTo>
                    <a:pt x="101" y="590"/>
                  </a:lnTo>
                  <a:lnTo>
                    <a:pt x="101" y="587"/>
                  </a:lnTo>
                  <a:lnTo>
                    <a:pt x="102" y="586"/>
                  </a:lnTo>
                  <a:lnTo>
                    <a:pt x="102" y="583"/>
                  </a:lnTo>
                  <a:lnTo>
                    <a:pt x="104" y="583"/>
                  </a:lnTo>
                  <a:lnTo>
                    <a:pt x="102" y="581"/>
                  </a:lnTo>
                  <a:lnTo>
                    <a:pt x="102" y="577"/>
                  </a:lnTo>
                  <a:lnTo>
                    <a:pt x="105" y="577"/>
                  </a:lnTo>
                  <a:lnTo>
                    <a:pt x="105" y="569"/>
                  </a:lnTo>
                  <a:lnTo>
                    <a:pt x="107" y="568"/>
                  </a:lnTo>
                  <a:lnTo>
                    <a:pt x="107" y="566"/>
                  </a:lnTo>
                  <a:lnTo>
                    <a:pt x="105" y="565"/>
                  </a:lnTo>
                  <a:lnTo>
                    <a:pt x="105" y="563"/>
                  </a:lnTo>
                  <a:lnTo>
                    <a:pt x="108" y="565"/>
                  </a:lnTo>
                  <a:lnTo>
                    <a:pt x="108" y="559"/>
                  </a:lnTo>
                  <a:lnTo>
                    <a:pt x="110" y="559"/>
                  </a:lnTo>
                  <a:lnTo>
                    <a:pt x="110" y="557"/>
                  </a:lnTo>
                  <a:lnTo>
                    <a:pt x="111" y="557"/>
                  </a:lnTo>
                  <a:lnTo>
                    <a:pt x="111" y="548"/>
                  </a:lnTo>
                  <a:lnTo>
                    <a:pt x="110" y="547"/>
                  </a:lnTo>
                  <a:lnTo>
                    <a:pt x="110" y="545"/>
                  </a:lnTo>
                  <a:lnTo>
                    <a:pt x="113" y="545"/>
                  </a:lnTo>
                  <a:lnTo>
                    <a:pt x="111" y="544"/>
                  </a:lnTo>
                  <a:lnTo>
                    <a:pt x="111" y="542"/>
                  </a:lnTo>
                  <a:lnTo>
                    <a:pt x="110" y="541"/>
                  </a:lnTo>
                  <a:lnTo>
                    <a:pt x="110" y="536"/>
                  </a:lnTo>
                  <a:lnTo>
                    <a:pt x="107" y="533"/>
                  </a:lnTo>
                  <a:lnTo>
                    <a:pt x="107" y="529"/>
                  </a:lnTo>
                  <a:lnTo>
                    <a:pt x="105" y="526"/>
                  </a:lnTo>
                  <a:lnTo>
                    <a:pt x="105" y="524"/>
                  </a:lnTo>
                  <a:lnTo>
                    <a:pt x="107" y="524"/>
                  </a:lnTo>
                  <a:lnTo>
                    <a:pt x="107" y="520"/>
                  </a:lnTo>
                  <a:lnTo>
                    <a:pt x="105" y="518"/>
                  </a:lnTo>
                  <a:lnTo>
                    <a:pt x="105" y="515"/>
                  </a:lnTo>
                  <a:lnTo>
                    <a:pt x="104" y="514"/>
                  </a:lnTo>
                  <a:lnTo>
                    <a:pt x="104" y="512"/>
                  </a:lnTo>
                  <a:lnTo>
                    <a:pt x="99" y="512"/>
                  </a:lnTo>
                  <a:lnTo>
                    <a:pt x="99" y="511"/>
                  </a:lnTo>
                  <a:lnTo>
                    <a:pt x="101" y="509"/>
                  </a:lnTo>
                  <a:lnTo>
                    <a:pt x="101" y="511"/>
                  </a:lnTo>
                  <a:lnTo>
                    <a:pt x="102" y="511"/>
                  </a:lnTo>
                  <a:lnTo>
                    <a:pt x="104" y="509"/>
                  </a:lnTo>
                  <a:lnTo>
                    <a:pt x="101" y="506"/>
                  </a:lnTo>
                  <a:lnTo>
                    <a:pt x="101" y="505"/>
                  </a:lnTo>
                  <a:lnTo>
                    <a:pt x="99" y="505"/>
                  </a:lnTo>
                  <a:lnTo>
                    <a:pt x="98" y="502"/>
                  </a:lnTo>
                  <a:lnTo>
                    <a:pt x="96" y="500"/>
                  </a:lnTo>
                  <a:lnTo>
                    <a:pt x="96" y="494"/>
                  </a:lnTo>
                  <a:lnTo>
                    <a:pt x="92" y="490"/>
                  </a:lnTo>
                  <a:lnTo>
                    <a:pt x="98" y="490"/>
                  </a:lnTo>
                  <a:lnTo>
                    <a:pt x="96" y="488"/>
                  </a:lnTo>
                  <a:lnTo>
                    <a:pt x="95" y="490"/>
                  </a:lnTo>
                  <a:lnTo>
                    <a:pt x="95" y="488"/>
                  </a:lnTo>
                  <a:lnTo>
                    <a:pt x="92" y="485"/>
                  </a:lnTo>
                  <a:lnTo>
                    <a:pt x="92" y="482"/>
                  </a:lnTo>
                  <a:lnTo>
                    <a:pt x="90" y="484"/>
                  </a:lnTo>
                  <a:lnTo>
                    <a:pt x="90" y="485"/>
                  </a:lnTo>
                  <a:lnTo>
                    <a:pt x="89" y="485"/>
                  </a:lnTo>
                  <a:lnTo>
                    <a:pt x="89" y="484"/>
                  </a:lnTo>
                  <a:lnTo>
                    <a:pt x="86" y="484"/>
                  </a:lnTo>
                  <a:lnTo>
                    <a:pt x="86" y="481"/>
                  </a:lnTo>
                  <a:lnTo>
                    <a:pt x="87" y="479"/>
                  </a:lnTo>
                  <a:lnTo>
                    <a:pt x="86" y="478"/>
                  </a:lnTo>
                  <a:lnTo>
                    <a:pt x="86" y="476"/>
                  </a:lnTo>
                  <a:lnTo>
                    <a:pt x="87" y="476"/>
                  </a:lnTo>
                  <a:lnTo>
                    <a:pt x="87" y="473"/>
                  </a:lnTo>
                  <a:lnTo>
                    <a:pt x="89" y="472"/>
                  </a:lnTo>
                  <a:lnTo>
                    <a:pt x="86" y="472"/>
                  </a:lnTo>
                  <a:lnTo>
                    <a:pt x="86" y="467"/>
                  </a:lnTo>
                  <a:lnTo>
                    <a:pt x="87" y="466"/>
                  </a:lnTo>
                  <a:lnTo>
                    <a:pt x="87" y="458"/>
                  </a:lnTo>
                  <a:lnTo>
                    <a:pt x="86" y="461"/>
                  </a:lnTo>
                  <a:lnTo>
                    <a:pt x="86" y="467"/>
                  </a:lnTo>
                  <a:lnTo>
                    <a:pt x="84" y="469"/>
                  </a:lnTo>
                  <a:lnTo>
                    <a:pt x="81" y="469"/>
                  </a:lnTo>
                  <a:lnTo>
                    <a:pt x="83" y="470"/>
                  </a:lnTo>
                  <a:lnTo>
                    <a:pt x="83" y="476"/>
                  </a:lnTo>
                  <a:lnTo>
                    <a:pt x="84" y="478"/>
                  </a:lnTo>
                  <a:lnTo>
                    <a:pt x="84" y="479"/>
                  </a:lnTo>
                  <a:lnTo>
                    <a:pt x="81" y="482"/>
                  </a:lnTo>
                  <a:lnTo>
                    <a:pt x="80" y="482"/>
                  </a:lnTo>
                  <a:lnTo>
                    <a:pt x="78" y="481"/>
                  </a:lnTo>
                  <a:lnTo>
                    <a:pt x="75" y="479"/>
                  </a:lnTo>
                  <a:lnTo>
                    <a:pt x="74" y="478"/>
                  </a:lnTo>
                  <a:lnTo>
                    <a:pt x="72" y="478"/>
                  </a:lnTo>
                  <a:lnTo>
                    <a:pt x="72" y="476"/>
                  </a:lnTo>
                  <a:lnTo>
                    <a:pt x="71" y="476"/>
                  </a:lnTo>
                  <a:lnTo>
                    <a:pt x="71" y="475"/>
                  </a:lnTo>
                  <a:lnTo>
                    <a:pt x="69" y="475"/>
                  </a:lnTo>
                  <a:lnTo>
                    <a:pt x="69" y="472"/>
                  </a:lnTo>
                  <a:lnTo>
                    <a:pt x="68" y="472"/>
                  </a:lnTo>
                  <a:lnTo>
                    <a:pt x="68" y="470"/>
                  </a:lnTo>
                  <a:lnTo>
                    <a:pt x="66" y="469"/>
                  </a:lnTo>
                  <a:lnTo>
                    <a:pt x="66" y="467"/>
                  </a:lnTo>
                  <a:lnTo>
                    <a:pt x="65" y="466"/>
                  </a:lnTo>
                  <a:lnTo>
                    <a:pt x="65" y="464"/>
                  </a:lnTo>
                  <a:lnTo>
                    <a:pt x="60" y="460"/>
                  </a:lnTo>
                  <a:lnTo>
                    <a:pt x="60" y="457"/>
                  </a:lnTo>
                  <a:lnTo>
                    <a:pt x="62" y="457"/>
                  </a:lnTo>
                  <a:lnTo>
                    <a:pt x="62" y="455"/>
                  </a:lnTo>
                  <a:lnTo>
                    <a:pt x="65" y="455"/>
                  </a:lnTo>
                  <a:lnTo>
                    <a:pt x="65" y="457"/>
                  </a:lnTo>
                  <a:lnTo>
                    <a:pt x="66" y="457"/>
                  </a:lnTo>
                  <a:lnTo>
                    <a:pt x="68" y="458"/>
                  </a:lnTo>
                  <a:lnTo>
                    <a:pt x="68" y="460"/>
                  </a:lnTo>
                  <a:lnTo>
                    <a:pt x="69" y="461"/>
                  </a:lnTo>
                  <a:lnTo>
                    <a:pt x="71" y="461"/>
                  </a:lnTo>
                  <a:lnTo>
                    <a:pt x="74" y="464"/>
                  </a:lnTo>
                  <a:lnTo>
                    <a:pt x="78" y="464"/>
                  </a:lnTo>
                  <a:lnTo>
                    <a:pt x="81" y="461"/>
                  </a:lnTo>
                  <a:lnTo>
                    <a:pt x="83" y="461"/>
                  </a:lnTo>
                  <a:lnTo>
                    <a:pt x="83" y="460"/>
                  </a:lnTo>
                  <a:lnTo>
                    <a:pt x="84" y="458"/>
                  </a:lnTo>
                  <a:lnTo>
                    <a:pt x="84" y="454"/>
                  </a:lnTo>
                  <a:lnTo>
                    <a:pt x="81" y="454"/>
                  </a:lnTo>
                  <a:lnTo>
                    <a:pt x="81" y="452"/>
                  </a:lnTo>
                  <a:lnTo>
                    <a:pt x="80" y="452"/>
                  </a:lnTo>
                  <a:lnTo>
                    <a:pt x="77" y="449"/>
                  </a:lnTo>
                  <a:lnTo>
                    <a:pt x="75" y="449"/>
                  </a:lnTo>
                  <a:lnTo>
                    <a:pt x="75" y="448"/>
                  </a:lnTo>
                  <a:lnTo>
                    <a:pt x="74" y="448"/>
                  </a:lnTo>
                  <a:lnTo>
                    <a:pt x="72" y="446"/>
                  </a:lnTo>
                  <a:lnTo>
                    <a:pt x="72" y="445"/>
                  </a:lnTo>
                  <a:lnTo>
                    <a:pt x="75" y="445"/>
                  </a:lnTo>
                  <a:lnTo>
                    <a:pt x="75" y="443"/>
                  </a:lnTo>
                  <a:lnTo>
                    <a:pt x="77" y="442"/>
                  </a:lnTo>
                  <a:lnTo>
                    <a:pt x="75" y="440"/>
                  </a:lnTo>
                  <a:lnTo>
                    <a:pt x="75" y="443"/>
                  </a:lnTo>
                  <a:lnTo>
                    <a:pt x="71" y="443"/>
                  </a:lnTo>
                  <a:lnTo>
                    <a:pt x="71" y="442"/>
                  </a:lnTo>
                  <a:lnTo>
                    <a:pt x="68" y="442"/>
                  </a:lnTo>
                  <a:lnTo>
                    <a:pt x="68" y="440"/>
                  </a:lnTo>
                  <a:lnTo>
                    <a:pt x="66" y="442"/>
                  </a:lnTo>
                  <a:lnTo>
                    <a:pt x="66" y="437"/>
                  </a:lnTo>
                  <a:lnTo>
                    <a:pt x="71" y="433"/>
                  </a:lnTo>
                  <a:lnTo>
                    <a:pt x="72" y="434"/>
                  </a:lnTo>
                  <a:lnTo>
                    <a:pt x="72" y="431"/>
                  </a:lnTo>
                  <a:lnTo>
                    <a:pt x="69" y="431"/>
                  </a:lnTo>
                  <a:lnTo>
                    <a:pt x="68" y="433"/>
                  </a:lnTo>
                  <a:lnTo>
                    <a:pt x="66" y="433"/>
                  </a:lnTo>
                  <a:lnTo>
                    <a:pt x="66" y="434"/>
                  </a:lnTo>
                  <a:lnTo>
                    <a:pt x="65" y="434"/>
                  </a:lnTo>
                  <a:lnTo>
                    <a:pt x="65" y="431"/>
                  </a:lnTo>
                  <a:lnTo>
                    <a:pt x="62" y="431"/>
                  </a:lnTo>
                  <a:lnTo>
                    <a:pt x="63" y="430"/>
                  </a:lnTo>
                  <a:lnTo>
                    <a:pt x="59" y="430"/>
                  </a:lnTo>
                  <a:lnTo>
                    <a:pt x="57" y="428"/>
                  </a:lnTo>
                  <a:lnTo>
                    <a:pt x="57" y="427"/>
                  </a:lnTo>
                  <a:lnTo>
                    <a:pt x="56" y="425"/>
                  </a:lnTo>
                  <a:lnTo>
                    <a:pt x="56" y="427"/>
                  </a:lnTo>
                  <a:lnTo>
                    <a:pt x="54" y="425"/>
                  </a:lnTo>
                  <a:lnTo>
                    <a:pt x="54" y="424"/>
                  </a:lnTo>
                  <a:lnTo>
                    <a:pt x="53" y="425"/>
                  </a:lnTo>
                  <a:lnTo>
                    <a:pt x="45" y="425"/>
                  </a:lnTo>
                  <a:lnTo>
                    <a:pt x="45" y="427"/>
                  </a:lnTo>
                  <a:lnTo>
                    <a:pt x="50" y="436"/>
                  </a:lnTo>
                  <a:lnTo>
                    <a:pt x="50" y="437"/>
                  </a:lnTo>
                  <a:lnTo>
                    <a:pt x="48" y="436"/>
                  </a:lnTo>
                  <a:lnTo>
                    <a:pt x="48" y="434"/>
                  </a:lnTo>
                  <a:lnTo>
                    <a:pt x="47" y="431"/>
                  </a:lnTo>
                  <a:lnTo>
                    <a:pt x="45" y="430"/>
                  </a:lnTo>
                  <a:lnTo>
                    <a:pt x="45" y="428"/>
                  </a:lnTo>
                  <a:lnTo>
                    <a:pt x="44" y="428"/>
                  </a:lnTo>
                  <a:lnTo>
                    <a:pt x="44" y="433"/>
                  </a:lnTo>
                  <a:lnTo>
                    <a:pt x="45" y="434"/>
                  </a:lnTo>
                  <a:lnTo>
                    <a:pt x="45" y="436"/>
                  </a:lnTo>
                  <a:lnTo>
                    <a:pt x="44" y="436"/>
                  </a:lnTo>
                  <a:lnTo>
                    <a:pt x="44" y="434"/>
                  </a:lnTo>
                  <a:lnTo>
                    <a:pt x="41" y="430"/>
                  </a:lnTo>
                  <a:lnTo>
                    <a:pt x="41" y="427"/>
                  </a:lnTo>
                  <a:lnTo>
                    <a:pt x="39" y="425"/>
                  </a:lnTo>
                  <a:lnTo>
                    <a:pt x="38" y="425"/>
                  </a:lnTo>
                  <a:lnTo>
                    <a:pt x="38" y="422"/>
                  </a:lnTo>
                  <a:lnTo>
                    <a:pt x="41" y="422"/>
                  </a:lnTo>
                  <a:lnTo>
                    <a:pt x="41" y="421"/>
                  </a:lnTo>
                  <a:lnTo>
                    <a:pt x="42" y="421"/>
                  </a:lnTo>
                  <a:lnTo>
                    <a:pt x="44" y="418"/>
                  </a:lnTo>
                  <a:lnTo>
                    <a:pt x="42" y="418"/>
                  </a:lnTo>
                  <a:lnTo>
                    <a:pt x="39" y="421"/>
                  </a:lnTo>
                  <a:lnTo>
                    <a:pt x="38" y="421"/>
                  </a:lnTo>
                  <a:lnTo>
                    <a:pt x="38" y="419"/>
                  </a:lnTo>
                  <a:lnTo>
                    <a:pt x="39" y="416"/>
                  </a:lnTo>
                  <a:lnTo>
                    <a:pt x="39" y="415"/>
                  </a:lnTo>
                  <a:lnTo>
                    <a:pt x="41" y="412"/>
                  </a:lnTo>
                  <a:lnTo>
                    <a:pt x="41" y="410"/>
                  </a:lnTo>
                  <a:lnTo>
                    <a:pt x="42" y="410"/>
                  </a:lnTo>
                  <a:lnTo>
                    <a:pt x="42" y="409"/>
                  </a:lnTo>
                  <a:lnTo>
                    <a:pt x="44" y="407"/>
                  </a:lnTo>
                  <a:lnTo>
                    <a:pt x="42" y="407"/>
                  </a:lnTo>
                  <a:lnTo>
                    <a:pt x="42" y="409"/>
                  </a:lnTo>
                  <a:lnTo>
                    <a:pt x="41" y="410"/>
                  </a:lnTo>
                  <a:lnTo>
                    <a:pt x="41" y="409"/>
                  </a:lnTo>
                  <a:lnTo>
                    <a:pt x="39" y="407"/>
                  </a:lnTo>
                  <a:lnTo>
                    <a:pt x="41" y="407"/>
                  </a:lnTo>
                  <a:lnTo>
                    <a:pt x="42" y="404"/>
                  </a:lnTo>
                  <a:lnTo>
                    <a:pt x="42" y="401"/>
                  </a:lnTo>
                  <a:lnTo>
                    <a:pt x="41" y="403"/>
                  </a:lnTo>
                  <a:lnTo>
                    <a:pt x="41" y="404"/>
                  </a:lnTo>
                  <a:lnTo>
                    <a:pt x="39" y="406"/>
                  </a:lnTo>
                  <a:lnTo>
                    <a:pt x="39" y="412"/>
                  </a:lnTo>
                  <a:lnTo>
                    <a:pt x="38" y="413"/>
                  </a:lnTo>
                  <a:lnTo>
                    <a:pt x="36" y="418"/>
                  </a:lnTo>
                  <a:lnTo>
                    <a:pt x="33" y="421"/>
                  </a:lnTo>
                  <a:lnTo>
                    <a:pt x="33" y="422"/>
                  </a:lnTo>
                  <a:lnTo>
                    <a:pt x="32" y="422"/>
                  </a:lnTo>
                  <a:lnTo>
                    <a:pt x="32" y="421"/>
                  </a:lnTo>
                  <a:lnTo>
                    <a:pt x="29" y="419"/>
                  </a:lnTo>
                  <a:lnTo>
                    <a:pt x="29" y="415"/>
                  </a:lnTo>
                  <a:lnTo>
                    <a:pt x="32" y="413"/>
                  </a:lnTo>
                  <a:lnTo>
                    <a:pt x="33" y="413"/>
                  </a:lnTo>
                  <a:lnTo>
                    <a:pt x="36" y="412"/>
                  </a:lnTo>
                  <a:lnTo>
                    <a:pt x="33" y="412"/>
                  </a:lnTo>
                  <a:lnTo>
                    <a:pt x="33" y="410"/>
                  </a:lnTo>
                  <a:lnTo>
                    <a:pt x="32" y="410"/>
                  </a:lnTo>
                  <a:lnTo>
                    <a:pt x="32" y="409"/>
                  </a:lnTo>
                  <a:lnTo>
                    <a:pt x="30" y="404"/>
                  </a:lnTo>
                  <a:lnTo>
                    <a:pt x="30" y="403"/>
                  </a:lnTo>
                  <a:lnTo>
                    <a:pt x="29" y="403"/>
                  </a:lnTo>
                  <a:lnTo>
                    <a:pt x="29" y="406"/>
                  </a:lnTo>
                  <a:lnTo>
                    <a:pt x="27" y="406"/>
                  </a:lnTo>
                  <a:lnTo>
                    <a:pt x="27" y="403"/>
                  </a:lnTo>
                  <a:lnTo>
                    <a:pt x="26" y="400"/>
                  </a:lnTo>
                  <a:lnTo>
                    <a:pt x="26" y="398"/>
                  </a:lnTo>
                  <a:lnTo>
                    <a:pt x="24" y="398"/>
                  </a:lnTo>
                  <a:lnTo>
                    <a:pt x="23" y="395"/>
                  </a:lnTo>
                  <a:lnTo>
                    <a:pt x="24" y="400"/>
                  </a:lnTo>
                  <a:lnTo>
                    <a:pt x="26" y="400"/>
                  </a:lnTo>
                  <a:lnTo>
                    <a:pt x="26" y="409"/>
                  </a:lnTo>
                  <a:lnTo>
                    <a:pt x="27" y="415"/>
                  </a:lnTo>
                  <a:lnTo>
                    <a:pt x="26" y="415"/>
                  </a:lnTo>
                  <a:lnTo>
                    <a:pt x="26" y="413"/>
                  </a:lnTo>
                  <a:lnTo>
                    <a:pt x="24" y="413"/>
                  </a:lnTo>
                  <a:lnTo>
                    <a:pt x="23" y="407"/>
                  </a:lnTo>
                  <a:lnTo>
                    <a:pt x="21" y="406"/>
                  </a:lnTo>
                  <a:lnTo>
                    <a:pt x="17" y="403"/>
                  </a:lnTo>
                  <a:lnTo>
                    <a:pt x="17" y="400"/>
                  </a:lnTo>
                  <a:lnTo>
                    <a:pt x="14" y="397"/>
                  </a:lnTo>
                  <a:lnTo>
                    <a:pt x="14" y="395"/>
                  </a:lnTo>
                  <a:lnTo>
                    <a:pt x="12" y="395"/>
                  </a:lnTo>
                  <a:lnTo>
                    <a:pt x="9" y="392"/>
                  </a:lnTo>
                  <a:lnTo>
                    <a:pt x="9" y="391"/>
                  </a:lnTo>
                  <a:lnTo>
                    <a:pt x="6" y="383"/>
                  </a:lnTo>
                  <a:lnTo>
                    <a:pt x="6" y="382"/>
                  </a:lnTo>
                  <a:lnTo>
                    <a:pt x="5" y="380"/>
                  </a:lnTo>
                  <a:lnTo>
                    <a:pt x="5" y="376"/>
                  </a:lnTo>
                  <a:lnTo>
                    <a:pt x="2" y="373"/>
                  </a:lnTo>
                  <a:lnTo>
                    <a:pt x="2" y="372"/>
                  </a:lnTo>
                  <a:lnTo>
                    <a:pt x="0" y="372"/>
                  </a:lnTo>
                  <a:lnTo>
                    <a:pt x="0" y="369"/>
                  </a:lnTo>
                  <a:lnTo>
                    <a:pt x="2" y="367"/>
                  </a:lnTo>
                  <a:lnTo>
                    <a:pt x="0" y="366"/>
                  </a:lnTo>
                  <a:lnTo>
                    <a:pt x="0" y="364"/>
                  </a:lnTo>
                  <a:lnTo>
                    <a:pt x="2" y="363"/>
                  </a:lnTo>
                  <a:lnTo>
                    <a:pt x="3" y="360"/>
                  </a:lnTo>
                  <a:lnTo>
                    <a:pt x="3" y="358"/>
                  </a:lnTo>
                  <a:lnTo>
                    <a:pt x="6" y="358"/>
                  </a:lnTo>
                  <a:lnTo>
                    <a:pt x="8" y="357"/>
                  </a:lnTo>
                  <a:lnTo>
                    <a:pt x="9" y="357"/>
                  </a:lnTo>
                  <a:lnTo>
                    <a:pt x="9" y="360"/>
                  </a:lnTo>
                  <a:lnTo>
                    <a:pt x="11" y="361"/>
                  </a:lnTo>
                  <a:lnTo>
                    <a:pt x="17" y="361"/>
                  </a:lnTo>
                  <a:lnTo>
                    <a:pt x="18" y="364"/>
                  </a:lnTo>
                  <a:lnTo>
                    <a:pt x="18" y="367"/>
                  </a:lnTo>
                  <a:lnTo>
                    <a:pt x="21" y="367"/>
                  </a:lnTo>
                  <a:lnTo>
                    <a:pt x="21" y="366"/>
                  </a:lnTo>
                  <a:lnTo>
                    <a:pt x="23" y="364"/>
                  </a:lnTo>
                  <a:lnTo>
                    <a:pt x="21" y="364"/>
                  </a:lnTo>
                  <a:lnTo>
                    <a:pt x="20" y="358"/>
                  </a:lnTo>
                  <a:lnTo>
                    <a:pt x="20" y="355"/>
                  </a:lnTo>
                  <a:lnTo>
                    <a:pt x="18" y="343"/>
                  </a:lnTo>
                  <a:lnTo>
                    <a:pt x="20" y="336"/>
                  </a:lnTo>
                  <a:lnTo>
                    <a:pt x="20" y="331"/>
                  </a:lnTo>
                  <a:lnTo>
                    <a:pt x="21" y="330"/>
                  </a:lnTo>
                  <a:lnTo>
                    <a:pt x="23" y="330"/>
                  </a:lnTo>
                  <a:lnTo>
                    <a:pt x="23" y="325"/>
                  </a:lnTo>
                  <a:lnTo>
                    <a:pt x="24" y="325"/>
                  </a:lnTo>
                  <a:lnTo>
                    <a:pt x="23" y="324"/>
                  </a:lnTo>
                  <a:lnTo>
                    <a:pt x="24" y="324"/>
                  </a:lnTo>
                  <a:lnTo>
                    <a:pt x="24" y="322"/>
                  </a:lnTo>
                  <a:lnTo>
                    <a:pt x="26" y="322"/>
                  </a:lnTo>
                  <a:lnTo>
                    <a:pt x="29" y="325"/>
                  </a:lnTo>
                  <a:lnTo>
                    <a:pt x="30" y="328"/>
                  </a:lnTo>
                  <a:lnTo>
                    <a:pt x="32" y="330"/>
                  </a:lnTo>
                  <a:lnTo>
                    <a:pt x="32" y="331"/>
                  </a:lnTo>
                  <a:lnTo>
                    <a:pt x="33" y="333"/>
                  </a:lnTo>
                  <a:lnTo>
                    <a:pt x="33" y="331"/>
                  </a:lnTo>
                  <a:lnTo>
                    <a:pt x="35" y="330"/>
                  </a:lnTo>
                  <a:lnTo>
                    <a:pt x="36" y="330"/>
                  </a:lnTo>
                  <a:lnTo>
                    <a:pt x="36" y="331"/>
                  </a:lnTo>
                  <a:lnTo>
                    <a:pt x="38" y="331"/>
                  </a:lnTo>
                  <a:lnTo>
                    <a:pt x="38" y="328"/>
                  </a:lnTo>
                  <a:lnTo>
                    <a:pt x="36" y="328"/>
                  </a:lnTo>
                  <a:lnTo>
                    <a:pt x="38" y="327"/>
                  </a:lnTo>
                  <a:lnTo>
                    <a:pt x="38" y="325"/>
                  </a:lnTo>
                  <a:lnTo>
                    <a:pt x="39" y="325"/>
                  </a:lnTo>
                  <a:lnTo>
                    <a:pt x="39" y="321"/>
                  </a:lnTo>
                  <a:lnTo>
                    <a:pt x="45" y="321"/>
                  </a:lnTo>
                  <a:lnTo>
                    <a:pt x="44" y="319"/>
                  </a:lnTo>
                  <a:lnTo>
                    <a:pt x="45" y="318"/>
                  </a:lnTo>
                  <a:lnTo>
                    <a:pt x="47" y="318"/>
                  </a:lnTo>
                  <a:lnTo>
                    <a:pt x="47" y="312"/>
                  </a:lnTo>
                  <a:lnTo>
                    <a:pt x="45" y="309"/>
                  </a:lnTo>
                  <a:lnTo>
                    <a:pt x="44" y="307"/>
                  </a:lnTo>
                  <a:lnTo>
                    <a:pt x="44" y="300"/>
                  </a:lnTo>
                  <a:lnTo>
                    <a:pt x="42" y="298"/>
                  </a:lnTo>
                  <a:lnTo>
                    <a:pt x="42" y="292"/>
                  </a:lnTo>
                  <a:lnTo>
                    <a:pt x="44" y="291"/>
                  </a:lnTo>
                  <a:lnTo>
                    <a:pt x="44" y="289"/>
                  </a:lnTo>
                  <a:lnTo>
                    <a:pt x="47" y="286"/>
                  </a:lnTo>
                  <a:lnTo>
                    <a:pt x="47" y="285"/>
                  </a:lnTo>
                  <a:lnTo>
                    <a:pt x="45" y="283"/>
                  </a:lnTo>
                  <a:lnTo>
                    <a:pt x="45" y="279"/>
                  </a:lnTo>
                  <a:lnTo>
                    <a:pt x="47" y="277"/>
                  </a:lnTo>
                  <a:lnTo>
                    <a:pt x="48" y="279"/>
                  </a:lnTo>
                  <a:lnTo>
                    <a:pt x="48" y="280"/>
                  </a:lnTo>
                  <a:lnTo>
                    <a:pt x="53" y="280"/>
                  </a:lnTo>
                  <a:lnTo>
                    <a:pt x="53" y="279"/>
                  </a:lnTo>
                  <a:lnTo>
                    <a:pt x="54" y="279"/>
                  </a:lnTo>
                  <a:lnTo>
                    <a:pt x="56" y="274"/>
                  </a:lnTo>
                  <a:lnTo>
                    <a:pt x="56" y="265"/>
                  </a:lnTo>
                  <a:lnTo>
                    <a:pt x="57" y="264"/>
                  </a:lnTo>
                  <a:lnTo>
                    <a:pt x="57" y="258"/>
                  </a:lnTo>
                  <a:lnTo>
                    <a:pt x="59" y="249"/>
                  </a:lnTo>
                  <a:lnTo>
                    <a:pt x="59" y="246"/>
                  </a:lnTo>
                  <a:lnTo>
                    <a:pt x="57" y="246"/>
                  </a:lnTo>
                  <a:lnTo>
                    <a:pt x="57" y="244"/>
                  </a:lnTo>
                  <a:lnTo>
                    <a:pt x="56" y="244"/>
                  </a:lnTo>
                  <a:lnTo>
                    <a:pt x="56" y="237"/>
                  </a:lnTo>
                  <a:lnTo>
                    <a:pt x="54" y="235"/>
                  </a:lnTo>
                  <a:lnTo>
                    <a:pt x="54" y="234"/>
                  </a:lnTo>
                  <a:lnTo>
                    <a:pt x="53" y="232"/>
                  </a:lnTo>
                  <a:lnTo>
                    <a:pt x="53" y="226"/>
                  </a:lnTo>
                  <a:lnTo>
                    <a:pt x="56" y="226"/>
                  </a:lnTo>
                  <a:lnTo>
                    <a:pt x="57" y="229"/>
                  </a:lnTo>
                  <a:lnTo>
                    <a:pt x="59" y="231"/>
                  </a:lnTo>
                  <a:lnTo>
                    <a:pt x="59" y="232"/>
                  </a:lnTo>
                  <a:lnTo>
                    <a:pt x="65" y="232"/>
                  </a:lnTo>
                  <a:lnTo>
                    <a:pt x="65" y="231"/>
                  </a:lnTo>
                  <a:lnTo>
                    <a:pt x="72" y="231"/>
                  </a:lnTo>
                  <a:lnTo>
                    <a:pt x="75" y="234"/>
                  </a:lnTo>
                  <a:lnTo>
                    <a:pt x="81" y="234"/>
                  </a:lnTo>
                  <a:lnTo>
                    <a:pt x="83" y="235"/>
                  </a:lnTo>
                  <a:lnTo>
                    <a:pt x="84" y="235"/>
                  </a:lnTo>
                  <a:lnTo>
                    <a:pt x="87" y="237"/>
                  </a:lnTo>
                  <a:lnTo>
                    <a:pt x="89" y="238"/>
                  </a:lnTo>
                  <a:lnTo>
                    <a:pt x="90" y="238"/>
                  </a:lnTo>
                  <a:lnTo>
                    <a:pt x="90" y="235"/>
                  </a:lnTo>
                  <a:lnTo>
                    <a:pt x="92" y="234"/>
                  </a:lnTo>
                  <a:lnTo>
                    <a:pt x="93" y="231"/>
                  </a:lnTo>
                  <a:lnTo>
                    <a:pt x="93" y="228"/>
                  </a:lnTo>
                  <a:lnTo>
                    <a:pt x="95" y="228"/>
                  </a:lnTo>
                  <a:lnTo>
                    <a:pt x="95" y="223"/>
                  </a:lnTo>
                  <a:lnTo>
                    <a:pt x="98" y="217"/>
                  </a:lnTo>
                  <a:lnTo>
                    <a:pt x="98" y="214"/>
                  </a:lnTo>
                  <a:lnTo>
                    <a:pt x="99" y="213"/>
                  </a:lnTo>
                  <a:lnTo>
                    <a:pt x="99" y="211"/>
                  </a:lnTo>
                  <a:lnTo>
                    <a:pt x="101" y="210"/>
                  </a:lnTo>
                  <a:lnTo>
                    <a:pt x="101" y="207"/>
                  </a:lnTo>
                  <a:lnTo>
                    <a:pt x="102" y="207"/>
                  </a:lnTo>
                  <a:lnTo>
                    <a:pt x="102" y="205"/>
                  </a:lnTo>
                  <a:lnTo>
                    <a:pt x="104" y="204"/>
                  </a:lnTo>
                  <a:lnTo>
                    <a:pt x="104" y="202"/>
                  </a:lnTo>
                  <a:lnTo>
                    <a:pt x="107" y="201"/>
                  </a:lnTo>
                  <a:lnTo>
                    <a:pt x="107" y="199"/>
                  </a:lnTo>
                  <a:lnTo>
                    <a:pt x="108" y="196"/>
                  </a:lnTo>
                  <a:lnTo>
                    <a:pt x="108" y="195"/>
                  </a:lnTo>
                  <a:lnTo>
                    <a:pt x="111" y="195"/>
                  </a:lnTo>
                  <a:lnTo>
                    <a:pt x="111" y="192"/>
                  </a:lnTo>
                  <a:lnTo>
                    <a:pt x="113" y="190"/>
                  </a:lnTo>
                  <a:lnTo>
                    <a:pt x="114" y="187"/>
                  </a:lnTo>
                  <a:lnTo>
                    <a:pt x="114" y="186"/>
                  </a:lnTo>
                  <a:lnTo>
                    <a:pt x="116" y="181"/>
                  </a:lnTo>
                  <a:lnTo>
                    <a:pt x="117" y="180"/>
                  </a:lnTo>
                  <a:lnTo>
                    <a:pt x="117" y="175"/>
                  </a:lnTo>
                  <a:lnTo>
                    <a:pt x="114" y="172"/>
                  </a:lnTo>
                  <a:lnTo>
                    <a:pt x="111" y="172"/>
                  </a:lnTo>
                  <a:lnTo>
                    <a:pt x="110" y="171"/>
                  </a:lnTo>
                  <a:lnTo>
                    <a:pt x="110" y="168"/>
                  </a:lnTo>
                  <a:lnTo>
                    <a:pt x="113" y="160"/>
                  </a:lnTo>
                  <a:lnTo>
                    <a:pt x="114" y="159"/>
                  </a:lnTo>
                  <a:lnTo>
                    <a:pt x="114" y="157"/>
                  </a:lnTo>
                  <a:lnTo>
                    <a:pt x="116" y="156"/>
                  </a:lnTo>
                  <a:lnTo>
                    <a:pt x="120" y="156"/>
                  </a:lnTo>
                  <a:lnTo>
                    <a:pt x="122" y="153"/>
                  </a:lnTo>
                  <a:lnTo>
                    <a:pt x="123" y="153"/>
                  </a:lnTo>
                  <a:lnTo>
                    <a:pt x="125" y="151"/>
                  </a:lnTo>
                  <a:lnTo>
                    <a:pt x="125" y="150"/>
                  </a:lnTo>
                  <a:lnTo>
                    <a:pt x="129" y="144"/>
                  </a:lnTo>
                  <a:lnTo>
                    <a:pt x="131" y="144"/>
                  </a:lnTo>
                  <a:lnTo>
                    <a:pt x="131" y="133"/>
                  </a:lnTo>
                  <a:lnTo>
                    <a:pt x="132" y="133"/>
                  </a:lnTo>
                  <a:lnTo>
                    <a:pt x="138" y="127"/>
                  </a:lnTo>
                  <a:lnTo>
                    <a:pt x="137" y="126"/>
                  </a:lnTo>
                  <a:lnTo>
                    <a:pt x="135" y="126"/>
                  </a:lnTo>
                  <a:lnTo>
                    <a:pt x="135" y="124"/>
                  </a:lnTo>
                  <a:lnTo>
                    <a:pt x="134" y="121"/>
                  </a:lnTo>
                  <a:lnTo>
                    <a:pt x="135" y="120"/>
                  </a:lnTo>
                  <a:lnTo>
                    <a:pt x="134" y="120"/>
                  </a:lnTo>
                  <a:lnTo>
                    <a:pt x="134" y="118"/>
                  </a:lnTo>
                  <a:lnTo>
                    <a:pt x="132" y="117"/>
                  </a:lnTo>
                  <a:lnTo>
                    <a:pt x="132" y="113"/>
                  </a:lnTo>
                  <a:lnTo>
                    <a:pt x="134" y="110"/>
                  </a:lnTo>
                  <a:lnTo>
                    <a:pt x="134" y="108"/>
                  </a:lnTo>
                  <a:lnTo>
                    <a:pt x="132" y="107"/>
                  </a:lnTo>
                  <a:lnTo>
                    <a:pt x="134" y="105"/>
                  </a:lnTo>
                  <a:lnTo>
                    <a:pt x="134" y="104"/>
                  </a:lnTo>
                  <a:lnTo>
                    <a:pt x="135" y="102"/>
                  </a:lnTo>
                  <a:lnTo>
                    <a:pt x="135" y="101"/>
                  </a:lnTo>
                  <a:lnTo>
                    <a:pt x="137" y="99"/>
                  </a:lnTo>
                  <a:lnTo>
                    <a:pt x="137" y="98"/>
                  </a:lnTo>
                  <a:lnTo>
                    <a:pt x="138" y="98"/>
                  </a:lnTo>
                  <a:lnTo>
                    <a:pt x="140" y="96"/>
                  </a:lnTo>
                  <a:lnTo>
                    <a:pt x="141" y="96"/>
                  </a:lnTo>
                  <a:lnTo>
                    <a:pt x="141" y="98"/>
                  </a:lnTo>
                  <a:lnTo>
                    <a:pt x="143" y="98"/>
                  </a:lnTo>
                  <a:lnTo>
                    <a:pt x="143" y="96"/>
                  </a:lnTo>
                  <a:lnTo>
                    <a:pt x="146" y="96"/>
                  </a:lnTo>
                  <a:lnTo>
                    <a:pt x="149" y="95"/>
                  </a:lnTo>
                  <a:lnTo>
                    <a:pt x="150" y="93"/>
                  </a:lnTo>
                  <a:lnTo>
                    <a:pt x="151" y="90"/>
                  </a:lnTo>
                  <a:lnTo>
                    <a:pt x="153" y="89"/>
                  </a:lnTo>
                  <a:lnTo>
                    <a:pt x="157" y="89"/>
                  </a:lnTo>
                  <a:lnTo>
                    <a:pt x="157" y="87"/>
                  </a:lnTo>
                  <a:lnTo>
                    <a:pt x="159" y="86"/>
                  </a:lnTo>
                  <a:lnTo>
                    <a:pt x="160" y="86"/>
                  </a:lnTo>
                  <a:lnTo>
                    <a:pt x="162" y="84"/>
                  </a:lnTo>
                  <a:lnTo>
                    <a:pt x="163" y="84"/>
                  </a:lnTo>
                  <a:lnTo>
                    <a:pt x="163" y="81"/>
                  </a:lnTo>
                  <a:lnTo>
                    <a:pt x="166" y="80"/>
                  </a:lnTo>
                  <a:lnTo>
                    <a:pt x="168" y="78"/>
                  </a:lnTo>
                  <a:lnTo>
                    <a:pt x="171" y="78"/>
                  </a:lnTo>
                  <a:lnTo>
                    <a:pt x="174" y="75"/>
                  </a:lnTo>
                  <a:lnTo>
                    <a:pt x="177" y="69"/>
                  </a:lnTo>
                  <a:lnTo>
                    <a:pt x="183" y="66"/>
                  </a:lnTo>
                  <a:lnTo>
                    <a:pt x="195" y="63"/>
                  </a:lnTo>
                  <a:lnTo>
                    <a:pt x="198" y="63"/>
                  </a:lnTo>
                  <a:lnTo>
                    <a:pt x="199" y="65"/>
                  </a:lnTo>
                  <a:lnTo>
                    <a:pt x="204" y="60"/>
                  </a:lnTo>
                  <a:lnTo>
                    <a:pt x="204" y="62"/>
                  </a:lnTo>
                  <a:lnTo>
                    <a:pt x="207" y="62"/>
                  </a:lnTo>
                  <a:lnTo>
                    <a:pt x="207" y="60"/>
                  </a:lnTo>
                  <a:lnTo>
                    <a:pt x="210" y="60"/>
                  </a:lnTo>
                  <a:lnTo>
                    <a:pt x="213" y="63"/>
                  </a:lnTo>
                  <a:lnTo>
                    <a:pt x="213" y="65"/>
                  </a:lnTo>
                  <a:lnTo>
                    <a:pt x="214" y="65"/>
                  </a:lnTo>
                  <a:lnTo>
                    <a:pt x="216" y="66"/>
                  </a:lnTo>
                  <a:lnTo>
                    <a:pt x="216" y="68"/>
                  </a:lnTo>
                  <a:lnTo>
                    <a:pt x="214" y="69"/>
                  </a:lnTo>
                  <a:lnTo>
                    <a:pt x="216" y="71"/>
                  </a:lnTo>
                  <a:lnTo>
                    <a:pt x="222" y="74"/>
                  </a:lnTo>
                  <a:lnTo>
                    <a:pt x="223" y="74"/>
                  </a:lnTo>
                  <a:lnTo>
                    <a:pt x="223" y="75"/>
                  </a:lnTo>
                  <a:lnTo>
                    <a:pt x="225" y="75"/>
                  </a:lnTo>
                  <a:lnTo>
                    <a:pt x="225" y="74"/>
                  </a:lnTo>
                  <a:lnTo>
                    <a:pt x="226" y="74"/>
                  </a:lnTo>
                  <a:lnTo>
                    <a:pt x="226" y="75"/>
                  </a:lnTo>
                  <a:lnTo>
                    <a:pt x="228" y="75"/>
                  </a:lnTo>
                  <a:lnTo>
                    <a:pt x="228" y="72"/>
                  </a:lnTo>
                  <a:lnTo>
                    <a:pt x="226" y="71"/>
                  </a:lnTo>
                  <a:lnTo>
                    <a:pt x="226" y="69"/>
                  </a:lnTo>
                  <a:lnTo>
                    <a:pt x="225" y="68"/>
                  </a:lnTo>
                  <a:lnTo>
                    <a:pt x="217" y="59"/>
                  </a:lnTo>
                  <a:lnTo>
                    <a:pt x="217" y="56"/>
                  </a:lnTo>
                  <a:lnTo>
                    <a:pt x="216" y="56"/>
                  </a:lnTo>
                  <a:lnTo>
                    <a:pt x="217" y="54"/>
                  </a:lnTo>
                  <a:lnTo>
                    <a:pt x="217" y="51"/>
                  </a:lnTo>
                  <a:lnTo>
                    <a:pt x="216" y="51"/>
                  </a:lnTo>
                  <a:lnTo>
                    <a:pt x="216" y="47"/>
                  </a:lnTo>
                  <a:lnTo>
                    <a:pt x="217" y="47"/>
                  </a:lnTo>
                  <a:lnTo>
                    <a:pt x="217" y="45"/>
                  </a:lnTo>
                  <a:lnTo>
                    <a:pt x="219" y="44"/>
                  </a:lnTo>
                  <a:lnTo>
                    <a:pt x="220" y="44"/>
                  </a:lnTo>
                  <a:lnTo>
                    <a:pt x="222" y="42"/>
                  </a:lnTo>
                  <a:lnTo>
                    <a:pt x="222" y="41"/>
                  </a:lnTo>
                  <a:lnTo>
                    <a:pt x="225" y="41"/>
                  </a:lnTo>
                  <a:lnTo>
                    <a:pt x="225" y="39"/>
                  </a:lnTo>
                  <a:lnTo>
                    <a:pt x="226" y="39"/>
                  </a:lnTo>
                  <a:lnTo>
                    <a:pt x="226" y="38"/>
                  </a:lnTo>
                  <a:lnTo>
                    <a:pt x="228" y="38"/>
                  </a:lnTo>
                  <a:lnTo>
                    <a:pt x="234" y="32"/>
                  </a:lnTo>
                  <a:lnTo>
                    <a:pt x="235" y="32"/>
                  </a:lnTo>
                  <a:lnTo>
                    <a:pt x="235" y="33"/>
                  </a:lnTo>
                  <a:lnTo>
                    <a:pt x="238" y="33"/>
                  </a:lnTo>
                  <a:lnTo>
                    <a:pt x="238" y="26"/>
                  </a:lnTo>
                  <a:lnTo>
                    <a:pt x="235" y="23"/>
                  </a:lnTo>
                  <a:lnTo>
                    <a:pt x="235" y="21"/>
                  </a:lnTo>
                  <a:lnTo>
                    <a:pt x="237" y="18"/>
                  </a:lnTo>
                  <a:lnTo>
                    <a:pt x="237" y="17"/>
                  </a:lnTo>
                  <a:lnTo>
                    <a:pt x="240" y="14"/>
                  </a:lnTo>
                  <a:lnTo>
                    <a:pt x="240" y="12"/>
                  </a:lnTo>
                  <a:lnTo>
                    <a:pt x="243" y="12"/>
                  </a:lnTo>
                  <a:lnTo>
                    <a:pt x="243" y="8"/>
                  </a:lnTo>
                  <a:lnTo>
                    <a:pt x="244" y="6"/>
                  </a:lnTo>
                  <a:lnTo>
                    <a:pt x="244" y="5"/>
                  </a:lnTo>
                  <a:lnTo>
                    <a:pt x="246" y="3"/>
                  </a:lnTo>
                  <a:lnTo>
                    <a:pt x="246"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1">
              <a:extLst>
                <a:ext uri="{FF2B5EF4-FFF2-40B4-BE49-F238E27FC236}">
                  <a16:creationId xmlns:a16="http://schemas.microsoft.com/office/drawing/2014/main" id="{3AA7DB92-56FA-A3A9-F308-2E67C8E46D4A}"/>
                </a:ext>
              </a:extLst>
            </p:cNvPr>
            <p:cNvSpPr>
              <a:spLocks/>
            </p:cNvSpPr>
            <p:nvPr/>
          </p:nvSpPr>
          <p:spPr bwMode="auto">
            <a:xfrm>
              <a:off x="2155943" y="2298891"/>
              <a:ext cx="1549070" cy="744100"/>
            </a:xfrm>
            <a:custGeom>
              <a:avLst/>
              <a:gdLst/>
              <a:ahLst/>
              <a:cxnLst>
                <a:cxn ang="0">
                  <a:pos x="559" y="29"/>
                </a:cxn>
                <a:cxn ang="0">
                  <a:pos x="642" y="50"/>
                </a:cxn>
                <a:cxn ang="0">
                  <a:pos x="666" y="87"/>
                </a:cxn>
                <a:cxn ang="0">
                  <a:pos x="683" y="126"/>
                </a:cxn>
                <a:cxn ang="0">
                  <a:pos x="752" y="144"/>
                </a:cxn>
                <a:cxn ang="0">
                  <a:pos x="803" y="122"/>
                </a:cxn>
                <a:cxn ang="0">
                  <a:pos x="884" y="141"/>
                </a:cxn>
                <a:cxn ang="0">
                  <a:pos x="927" y="179"/>
                </a:cxn>
                <a:cxn ang="0">
                  <a:pos x="989" y="203"/>
                </a:cxn>
                <a:cxn ang="0">
                  <a:pos x="1041" y="212"/>
                </a:cxn>
                <a:cxn ang="0">
                  <a:pos x="1098" y="198"/>
                </a:cxn>
                <a:cxn ang="0">
                  <a:pos x="1180" y="159"/>
                </a:cxn>
                <a:cxn ang="0">
                  <a:pos x="1240" y="138"/>
                </a:cxn>
                <a:cxn ang="0">
                  <a:pos x="1328" y="168"/>
                </a:cxn>
                <a:cxn ang="0">
                  <a:pos x="1291" y="315"/>
                </a:cxn>
                <a:cxn ang="0">
                  <a:pos x="1362" y="313"/>
                </a:cxn>
                <a:cxn ang="0">
                  <a:pos x="1433" y="316"/>
                </a:cxn>
                <a:cxn ang="0">
                  <a:pos x="1461" y="346"/>
                </a:cxn>
                <a:cxn ang="0">
                  <a:pos x="1476" y="379"/>
                </a:cxn>
                <a:cxn ang="0">
                  <a:pos x="1431" y="382"/>
                </a:cxn>
                <a:cxn ang="0">
                  <a:pos x="1398" y="382"/>
                </a:cxn>
                <a:cxn ang="0">
                  <a:pos x="1367" y="391"/>
                </a:cxn>
                <a:cxn ang="0">
                  <a:pos x="1322" y="412"/>
                </a:cxn>
                <a:cxn ang="0">
                  <a:pos x="1283" y="465"/>
                </a:cxn>
                <a:cxn ang="0">
                  <a:pos x="1211" y="493"/>
                </a:cxn>
                <a:cxn ang="0">
                  <a:pos x="1141" y="501"/>
                </a:cxn>
                <a:cxn ang="0">
                  <a:pos x="1093" y="514"/>
                </a:cxn>
                <a:cxn ang="0">
                  <a:pos x="1092" y="547"/>
                </a:cxn>
                <a:cxn ang="0">
                  <a:pos x="1087" y="592"/>
                </a:cxn>
                <a:cxn ang="0">
                  <a:pos x="1026" y="643"/>
                </a:cxn>
                <a:cxn ang="0">
                  <a:pos x="941" y="656"/>
                </a:cxn>
                <a:cxn ang="0">
                  <a:pos x="751" y="695"/>
                </a:cxn>
                <a:cxn ang="0">
                  <a:pos x="600" y="649"/>
                </a:cxn>
                <a:cxn ang="0">
                  <a:pos x="393" y="626"/>
                </a:cxn>
                <a:cxn ang="0">
                  <a:pos x="335" y="542"/>
                </a:cxn>
                <a:cxn ang="0">
                  <a:pos x="281" y="513"/>
                </a:cxn>
                <a:cxn ang="0">
                  <a:pos x="215" y="495"/>
                </a:cxn>
                <a:cxn ang="0">
                  <a:pos x="157" y="483"/>
                </a:cxn>
                <a:cxn ang="0">
                  <a:pos x="148" y="430"/>
                </a:cxn>
                <a:cxn ang="0">
                  <a:pos x="150" y="390"/>
                </a:cxn>
                <a:cxn ang="0">
                  <a:pos x="124" y="336"/>
                </a:cxn>
                <a:cxn ang="0">
                  <a:pos x="99" y="307"/>
                </a:cxn>
                <a:cxn ang="0">
                  <a:pos x="75" y="292"/>
                </a:cxn>
                <a:cxn ang="0">
                  <a:pos x="36" y="268"/>
                </a:cxn>
                <a:cxn ang="0">
                  <a:pos x="14" y="245"/>
                </a:cxn>
                <a:cxn ang="0">
                  <a:pos x="3" y="222"/>
                </a:cxn>
                <a:cxn ang="0">
                  <a:pos x="37" y="194"/>
                </a:cxn>
                <a:cxn ang="0">
                  <a:pos x="57" y="194"/>
                </a:cxn>
                <a:cxn ang="0">
                  <a:pos x="91" y="174"/>
                </a:cxn>
                <a:cxn ang="0">
                  <a:pos x="126" y="140"/>
                </a:cxn>
                <a:cxn ang="0">
                  <a:pos x="171" y="120"/>
                </a:cxn>
                <a:cxn ang="0">
                  <a:pos x="214" y="95"/>
                </a:cxn>
                <a:cxn ang="0">
                  <a:pos x="242" y="111"/>
                </a:cxn>
                <a:cxn ang="0">
                  <a:pos x="305" y="143"/>
                </a:cxn>
                <a:cxn ang="0">
                  <a:pos x="354" y="162"/>
                </a:cxn>
                <a:cxn ang="0">
                  <a:pos x="390" y="159"/>
                </a:cxn>
                <a:cxn ang="0">
                  <a:pos x="441" y="174"/>
                </a:cxn>
                <a:cxn ang="0">
                  <a:pos x="485" y="122"/>
                </a:cxn>
                <a:cxn ang="0">
                  <a:pos x="468" y="92"/>
                </a:cxn>
                <a:cxn ang="0">
                  <a:pos x="474" y="48"/>
                </a:cxn>
              </a:cxnLst>
              <a:rect l="0" t="0" r="r" b="b"/>
              <a:pathLst>
                <a:path w="1476" h="709">
                  <a:moveTo>
                    <a:pt x="512" y="0"/>
                  </a:moveTo>
                  <a:lnTo>
                    <a:pt x="514" y="0"/>
                  </a:lnTo>
                  <a:lnTo>
                    <a:pt x="516" y="3"/>
                  </a:lnTo>
                  <a:lnTo>
                    <a:pt x="516" y="5"/>
                  </a:lnTo>
                  <a:lnTo>
                    <a:pt x="517" y="6"/>
                  </a:lnTo>
                  <a:lnTo>
                    <a:pt x="526" y="9"/>
                  </a:lnTo>
                  <a:lnTo>
                    <a:pt x="528" y="9"/>
                  </a:lnTo>
                  <a:lnTo>
                    <a:pt x="528" y="11"/>
                  </a:lnTo>
                  <a:lnTo>
                    <a:pt x="531" y="14"/>
                  </a:lnTo>
                  <a:lnTo>
                    <a:pt x="532" y="14"/>
                  </a:lnTo>
                  <a:lnTo>
                    <a:pt x="543" y="17"/>
                  </a:lnTo>
                  <a:lnTo>
                    <a:pt x="547" y="18"/>
                  </a:lnTo>
                  <a:lnTo>
                    <a:pt x="549" y="18"/>
                  </a:lnTo>
                  <a:lnTo>
                    <a:pt x="553" y="21"/>
                  </a:lnTo>
                  <a:lnTo>
                    <a:pt x="556" y="26"/>
                  </a:lnTo>
                  <a:lnTo>
                    <a:pt x="559" y="29"/>
                  </a:lnTo>
                  <a:lnTo>
                    <a:pt x="567" y="29"/>
                  </a:lnTo>
                  <a:lnTo>
                    <a:pt x="573" y="30"/>
                  </a:lnTo>
                  <a:lnTo>
                    <a:pt x="586" y="30"/>
                  </a:lnTo>
                  <a:lnTo>
                    <a:pt x="589" y="32"/>
                  </a:lnTo>
                  <a:lnTo>
                    <a:pt x="592" y="32"/>
                  </a:lnTo>
                  <a:lnTo>
                    <a:pt x="612" y="42"/>
                  </a:lnTo>
                  <a:lnTo>
                    <a:pt x="615" y="44"/>
                  </a:lnTo>
                  <a:lnTo>
                    <a:pt x="616" y="45"/>
                  </a:lnTo>
                  <a:lnTo>
                    <a:pt x="619" y="45"/>
                  </a:lnTo>
                  <a:lnTo>
                    <a:pt x="622" y="47"/>
                  </a:lnTo>
                  <a:lnTo>
                    <a:pt x="624" y="50"/>
                  </a:lnTo>
                  <a:lnTo>
                    <a:pt x="627" y="50"/>
                  </a:lnTo>
                  <a:lnTo>
                    <a:pt x="631" y="48"/>
                  </a:lnTo>
                  <a:lnTo>
                    <a:pt x="634" y="48"/>
                  </a:lnTo>
                  <a:lnTo>
                    <a:pt x="639" y="50"/>
                  </a:lnTo>
                  <a:lnTo>
                    <a:pt x="642" y="50"/>
                  </a:lnTo>
                  <a:lnTo>
                    <a:pt x="645" y="53"/>
                  </a:lnTo>
                  <a:lnTo>
                    <a:pt x="651" y="53"/>
                  </a:lnTo>
                  <a:lnTo>
                    <a:pt x="652" y="54"/>
                  </a:lnTo>
                  <a:lnTo>
                    <a:pt x="654" y="54"/>
                  </a:lnTo>
                  <a:lnTo>
                    <a:pt x="657" y="56"/>
                  </a:lnTo>
                  <a:lnTo>
                    <a:pt x="658" y="56"/>
                  </a:lnTo>
                  <a:lnTo>
                    <a:pt x="663" y="59"/>
                  </a:lnTo>
                  <a:lnTo>
                    <a:pt x="664" y="60"/>
                  </a:lnTo>
                  <a:lnTo>
                    <a:pt x="663" y="62"/>
                  </a:lnTo>
                  <a:lnTo>
                    <a:pt x="661" y="66"/>
                  </a:lnTo>
                  <a:lnTo>
                    <a:pt x="661" y="77"/>
                  </a:lnTo>
                  <a:lnTo>
                    <a:pt x="663" y="78"/>
                  </a:lnTo>
                  <a:lnTo>
                    <a:pt x="664" y="81"/>
                  </a:lnTo>
                  <a:lnTo>
                    <a:pt x="664" y="84"/>
                  </a:lnTo>
                  <a:lnTo>
                    <a:pt x="666" y="84"/>
                  </a:lnTo>
                  <a:lnTo>
                    <a:pt x="666" y="87"/>
                  </a:lnTo>
                  <a:lnTo>
                    <a:pt x="664" y="87"/>
                  </a:lnTo>
                  <a:lnTo>
                    <a:pt x="666" y="90"/>
                  </a:lnTo>
                  <a:lnTo>
                    <a:pt x="666" y="92"/>
                  </a:lnTo>
                  <a:lnTo>
                    <a:pt x="664" y="93"/>
                  </a:lnTo>
                  <a:lnTo>
                    <a:pt x="664" y="98"/>
                  </a:lnTo>
                  <a:lnTo>
                    <a:pt x="666" y="99"/>
                  </a:lnTo>
                  <a:lnTo>
                    <a:pt x="669" y="101"/>
                  </a:lnTo>
                  <a:lnTo>
                    <a:pt x="670" y="104"/>
                  </a:lnTo>
                  <a:lnTo>
                    <a:pt x="670" y="105"/>
                  </a:lnTo>
                  <a:lnTo>
                    <a:pt x="667" y="108"/>
                  </a:lnTo>
                  <a:lnTo>
                    <a:pt x="667" y="113"/>
                  </a:lnTo>
                  <a:lnTo>
                    <a:pt x="672" y="117"/>
                  </a:lnTo>
                  <a:lnTo>
                    <a:pt x="676" y="117"/>
                  </a:lnTo>
                  <a:lnTo>
                    <a:pt x="677" y="119"/>
                  </a:lnTo>
                  <a:lnTo>
                    <a:pt x="682" y="126"/>
                  </a:lnTo>
                  <a:lnTo>
                    <a:pt x="683" y="126"/>
                  </a:lnTo>
                  <a:lnTo>
                    <a:pt x="689" y="128"/>
                  </a:lnTo>
                  <a:lnTo>
                    <a:pt x="695" y="132"/>
                  </a:lnTo>
                  <a:lnTo>
                    <a:pt x="697" y="134"/>
                  </a:lnTo>
                  <a:lnTo>
                    <a:pt x="710" y="134"/>
                  </a:lnTo>
                  <a:lnTo>
                    <a:pt x="712" y="138"/>
                  </a:lnTo>
                  <a:lnTo>
                    <a:pt x="712" y="140"/>
                  </a:lnTo>
                  <a:lnTo>
                    <a:pt x="713" y="141"/>
                  </a:lnTo>
                  <a:lnTo>
                    <a:pt x="721" y="141"/>
                  </a:lnTo>
                  <a:lnTo>
                    <a:pt x="722" y="143"/>
                  </a:lnTo>
                  <a:lnTo>
                    <a:pt x="728" y="146"/>
                  </a:lnTo>
                  <a:lnTo>
                    <a:pt x="731" y="146"/>
                  </a:lnTo>
                  <a:lnTo>
                    <a:pt x="736" y="141"/>
                  </a:lnTo>
                  <a:lnTo>
                    <a:pt x="739" y="143"/>
                  </a:lnTo>
                  <a:lnTo>
                    <a:pt x="745" y="144"/>
                  </a:lnTo>
                  <a:lnTo>
                    <a:pt x="748" y="146"/>
                  </a:lnTo>
                  <a:lnTo>
                    <a:pt x="752" y="144"/>
                  </a:lnTo>
                  <a:lnTo>
                    <a:pt x="758" y="141"/>
                  </a:lnTo>
                  <a:lnTo>
                    <a:pt x="758" y="138"/>
                  </a:lnTo>
                  <a:lnTo>
                    <a:pt x="761" y="137"/>
                  </a:lnTo>
                  <a:lnTo>
                    <a:pt x="763" y="135"/>
                  </a:lnTo>
                  <a:lnTo>
                    <a:pt x="764" y="135"/>
                  </a:lnTo>
                  <a:lnTo>
                    <a:pt x="766" y="134"/>
                  </a:lnTo>
                  <a:lnTo>
                    <a:pt x="769" y="132"/>
                  </a:lnTo>
                  <a:lnTo>
                    <a:pt x="773" y="134"/>
                  </a:lnTo>
                  <a:lnTo>
                    <a:pt x="775" y="132"/>
                  </a:lnTo>
                  <a:lnTo>
                    <a:pt x="778" y="131"/>
                  </a:lnTo>
                  <a:lnTo>
                    <a:pt x="778" y="129"/>
                  </a:lnTo>
                  <a:lnTo>
                    <a:pt x="782" y="131"/>
                  </a:lnTo>
                  <a:lnTo>
                    <a:pt x="784" y="129"/>
                  </a:lnTo>
                  <a:lnTo>
                    <a:pt x="787" y="128"/>
                  </a:lnTo>
                  <a:lnTo>
                    <a:pt x="797" y="128"/>
                  </a:lnTo>
                  <a:lnTo>
                    <a:pt x="803" y="122"/>
                  </a:lnTo>
                  <a:lnTo>
                    <a:pt x="808" y="122"/>
                  </a:lnTo>
                  <a:lnTo>
                    <a:pt x="821" y="125"/>
                  </a:lnTo>
                  <a:lnTo>
                    <a:pt x="829" y="125"/>
                  </a:lnTo>
                  <a:lnTo>
                    <a:pt x="832" y="126"/>
                  </a:lnTo>
                  <a:lnTo>
                    <a:pt x="837" y="126"/>
                  </a:lnTo>
                  <a:lnTo>
                    <a:pt x="840" y="129"/>
                  </a:lnTo>
                  <a:lnTo>
                    <a:pt x="840" y="131"/>
                  </a:lnTo>
                  <a:lnTo>
                    <a:pt x="845" y="132"/>
                  </a:lnTo>
                  <a:lnTo>
                    <a:pt x="848" y="134"/>
                  </a:lnTo>
                  <a:lnTo>
                    <a:pt x="849" y="135"/>
                  </a:lnTo>
                  <a:lnTo>
                    <a:pt x="863" y="131"/>
                  </a:lnTo>
                  <a:lnTo>
                    <a:pt x="869" y="132"/>
                  </a:lnTo>
                  <a:lnTo>
                    <a:pt x="872" y="134"/>
                  </a:lnTo>
                  <a:lnTo>
                    <a:pt x="875" y="134"/>
                  </a:lnTo>
                  <a:lnTo>
                    <a:pt x="882" y="141"/>
                  </a:lnTo>
                  <a:lnTo>
                    <a:pt x="884" y="141"/>
                  </a:lnTo>
                  <a:lnTo>
                    <a:pt x="884" y="146"/>
                  </a:lnTo>
                  <a:lnTo>
                    <a:pt x="885" y="146"/>
                  </a:lnTo>
                  <a:lnTo>
                    <a:pt x="885" y="147"/>
                  </a:lnTo>
                  <a:lnTo>
                    <a:pt x="887" y="149"/>
                  </a:lnTo>
                  <a:lnTo>
                    <a:pt x="887" y="150"/>
                  </a:lnTo>
                  <a:lnTo>
                    <a:pt x="888" y="152"/>
                  </a:lnTo>
                  <a:lnTo>
                    <a:pt x="890" y="152"/>
                  </a:lnTo>
                  <a:lnTo>
                    <a:pt x="894" y="156"/>
                  </a:lnTo>
                  <a:lnTo>
                    <a:pt x="896" y="155"/>
                  </a:lnTo>
                  <a:lnTo>
                    <a:pt x="897" y="155"/>
                  </a:lnTo>
                  <a:lnTo>
                    <a:pt x="900" y="158"/>
                  </a:lnTo>
                  <a:lnTo>
                    <a:pt x="918" y="158"/>
                  </a:lnTo>
                  <a:lnTo>
                    <a:pt x="920" y="159"/>
                  </a:lnTo>
                  <a:lnTo>
                    <a:pt x="926" y="159"/>
                  </a:lnTo>
                  <a:lnTo>
                    <a:pt x="927" y="161"/>
                  </a:lnTo>
                  <a:lnTo>
                    <a:pt x="927" y="179"/>
                  </a:lnTo>
                  <a:lnTo>
                    <a:pt x="930" y="179"/>
                  </a:lnTo>
                  <a:lnTo>
                    <a:pt x="930" y="183"/>
                  </a:lnTo>
                  <a:lnTo>
                    <a:pt x="932" y="185"/>
                  </a:lnTo>
                  <a:lnTo>
                    <a:pt x="935" y="186"/>
                  </a:lnTo>
                  <a:lnTo>
                    <a:pt x="936" y="188"/>
                  </a:lnTo>
                  <a:lnTo>
                    <a:pt x="939" y="188"/>
                  </a:lnTo>
                  <a:lnTo>
                    <a:pt x="942" y="191"/>
                  </a:lnTo>
                  <a:lnTo>
                    <a:pt x="942" y="192"/>
                  </a:lnTo>
                  <a:lnTo>
                    <a:pt x="951" y="201"/>
                  </a:lnTo>
                  <a:lnTo>
                    <a:pt x="954" y="203"/>
                  </a:lnTo>
                  <a:lnTo>
                    <a:pt x="969" y="203"/>
                  </a:lnTo>
                  <a:lnTo>
                    <a:pt x="972" y="201"/>
                  </a:lnTo>
                  <a:lnTo>
                    <a:pt x="977" y="203"/>
                  </a:lnTo>
                  <a:lnTo>
                    <a:pt x="978" y="203"/>
                  </a:lnTo>
                  <a:lnTo>
                    <a:pt x="983" y="201"/>
                  </a:lnTo>
                  <a:lnTo>
                    <a:pt x="989" y="203"/>
                  </a:lnTo>
                  <a:lnTo>
                    <a:pt x="992" y="203"/>
                  </a:lnTo>
                  <a:lnTo>
                    <a:pt x="993" y="204"/>
                  </a:lnTo>
                  <a:lnTo>
                    <a:pt x="997" y="204"/>
                  </a:lnTo>
                  <a:lnTo>
                    <a:pt x="997" y="207"/>
                  </a:lnTo>
                  <a:lnTo>
                    <a:pt x="999" y="207"/>
                  </a:lnTo>
                  <a:lnTo>
                    <a:pt x="999" y="209"/>
                  </a:lnTo>
                  <a:lnTo>
                    <a:pt x="1009" y="207"/>
                  </a:lnTo>
                  <a:lnTo>
                    <a:pt x="1012" y="209"/>
                  </a:lnTo>
                  <a:lnTo>
                    <a:pt x="1014" y="210"/>
                  </a:lnTo>
                  <a:lnTo>
                    <a:pt x="1017" y="212"/>
                  </a:lnTo>
                  <a:lnTo>
                    <a:pt x="1030" y="215"/>
                  </a:lnTo>
                  <a:lnTo>
                    <a:pt x="1032" y="215"/>
                  </a:lnTo>
                  <a:lnTo>
                    <a:pt x="1033" y="213"/>
                  </a:lnTo>
                  <a:lnTo>
                    <a:pt x="1036" y="212"/>
                  </a:lnTo>
                  <a:lnTo>
                    <a:pt x="1039" y="209"/>
                  </a:lnTo>
                  <a:lnTo>
                    <a:pt x="1041" y="212"/>
                  </a:lnTo>
                  <a:lnTo>
                    <a:pt x="1042" y="212"/>
                  </a:lnTo>
                  <a:lnTo>
                    <a:pt x="1045" y="213"/>
                  </a:lnTo>
                  <a:lnTo>
                    <a:pt x="1050" y="216"/>
                  </a:lnTo>
                  <a:lnTo>
                    <a:pt x="1056" y="216"/>
                  </a:lnTo>
                  <a:lnTo>
                    <a:pt x="1060" y="215"/>
                  </a:lnTo>
                  <a:lnTo>
                    <a:pt x="1066" y="212"/>
                  </a:lnTo>
                  <a:lnTo>
                    <a:pt x="1074" y="206"/>
                  </a:lnTo>
                  <a:lnTo>
                    <a:pt x="1080" y="203"/>
                  </a:lnTo>
                  <a:lnTo>
                    <a:pt x="1081" y="203"/>
                  </a:lnTo>
                  <a:lnTo>
                    <a:pt x="1083" y="201"/>
                  </a:lnTo>
                  <a:lnTo>
                    <a:pt x="1083" y="200"/>
                  </a:lnTo>
                  <a:lnTo>
                    <a:pt x="1084" y="200"/>
                  </a:lnTo>
                  <a:lnTo>
                    <a:pt x="1086" y="201"/>
                  </a:lnTo>
                  <a:lnTo>
                    <a:pt x="1090" y="201"/>
                  </a:lnTo>
                  <a:lnTo>
                    <a:pt x="1096" y="198"/>
                  </a:lnTo>
                  <a:lnTo>
                    <a:pt x="1098" y="198"/>
                  </a:lnTo>
                  <a:lnTo>
                    <a:pt x="1114" y="197"/>
                  </a:lnTo>
                  <a:lnTo>
                    <a:pt x="1119" y="195"/>
                  </a:lnTo>
                  <a:lnTo>
                    <a:pt x="1134" y="189"/>
                  </a:lnTo>
                  <a:lnTo>
                    <a:pt x="1135" y="188"/>
                  </a:lnTo>
                  <a:lnTo>
                    <a:pt x="1144" y="191"/>
                  </a:lnTo>
                  <a:lnTo>
                    <a:pt x="1149" y="191"/>
                  </a:lnTo>
                  <a:lnTo>
                    <a:pt x="1153" y="189"/>
                  </a:lnTo>
                  <a:lnTo>
                    <a:pt x="1157" y="185"/>
                  </a:lnTo>
                  <a:lnTo>
                    <a:pt x="1162" y="185"/>
                  </a:lnTo>
                  <a:lnTo>
                    <a:pt x="1162" y="180"/>
                  </a:lnTo>
                  <a:lnTo>
                    <a:pt x="1163" y="179"/>
                  </a:lnTo>
                  <a:lnTo>
                    <a:pt x="1163" y="177"/>
                  </a:lnTo>
                  <a:lnTo>
                    <a:pt x="1166" y="171"/>
                  </a:lnTo>
                  <a:lnTo>
                    <a:pt x="1169" y="168"/>
                  </a:lnTo>
                  <a:lnTo>
                    <a:pt x="1178" y="161"/>
                  </a:lnTo>
                  <a:lnTo>
                    <a:pt x="1180" y="159"/>
                  </a:lnTo>
                  <a:lnTo>
                    <a:pt x="1180" y="158"/>
                  </a:lnTo>
                  <a:lnTo>
                    <a:pt x="1183" y="156"/>
                  </a:lnTo>
                  <a:lnTo>
                    <a:pt x="1186" y="153"/>
                  </a:lnTo>
                  <a:lnTo>
                    <a:pt x="1193" y="150"/>
                  </a:lnTo>
                  <a:lnTo>
                    <a:pt x="1195" y="149"/>
                  </a:lnTo>
                  <a:lnTo>
                    <a:pt x="1196" y="150"/>
                  </a:lnTo>
                  <a:lnTo>
                    <a:pt x="1198" y="150"/>
                  </a:lnTo>
                  <a:lnTo>
                    <a:pt x="1205" y="143"/>
                  </a:lnTo>
                  <a:lnTo>
                    <a:pt x="1208" y="143"/>
                  </a:lnTo>
                  <a:lnTo>
                    <a:pt x="1214" y="137"/>
                  </a:lnTo>
                  <a:lnTo>
                    <a:pt x="1219" y="135"/>
                  </a:lnTo>
                  <a:lnTo>
                    <a:pt x="1220" y="135"/>
                  </a:lnTo>
                  <a:lnTo>
                    <a:pt x="1225" y="138"/>
                  </a:lnTo>
                  <a:lnTo>
                    <a:pt x="1226" y="138"/>
                  </a:lnTo>
                  <a:lnTo>
                    <a:pt x="1235" y="137"/>
                  </a:lnTo>
                  <a:lnTo>
                    <a:pt x="1240" y="138"/>
                  </a:lnTo>
                  <a:lnTo>
                    <a:pt x="1252" y="144"/>
                  </a:lnTo>
                  <a:lnTo>
                    <a:pt x="1252" y="147"/>
                  </a:lnTo>
                  <a:lnTo>
                    <a:pt x="1255" y="150"/>
                  </a:lnTo>
                  <a:lnTo>
                    <a:pt x="1261" y="158"/>
                  </a:lnTo>
                  <a:lnTo>
                    <a:pt x="1268" y="162"/>
                  </a:lnTo>
                  <a:lnTo>
                    <a:pt x="1268" y="164"/>
                  </a:lnTo>
                  <a:lnTo>
                    <a:pt x="1274" y="164"/>
                  </a:lnTo>
                  <a:lnTo>
                    <a:pt x="1277" y="162"/>
                  </a:lnTo>
                  <a:lnTo>
                    <a:pt x="1283" y="164"/>
                  </a:lnTo>
                  <a:lnTo>
                    <a:pt x="1286" y="164"/>
                  </a:lnTo>
                  <a:lnTo>
                    <a:pt x="1300" y="155"/>
                  </a:lnTo>
                  <a:lnTo>
                    <a:pt x="1307" y="155"/>
                  </a:lnTo>
                  <a:lnTo>
                    <a:pt x="1310" y="156"/>
                  </a:lnTo>
                  <a:lnTo>
                    <a:pt x="1323" y="161"/>
                  </a:lnTo>
                  <a:lnTo>
                    <a:pt x="1325" y="162"/>
                  </a:lnTo>
                  <a:lnTo>
                    <a:pt x="1328" y="168"/>
                  </a:lnTo>
                  <a:lnTo>
                    <a:pt x="1319" y="189"/>
                  </a:lnTo>
                  <a:lnTo>
                    <a:pt x="1317" y="191"/>
                  </a:lnTo>
                  <a:lnTo>
                    <a:pt x="1309" y="213"/>
                  </a:lnTo>
                  <a:lnTo>
                    <a:pt x="1298" y="236"/>
                  </a:lnTo>
                  <a:lnTo>
                    <a:pt x="1300" y="239"/>
                  </a:lnTo>
                  <a:lnTo>
                    <a:pt x="1300" y="240"/>
                  </a:lnTo>
                  <a:lnTo>
                    <a:pt x="1298" y="242"/>
                  </a:lnTo>
                  <a:lnTo>
                    <a:pt x="1288" y="258"/>
                  </a:lnTo>
                  <a:lnTo>
                    <a:pt x="1288" y="279"/>
                  </a:lnTo>
                  <a:lnTo>
                    <a:pt x="1286" y="279"/>
                  </a:lnTo>
                  <a:lnTo>
                    <a:pt x="1276" y="285"/>
                  </a:lnTo>
                  <a:lnTo>
                    <a:pt x="1274" y="286"/>
                  </a:lnTo>
                  <a:lnTo>
                    <a:pt x="1276" y="295"/>
                  </a:lnTo>
                  <a:lnTo>
                    <a:pt x="1277" y="300"/>
                  </a:lnTo>
                  <a:lnTo>
                    <a:pt x="1277" y="301"/>
                  </a:lnTo>
                  <a:lnTo>
                    <a:pt x="1291" y="315"/>
                  </a:lnTo>
                  <a:lnTo>
                    <a:pt x="1294" y="316"/>
                  </a:lnTo>
                  <a:lnTo>
                    <a:pt x="1295" y="315"/>
                  </a:lnTo>
                  <a:lnTo>
                    <a:pt x="1301" y="307"/>
                  </a:lnTo>
                  <a:lnTo>
                    <a:pt x="1306" y="306"/>
                  </a:lnTo>
                  <a:lnTo>
                    <a:pt x="1309" y="304"/>
                  </a:lnTo>
                  <a:lnTo>
                    <a:pt x="1316" y="306"/>
                  </a:lnTo>
                  <a:lnTo>
                    <a:pt x="1320" y="306"/>
                  </a:lnTo>
                  <a:lnTo>
                    <a:pt x="1331" y="303"/>
                  </a:lnTo>
                  <a:lnTo>
                    <a:pt x="1334" y="303"/>
                  </a:lnTo>
                  <a:lnTo>
                    <a:pt x="1335" y="304"/>
                  </a:lnTo>
                  <a:lnTo>
                    <a:pt x="1341" y="306"/>
                  </a:lnTo>
                  <a:lnTo>
                    <a:pt x="1344" y="307"/>
                  </a:lnTo>
                  <a:lnTo>
                    <a:pt x="1346" y="307"/>
                  </a:lnTo>
                  <a:lnTo>
                    <a:pt x="1358" y="318"/>
                  </a:lnTo>
                  <a:lnTo>
                    <a:pt x="1359" y="319"/>
                  </a:lnTo>
                  <a:lnTo>
                    <a:pt x="1362" y="313"/>
                  </a:lnTo>
                  <a:lnTo>
                    <a:pt x="1367" y="309"/>
                  </a:lnTo>
                  <a:lnTo>
                    <a:pt x="1377" y="297"/>
                  </a:lnTo>
                  <a:lnTo>
                    <a:pt x="1377" y="295"/>
                  </a:lnTo>
                  <a:lnTo>
                    <a:pt x="1380" y="294"/>
                  </a:lnTo>
                  <a:lnTo>
                    <a:pt x="1388" y="295"/>
                  </a:lnTo>
                  <a:lnTo>
                    <a:pt x="1389" y="295"/>
                  </a:lnTo>
                  <a:lnTo>
                    <a:pt x="1392" y="294"/>
                  </a:lnTo>
                  <a:lnTo>
                    <a:pt x="1394" y="292"/>
                  </a:lnTo>
                  <a:lnTo>
                    <a:pt x="1397" y="292"/>
                  </a:lnTo>
                  <a:lnTo>
                    <a:pt x="1400" y="295"/>
                  </a:lnTo>
                  <a:lnTo>
                    <a:pt x="1410" y="295"/>
                  </a:lnTo>
                  <a:lnTo>
                    <a:pt x="1413" y="297"/>
                  </a:lnTo>
                  <a:lnTo>
                    <a:pt x="1416" y="301"/>
                  </a:lnTo>
                  <a:lnTo>
                    <a:pt x="1422" y="309"/>
                  </a:lnTo>
                  <a:lnTo>
                    <a:pt x="1424" y="312"/>
                  </a:lnTo>
                  <a:lnTo>
                    <a:pt x="1433" y="316"/>
                  </a:lnTo>
                  <a:lnTo>
                    <a:pt x="1437" y="318"/>
                  </a:lnTo>
                  <a:lnTo>
                    <a:pt x="1439" y="318"/>
                  </a:lnTo>
                  <a:lnTo>
                    <a:pt x="1439" y="319"/>
                  </a:lnTo>
                  <a:lnTo>
                    <a:pt x="1440" y="321"/>
                  </a:lnTo>
                  <a:lnTo>
                    <a:pt x="1440" y="327"/>
                  </a:lnTo>
                  <a:lnTo>
                    <a:pt x="1442" y="328"/>
                  </a:lnTo>
                  <a:lnTo>
                    <a:pt x="1446" y="330"/>
                  </a:lnTo>
                  <a:lnTo>
                    <a:pt x="1449" y="330"/>
                  </a:lnTo>
                  <a:lnTo>
                    <a:pt x="1449" y="333"/>
                  </a:lnTo>
                  <a:lnTo>
                    <a:pt x="1448" y="334"/>
                  </a:lnTo>
                  <a:lnTo>
                    <a:pt x="1449" y="336"/>
                  </a:lnTo>
                  <a:lnTo>
                    <a:pt x="1457" y="342"/>
                  </a:lnTo>
                  <a:lnTo>
                    <a:pt x="1457" y="343"/>
                  </a:lnTo>
                  <a:lnTo>
                    <a:pt x="1458" y="343"/>
                  </a:lnTo>
                  <a:lnTo>
                    <a:pt x="1458" y="346"/>
                  </a:lnTo>
                  <a:lnTo>
                    <a:pt x="1461" y="346"/>
                  </a:lnTo>
                  <a:lnTo>
                    <a:pt x="1464" y="348"/>
                  </a:lnTo>
                  <a:lnTo>
                    <a:pt x="1467" y="352"/>
                  </a:lnTo>
                  <a:lnTo>
                    <a:pt x="1469" y="354"/>
                  </a:lnTo>
                  <a:lnTo>
                    <a:pt x="1469" y="357"/>
                  </a:lnTo>
                  <a:lnTo>
                    <a:pt x="1470" y="358"/>
                  </a:lnTo>
                  <a:lnTo>
                    <a:pt x="1470" y="364"/>
                  </a:lnTo>
                  <a:lnTo>
                    <a:pt x="1473" y="367"/>
                  </a:lnTo>
                  <a:lnTo>
                    <a:pt x="1473" y="369"/>
                  </a:lnTo>
                  <a:lnTo>
                    <a:pt x="1476" y="369"/>
                  </a:lnTo>
                  <a:lnTo>
                    <a:pt x="1476" y="370"/>
                  </a:lnTo>
                  <a:lnTo>
                    <a:pt x="1475" y="370"/>
                  </a:lnTo>
                  <a:lnTo>
                    <a:pt x="1475" y="372"/>
                  </a:lnTo>
                  <a:lnTo>
                    <a:pt x="1476" y="373"/>
                  </a:lnTo>
                  <a:lnTo>
                    <a:pt x="1476" y="378"/>
                  </a:lnTo>
                  <a:lnTo>
                    <a:pt x="1475" y="379"/>
                  </a:lnTo>
                  <a:lnTo>
                    <a:pt x="1476" y="379"/>
                  </a:lnTo>
                  <a:lnTo>
                    <a:pt x="1476" y="384"/>
                  </a:lnTo>
                  <a:lnTo>
                    <a:pt x="1473" y="387"/>
                  </a:lnTo>
                  <a:lnTo>
                    <a:pt x="1472" y="387"/>
                  </a:lnTo>
                  <a:lnTo>
                    <a:pt x="1472" y="385"/>
                  </a:lnTo>
                  <a:lnTo>
                    <a:pt x="1470" y="385"/>
                  </a:lnTo>
                  <a:lnTo>
                    <a:pt x="1470" y="387"/>
                  </a:lnTo>
                  <a:lnTo>
                    <a:pt x="1467" y="390"/>
                  </a:lnTo>
                  <a:lnTo>
                    <a:pt x="1466" y="390"/>
                  </a:lnTo>
                  <a:lnTo>
                    <a:pt x="1463" y="388"/>
                  </a:lnTo>
                  <a:lnTo>
                    <a:pt x="1449" y="388"/>
                  </a:lnTo>
                  <a:lnTo>
                    <a:pt x="1437" y="385"/>
                  </a:lnTo>
                  <a:lnTo>
                    <a:pt x="1436" y="385"/>
                  </a:lnTo>
                  <a:lnTo>
                    <a:pt x="1436" y="384"/>
                  </a:lnTo>
                  <a:lnTo>
                    <a:pt x="1434" y="381"/>
                  </a:lnTo>
                  <a:lnTo>
                    <a:pt x="1433" y="381"/>
                  </a:lnTo>
                  <a:lnTo>
                    <a:pt x="1431" y="382"/>
                  </a:lnTo>
                  <a:lnTo>
                    <a:pt x="1430" y="382"/>
                  </a:lnTo>
                  <a:lnTo>
                    <a:pt x="1430" y="381"/>
                  </a:lnTo>
                  <a:lnTo>
                    <a:pt x="1428" y="379"/>
                  </a:lnTo>
                  <a:lnTo>
                    <a:pt x="1428" y="378"/>
                  </a:lnTo>
                  <a:lnTo>
                    <a:pt x="1425" y="381"/>
                  </a:lnTo>
                  <a:lnTo>
                    <a:pt x="1424" y="384"/>
                  </a:lnTo>
                  <a:lnTo>
                    <a:pt x="1421" y="384"/>
                  </a:lnTo>
                  <a:lnTo>
                    <a:pt x="1419" y="382"/>
                  </a:lnTo>
                  <a:lnTo>
                    <a:pt x="1416" y="382"/>
                  </a:lnTo>
                  <a:lnTo>
                    <a:pt x="1415" y="384"/>
                  </a:lnTo>
                  <a:lnTo>
                    <a:pt x="1409" y="384"/>
                  </a:lnTo>
                  <a:lnTo>
                    <a:pt x="1406" y="382"/>
                  </a:lnTo>
                  <a:lnTo>
                    <a:pt x="1404" y="381"/>
                  </a:lnTo>
                  <a:lnTo>
                    <a:pt x="1401" y="381"/>
                  </a:lnTo>
                  <a:lnTo>
                    <a:pt x="1400" y="382"/>
                  </a:lnTo>
                  <a:lnTo>
                    <a:pt x="1398" y="382"/>
                  </a:lnTo>
                  <a:lnTo>
                    <a:pt x="1397" y="384"/>
                  </a:lnTo>
                  <a:lnTo>
                    <a:pt x="1395" y="384"/>
                  </a:lnTo>
                  <a:lnTo>
                    <a:pt x="1394" y="385"/>
                  </a:lnTo>
                  <a:lnTo>
                    <a:pt x="1392" y="385"/>
                  </a:lnTo>
                  <a:lnTo>
                    <a:pt x="1389" y="388"/>
                  </a:lnTo>
                  <a:lnTo>
                    <a:pt x="1385" y="388"/>
                  </a:lnTo>
                  <a:lnTo>
                    <a:pt x="1382" y="391"/>
                  </a:lnTo>
                  <a:lnTo>
                    <a:pt x="1382" y="393"/>
                  </a:lnTo>
                  <a:lnTo>
                    <a:pt x="1380" y="394"/>
                  </a:lnTo>
                  <a:lnTo>
                    <a:pt x="1379" y="394"/>
                  </a:lnTo>
                  <a:lnTo>
                    <a:pt x="1374" y="396"/>
                  </a:lnTo>
                  <a:lnTo>
                    <a:pt x="1371" y="394"/>
                  </a:lnTo>
                  <a:lnTo>
                    <a:pt x="1371" y="393"/>
                  </a:lnTo>
                  <a:lnTo>
                    <a:pt x="1370" y="390"/>
                  </a:lnTo>
                  <a:lnTo>
                    <a:pt x="1368" y="390"/>
                  </a:lnTo>
                  <a:lnTo>
                    <a:pt x="1367" y="391"/>
                  </a:lnTo>
                  <a:lnTo>
                    <a:pt x="1361" y="391"/>
                  </a:lnTo>
                  <a:lnTo>
                    <a:pt x="1362" y="393"/>
                  </a:lnTo>
                  <a:lnTo>
                    <a:pt x="1362" y="394"/>
                  </a:lnTo>
                  <a:lnTo>
                    <a:pt x="1359" y="397"/>
                  </a:lnTo>
                  <a:lnTo>
                    <a:pt x="1359" y="405"/>
                  </a:lnTo>
                  <a:lnTo>
                    <a:pt x="1358" y="406"/>
                  </a:lnTo>
                  <a:lnTo>
                    <a:pt x="1356" y="406"/>
                  </a:lnTo>
                  <a:lnTo>
                    <a:pt x="1341" y="405"/>
                  </a:lnTo>
                  <a:lnTo>
                    <a:pt x="1335" y="403"/>
                  </a:lnTo>
                  <a:lnTo>
                    <a:pt x="1334" y="403"/>
                  </a:lnTo>
                  <a:lnTo>
                    <a:pt x="1329" y="408"/>
                  </a:lnTo>
                  <a:lnTo>
                    <a:pt x="1326" y="408"/>
                  </a:lnTo>
                  <a:lnTo>
                    <a:pt x="1325" y="409"/>
                  </a:lnTo>
                  <a:lnTo>
                    <a:pt x="1323" y="409"/>
                  </a:lnTo>
                  <a:lnTo>
                    <a:pt x="1323" y="411"/>
                  </a:lnTo>
                  <a:lnTo>
                    <a:pt x="1322" y="412"/>
                  </a:lnTo>
                  <a:lnTo>
                    <a:pt x="1322" y="414"/>
                  </a:lnTo>
                  <a:lnTo>
                    <a:pt x="1320" y="414"/>
                  </a:lnTo>
                  <a:lnTo>
                    <a:pt x="1313" y="423"/>
                  </a:lnTo>
                  <a:lnTo>
                    <a:pt x="1307" y="435"/>
                  </a:lnTo>
                  <a:lnTo>
                    <a:pt x="1307" y="439"/>
                  </a:lnTo>
                  <a:lnTo>
                    <a:pt x="1309" y="441"/>
                  </a:lnTo>
                  <a:lnTo>
                    <a:pt x="1309" y="442"/>
                  </a:lnTo>
                  <a:lnTo>
                    <a:pt x="1307" y="444"/>
                  </a:lnTo>
                  <a:lnTo>
                    <a:pt x="1304" y="448"/>
                  </a:lnTo>
                  <a:lnTo>
                    <a:pt x="1304" y="450"/>
                  </a:lnTo>
                  <a:lnTo>
                    <a:pt x="1301" y="451"/>
                  </a:lnTo>
                  <a:lnTo>
                    <a:pt x="1300" y="451"/>
                  </a:lnTo>
                  <a:lnTo>
                    <a:pt x="1298" y="450"/>
                  </a:lnTo>
                  <a:lnTo>
                    <a:pt x="1297" y="451"/>
                  </a:lnTo>
                  <a:lnTo>
                    <a:pt x="1286" y="460"/>
                  </a:lnTo>
                  <a:lnTo>
                    <a:pt x="1283" y="465"/>
                  </a:lnTo>
                  <a:lnTo>
                    <a:pt x="1282" y="465"/>
                  </a:lnTo>
                  <a:lnTo>
                    <a:pt x="1280" y="466"/>
                  </a:lnTo>
                  <a:lnTo>
                    <a:pt x="1273" y="468"/>
                  </a:lnTo>
                  <a:lnTo>
                    <a:pt x="1267" y="469"/>
                  </a:lnTo>
                  <a:lnTo>
                    <a:pt x="1256" y="469"/>
                  </a:lnTo>
                  <a:lnTo>
                    <a:pt x="1249" y="471"/>
                  </a:lnTo>
                  <a:lnTo>
                    <a:pt x="1247" y="471"/>
                  </a:lnTo>
                  <a:lnTo>
                    <a:pt x="1240" y="468"/>
                  </a:lnTo>
                  <a:lnTo>
                    <a:pt x="1237" y="466"/>
                  </a:lnTo>
                  <a:lnTo>
                    <a:pt x="1235" y="468"/>
                  </a:lnTo>
                  <a:lnTo>
                    <a:pt x="1229" y="469"/>
                  </a:lnTo>
                  <a:lnTo>
                    <a:pt x="1229" y="474"/>
                  </a:lnTo>
                  <a:lnTo>
                    <a:pt x="1228" y="475"/>
                  </a:lnTo>
                  <a:lnTo>
                    <a:pt x="1225" y="481"/>
                  </a:lnTo>
                  <a:lnTo>
                    <a:pt x="1214" y="490"/>
                  </a:lnTo>
                  <a:lnTo>
                    <a:pt x="1211" y="493"/>
                  </a:lnTo>
                  <a:lnTo>
                    <a:pt x="1211" y="495"/>
                  </a:lnTo>
                  <a:lnTo>
                    <a:pt x="1210" y="498"/>
                  </a:lnTo>
                  <a:lnTo>
                    <a:pt x="1208" y="499"/>
                  </a:lnTo>
                  <a:lnTo>
                    <a:pt x="1205" y="499"/>
                  </a:lnTo>
                  <a:lnTo>
                    <a:pt x="1204" y="501"/>
                  </a:lnTo>
                  <a:lnTo>
                    <a:pt x="1199" y="501"/>
                  </a:lnTo>
                  <a:lnTo>
                    <a:pt x="1198" y="504"/>
                  </a:lnTo>
                  <a:lnTo>
                    <a:pt x="1193" y="507"/>
                  </a:lnTo>
                  <a:lnTo>
                    <a:pt x="1189" y="511"/>
                  </a:lnTo>
                  <a:lnTo>
                    <a:pt x="1183" y="511"/>
                  </a:lnTo>
                  <a:lnTo>
                    <a:pt x="1181" y="510"/>
                  </a:lnTo>
                  <a:lnTo>
                    <a:pt x="1163" y="508"/>
                  </a:lnTo>
                  <a:lnTo>
                    <a:pt x="1160" y="507"/>
                  </a:lnTo>
                  <a:lnTo>
                    <a:pt x="1157" y="507"/>
                  </a:lnTo>
                  <a:lnTo>
                    <a:pt x="1147" y="504"/>
                  </a:lnTo>
                  <a:lnTo>
                    <a:pt x="1141" y="501"/>
                  </a:lnTo>
                  <a:lnTo>
                    <a:pt x="1141" y="499"/>
                  </a:lnTo>
                  <a:lnTo>
                    <a:pt x="1140" y="498"/>
                  </a:lnTo>
                  <a:lnTo>
                    <a:pt x="1138" y="495"/>
                  </a:lnTo>
                  <a:lnTo>
                    <a:pt x="1134" y="492"/>
                  </a:lnTo>
                  <a:lnTo>
                    <a:pt x="1132" y="490"/>
                  </a:lnTo>
                  <a:lnTo>
                    <a:pt x="1119" y="490"/>
                  </a:lnTo>
                  <a:lnTo>
                    <a:pt x="1114" y="489"/>
                  </a:lnTo>
                  <a:lnTo>
                    <a:pt x="1111" y="489"/>
                  </a:lnTo>
                  <a:lnTo>
                    <a:pt x="1111" y="490"/>
                  </a:lnTo>
                  <a:lnTo>
                    <a:pt x="1110" y="490"/>
                  </a:lnTo>
                  <a:lnTo>
                    <a:pt x="1110" y="492"/>
                  </a:lnTo>
                  <a:lnTo>
                    <a:pt x="1107" y="492"/>
                  </a:lnTo>
                  <a:lnTo>
                    <a:pt x="1104" y="495"/>
                  </a:lnTo>
                  <a:lnTo>
                    <a:pt x="1102" y="495"/>
                  </a:lnTo>
                  <a:lnTo>
                    <a:pt x="1102" y="496"/>
                  </a:lnTo>
                  <a:lnTo>
                    <a:pt x="1093" y="514"/>
                  </a:lnTo>
                  <a:lnTo>
                    <a:pt x="1092" y="515"/>
                  </a:lnTo>
                  <a:lnTo>
                    <a:pt x="1092" y="517"/>
                  </a:lnTo>
                  <a:lnTo>
                    <a:pt x="1093" y="518"/>
                  </a:lnTo>
                  <a:lnTo>
                    <a:pt x="1093" y="520"/>
                  </a:lnTo>
                  <a:lnTo>
                    <a:pt x="1092" y="521"/>
                  </a:lnTo>
                  <a:lnTo>
                    <a:pt x="1092" y="523"/>
                  </a:lnTo>
                  <a:lnTo>
                    <a:pt x="1090" y="524"/>
                  </a:lnTo>
                  <a:lnTo>
                    <a:pt x="1090" y="526"/>
                  </a:lnTo>
                  <a:lnTo>
                    <a:pt x="1089" y="527"/>
                  </a:lnTo>
                  <a:lnTo>
                    <a:pt x="1089" y="529"/>
                  </a:lnTo>
                  <a:lnTo>
                    <a:pt x="1086" y="532"/>
                  </a:lnTo>
                  <a:lnTo>
                    <a:pt x="1086" y="538"/>
                  </a:lnTo>
                  <a:lnTo>
                    <a:pt x="1089" y="539"/>
                  </a:lnTo>
                  <a:lnTo>
                    <a:pt x="1090" y="541"/>
                  </a:lnTo>
                  <a:lnTo>
                    <a:pt x="1090" y="544"/>
                  </a:lnTo>
                  <a:lnTo>
                    <a:pt x="1092" y="547"/>
                  </a:lnTo>
                  <a:lnTo>
                    <a:pt x="1093" y="548"/>
                  </a:lnTo>
                  <a:lnTo>
                    <a:pt x="1096" y="554"/>
                  </a:lnTo>
                  <a:lnTo>
                    <a:pt x="1098" y="556"/>
                  </a:lnTo>
                  <a:lnTo>
                    <a:pt x="1104" y="559"/>
                  </a:lnTo>
                  <a:lnTo>
                    <a:pt x="1107" y="562"/>
                  </a:lnTo>
                  <a:lnTo>
                    <a:pt x="1110" y="571"/>
                  </a:lnTo>
                  <a:lnTo>
                    <a:pt x="1111" y="572"/>
                  </a:lnTo>
                  <a:lnTo>
                    <a:pt x="1111" y="577"/>
                  </a:lnTo>
                  <a:lnTo>
                    <a:pt x="1110" y="578"/>
                  </a:lnTo>
                  <a:lnTo>
                    <a:pt x="1108" y="578"/>
                  </a:lnTo>
                  <a:lnTo>
                    <a:pt x="1107" y="580"/>
                  </a:lnTo>
                  <a:lnTo>
                    <a:pt x="1102" y="580"/>
                  </a:lnTo>
                  <a:lnTo>
                    <a:pt x="1095" y="589"/>
                  </a:lnTo>
                  <a:lnTo>
                    <a:pt x="1093" y="590"/>
                  </a:lnTo>
                  <a:lnTo>
                    <a:pt x="1092" y="590"/>
                  </a:lnTo>
                  <a:lnTo>
                    <a:pt x="1087" y="592"/>
                  </a:lnTo>
                  <a:lnTo>
                    <a:pt x="1086" y="592"/>
                  </a:lnTo>
                  <a:lnTo>
                    <a:pt x="1083" y="595"/>
                  </a:lnTo>
                  <a:lnTo>
                    <a:pt x="1072" y="599"/>
                  </a:lnTo>
                  <a:lnTo>
                    <a:pt x="1066" y="602"/>
                  </a:lnTo>
                  <a:lnTo>
                    <a:pt x="1065" y="604"/>
                  </a:lnTo>
                  <a:lnTo>
                    <a:pt x="1059" y="613"/>
                  </a:lnTo>
                  <a:lnTo>
                    <a:pt x="1053" y="619"/>
                  </a:lnTo>
                  <a:lnTo>
                    <a:pt x="1051" y="623"/>
                  </a:lnTo>
                  <a:lnTo>
                    <a:pt x="1050" y="625"/>
                  </a:lnTo>
                  <a:lnTo>
                    <a:pt x="1048" y="628"/>
                  </a:lnTo>
                  <a:lnTo>
                    <a:pt x="1044" y="631"/>
                  </a:lnTo>
                  <a:lnTo>
                    <a:pt x="1042" y="632"/>
                  </a:lnTo>
                  <a:lnTo>
                    <a:pt x="1041" y="635"/>
                  </a:lnTo>
                  <a:lnTo>
                    <a:pt x="1041" y="637"/>
                  </a:lnTo>
                  <a:lnTo>
                    <a:pt x="1027" y="641"/>
                  </a:lnTo>
                  <a:lnTo>
                    <a:pt x="1026" y="643"/>
                  </a:lnTo>
                  <a:lnTo>
                    <a:pt x="1026" y="644"/>
                  </a:lnTo>
                  <a:lnTo>
                    <a:pt x="1021" y="644"/>
                  </a:lnTo>
                  <a:lnTo>
                    <a:pt x="1017" y="646"/>
                  </a:lnTo>
                  <a:lnTo>
                    <a:pt x="1006" y="650"/>
                  </a:lnTo>
                  <a:lnTo>
                    <a:pt x="999" y="655"/>
                  </a:lnTo>
                  <a:lnTo>
                    <a:pt x="999" y="656"/>
                  </a:lnTo>
                  <a:lnTo>
                    <a:pt x="992" y="656"/>
                  </a:lnTo>
                  <a:lnTo>
                    <a:pt x="989" y="658"/>
                  </a:lnTo>
                  <a:lnTo>
                    <a:pt x="987" y="658"/>
                  </a:lnTo>
                  <a:lnTo>
                    <a:pt x="975" y="656"/>
                  </a:lnTo>
                  <a:lnTo>
                    <a:pt x="974" y="656"/>
                  </a:lnTo>
                  <a:lnTo>
                    <a:pt x="969" y="659"/>
                  </a:lnTo>
                  <a:lnTo>
                    <a:pt x="966" y="659"/>
                  </a:lnTo>
                  <a:lnTo>
                    <a:pt x="954" y="658"/>
                  </a:lnTo>
                  <a:lnTo>
                    <a:pt x="945" y="658"/>
                  </a:lnTo>
                  <a:lnTo>
                    <a:pt x="941" y="656"/>
                  </a:lnTo>
                  <a:lnTo>
                    <a:pt x="932" y="656"/>
                  </a:lnTo>
                  <a:lnTo>
                    <a:pt x="912" y="659"/>
                  </a:lnTo>
                  <a:lnTo>
                    <a:pt x="893" y="664"/>
                  </a:lnTo>
                  <a:lnTo>
                    <a:pt x="873" y="667"/>
                  </a:lnTo>
                  <a:lnTo>
                    <a:pt x="832" y="685"/>
                  </a:lnTo>
                  <a:lnTo>
                    <a:pt x="811" y="695"/>
                  </a:lnTo>
                  <a:lnTo>
                    <a:pt x="808" y="698"/>
                  </a:lnTo>
                  <a:lnTo>
                    <a:pt x="805" y="700"/>
                  </a:lnTo>
                  <a:lnTo>
                    <a:pt x="802" y="700"/>
                  </a:lnTo>
                  <a:lnTo>
                    <a:pt x="793" y="709"/>
                  </a:lnTo>
                  <a:lnTo>
                    <a:pt x="791" y="709"/>
                  </a:lnTo>
                  <a:lnTo>
                    <a:pt x="788" y="706"/>
                  </a:lnTo>
                  <a:lnTo>
                    <a:pt x="770" y="706"/>
                  </a:lnTo>
                  <a:lnTo>
                    <a:pt x="769" y="704"/>
                  </a:lnTo>
                  <a:lnTo>
                    <a:pt x="769" y="692"/>
                  </a:lnTo>
                  <a:lnTo>
                    <a:pt x="751" y="695"/>
                  </a:lnTo>
                  <a:lnTo>
                    <a:pt x="733" y="700"/>
                  </a:lnTo>
                  <a:lnTo>
                    <a:pt x="733" y="698"/>
                  </a:lnTo>
                  <a:lnTo>
                    <a:pt x="719" y="692"/>
                  </a:lnTo>
                  <a:lnTo>
                    <a:pt x="706" y="685"/>
                  </a:lnTo>
                  <a:lnTo>
                    <a:pt x="704" y="683"/>
                  </a:lnTo>
                  <a:lnTo>
                    <a:pt x="688" y="680"/>
                  </a:lnTo>
                  <a:lnTo>
                    <a:pt x="672" y="676"/>
                  </a:lnTo>
                  <a:lnTo>
                    <a:pt x="657" y="673"/>
                  </a:lnTo>
                  <a:lnTo>
                    <a:pt x="654" y="671"/>
                  </a:lnTo>
                  <a:lnTo>
                    <a:pt x="649" y="667"/>
                  </a:lnTo>
                  <a:lnTo>
                    <a:pt x="643" y="655"/>
                  </a:lnTo>
                  <a:lnTo>
                    <a:pt x="639" y="652"/>
                  </a:lnTo>
                  <a:lnTo>
                    <a:pt x="633" y="650"/>
                  </a:lnTo>
                  <a:lnTo>
                    <a:pt x="628" y="650"/>
                  </a:lnTo>
                  <a:lnTo>
                    <a:pt x="619" y="652"/>
                  </a:lnTo>
                  <a:lnTo>
                    <a:pt x="600" y="649"/>
                  </a:lnTo>
                  <a:lnTo>
                    <a:pt x="564" y="643"/>
                  </a:lnTo>
                  <a:lnTo>
                    <a:pt x="561" y="643"/>
                  </a:lnTo>
                  <a:lnTo>
                    <a:pt x="546" y="647"/>
                  </a:lnTo>
                  <a:lnTo>
                    <a:pt x="538" y="649"/>
                  </a:lnTo>
                  <a:lnTo>
                    <a:pt x="520" y="647"/>
                  </a:lnTo>
                  <a:lnTo>
                    <a:pt x="501" y="644"/>
                  </a:lnTo>
                  <a:lnTo>
                    <a:pt x="483" y="641"/>
                  </a:lnTo>
                  <a:lnTo>
                    <a:pt x="464" y="640"/>
                  </a:lnTo>
                  <a:lnTo>
                    <a:pt x="449" y="637"/>
                  </a:lnTo>
                  <a:lnTo>
                    <a:pt x="434" y="635"/>
                  </a:lnTo>
                  <a:lnTo>
                    <a:pt x="401" y="638"/>
                  </a:lnTo>
                  <a:lnTo>
                    <a:pt x="396" y="640"/>
                  </a:lnTo>
                  <a:lnTo>
                    <a:pt x="395" y="638"/>
                  </a:lnTo>
                  <a:lnTo>
                    <a:pt x="395" y="629"/>
                  </a:lnTo>
                  <a:lnTo>
                    <a:pt x="393" y="628"/>
                  </a:lnTo>
                  <a:lnTo>
                    <a:pt x="393" y="626"/>
                  </a:lnTo>
                  <a:lnTo>
                    <a:pt x="374" y="607"/>
                  </a:lnTo>
                  <a:lnTo>
                    <a:pt x="372" y="604"/>
                  </a:lnTo>
                  <a:lnTo>
                    <a:pt x="372" y="598"/>
                  </a:lnTo>
                  <a:lnTo>
                    <a:pt x="371" y="596"/>
                  </a:lnTo>
                  <a:lnTo>
                    <a:pt x="365" y="583"/>
                  </a:lnTo>
                  <a:lnTo>
                    <a:pt x="360" y="566"/>
                  </a:lnTo>
                  <a:lnTo>
                    <a:pt x="357" y="562"/>
                  </a:lnTo>
                  <a:lnTo>
                    <a:pt x="357" y="560"/>
                  </a:lnTo>
                  <a:lnTo>
                    <a:pt x="354" y="559"/>
                  </a:lnTo>
                  <a:lnTo>
                    <a:pt x="349" y="559"/>
                  </a:lnTo>
                  <a:lnTo>
                    <a:pt x="349" y="547"/>
                  </a:lnTo>
                  <a:lnTo>
                    <a:pt x="350" y="545"/>
                  </a:lnTo>
                  <a:lnTo>
                    <a:pt x="350" y="544"/>
                  </a:lnTo>
                  <a:lnTo>
                    <a:pt x="352" y="542"/>
                  </a:lnTo>
                  <a:lnTo>
                    <a:pt x="352" y="541"/>
                  </a:lnTo>
                  <a:lnTo>
                    <a:pt x="335" y="542"/>
                  </a:lnTo>
                  <a:lnTo>
                    <a:pt x="334" y="542"/>
                  </a:lnTo>
                  <a:lnTo>
                    <a:pt x="329" y="539"/>
                  </a:lnTo>
                  <a:lnTo>
                    <a:pt x="320" y="538"/>
                  </a:lnTo>
                  <a:lnTo>
                    <a:pt x="320" y="536"/>
                  </a:lnTo>
                  <a:lnTo>
                    <a:pt x="319" y="536"/>
                  </a:lnTo>
                  <a:lnTo>
                    <a:pt x="319" y="535"/>
                  </a:lnTo>
                  <a:lnTo>
                    <a:pt x="314" y="530"/>
                  </a:lnTo>
                  <a:lnTo>
                    <a:pt x="308" y="527"/>
                  </a:lnTo>
                  <a:lnTo>
                    <a:pt x="307" y="526"/>
                  </a:lnTo>
                  <a:lnTo>
                    <a:pt x="304" y="526"/>
                  </a:lnTo>
                  <a:lnTo>
                    <a:pt x="302" y="524"/>
                  </a:lnTo>
                  <a:lnTo>
                    <a:pt x="301" y="521"/>
                  </a:lnTo>
                  <a:lnTo>
                    <a:pt x="295" y="515"/>
                  </a:lnTo>
                  <a:lnTo>
                    <a:pt x="292" y="517"/>
                  </a:lnTo>
                  <a:lnTo>
                    <a:pt x="286" y="517"/>
                  </a:lnTo>
                  <a:lnTo>
                    <a:pt x="281" y="513"/>
                  </a:lnTo>
                  <a:lnTo>
                    <a:pt x="274" y="502"/>
                  </a:lnTo>
                  <a:lnTo>
                    <a:pt x="266" y="498"/>
                  </a:lnTo>
                  <a:lnTo>
                    <a:pt x="260" y="498"/>
                  </a:lnTo>
                  <a:lnTo>
                    <a:pt x="259" y="496"/>
                  </a:lnTo>
                  <a:lnTo>
                    <a:pt x="253" y="496"/>
                  </a:lnTo>
                  <a:lnTo>
                    <a:pt x="250" y="495"/>
                  </a:lnTo>
                  <a:lnTo>
                    <a:pt x="239" y="495"/>
                  </a:lnTo>
                  <a:lnTo>
                    <a:pt x="238" y="493"/>
                  </a:lnTo>
                  <a:lnTo>
                    <a:pt x="235" y="492"/>
                  </a:lnTo>
                  <a:lnTo>
                    <a:pt x="233" y="493"/>
                  </a:lnTo>
                  <a:lnTo>
                    <a:pt x="232" y="493"/>
                  </a:lnTo>
                  <a:lnTo>
                    <a:pt x="230" y="492"/>
                  </a:lnTo>
                  <a:lnTo>
                    <a:pt x="224" y="493"/>
                  </a:lnTo>
                  <a:lnTo>
                    <a:pt x="221" y="493"/>
                  </a:lnTo>
                  <a:lnTo>
                    <a:pt x="217" y="495"/>
                  </a:lnTo>
                  <a:lnTo>
                    <a:pt x="215" y="495"/>
                  </a:lnTo>
                  <a:lnTo>
                    <a:pt x="214" y="493"/>
                  </a:lnTo>
                  <a:lnTo>
                    <a:pt x="211" y="495"/>
                  </a:lnTo>
                  <a:lnTo>
                    <a:pt x="209" y="493"/>
                  </a:lnTo>
                  <a:lnTo>
                    <a:pt x="208" y="493"/>
                  </a:lnTo>
                  <a:lnTo>
                    <a:pt x="206" y="495"/>
                  </a:lnTo>
                  <a:lnTo>
                    <a:pt x="205" y="493"/>
                  </a:lnTo>
                  <a:lnTo>
                    <a:pt x="200" y="490"/>
                  </a:lnTo>
                  <a:lnTo>
                    <a:pt x="174" y="490"/>
                  </a:lnTo>
                  <a:lnTo>
                    <a:pt x="171" y="486"/>
                  </a:lnTo>
                  <a:lnTo>
                    <a:pt x="168" y="486"/>
                  </a:lnTo>
                  <a:lnTo>
                    <a:pt x="168" y="487"/>
                  </a:lnTo>
                  <a:lnTo>
                    <a:pt x="166" y="487"/>
                  </a:lnTo>
                  <a:lnTo>
                    <a:pt x="162" y="486"/>
                  </a:lnTo>
                  <a:lnTo>
                    <a:pt x="159" y="484"/>
                  </a:lnTo>
                  <a:lnTo>
                    <a:pt x="157" y="484"/>
                  </a:lnTo>
                  <a:lnTo>
                    <a:pt x="157" y="483"/>
                  </a:lnTo>
                  <a:lnTo>
                    <a:pt x="156" y="481"/>
                  </a:lnTo>
                  <a:lnTo>
                    <a:pt x="148" y="481"/>
                  </a:lnTo>
                  <a:lnTo>
                    <a:pt x="145" y="483"/>
                  </a:lnTo>
                  <a:lnTo>
                    <a:pt x="144" y="483"/>
                  </a:lnTo>
                  <a:lnTo>
                    <a:pt x="144" y="477"/>
                  </a:lnTo>
                  <a:lnTo>
                    <a:pt x="142" y="477"/>
                  </a:lnTo>
                  <a:lnTo>
                    <a:pt x="141" y="475"/>
                  </a:lnTo>
                  <a:lnTo>
                    <a:pt x="141" y="472"/>
                  </a:lnTo>
                  <a:lnTo>
                    <a:pt x="139" y="471"/>
                  </a:lnTo>
                  <a:lnTo>
                    <a:pt x="139" y="468"/>
                  </a:lnTo>
                  <a:lnTo>
                    <a:pt x="135" y="463"/>
                  </a:lnTo>
                  <a:lnTo>
                    <a:pt x="133" y="463"/>
                  </a:lnTo>
                  <a:lnTo>
                    <a:pt x="136" y="447"/>
                  </a:lnTo>
                  <a:lnTo>
                    <a:pt x="136" y="445"/>
                  </a:lnTo>
                  <a:lnTo>
                    <a:pt x="147" y="433"/>
                  </a:lnTo>
                  <a:lnTo>
                    <a:pt x="148" y="430"/>
                  </a:lnTo>
                  <a:lnTo>
                    <a:pt x="150" y="430"/>
                  </a:lnTo>
                  <a:lnTo>
                    <a:pt x="150" y="421"/>
                  </a:lnTo>
                  <a:lnTo>
                    <a:pt x="148" y="420"/>
                  </a:lnTo>
                  <a:lnTo>
                    <a:pt x="148" y="418"/>
                  </a:lnTo>
                  <a:lnTo>
                    <a:pt x="145" y="411"/>
                  </a:lnTo>
                  <a:lnTo>
                    <a:pt x="145" y="408"/>
                  </a:lnTo>
                  <a:lnTo>
                    <a:pt x="147" y="406"/>
                  </a:lnTo>
                  <a:lnTo>
                    <a:pt x="148" y="402"/>
                  </a:lnTo>
                  <a:lnTo>
                    <a:pt x="150" y="400"/>
                  </a:lnTo>
                  <a:lnTo>
                    <a:pt x="150" y="397"/>
                  </a:lnTo>
                  <a:lnTo>
                    <a:pt x="151" y="397"/>
                  </a:lnTo>
                  <a:lnTo>
                    <a:pt x="151" y="394"/>
                  </a:lnTo>
                  <a:lnTo>
                    <a:pt x="153" y="393"/>
                  </a:lnTo>
                  <a:lnTo>
                    <a:pt x="153" y="391"/>
                  </a:lnTo>
                  <a:lnTo>
                    <a:pt x="151" y="391"/>
                  </a:lnTo>
                  <a:lnTo>
                    <a:pt x="150" y="390"/>
                  </a:lnTo>
                  <a:lnTo>
                    <a:pt x="150" y="388"/>
                  </a:lnTo>
                  <a:lnTo>
                    <a:pt x="151" y="385"/>
                  </a:lnTo>
                  <a:lnTo>
                    <a:pt x="151" y="382"/>
                  </a:lnTo>
                  <a:lnTo>
                    <a:pt x="150" y="381"/>
                  </a:lnTo>
                  <a:lnTo>
                    <a:pt x="148" y="378"/>
                  </a:lnTo>
                  <a:lnTo>
                    <a:pt x="147" y="376"/>
                  </a:lnTo>
                  <a:lnTo>
                    <a:pt x="147" y="370"/>
                  </a:lnTo>
                  <a:lnTo>
                    <a:pt x="145" y="370"/>
                  </a:lnTo>
                  <a:lnTo>
                    <a:pt x="145" y="366"/>
                  </a:lnTo>
                  <a:lnTo>
                    <a:pt x="144" y="366"/>
                  </a:lnTo>
                  <a:lnTo>
                    <a:pt x="144" y="364"/>
                  </a:lnTo>
                  <a:lnTo>
                    <a:pt x="139" y="364"/>
                  </a:lnTo>
                  <a:lnTo>
                    <a:pt x="136" y="361"/>
                  </a:lnTo>
                  <a:lnTo>
                    <a:pt x="126" y="342"/>
                  </a:lnTo>
                  <a:lnTo>
                    <a:pt x="126" y="336"/>
                  </a:lnTo>
                  <a:lnTo>
                    <a:pt x="124" y="336"/>
                  </a:lnTo>
                  <a:lnTo>
                    <a:pt x="124" y="328"/>
                  </a:lnTo>
                  <a:lnTo>
                    <a:pt x="123" y="327"/>
                  </a:lnTo>
                  <a:lnTo>
                    <a:pt x="121" y="327"/>
                  </a:lnTo>
                  <a:lnTo>
                    <a:pt x="120" y="322"/>
                  </a:lnTo>
                  <a:lnTo>
                    <a:pt x="120" y="318"/>
                  </a:lnTo>
                  <a:lnTo>
                    <a:pt x="118" y="318"/>
                  </a:lnTo>
                  <a:lnTo>
                    <a:pt x="118" y="316"/>
                  </a:lnTo>
                  <a:lnTo>
                    <a:pt x="114" y="316"/>
                  </a:lnTo>
                  <a:lnTo>
                    <a:pt x="111" y="315"/>
                  </a:lnTo>
                  <a:lnTo>
                    <a:pt x="108" y="312"/>
                  </a:lnTo>
                  <a:lnTo>
                    <a:pt x="108" y="310"/>
                  </a:lnTo>
                  <a:lnTo>
                    <a:pt x="106" y="309"/>
                  </a:lnTo>
                  <a:lnTo>
                    <a:pt x="106" y="303"/>
                  </a:lnTo>
                  <a:lnTo>
                    <a:pt x="102" y="303"/>
                  </a:lnTo>
                  <a:lnTo>
                    <a:pt x="102" y="304"/>
                  </a:lnTo>
                  <a:lnTo>
                    <a:pt x="99" y="307"/>
                  </a:lnTo>
                  <a:lnTo>
                    <a:pt x="93" y="307"/>
                  </a:lnTo>
                  <a:lnTo>
                    <a:pt x="91" y="306"/>
                  </a:lnTo>
                  <a:lnTo>
                    <a:pt x="91" y="303"/>
                  </a:lnTo>
                  <a:lnTo>
                    <a:pt x="88" y="303"/>
                  </a:lnTo>
                  <a:lnTo>
                    <a:pt x="88" y="301"/>
                  </a:lnTo>
                  <a:lnTo>
                    <a:pt x="87" y="300"/>
                  </a:lnTo>
                  <a:lnTo>
                    <a:pt x="87" y="298"/>
                  </a:lnTo>
                  <a:lnTo>
                    <a:pt x="85" y="298"/>
                  </a:lnTo>
                  <a:lnTo>
                    <a:pt x="85" y="297"/>
                  </a:lnTo>
                  <a:lnTo>
                    <a:pt x="84" y="297"/>
                  </a:lnTo>
                  <a:lnTo>
                    <a:pt x="84" y="294"/>
                  </a:lnTo>
                  <a:lnTo>
                    <a:pt x="82" y="292"/>
                  </a:lnTo>
                  <a:lnTo>
                    <a:pt x="81" y="292"/>
                  </a:lnTo>
                  <a:lnTo>
                    <a:pt x="79" y="294"/>
                  </a:lnTo>
                  <a:lnTo>
                    <a:pt x="76" y="294"/>
                  </a:lnTo>
                  <a:lnTo>
                    <a:pt x="75" y="292"/>
                  </a:lnTo>
                  <a:lnTo>
                    <a:pt x="73" y="292"/>
                  </a:lnTo>
                  <a:lnTo>
                    <a:pt x="69" y="297"/>
                  </a:lnTo>
                  <a:lnTo>
                    <a:pt x="67" y="297"/>
                  </a:lnTo>
                  <a:lnTo>
                    <a:pt x="66" y="295"/>
                  </a:lnTo>
                  <a:lnTo>
                    <a:pt x="60" y="295"/>
                  </a:lnTo>
                  <a:lnTo>
                    <a:pt x="55" y="288"/>
                  </a:lnTo>
                  <a:lnTo>
                    <a:pt x="49" y="288"/>
                  </a:lnTo>
                  <a:lnTo>
                    <a:pt x="45" y="283"/>
                  </a:lnTo>
                  <a:lnTo>
                    <a:pt x="42" y="283"/>
                  </a:lnTo>
                  <a:lnTo>
                    <a:pt x="39" y="282"/>
                  </a:lnTo>
                  <a:lnTo>
                    <a:pt x="39" y="277"/>
                  </a:lnTo>
                  <a:lnTo>
                    <a:pt x="37" y="276"/>
                  </a:lnTo>
                  <a:lnTo>
                    <a:pt x="37" y="274"/>
                  </a:lnTo>
                  <a:lnTo>
                    <a:pt x="39" y="273"/>
                  </a:lnTo>
                  <a:lnTo>
                    <a:pt x="37" y="271"/>
                  </a:lnTo>
                  <a:lnTo>
                    <a:pt x="36" y="268"/>
                  </a:lnTo>
                  <a:lnTo>
                    <a:pt x="34" y="267"/>
                  </a:lnTo>
                  <a:lnTo>
                    <a:pt x="33" y="267"/>
                  </a:lnTo>
                  <a:lnTo>
                    <a:pt x="33" y="268"/>
                  </a:lnTo>
                  <a:lnTo>
                    <a:pt x="32" y="268"/>
                  </a:lnTo>
                  <a:lnTo>
                    <a:pt x="26" y="262"/>
                  </a:lnTo>
                  <a:lnTo>
                    <a:pt x="23" y="261"/>
                  </a:lnTo>
                  <a:lnTo>
                    <a:pt x="20" y="261"/>
                  </a:lnTo>
                  <a:lnTo>
                    <a:pt x="17" y="258"/>
                  </a:lnTo>
                  <a:lnTo>
                    <a:pt x="14" y="258"/>
                  </a:lnTo>
                  <a:lnTo>
                    <a:pt x="9" y="254"/>
                  </a:lnTo>
                  <a:lnTo>
                    <a:pt x="11" y="252"/>
                  </a:lnTo>
                  <a:lnTo>
                    <a:pt x="12" y="252"/>
                  </a:lnTo>
                  <a:lnTo>
                    <a:pt x="12" y="251"/>
                  </a:lnTo>
                  <a:lnTo>
                    <a:pt x="15" y="249"/>
                  </a:lnTo>
                  <a:lnTo>
                    <a:pt x="15" y="246"/>
                  </a:lnTo>
                  <a:lnTo>
                    <a:pt x="14" y="245"/>
                  </a:lnTo>
                  <a:lnTo>
                    <a:pt x="11" y="243"/>
                  </a:lnTo>
                  <a:lnTo>
                    <a:pt x="8" y="243"/>
                  </a:lnTo>
                  <a:lnTo>
                    <a:pt x="5" y="242"/>
                  </a:lnTo>
                  <a:lnTo>
                    <a:pt x="5" y="240"/>
                  </a:lnTo>
                  <a:lnTo>
                    <a:pt x="3" y="240"/>
                  </a:lnTo>
                  <a:lnTo>
                    <a:pt x="3" y="237"/>
                  </a:lnTo>
                  <a:lnTo>
                    <a:pt x="2" y="236"/>
                  </a:lnTo>
                  <a:lnTo>
                    <a:pt x="0" y="236"/>
                  </a:lnTo>
                  <a:lnTo>
                    <a:pt x="0" y="233"/>
                  </a:lnTo>
                  <a:lnTo>
                    <a:pt x="2" y="231"/>
                  </a:lnTo>
                  <a:lnTo>
                    <a:pt x="5" y="230"/>
                  </a:lnTo>
                  <a:lnTo>
                    <a:pt x="6" y="228"/>
                  </a:lnTo>
                  <a:lnTo>
                    <a:pt x="6" y="225"/>
                  </a:lnTo>
                  <a:lnTo>
                    <a:pt x="5" y="225"/>
                  </a:lnTo>
                  <a:lnTo>
                    <a:pt x="5" y="224"/>
                  </a:lnTo>
                  <a:lnTo>
                    <a:pt x="3" y="222"/>
                  </a:lnTo>
                  <a:lnTo>
                    <a:pt x="5" y="221"/>
                  </a:lnTo>
                  <a:lnTo>
                    <a:pt x="5" y="215"/>
                  </a:lnTo>
                  <a:lnTo>
                    <a:pt x="11" y="215"/>
                  </a:lnTo>
                  <a:lnTo>
                    <a:pt x="11" y="213"/>
                  </a:lnTo>
                  <a:lnTo>
                    <a:pt x="12" y="213"/>
                  </a:lnTo>
                  <a:lnTo>
                    <a:pt x="14" y="210"/>
                  </a:lnTo>
                  <a:lnTo>
                    <a:pt x="20" y="207"/>
                  </a:lnTo>
                  <a:lnTo>
                    <a:pt x="20" y="206"/>
                  </a:lnTo>
                  <a:lnTo>
                    <a:pt x="18" y="203"/>
                  </a:lnTo>
                  <a:lnTo>
                    <a:pt x="18" y="198"/>
                  </a:lnTo>
                  <a:lnTo>
                    <a:pt x="20" y="198"/>
                  </a:lnTo>
                  <a:lnTo>
                    <a:pt x="20" y="195"/>
                  </a:lnTo>
                  <a:lnTo>
                    <a:pt x="21" y="194"/>
                  </a:lnTo>
                  <a:lnTo>
                    <a:pt x="30" y="192"/>
                  </a:lnTo>
                  <a:lnTo>
                    <a:pt x="33" y="194"/>
                  </a:lnTo>
                  <a:lnTo>
                    <a:pt x="37" y="194"/>
                  </a:lnTo>
                  <a:lnTo>
                    <a:pt x="37" y="192"/>
                  </a:lnTo>
                  <a:lnTo>
                    <a:pt x="39" y="192"/>
                  </a:lnTo>
                  <a:lnTo>
                    <a:pt x="40" y="191"/>
                  </a:lnTo>
                  <a:lnTo>
                    <a:pt x="42" y="191"/>
                  </a:lnTo>
                  <a:lnTo>
                    <a:pt x="42" y="192"/>
                  </a:lnTo>
                  <a:lnTo>
                    <a:pt x="43" y="194"/>
                  </a:lnTo>
                  <a:lnTo>
                    <a:pt x="43" y="195"/>
                  </a:lnTo>
                  <a:lnTo>
                    <a:pt x="52" y="195"/>
                  </a:lnTo>
                  <a:lnTo>
                    <a:pt x="51" y="192"/>
                  </a:lnTo>
                  <a:lnTo>
                    <a:pt x="51" y="189"/>
                  </a:lnTo>
                  <a:lnTo>
                    <a:pt x="52" y="188"/>
                  </a:lnTo>
                  <a:lnTo>
                    <a:pt x="54" y="188"/>
                  </a:lnTo>
                  <a:lnTo>
                    <a:pt x="54" y="189"/>
                  </a:lnTo>
                  <a:lnTo>
                    <a:pt x="55" y="191"/>
                  </a:lnTo>
                  <a:lnTo>
                    <a:pt x="55" y="192"/>
                  </a:lnTo>
                  <a:lnTo>
                    <a:pt x="57" y="194"/>
                  </a:lnTo>
                  <a:lnTo>
                    <a:pt x="58" y="194"/>
                  </a:lnTo>
                  <a:lnTo>
                    <a:pt x="66" y="191"/>
                  </a:lnTo>
                  <a:lnTo>
                    <a:pt x="67" y="189"/>
                  </a:lnTo>
                  <a:lnTo>
                    <a:pt x="67" y="186"/>
                  </a:lnTo>
                  <a:lnTo>
                    <a:pt x="66" y="183"/>
                  </a:lnTo>
                  <a:lnTo>
                    <a:pt x="67" y="182"/>
                  </a:lnTo>
                  <a:lnTo>
                    <a:pt x="70" y="182"/>
                  </a:lnTo>
                  <a:lnTo>
                    <a:pt x="72" y="185"/>
                  </a:lnTo>
                  <a:lnTo>
                    <a:pt x="75" y="185"/>
                  </a:lnTo>
                  <a:lnTo>
                    <a:pt x="78" y="182"/>
                  </a:lnTo>
                  <a:lnTo>
                    <a:pt x="78" y="180"/>
                  </a:lnTo>
                  <a:lnTo>
                    <a:pt x="79" y="180"/>
                  </a:lnTo>
                  <a:lnTo>
                    <a:pt x="82" y="179"/>
                  </a:lnTo>
                  <a:lnTo>
                    <a:pt x="87" y="177"/>
                  </a:lnTo>
                  <a:lnTo>
                    <a:pt x="90" y="176"/>
                  </a:lnTo>
                  <a:lnTo>
                    <a:pt x="91" y="174"/>
                  </a:lnTo>
                  <a:lnTo>
                    <a:pt x="90" y="173"/>
                  </a:lnTo>
                  <a:lnTo>
                    <a:pt x="87" y="171"/>
                  </a:lnTo>
                  <a:lnTo>
                    <a:pt x="87" y="162"/>
                  </a:lnTo>
                  <a:lnTo>
                    <a:pt x="88" y="161"/>
                  </a:lnTo>
                  <a:lnTo>
                    <a:pt x="91" y="159"/>
                  </a:lnTo>
                  <a:lnTo>
                    <a:pt x="100" y="159"/>
                  </a:lnTo>
                  <a:lnTo>
                    <a:pt x="103" y="158"/>
                  </a:lnTo>
                  <a:lnTo>
                    <a:pt x="103" y="153"/>
                  </a:lnTo>
                  <a:lnTo>
                    <a:pt x="105" y="152"/>
                  </a:lnTo>
                  <a:lnTo>
                    <a:pt x="105" y="150"/>
                  </a:lnTo>
                  <a:lnTo>
                    <a:pt x="106" y="149"/>
                  </a:lnTo>
                  <a:lnTo>
                    <a:pt x="112" y="147"/>
                  </a:lnTo>
                  <a:lnTo>
                    <a:pt x="114" y="147"/>
                  </a:lnTo>
                  <a:lnTo>
                    <a:pt x="120" y="143"/>
                  </a:lnTo>
                  <a:lnTo>
                    <a:pt x="123" y="143"/>
                  </a:lnTo>
                  <a:lnTo>
                    <a:pt x="126" y="140"/>
                  </a:lnTo>
                  <a:lnTo>
                    <a:pt x="127" y="140"/>
                  </a:lnTo>
                  <a:lnTo>
                    <a:pt x="132" y="141"/>
                  </a:lnTo>
                  <a:lnTo>
                    <a:pt x="133" y="141"/>
                  </a:lnTo>
                  <a:lnTo>
                    <a:pt x="135" y="140"/>
                  </a:lnTo>
                  <a:lnTo>
                    <a:pt x="136" y="140"/>
                  </a:lnTo>
                  <a:lnTo>
                    <a:pt x="136" y="135"/>
                  </a:lnTo>
                  <a:lnTo>
                    <a:pt x="138" y="134"/>
                  </a:lnTo>
                  <a:lnTo>
                    <a:pt x="139" y="134"/>
                  </a:lnTo>
                  <a:lnTo>
                    <a:pt x="142" y="132"/>
                  </a:lnTo>
                  <a:lnTo>
                    <a:pt x="148" y="126"/>
                  </a:lnTo>
                  <a:lnTo>
                    <a:pt x="151" y="125"/>
                  </a:lnTo>
                  <a:lnTo>
                    <a:pt x="157" y="125"/>
                  </a:lnTo>
                  <a:lnTo>
                    <a:pt x="162" y="122"/>
                  </a:lnTo>
                  <a:lnTo>
                    <a:pt x="163" y="122"/>
                  </a:lnTo>
                  <a:lnTo>
                    <a:pt x="168" y="123"/>
                  </a:lnTo>
                  <a:lnTo>
                    <a:pt x="171" y="120"/>
                  </a:lnTo>
                  <a:lnTo>
                    <a:pt x="171" y="119"/>
                  </a:lnTo>
                  <a:lnTo>
                    <a:pt x="172" y="117"/>
                  </a:lnTo>
                  <a:lnTo>
                    <a:pt x="177" y="114"/>
                  </a:lnTo>
                  <a:lnTo>
                    <a:pt x="178" y="114"/>
                  </a:lnTo>
                  <a:lnTo>
                    <a:pt x="180" y="110"/>
                  </a:lnTo>
                  <a:lnTo>
                    <a:pt x="181" y="108"/>
                  </a:lnTo>
                  <a:lnTo>
                    <a:pt x="187" y="105"/>
                  </a:lnTo>
                  <a:lnTo>
                    <a:pt x="192" y="104"/>
                  </a:lnTo>
                  <a:lnTo>
                    <a:pt x="199" y="105"/>
                  </a:lnTo>
                  <a:lnTo>
                    <a:pt x="203" y="105"/>
                  </a:lnTo>
                  <a:lnTo>
                    <a:pt x="206" y="104"/>
                  </a:lnTo>
                  <a:lnTo>
                    <a:pt x="209" y="98"/>
                  </a:lnTo>
                  <a:lnTo>
                    <a:pt x="209" y="95"/>
                  </a:lnTo>
                  <a:lnTo>
                    <a:pt x="211" y="93"/>
                  </a:lnTo>
                  <a:lnTo>
                    <a:pt x="214" y="93"/>
                  </a:lnTo>
                  <a:lnTo>
                    <a:pt x="214" y="95"/>
                  </a:lnTo>
                  <a:lnTo>
                    <a:pt x="215" y="96"/>
                  </a:lnTo>
                  <a:lnTo>
                    <a:pt x="215" y="99"/>
                  </a:lnTo>
                  <a:lnTo>
                    <a:pt x="217" y="99"/>
                  </a:lnTo>
                  <a:lnTo>
                    <a:pt x="220" y="101"/>
                  </a:lnTo>
                  <a:lnTo>
                    <a:pt x="226" y="107"/>
                  </a:lnTo>
                  <a:lnTo>
                    <a:pt x="227" y="107"/>
                  </a:lnTo>
                  <a:lnTo>
                    <a:pt x="230" y="104"/>
                  </a:lnTo>
                  <a:lnTo>
                    <a:pt x="230" y="99"/>
                  </a:lnTo>
                  <a:lnTo>
                    <a:pt x="232" y="99"/>
                  </a:lnTo>
                  <a:lnTo>
                    <a:pt x="235" y="98"/>
                  </a:lnTo>
                  <a:lnTo>
                    <a:pt x="238" y="98"/>
                  </a:lnTo>
                  <a:lnTo>
                    <a:pt x="239" y="99"/>
                  </a:lnTo>
                  <a:lnTo>
                    <a:pt x="241" y="102"/>
                  </a:lnTo>
                  <a:lnTo>
                    <a:pt x="241" y="108"/>
                  </a:lnTo>
                  <a:lnTo>
                    <a:pt x="242" y="110"/>
                  </a:lnTo>
                  <a:lnTo>
                    <a:pt x="242" y="111"/>
                  </a:lnTo>
                  <a:lnTo>
                    <a:pt x="244" y="111"/>
                  </a:lnTo>
                  <a:lnTo>
                    <a:pt x="247" y="113"/>
                  </a:lnTo>
                  <a:lnTo>
                    <a:pt x="250" y="113"/>
                  </a:lnTo>
                  <a:lnTo>
                    <a:pt x="260" y="111"/>
                  </a:lnTo>
                  <a:lnTo>
                    <a:pt x="266" y="113"/>
                  </a:lnTo>
                  <a:lnTo>
                    <a:pt x="283" y="114"/>
                  </a:lnTo>
                  <a:lnTo>
                    <a:pt x="298" y="114"/>
                  </a:lnTo>
                  <a:lnTo>
                    <a:pt x="299" y="116"/>
                  </a:lnTo>
                  <a:lnTo>
                    <a:pt x="301" y="116"/>
                  </a:lnTo>
                  <a:lnTo>
                    <a:pt x="301" y="120"/>
                  </a:lnTo>
                  <a:lnTo>
                    <a:pt x="302" y="125"/>
                  </a:lnTo>
                  <a:lnTo>
                    <a:pt x="302" y="134"/>
                  </a:lnTo>
                  <a:lnTo>
                    <a:pt x="304" y="137"/>
                  </a:lnTo>
                  <a:lnTo>
                    <a:pt x="304" y="140"/>
                  </a:lnTo>
                  <a:lnTo>
                    <a:pt x="305" y="141"/>
                  </a:lnTo>
                  <a:lnTo>
                    <a:pt x="305" y="143"/>
                  </a:lnTo>
                  <a:lnTo>
                    <a:pt x="310" y="144"/>
                  </a:lnTo>
                  <a:lnTo>
                    <a:pt x="311" y="146"/>
                  </a:lnTo>
                  <a:lnTo>
                    <a:pt x="311" y="149"/>
                  </a:lnTo>
                  <a:lnTo>
                    <a:pt x="314" y="150"/>
                  </a:lnTo>
                  <a:lnTo>
                    <a:pt x="314" y="153"/>
                  </a:lnTo>
                  <a:lnTo>
                    <a:pt x="316" y="153"/>
                  </a:lnTo>
                  <a:lnTo>
                    <a:pt x="316" y="155"/>
                  </a:lnTo>
                  <a:lnTo>
                    <a:pt x="317" y="155"/>
                  </a:lnTo>
                  <a:lnTo>
                    <a:pt x="322" y="152"/>
                  </a:lnTo>
                  <a:lnTo>
                    <a:pt x="331" y="152"/>
                  </a:lnTo>
                  <a:lnTo>
                    <a:pt x="332" y="153"/>
                  </a:lnTo>
                  <a:lnTo>
                    <a:pt x="334" y="156"/>
                  </a:lnTo>
                  <a:lnTo>
                    <a:pt x="337" y="159"/>
                  </a:lnTo>
                  <a:lnTo>
                    <a:pt x="352" y="159"/>
                  </a:lnTo>
                  <a:lnTo>
                    <a:pt x="354" y="161"/>
                  </a:lnTo>
                  <a:lnTo>
                    <a:pt x="354" y="162"/>
                  </a:lnTo>
                  <a:lnTo>
                    <a:pt x="356" y="162"/>
                  </a:lnTo>
                  <a:lnTo>
                    <a:pt x="356" y="164"/>
                  </a:lnTo>
                  <a:lnTo>
                    <a:pt x="357" y="164"/>
                  </a:lnTo>
                  <a:lnTo>
                    <a:pt x="357" y="162"/>
                  </a:lnTo>
                  <a:lnTo>
                    <a:pt x="360" y="159"/>
                  </a:lnTo>
                  <a:lnTo>
                    <a:pt x="365" y="159"/>
                  </a:lnTo>
                  <a:lnTo>
                    <a:pt x="371" y="153"/>
                  </a:lnTo>
                  <a:lnTo>
                    <a:pt x="375" y="158"/>
                  </a:lnTo>
                  <a:lnTo>
                    <a:pt x="375" y="159"/>
                  </a:lnTo>
                  <a:lnTo>
                    <a:pt x="378" y="159"/>
                  </a:lnTo>
                  <a:lnTo>
                    <a:pt x="378" y="158"/>
                  </a:lnTo>
                  <a:lnTo>
                    <a:pt x="380" y="158"/>
                  </a:lnTo>
                  <a:lnTo>
                    <a:pt x="380" y="156"/>
                  </a:lnTo>
                  <a:lnTo>
                    <a:pt x="381" y="155"/>
                  </a:lnTo>
                  <a:lnTo>
                    <a:pt x="383" y="156"/>
                  </a:lnTo>
                  <a:lnTo>
                    <a:pt x="390" y="159"/>
                  </a:lnTo>
                  <a:lnTo>
                    <a:pt x="395" y="164"/>
                  </a:lnTo>
                  <a:lnTo>
                    <a:pt x="398" y="164"/>
                  </a:lnTo>
                  <a:lnTo>
                    <a:pt x="399" y="161"/>
                  </a:lnTo>
                  <a:lnTo>
                    <a:pt x="404" y="161"/>
                  </a:lnTo>
                  <a:lnTo>
                    <a:pt x="404" y="162"/>
                  </a:lnTo>
                  <a:lnTo>
                    <a:pt x="405" y="164"/>
                  </a:lnTo>
                  <a:lnTo>
                    <a:pt x="405" y="165"/>
                  </a:lnTo>
                  <a:lnTo>
                    <a:pt x="407" y="165"/>
                  </a:lnTo>
                  <a:lnTo>
                    <a:pt x="411" y="161"/>
                  </a:lnTo>
                  <a:lnTo>
                    <a:pt x="423" y="164"/>
                  </a:lnTo>
                  <a:lnTo>
                    <a:pt x="429" y="170"/>
                  </a:lnTo>
                  <a:lnTo>
                    <a:pt x="431" y="170"/>
                  </a:lnTo>
                  <a:lnTo>
                    <a:pt x="431" y="171"/>
                  </a:lnTo>
                  <a:lnTo>
                    <a:pt x="432" y="173"/>
                  </a:lnTo>
                  <a:lnTo>
                    <a:pt x="435" y="174"/>
                  </a:lnTo>
                  <a:lnTo>
                    <a:pt x="441" y="174"/>
                  </a:lnTo>
                  <a:lnTo>
                    <a:pt x="443" y="173"/>
                  </a:lnTo>
                  <a:lnTo>
                    <a:pt x="447" y="170"/>
                  </a:lnTo>
                  <a:lnTo>
                    <a:pt x="450" y="168"/>
                  </a:lnTo>
                  <a:lnTo>
                    <a:pt x="452" y="167"/>
                  </a:lnTo>
                  <a:lnTo>
                    <a:pt x="452" y="161"/>
                  </a:lnTo>
                  <a:lnTo>
                    <a:pt x="455" y="161"/>
                  </a:lnTo>
                  <a:lnTo>
                    <a:pt x="459" y="158"/>
                  </a:lnTo>
                  <a:lnTo>
                    <a:pt x="461" y="158"/>
                  </a:lnTo>
                  <a:lnTo>
                    <a:pt x="462" y="161"/>
                  </a:lnTo>
                  <a:lnTo>
                    <a:pt x="464" y="161"/>
                  </a:lnTo>
                  <a:lnTo>
                    <a:pt x="467" y="158"/>
                  </a:lnTo>
                  <a:lnTo>
                    <a:pt x="473" y="153"/>
                  </a:lnTo>
                  <a:lnTo>
                    <a:pt x="476" y="150"/>
                  </a:lnTo>
                  <a:lnTo>
                    <a:pt x="483" y="135"/>
                  </a:lnTo>
                  <a:lnTo>
                    <a:pt x="483" y="126"/>
                  </a:lnTo>
                  <a:lnTo>
                    <a:pt x="485" y="122"/>
                  </a:lnTo>
                  <a:lnTo>
                    <a:pt x="485" y="119"/>
                  </a:lnTo>
                  <a:lnTo>
                    <a:pt x="483" y="117"/>
                  </a:lnTo>
                  <a:lnTo>
                    <a:pt x="483" y="116"/>
                  </a:lnTo>
                  <a:lnTo>
                    <a:pt x="482" y="116"/>
                  </a:lnTo>
                  <a:lnTo>
                    <a:pt x="479" y="114"/>
                  </a:lnTo>
                  <a:lnTo>
                    <a:pt x="477" y="114"/>
                  </a:lnTo>
                  <a:lnTo>
                    <a:pt x="474" y="111"/>
                  </a:lnTo>
                  <a:lnTo>
                    <a:pt x="473" y="111"/>
                  </a:lnTo>
                  <a:lnTo>
                    <a:pt x="473" y="110"/>
                  </a:lnTo>
                  <a:lnTo>
                    <a:pt x="470" y="104"/>
                  </a:lnTo>
                  <a:lnTo>
                    <a:pt x="468" y="99"/>
                  </a:lnTo>
                  <a:lnTo>
                    <a:pt x="468" y="98"/>
                  </a:lnTo>
                  <a:lnTo>
                    <a:pt x="471" y="95"/>
                  </a:lnTo>
                  <a:lnTo>
                    <a:pt x="470" y="95"/>
                  </a:lnTo>
                  <a:lnTo>
                    <a:pt x="468" y="93"/>
                  </a:lnTo>
                  <a:lnTo>
                    <a:pt x="468" y="92"/>
                  </a:lnTo>
                  <a:lnTo>
                    <a:pt x="462" y="86"/>
                  </a:lnTo>
                  <a:lnTo>
                    <a:pt x="462" y="83"/>
                  </a:lnTo>
                  <a:lnTo>
                    <a:pt x="465" y="77"/>
                  </a:lnTo>
                  <a:lnTo>
                    <a:pt x="465" y="74"/>
                  </a:lnTo>
                  <a:lnTo>
                    <a:pt x="467" y="72"/>
                  </a:lnTo>
                  <a:lnTo>
                    <a:pt x="467" y="71"/>
                  </a:lnTo>
                  <a:lnTo>
                    <a:pt x="468" y="68"/>
                  </a:lnTo>
                  <a:lnTo>
                    <a:pt x="468" y="65"/>
                  </a:lnTo>
                  <a:lnTo>
                    <a:pt x="467" y="62"/>
                  </a:lnTo>
                  <a:lnTo>
                    <a:pt x="468" y="60"/>
                  </a:lnTo>
                  <a:lnTo>
                    <a:pt x="468" y="59"/>
                  </a:lnTo>
                  <a:lnTo>
                    <a:pt x="470" y="57"/>
                  </a:lnTo>
                  <a:lnTo>
                    <a:pt x="470" y="56"/>
                  </a:lnTo>
                  <a:lnTo>
                    <a:pt x="473" y="51"/>
                  </a:lnTo>
                  <a:lnTo>
                    <a:pt x="473" y="50"/>
                  </a:lnTo>
                  <a:lnTo>
                    <a:pt x="474" y="48"/>
                  </a:lnTo>
                  <a:lnTo>
                    <a:pt x="482" y="48"/>
                  </a:lnTo>
                  <a:lnTo>
                    <a:pt x="482" y="39"/>
                  </a:lnTo>
                  <a:lnTo>
                    <a:pt x="483" y="36"/>
                  </a:lnTo>
                  <a:lnTo>
                    <a:pt x="483" y="35"/>
                  </a:lnTo>
                  <a:lnTo>
                    <a:pt x="486" y="30"/>
                  </a:lnTo>
                  <a:lnTo>
                    <a:pt x="500" y="26"/>
                  </a:lnTo>
                  <a:lnTo>
                    <a:pt x="504" y="21"/>
                  </a:lnTo>
                  <a:lnTo>
                    <a:pt x="507" y="15"/>
                  </a:lnTo>
                  <a:lnTo>
                    <a:pt x="507" y="9"/>
                  </a:lnTo>
                  <a:lnTo>
                    <a:pt x="510" y="8"/>
                  </a:lnTo>
                  <a:lnTo>
                    <a:pt x="510" y="2"/>
                  </a:lnTo>
                  <a:lnTo>
                    <a:pt x="512"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2">
              <a:extLst>
                <a:ext uri="{FF2B5EF4-FFF2-40B4-BE49-F238E27FC236}">
                  <a16:creationId xmlns:a16="http://schemas.microsoft.com/office/drawing/2014/main" id="{401746A5-5297-DAAD-3E7A-8370515DB60C}"/>
                </a:ext>
              </a:extLst>
            </p:cNvPr>
            <p:cNvSpPr>
              <a:spLocks noEditPoints="1"/>
            </p:cNvSpPr>
            <p:nvPr/>
          </p:nvSpPr>
          <p:spPr bwMode="auto">
            <a:xfrm>
              <a:off x="1442280" y="4914257"/>
              <a:ext cx="29386" cy="307505"/>
            </a:xfrm>
            <a:custGeom>
              <a:avLst/>
              <a:gdLst/>
              <a:ahLst/>
              <a:cxnLst>
                <a:cxn ang="0">
                  <a:pos x="27" y="292"/>
                </a:cxn>
                <a:cxn ang="0">
                  <a:pos x="28" y="292"/>
                </a:cxn>
                <a:cxn ang="0">
                  <a:pos x="27" y="293"/>
                </a:cxn>
                <a:cxn ang="0">
                  <a:pos x="27" y="292"/>
                </a:cxn>
                <a:cxn ang="0">
                  <a:pos x="0" y="203"/>
                </a:cxn>
                <a:cxn ang="0">
                  <a:pos x="1" y="203"/>
                </a:cxn>
                <a:cxn ang="0">
                  <a:pos x="1" y="205"/>
                </a:cxn>
                <a:cxn ang="0">
                  <a:pos x="0" y="205"/>
                </a:cxn>
                <a:cxn ang="0">
                  <a:pos x="0" y="203"/>
                </a:cxn>
                <a:cxn ang="0">
                  <a:pos x="22" y="160"/>
                </a:cxn>
                <a:cxn ang="0">
                  <a:pos x="24" y="160"/>
                </a:cxn>
                <a:cxn ang="0">
                  <a:pos x="24" y="163"/>
                </a:cxn>
                <a:cxn ang="0">
                  <a:pos x="22" y="163"/>
                </a:cxn>
                <a:cxn ang="0">
                  <a:pos x="21" y="161"/>
                </a:cxn>
                <a:cxn ang="0">
                  <a:pos x="22" y="160"/>
                </a:cxn>
                <a:cxn ang="0">
                  <a:pos x="27" y="116"/>
                </a:cxn>
                <a:cxn ang="0">
                  <a:pos x="28" y="116"/>
                </a:cxn>
                <a:cxn ang="0">
                  <a:pos x="28" y="119"/>
                </a:cxn>
                <a:cxn ang="0">
                  <a:pos x="27" y="119"/>
                </a:cxn>
                <a:cxn ang="0">
                  <a:pos x="27" y="121"/>
                </a:cxn>
                <a:cxn ang="0">
                  <a:pos x="25" y="119"/>
                </a:cxn>
                <a:cxn ang="0">
                  <a:pos x="27" y="118"/>
                </a:cxn>
                <a:cxn ang="0">
                  <a:pos x="27" y="116"/>
                </a:cxn>
                <a:cxn ang="0">
                  <a:pos x="24" y="82"/>
                </a:cxn>
                <a:cxn ang="0">
                  <a:pos x="25" y="84"/>
                </a:cxn>
                <a:cxn ang="0">
                  <a:pos x="24" y="84"/>
                </a:cxn>
                <a:cxn ang="0">
                  <a:pos x="24" y="82"/>
                </a:cxn>
                <a:cxn ang="0">
                  <a:pos x="22" y="48"/>
                </a:cxn>
                <a:cxn ang="0">
                  <a:pos x="22" y="49"/>
                </a:cxn>
                <a:cxn ang="0">
                  <a:pos x="21" y="49"/>
                </a:cxn>
                <a:cxn ang="0">
                  <a:pos x="22" y="48"/>
                </a:cxn>
                <a:cxn ang="0">
                  <a:pos x="21" y="45"/>
                </a:cxn>
                <a:cxn ang="0">
                  <a:pos x="22" y="45"/>
                </a:cxn>
                <a:cxn ang="0">
                  <a:pos x="22" y="46"/>
                </a:cxn>
                <a:cxn ang="0">
                  <a:pos x="21" y="46"/>
                </a:cxn>
                <a:cxn ang="0">
                  <a:pos x="21" y="45"/>
                </a:cxn>
                <a:cxn ang="0">
                  <a:pos x="10" y="0"/>
                </a:cxn>
                <a:cxn ang="0">
                  <a:pos x="12" y="0"/>
                </a:cxn>
                <a:cxn ang="0">
                  <a:pos x="12" y="1"/>
                </a:cxn>
                <a:cxn ang="0">
                  <a:pos x="10" y="1"/>
                </a:cxn>
                <a:cxn ang="0">
                  <a:pos x="10" y="0"/>
                </a:cxn>
              </a:cxnLst>
              <a:rect l="0" t="0" r="r" b="b"/>
              <a:pathLst>
                <a:path w="28" h="293">
                  <a:moveTo>
                    <a:pt x="27" y="292"/>
                  </a:moveTo>
                  <a:lnTo>
                    <a:pt x="28" y="292"/>
                  </a:lnTo>
                  <a:lnTo>
                    <a:pt x="27" y="293"/>
                  </a:lnTo>
                  <a:lnTo>
                    <a:pt x="27" y="292"/>
                  </a:lnTo>
                  <a:close/>
                  <a:moveTo>
                    <a:pt x="0" y="203"/>
                  </a:moveTo>
                  <a:lnTo>
                    <a:pt x="1" y="203"/>
                  </a:lnTo>
                  <a:lnTo>
                    <a:pt x="1" y="205"/>
                  </a:lnTo>
                  <a:lnTo>
                    <a:pt x="0" y="205"/>
                  </a:lnTo>
                  <a:lnTo>
                    <a:pt x="0" y="203"/>
                  </a:lnTo>
                  <a:close/>
                  <a:moveTo>
                    <a:pt x="22" y="160"/>
                  </a:moveTo>
                  <a:lnTo>
                    <a:pt x="24" y="160"/>
                  </a:lnTo>
                  <a:lnTo>
                    <a:pt x="24" y="163"/>
                  </a:lnTo>
                  <a:lnTo>
                    <a:pt x="22" y="163"/>
                  </a:lnTo>
                  <a:lnTo>
                    <a:pt x="21" y="161"/>
                  </a:lnTo>
                  <a:lnTo>
                    <a:pt x="22" y="160"/>
                  </a:lnTo>
                  <a:close/>
                  <a:moveTo>
                    <a:pt x="27" y="116"/>
                  </a:moveTo>
                  <a:lnTo>
                    <a:pt x="28" y="116"/>
                  </a:lnTo>
                  <a:lnTo>
                    <a:pt x="28" y="119"/>
                  </a:lnTo>
                  <a:lnTo>
                    <a:pt x="27" y="119"/>
                  </a:lnTo>
                  <a:lnTo>
                    <a:pt x="27" y="121"/>
                  </a:lnTo>
                  <a:lnTo>
                    <a:pt x="25" y="119"/>
                  </a:lnTo>
                  <a:lnTo>
                    <a:pt x="27" y="118"/>
                  </a:lnTo>
                  <a:lnTo>
                    <a:pt x="27" y="116"/>
                  </a:lnTo>
                  <a:close/>
                  <a:moveTo>
                    <a:pt x="24" y="82"/>
                  </a:moveTo>
                  <a:lnTo>
                    <a:pt x="25" y="84"/>
                  </a:lnTo>
                  <a:lnTo>
                    <a:pt x="24" y="84"/>
                  </a:lnTo>
                  <a:lnTo>
                    <a:pt x="24" y="82"/>
                  </a:lnTo>
                  <a:close/>
                  <a:moveTo>
                    <a:pt x="22" y="48"/>
                  </a:moveTo>
                  <a:lnTo>
                    <a:pt x="22" y="49"/>
                  </a:lnTo>
                  <a:lnTo>
                    <a:pt x="21" y="49"/>
                  </a:lnTo>
                  <a:lnTo>
                    <a:pt x="22" y="48"/>
                  </a:lnTo>
                  <a:close/>
                  <a:moveTo>
                    <a:pt x="21" y="45"/>
                  </a:moveTo>
                  <a:lnTo>
                    <a:pt x="22" y="45"/>
                  </a:lnTo>
                  <a:lnTo>
                    <a:pt x="22" y="46"/>
                  </a:lnTo>
                  <a:lnTo>
                    <a:pt x="21" y="46"/>
                  </a:lnTo>
                  <a:lnTo>
                    <a:pt x="21" y="45"/>
                  </a:lnTo>
                  <a:close/>
                  <a:moveTo>
                    <a:pt x="10" y="0"/>
                  </a:moveTo>
                  <a:lnTo>
                    <a:pt x="12" y="0"/>
                  </a:lnTo>
                  <a:lnTo>
                    <a:pt x="12" y="1"/>
                  </a:lnTo>
                  <a:lnTo>
                    <a:pt x="10" y="1"/>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3">
              <a:extLst>
                <a:ext uri="{FF2B5EF4-FFF2-40B4-BE49-F238E27FC236}">
                  <a16:creationId xmlns:a16="http://schemas.microsoft.com/office/drawing/2014/main" id="{387C507B-37DA-CE94-FA59-BC1E178F363E}"/>
                </a:ext>
              </a:extLst>
            </p:cNvPr>
            <p:cNvSpPr>
              <a:spLocks noEditPoints="1"/>
            </p:cNvSpPr>
            <p:nvPr/>
          </p:nvSpPr>
          <p:spPr bwMode="auto">
            <a:xfrm>
              <a:off x="2728973" y="4885920"/>
              <a:ext cx="946653" cy="312754"/>
            </a:xfrm>
            <a:custGeom>
              <a:avLst/>
              <a:gdLst/>
              <a:ahLst/>
              <a:cxnLst>
                <a:cxn ang="0">
                  <a:pos x="208" y="209"/>
                </a:cxn>
                <a:cxn ang="0">
                  <a:pos x="873" y="134"/>
                </a:cxn>
                <a:cxn ang="0">
                  <a:pos x="716" y="91"/>
                </a:cxn>
                <a:cxn ang="0">
                  <a:pos x="7" y="54"/>
                </a:cxn>
                <a:cxn ang="0">
                  <a:pos x="6" y="49"/>
                </a:cxn>
                <a:cxn ang="0">
                  <a:pos x="46" y="42"/>
                </a:cxn>
                <a:cxn ang="0">
                  <a:pos x="67" y="58"/>
                </a:cxn>
                <a:cxn ang="0">
                  <a:pos x="81" y="70"/>
                </a:cxn>
                <a:cxn ang="0">
                  <a:pos x="112" y="51"/>
                </a:cxn>
                <a:cxn ang="0">
                  <a:pos x="173" y="117"/>
                </a:cxn>
                <a:cxn ang="0">
                  <a:pos x="172" y="157"/>
                </a:cxn>
                <a:cxn ang="0">
                  <a:pos x="191" y="218"/>
                </a:cxn>
                <a:cxn ang="0">
                  <a:pos x="209" y="254"/>
                </a:cxn>
                <a:cxn ang="0">
                  <a:pos x="200" y="262"/>
                </a:cxn>
                <a:cxn ang="0">
                  <a:pos x="172" y="268"/>
                </a:cxn>
                <a:cxn ang="0">
                  <a:pos x="124" y="239"/>
                </a:cxn>
                <a:cxn ang="0">
                  <a:pos x="94" y="217"/>
                </a:cxn>
                <a:cxn ang="0">
                  <a:pos x="66" y="172"/>
                </a:cxn>
                <a:cxn ang="0">
                  <a:pos x="54" y="154"/>
                </a:cxn>
                <a:cxn ang="0">
                  <a:pos x="45" y="118"/>
                </a:cxn>
                <a:cxn ang="0">
                  <a:pos x="37" y="96"/>
                </a:cxn>
                <a:cxn ang="0">
                  <a:pos x="24" y="40"/>
                </a:cxn>
                <a:cxn ang="0">
                  <a:pos x="789" y="21"/>
                </a:cxn>
                <a:cxn ang="0">
                  <a:pos x="800" y="19"/>
                </a:cxn>
                <a:cxn ang="0">
                  <a:pos x="828" y="40"/>
                </a:cxn>
                <a:cxn ang="0">
                  <a:pos x="828" y="63"/>
                </a:cxn>
                <a:cxn ang="0">
                  <a:pos x="848" y="69"/>
                </a:cxn>
                <a:cxn ang="0">
                  <a:pos x="866" y="75"/>
                </a:cxn>
                <a:cxn ang="0">
                  <a:pos x="888" y="91"/>
                </a:cxn>
                <a:cxn ang="0">
                  <a:pos x="878" y="111"/>
                </a:cxn>
                <a:cxn ang="0">
                  <a:pos x="861" y="126"/>
                </a:cxn>
                <a:cxn ang="0">
                  <a:pos x="864" y="139"/>
                </a:cxn>
                <a:cxn ang="0">
                  <a:pos x="827" y="142"/>
                </a:cxn>
                <a:cxn ang="0">
                  <a:pos x="785" y="137"/>
                </a:cxn>
                <a:cxn ang="0">
                  <a:pos x="745" y="136"/>
                </a:cxn>
                <a:cxn ang="0">
                  <a:pos x="730" y="181"/>
                </a:cxn>
                <a:cxn ang="0">
                  <a:pos x="710" y="211"/>
                </a:cxn>
                <a:cxn ang="0">
                  <a:pos x="695" y="241"/>
                </a:cxn>
                <a:cxn ang="0">
                  <a:pos x="668" y="271"/>
                </a:cxn>
                <a:cxn ang="0">
                  <a:pos x="619" y="272"/>
                </a:cxn>
                <a:cxn ang="0">
                  <a:pos x="576" y="275"/>
                </a:cxn>
                <a:cxn ang="0">
                  <a:pos x="520" y="290"/>
                </a:cxn>
                <a:cxn ang="0">
                  <a:pos x="478" y="283"/>
                </a:cxn>
                <a:cxn ang="0">
                  <a:pos x="459" y="244"/>
                </a:cxn>
                <a:cxn ang="0">
                  <a:pos x="489" y="259"/>
                </a:cxn>
                <a:cxn ang="0">
                  <a:pos x="501" y="263"/>
                </a:cxn>
                <a:cxn ang="0">
                  <a:pos x="529" y="275"/>
                </a:cxn>
                <a:cxn ang="0">
                  <a:pos x="529" y="260"/>
                </a:cxn>
                <a:cxn ang="0">
                  <a:pos x="529" y="238"/>
                </a:cxn>
                <a:cxn ang="0">
                  <a:pos x="535" y="214"/>
                </a:cxn>
                <a:cxn ang="0">
                  <a:pos x="541" y="215"/>
                </a:cxn>
                <a:cxn ang="0">
                  <a:pos x="628" y="175"/>
                </a:cxn>
                <a:cxn ang="0">
                  <a:pos x="667" y="130"/>
                </a:cxn>
                <a:cxn ang="0">
                  <a:pos x="691" y="152"/>
                </a:cxn>
                <a:cxn ang="0">
                  <a:pos x="703" y="115"/>
                </a:cxn>
                <a:cxn ang="0">
                  <a:pos x="715" y="111"/>
                </a:cxn>
                <a:cxn ang="0">
                  <a:pos x="727" y="87"/>
                </a:cxn>
                <a:cxn ang="0">
                  <a:pos x="757" y="61"/>
                </a:cxn>
                <a:cxn ang="0">
                  <a:pos x="776" y="36"/>
                </a:cxn>
                <a:cxn ang="0">
                  <a:pos x="809" y="0"/>
                </a:cxn>
                <a:cxn ang="0">
                  <a:pos x="798" y="3"/>
                </a:cxn>
              </a:cxnLst>
              <a:rect l="0" t="0" r="r" b="b"/>
              <a:pathLst>
                <a:path w="902" h="298">
                  <a:moveTo>
                    <a:pt x="532" y="272"/>
                  </a:moveTo>
                  <a:lnTo>
                    <a:pt x="531" y="274"/>
                  </a:lnTo>
                  <a:lnTo>
                    <a:pt x="534" y="274"/>
                  </a:lnTo>
                  <a:lnTo>
                    <a:pt x="537" y="277"/>
                  </a:lnTo>
                  <a:lnTo>
                    <a:pt x="540" y="275"/>
                  </a:lnTo>
                  <a:lnTo>
                    <a:pt x="537" y="275"/>
                  </a:lnTo>
                  <a:lnTo>
                    <a:pt x="537" y="274"/>
                  </a:lnTo>
                  <a:lnTo>
                    <a:pt x="535" y="274"/>
                  </a:lnTo>
                  <a:lnTo>
                    <a:pt x="535" y="272"/>
                  </a:lnTo>
                  <a:lnTo>
                    <a:pt x="532" y="272"/>
                  </a:lnTo>
                  <a:close/>
                  <a:moveTo>
                    <a:pt x="208" y="205"/>
                  </a:moveTo>
                  <a:lnTo>
                    <a:pt x="209" y="205"/>
                  </a:lnTo>
                  <a:lnTo>
                    <a:pt x="209" y="208"/>
                  </a:lnTo>
                  <a:lnTo>
                    <a:pt x="211" y="208"/>
                  </a:lnTo>
                  <a:lnTo>
                    <a:pt x="211" y="212"/>
                  </a:lnTo>
                  <a:lnTo>
                    <a:pt x="209" y="214"/>
                  </a:lnTo>
                  <a:lnTo>
                    <a:pt x="208" y="214"/>
                  </a:lnTo>
                  <a:lnTo>
                    <a:pt x="206" y="212"/>
                  </a:lnTo>
                  <a:lnTo>
                    <a:pt x="206" y="209"/>
                  </a:lnTo>
                  <a:lnTo>
                    <a:pt x="208" y="209"/>
                  </a:lnTo>
                  <a:lnTo>
                    <a:pt x="208" y="205"/>
                  </a:lnTo>
                  <a:close/>
                  <a:moveTo>
                    <a:pt x="76" y="197"/>
                  </a:moveTo>
                  <a:lnTo>
                    <a:pt x="78" y="197"/>
                  </a:lnTo>
                  <a:lnTo>
                    <a:pt x="78" y="200"/>
                  </a:lnTo>
                  <a:lnTo>
                    <a:pt x="76" y="200"/>
                  </a:lnTo>
                  <a:lnTo>
                    <a:pt x="76" y="202"/>
                  </a:lnTo>
                  <a:lnTo>
                    <a:pt x="75" y="202"/>
                  </a:lnTo>
                  <a:lnTo>
                    <a:pt x="75" y="200"/>
                  </a:lnTo>
                  <a:lnTo>
                    <a:pt x="76" y="197"/>
                  </a:lnTo>
                  <a:close/>
                  <a:moveTo>
                    <a:pt x="73" y="197"/>
                  </a:moveTo>
                  <a:lnTo>
                    <a:pt x="75" y="197"/>
                  </a:lnTo>
                  <a:lnTo>
                    <a:pt x="75" y="199"/>
                  </a:lnTo>
                  <a:lnTo>
                    <a:pt x="73" y="199"/>
                  </a:lnTo>
                  <a:lnTo>
                    <a:pt x="73" y="197"/>
                  </a:lnTo>
                  <a:close/>
                  <a:moveTo>
                    <a:pt x="873" y="132"/>
                  </a:moveTo>
                  <a:lnTo>
                    <a:pt x="878" y="132"/>
                  </a:lnTo>
                  <a:lnTo>
                    <a:pt x="878" y="133"/>
                  </a:lnTo>
                  <a:lnTo>
                    <a:pt x="875" y="133"/>
                  </a:lnTo>
                  <a:lnTo>
                    <a:pt x="875" y="134"/>
                  </a:lnTo>
                  <a:lnTo>
                    <a:pt x="873" y="134"/>
                  </a:lnTo>
                  <a:lnTo>
                    <a:pt x="873" y="132"/>
                  </a:lnTo>
                  <a:close/>
                  <a:moveTo>
                    <a:pt x="863" y="123"/>
                  </a:moveTo>
                  <a:lnTo>
                    <a:pt x="866" y="123"/>
                  </a:lnTo>
                  <a:lnTo>
                    <a:pt x="866" y="124"/>
                  </a:lnTo>
                  <a:lnTo>
                    <a:pt x="869" y="124"/>
                  </a:lnTo>
                  <a:lnTo>
                    <a:pt x="870" y="126"/>
                  </a:lnTo>
                  <a:lnTo>
                    <a:pt x="867" y="126"/>
                  </a:lnTo>
                  <a:lnTo>
                    <a:pt x="867" y="127"/>
                  </a:lnTo>
                  <a:lnTo>
                    <a:pt x="866" y="126"/>
                  </a:lnTo>
                  <a:lnTo>
                    <a:pt x="863" y="126"/>
                  </a:lnTo>
                  <a:lnTo>
                    <a:pt x="861" y="124"/>
                  </a:lnTo>
                  <a:lnTo>
                    <a:pt x="863" y="124"/>
                  </a:lnTo>
                  <a:lnTo>
                    <a:pt x="863" y="123"/>
                  </a:lnTo>
                  <a:close/>
                  <a:moveTo>
                    <a:pt x="716" y="91"/>
                  </a:moveTo>
                  <a:lnTo>
                    <a:pt x="718" y="94"/>
                  </a:lnTo>
                  <a:lnTo>
                    <a:pt x="718" y="96"/>
                  </a:lnTo>
                  <a:lnTo>
                    <a:pt x="713" y="96"/>
                  </a:lnTo>
                  <a:lnTo>
                    <a:pt x="713" y="93"/>
                  </a:lnTo>
                  <a:lnTo>
                    <a:pt x="715" y="93"/>
                  </a:lnTo>
                  <a:lnTo>
                    <a:pt x="716" y="91"/>
                  </a:lnTo>
                  <a:close/>
                  <a:moveTo>
                    <a:pt x="27" y="87"/>
                  </a:moveTo>
                  <a:lnTo>
                    <a:pt x="30" y="87"/>
                  </a:lnTo>
                  <a:lnTo>
                    <a:pt x="33" y="90"/>
                  </a:lnTo>
                  <a:lnTo>
                    <a:pt x="31" y="91"/>
                  </a:lnTo>
                  <a:lnTo>
                    <a:pt x="31" y="94"/>
                  </a:lnTo>
                  <a:lnTo>
                    <a:pt x="30" y="96"/>
                  </a:lnTo>
                  <a:lnTo>
                    <a:pt x="30" y="97"/>
                  </a:lnTo>
                  <a:lnTo>
                    <a:pt x="27" y="96"/>
                  </a:lnTo>
                  <a:lnTo>
                    <a:pt x="25" y="96"/>
                  </a:lnTo>
                  <a:lnTo>
                    <a:pt x="25" y="88"/>
                  </a:lnTo>
                  <a:lnTo>
                    <a:pt x="27" y="88"/>
                  </a:lnTo>
                  <a:lnTo>
                    <a:pt x="27" y="87"/>
                  </a:lnTo>
                  <a:close/>
                  <a:moveTo>
                    <a:pt x="763" y="49"/>
                  </a:moveTo>
                  <a:lnTo>
                    <a:pt x="764" y="49"/>
                  </a:lnTo>
                  <a:lnTo>
                    <a:pt x="763" y="51"/>
                  </a:lnTo>
                  <a:lnTo>
                    <a:pt x="763" y="49"/>
                  </a:lnTo>
                  <a:close/>
                  <a:moveTo>
                    <a:pt x="9" y="49"/>
                  </a:moveTo>
                  <a:lnTo>
                    <a:pt x="9" y="55"/>
                  </a:lnTo>
                  <a:lnTo>
                    <a:pt x="7" y="55"/>
                  </a:lnTo>
                  <a:lnTo>
                    <a:pt x="7" y="54"/>
                  </a:lnTo>
                  <a:lnTo>
                    <a:pt x="6" y="54"/>
                  </a:lnTo>
                  <a:lnTo>
                    <a:pt x="6" y="52"/>
                  </a:lnTo>
                  <a:lnTo>
                    <a:pt x="7" y="52"/>
                  </a:lnTo>
                  <a:lnTo>
                    <a:pt x="7" y="51"/>
                  </a:lnTo>
                  <a:lnTo>
                    <a:pt x="9" y="49"/>
                  </a:lnTo>
                  <a:close/>
                  <a:moveTo>
                    <a:pt x="9" y="42"/>
                  </a:moveTo>
                  <a:lnTo>
                    <a:pt x="10" y="42"/>
                  </a:lnTo>
                  <a:lnTo>
                    <a:pt x="10" y="43"/>
                  </a:lnTo>
                  <a:lnTo>
                    <a:pt x="12" y="43"/>
                  </a:lnTo>
                  <a:lnTo>
                    <a:pt x="12" y="45"/>
                  </a:lnTo>
                  <a:lnTo>
                    <a:pt x="13" y="45"/>
                  </a:lnTo>
                  <a:lnTo>
                    <a:pt x="12" y="46"/>
                  </a:lnTo>
                  <a:lnTo>
                    <a:pt x="13" y="46"/>
                  </a:lnTo>
                  <a:lnTo>
                    <a:pt x="13" y="48"/>
                  </a:lnTo>
                  <a:lnTo>
                    <a:pt x="12" y="48"/>
                  </a:lnTo>
                  <a:lnTo>
                    <a:pt x="10" y="49"/>
                  </a:lnTo>
                  <a:lnTo>
                    <a:pt x="10" y="48"/>
                  </a:lnTo>
                  <a:lnTo>
                    <a:pt x="7" y="48"/>
                  </a:lnTo>
                  <a:lnTo>
                    <a:pt x="7" y="49"/>
                  </a:lnTo>
                  <a:lnTo>
                    <a:pt x="6" y="49"/>
                  </a:lnTo>
                  <a:lnTo>
                    <a:pt x="6" y="51"/>
                  </a:lnTo>
                  <a:lnTo>
                    <a:pt x="4" y="51"/>
                  </a:lnTo>
                  <a:lnTo>
                    <a:pt x="4" y="46"/>
                  </a:lnTo>
                  <a:lnTo>
                    <a:pt x="1" y="46"/>
                  </a:lnTo>
                  <a:lnTo>
                    <a:pt x="1" y="45"/>
                  </a:lnTo>
                  <a:lnTo>
                    <a:pt x="0" y="45"/>
                  </a:lnTo>
                  <a:lnTo>
                    <a:pt x="0" y="43"/>
                  </a:lnTo>
                  <a:lnTo>
                    <a:pt x="7" y="43"/>
                  </a:lnTo>
                  <a:lnTo>
                    <a:pt x="9" y="42"/>
                  </a:lnTo>
                  <a:close/>
                  <a:moveTo>
                    <a:pt x="25" y="30"/>
                  </a:moveTo>
                  <a:lnTo>
                    <a:pt x="25" y="31"/>
                  </a:lnTo>
                  <a:lnTo>
                    <a:pt x="30" y="31"/>
                  </a:lnTo>
                  <a:lnTo>
                    <a:pt x="31" y="36"/>
                  </a:lnTo>
                  <a:lnTo>
                    <a:pt x="31" y="37"/>
                  </a:lnTo>
                  <a:lnTo>
                    <a:pt x="33" y="37"/>
                  </a:lnTo>
                  <a:lnTo>
                    <a:pt x="34" y="39"/>
                  </a:lnTo>
                  <a:lnTo>
                    <a:pt x="39" y="39"/>
                  </a:lnTo>
                  <a:lnTo>
                    <a:pt x="40" y="40"/>
                  </a:lnTo>
                  <a:lnTo>
                    <a:pt x="43" y="42"/>
                  </a:lnTo>
                  <a:lnTo>
                    <a:pt x="46" y="42"/>
                  </a:lnTo>
                  <a:lnTo>
                    <a:pt x="49" y="40"/>
                  </a:lnTo>
                  <a:lnTo>
                    <a:pt x="51" y="40"/>
                  </a:lnTo>
                  <a:lnTo>
                    <a:pt x="51" y="42"/>
                  </a:lnTo>
                  <a:lnTo>
                    <a:pt x="52" y="42"/>
                  </a:lnTo>
                  <a:lnTo>
                    <a:pt x="54" y="43"/>
                  </a:lnTo>
                  <a:lnTo>
                    <a:pt x="54" y="46"/>
                  </a:lnTo>
                  <a:lnTo>
                    <a:pt x="55" y="48"/>
                  </a:lnTo>
                  <a:lnTo>
                    <a:pt x="55" y="52"/>
                  </a:lnTo>
                  <a:lnTo>
                    <a:pt x="57" y="51"/>
                  </a:lnTo>
                  <a:lnTo>
                    <a:pt x="58" y="52"/>
                  </a:lnTo>
                  <a:lnTo>
                    <a:pt x="60" y="52"/>
                  </a:lnTo>
                  <a:lnTo>
                    <a:pt x="61" y="51"/>
                  </a:lnTo>
                  <a:lnTo>
                    <a:pt x="63" y="51"/>
                  </a:lnTo>
                  <a:lnTo>
                    <a:pt x="64" y="52"/>
                  </a:lnTo>
                  <a:lnTo>
                    <a:pt x="66" y="51"/>
                  </a:lnTo>
                  <a:lnTo>
                    <a:pt x="67" y="51"/>
                  </a:lnTo>
                  <a:lnTo>
                    <a:pt x="67" y="54"/>
                  </a:lnTo>
                  <a:lnTo>
                    <a:pt x="66" y="55"/>
                  </a:lnTo>
                  <a:lnTo>
                    <a:pt x="66" y="57"/>
                  </a:lnTo>
                  <a:lnTo>
                    <a:pt x="67" y="58"/>
                  </a:lnTo>
                  <a:lnTo>
                    <a:pt x="67" y="63"/>
                  </a:lnTo>
                  <a:lnTo>
                    <a:pt x="66" y="64"/>
                  </a:lnTo>
                  <a:lnTo>
                    <a:pt x="66" y="67"/>
                  </a:lnTo>
                  <a:lnTo>
                    <a:pt x="63" y="67"/>
                  </a:lnTo>
                  <a:lnTo>
                    <a:pt x="61" y="72"/>
                  </a:lnTo>
                  <a:lnTo>
                    <a:pt x="61" y="73"/>
                  </a:lnTo>
                  <a:lnTo>
                    <a:pt x="63" y="75"/>
                  </a:lnTo>
                  <a:lnTo>
                    <a:pt x="64" y="75"/>
                  </a:lnTo>
                  <a:lnTo>
                    <a:pt x="66" y="76"/>
                  </a:lnTo>
                  <a:lnTo>
                    <a:pt x="66" y="78"/>
                  </a:lnTo>
                  <a:lnTo>
                    <a:pt x="67" y="78"/>
                  </a:lnTo>
                  <a:lnTo>
                    <a:pt x="67" y="79"/>
                  </a:lnTo>
                  <a:lnTo>
                    <a:pt x="70" y="79"/>
                  </a:lnTo>
                  <a:lnTo>
                    <a:pt x="72" y="78"/>
                  </a:lnTo>
                  <a:lnTo>
                    <a:pt x="73" y="78"/>
                  </a:lnTo>
                  <a:lnTo>
                    <a:pt x="73" y="75"/>
                  </a:lnTo>
                  <a:lnTo>
                    <a:pt x="76" y="72"/>
                  </a:lnTo>
                  <a:lnTo>
                    <a:pt x="78" y="72"/>
                  </a:lnTo>
                  <a:lnTo>
                    <a:pt x="79" y="70"/>
                  </a:lnTo>
                  <a:lnTo>
                    <a:pt x="81" y="70"/>
                  </a:lnTo>
                  <a:lnTo>
                    <a:pt x="85" y="67"/>
                  </a:lnTo>
                  <a:lnTo>
                    <a:pt x="90" y="67"/>
                  </a:lnTo>
                  <a:lnTo>
                    <a:pt x="90" y="69"/>
                  </a:lnTo>
                  <a:lnTo>
                    <a:pt x="91" y="69"/>
                  </a:lnTo>
                  <a:lnTo>
                    <a:pt x="91" y="70"/>
                  </a:lnTo>
                  <a:lnTo>
                    <a:pt x="93" y="73"/>
                  </a:lnTo>
                  <a:lnTo>
                    <a:pt x="97" y="73"/>
                  </a:lnTo>
                  <a:lnTo>
                    <a:pt x="97" y="75"/>
                  </a:lnTo>
                  <a:lnTo>
                    <a:pt x="100" y="75"/>
                  </a:lnTo>
                  <a:lnTo>
                    <a:pt x="100" y="73"/>
                  </a:lnTo>
                  <a:lnTo>
                    <a:pt x="102" y="72"/>
                  </a:lnTo>
                  <a:lnTo>
                    <a:pt x="103" y="72"/>
                  </a:lnTo>
                  <a:lnTo>
                    <a:pt x="103" y="70"/>
                  </a:lnTo>
                  <a:lnTo>
                    <a:pt x="105" y="69"/>
                  </a:lnTo>
                  <a:lnTo>
                    <a:pt x="105" y="66"/>
                  </a:lnTo>
                  <a:lnTo>
                    <a:pt x="106" y="64"/>
                  </a:lnTo>
                  <a:lnTo>
                    <a:pt x="106" y="63"/>
                  </a:lnTo>
                  <a:lnTo>
                    <a:pt x="111" y="60"/>
                  </a:lnTo>
                  <a:lnTo>
                    <a:pt x="112" y="58"/>
                  </a:lnTo>
                  <a:lnTo>
                    <a:pt x="112" y="51"/>
                  </a:lnTo>
                  <a:lnTo>
                    <a:pt x="115" y="54"/>
                  </a:lnTo>
                  <a:lnTo>
                    <a:pt x="117" y="54"/>
                  </a:lnTo>
                  <a:lnTo>
                    <a:pt x="118" y="52"/>
                  </a:lnTo>
                  <a:lnTo>
                    <a:pt x="123" y="54"/>
                  </a:lnTo>
                  <a:lnTo>
                    <a:pt x="126" y="57"/>
                  </a:lnTo>
                  <a:lnTo>
                    <a:pt x="131" y="67"/>
                  </a:lnTo>
                  <a:lnTo>
                    <a:pt x="136" y="72"/>
                  </a:lnTo>
                  <a:lnTo>
                    <a:pt x="137" y="72"/>
                  </a:lnTo>
                  <a:lnTo>
                    <a:pt x="139" y="73"/>
                  </a:lnTo>
                  <a:lnTo>
                    <a:pt x="139" y="75"/>
                  </a:lnTo>
                  <a:lnTo>
                    <a:pt x="140" y="76"/>
                  </a:lnTo>
                  <a:lnTo>
                    <a:pt x="149" y="82"/>
                  </a:lnTo>
                  <a:lnTo>
                    <a:pt x="151" y="84"/>
                  </a:lnTo>
                  <a:lnTo>
                    <a:pt x="154" y="84"/>
                  </a:lnTo>
                  <a:lnTo>
                    <a:pt x="155" y="87"/>
                  </a:lnTo>
                  <a:lnTo>
                    <a:pt x="160" y="91"/>
                  </a:lnTo>
                  <a:lnTo>
                    <a:pt x="164" y="99"/>
                  </a:lnTo>
                  <a:lnTo>
                    <a:pt x="170" y="111"/>
                  </a:lnTo>
                  <a:lnTo>
                    <a:pt x="173" y="115"/>
                  </a:lnTo>
                  <a:lnTo>
                    <a:pt x="173" y="117"/>
                  </a:lnTo>
                  <a:lnTo>
                    <a:pt x="175" y="117"/>
                  </a:lnTo>
                  <a:lnTo>
                    <a:pt x="175" y="123"/>
                  </a:lnTo>
                  <a:lnTo>
                    <a:pt x="176" y="129"/>
                  </a:lnTo>
                  <a:lnTo>
                    <a:pt x="176" y="130"/>
                  </a:lnTo>
                  <a:lnTo>
                    <a:pt x="175" y="132"/>
                  </a:lnTo>
                  <a:lnTo>
                    <a:pt x="176" y="134"/>
                  </a:lnTo>
                  <a:lnTo>
                    <a:pt x="178" y="139"/>
                  </a:lnTo>
                  <a:lnTo>
                    <a:pt x="178" y="140"/>
                  </a:lnTo>
                  <a:lnTo>
                    <a:pt x="176" y="142"/>
                  </a:lnTo>
                  <a:lnTo>
                    <a:pt x="176" y="143"/>
                  </a:lnTo>
                  <a:lnTo>
                    <a:pt x="175" y="143"/>
                  </a:lnTo>
                  <a:lnTo>
                    <a:pt x="175" y="146"/>
                  </a:lnTo>
                  <a:lnTo>
                    <a:pt x="173" y="146"/>
                  </a:lnTo>
                  <a:lnTo>
                    <a:pt x="173" y="148"/>
                  </a:lnTo>
                  <a:lnTo>
                    <a:pt x="172" y="149"/>
                  </a:lnTo>
                  <a:lnTo>
                    <a:pt x="173" y="151"/>
                  </a:lnTo>
                  <a:lnTo>
                    <a:pt x="175" y="155"/>
                  </a:lnTo>
                  <a:lnTo>
                    <a:pt x="175" y="157"/>
                  </a:lnTo>
                  <a:lnTo>
                    <a:pt x="173" y="155"/>
                  </a:lnTo>
                  <a:lnTo>
                    <a:pt x="172" y="157"/>
                  </a:lnTo>
                  <a:lnTo>
                    <a:pt x="172" y="163"/>
                  </a:lnTo>
                  <a:lnTo>
                    <a:pt x="170" y="163"/>
                  </a:lnTo>
                  <a:lnTo>
                    <a:pt x="170" y="167"/>
                  </a:lnTo>
                  <a:lnTo>
                    <a:pt x="172" y="170"/>
                  </a:lnTo>
                  <a:lnTo>
                    <a:pt x="172" y="172"/>
                  </a:lnTo>
                  <a:lnTo>
                    <a:pt x="173" y="172"/>
                  </a:lnTo>
                  <a:lnTo>
                    <a:pt x="176" y="175"/>
                  </a:lnTo>
                  <a:lnTo>
                    <a:pt x="175" y="176"/>
                  </a:lnTo>
                  <a:lnTo>
                    <a:pt x="176" y="176"/>
                  </a:lnTo>
                  <a:lnTo>
                    <a:pt x="175" y="181"/>
                  </a:lnTo>
                  <a:lnTo>
                    <a:pt x="175" y="203"/>
                  </a:lnTo>
                  <a:lnTo>
                    <a:pt x="178" y="209"/>
                  </a:lnTo>
                  <a:lnTo>
                    <a:pt x="184" y="215"/>
                  </a:lnTo>
                  <a:lnTo>
                    <a:pt x="187" y="215"/>
                  </a:lnTo>
                  <a:lnTo>
                    <a:pt x="187" y="217"/>
                  </a:lnTo>
                  <a:lnTo>
                    <a:pt x="188" y="217"/>
                  </a:lnTo>
                  <a:lnTo>
                    <a:pt x="188" y="215"/>
                  </a:lnTo>
                  <a:lnTo>
                    <a:pt x="190" y="215"/>
                  </a:lnTo>
                  <a:lnTo>
                    <a:pt x="190" y="217"/>
                  </a:lnTo>
                  <a:lnTo>
                    <a:pt x="191" y="218"/>
                  </a:lnTo>
                  <a:lnTo>
                    <a:pt x="191" y="220"/>
                  </a:lnTo>
                  <a:lnTo>
                    <a:pt x="193" y="221"/>
                  </a:lnTo>
                  <a:lnTo>
                    <a:pt x="193" y="224"/>
                  </a:lnTo>
                  <a:lnTo>
                    <a:pt x="196" y="229"/>
                  </a:lnTo>
                  <a:lnTo>
                    <a:pt x="197" y="229"/>
                  </a:lnTo>
                  <a:lnTo>
                    <a:pt x="197" y="230"/>
                  </a:lnTo>
                  <a:lnTo>
                    <a:pt x="199" y="230"/>
                  </a:lnTo>
                  <a:lnTo>
                    <a:pt x="199" y="233"/>
                  </a:lnTo>
                  <a:lnTo>
                    <a:pt x="200" y="235"/>
                  </a:lnTo>
                  <a:lnTo>
                    <a:pt x="199" y="235"/>
                  </a:lnTo>
                  <a:lnTo>
                    <a:pt x="199" y="236"/>
                  </a:lnTo>
                  <a:lnTo>
                    <a:pt x="202" y="239"/>
                  </a:lnTo>
                  <a:lnTo>
                    <a:pt x="203" y="242"/>
                  </a:lnTo>
                  <a:lnTo>
                    <a:pt x="203" y="245"/>
                  </a:lnTo>
                  <a:lnTo>
                    <a:pt x="205" y="245"/>
                  </a:lnTo>
                  <a:lnTo>
                    <a:pt x="205" y="247"/>
                  </a:lnTo>
                  <a:lnTo>
                    <a:pt x="206" y="247"/>
                  </a:lnTo>
                  <a:lnTo>
                    <a:pt x="206" y="253"/>
                  </a:lnTo>
                  <a:lnTo>
                    <a:pt x="208" y="253"/>
                  </a:lnTo>
                  <a:lnTo>
                    <a:pt x="209" y="254"/>
                  </a:lnTo>
                  <a:lnTo>
                    <a:pt x="209" y="257"/>
                  </a:lnTo>
                  <a:lnTo>
                    <a:pt x="211" y="259"/>
                  </a:lnTo>
                  <a:lnTo>
                    <a:pt x="211" y="262"/>
                  </a:lnTo>
                  <a:lnTo>
                    <a:pt x="212" y="262"/>
                  </a:lnTo>
                  <a:lnTo>
                    <a:pt x="212" y="265"/>
                  </a:lnTo>
                  <a:lnTo>
                    <a:pt x="214" y="268"/>
                  </a:lnTo>
                  <a:lnTo>
                    <a:pt x="214" y="275"/>
                  </a:lnTo>
                  <a:lnTo>
                    <a:pt x="206" y="275"/>
                  </a:lnTo>
                  <a:lnTo>
                    <a:pt x="205" y="274"/>
                  </a:lnTo>
                  <a:lnTo>
                    <a:pt x="205" y="272"/>
                  </a:lnTo>
                  <a:lnTo>
                    <a:pt x="203" y="271"/>
                  </a:lnTo>
                  <a:lnTo>
                    <a:pt x="203" y="269"/>
                  </a:lnTo>
                  <a:lnTo>
                    <a:pt x="205" y="268"/>
                  </a:lnTo>
                  <a:lnTo>
                    <a:pt x="206" y="268"/>
                  </a:lnTo>
                  <a:lnTo>
                    <a:pt x="208" y="266"/>
                  </a:lnTo>
                  <a:lnTo>
                    <a:pt x="205" y="266"/>
                  </a:lnTo>
                  <a:lnTo>
                    <a:pt x="203" y="268"/>
                  </a:lnTo>
                  <a:lnTo>
                    <a:pt x="202" y="268"/>
                  </a:lnTo>
                  <a:lnTo>
                    <a:pt x="200" y="265"/>
                  </a:lnTo>
                  <a:lnTo>
                    <a:pt x="200" y="262"/>
                  </a:lnTo>
                  <a:lnTo>
                    <a:pt x="199" y="262"/>
                  </a:lnTo>
                  <a:lnTo>
                    <a:pt x="199" y="263"/>
                  </a:lnTo>
                  <a:lnTo>
                    <a:pt x="200" y="266"/>
                  </a:lnTo>
                  <a:lnTo>
                    <a:pt x="200" y="271"/>
                  </a:lnTo>
                  <a:lnTo>
                    <a:pt x="199" y="272"/>
                  </a:lnTo>
                  <a:lnTo>
                    <a:pt x="197" y="272"/>
                  </a:lnTo>
                  <a:lnTo>
                    <a:pt x="193" y="269"/>
                  </a:lnTo>
                  <a:lnTo>
                    <a:pt x="191" y="269"/>
                  </a:lnTo>
                  <a:lnTo>
                    <a:pt x="190" y="271"/>
                  </a:lnTo>
                  <a:lnTo>
                    <a:pt x="185" y="271"/>
                  </a:lnTo>
                  <a:lnTo>
                    <a:pt x="184" y="274"/>
                  </a:lnTo>
                  <a:lnTo>
                    <a:pt x="182" y="275"/>
                  </a:lnTo>
                  <a:lnTo>
                    <a:pt x="181" y="275"/>
                  </a:lnTo>
                  <a:lnTo>
                    <a:pt x="179" y="274"/>
                  </a:lnTo>
                  <a:lnTo>
                    <a:pt x="179" y="277"/>
                  </a:lnTo>
                  <a:lnTo>
                    <a:pt x="178" y="280"/>
                  </a:lnTo>
                  <a:lnTo>
                    <a:pt x="178" y="278"/>
                  </a:lnTo>
                  <a:lnTo>
                    <a:pt x="175" y="275"/>
                  </a:lnTo>
                  <a:lnTo>
                    <a:pt x="173" y="271"/>
                  </a:lnTo>
                  <a:lnTo>
                    <a:pt x="172" y="268"/>
                  </a:lnTo>
                  <a:lnTo>
                    <a:pt x="172" y="266"/>
                  </a:lnTo>
                  <a:lnTo>
                    <a:pt x="169" y="266"/>
                  </a:lnTo>
                  <a:lnTo>
                    <a:pt x="164" y="263"/>
                  </a:lnTo>
                  <a:lnTo>
                    <a:pt x="157" y="259"/>
                  </a:lnTo>
                  <a:lnTo>
                    <a:pt x="154" y="257"/>
                  </a:lnTo>
                  <a:lnTo>
                    <a:pt x="151" y="257"/>
                  </a:lnTo>
                  <a:lnTo>
                    <a:pt x="151" y="256"/>
                  </a:lnTo>
                  <a:lnTo>
                    <a:pt x="149" y="254"/>
                  </a:lnTo>
                  <a:lnTo>
                    <a:pt x="148" y="254"/>
                  </a:lnTo>
                  <a:lnTo>
                    <a:pt x="146" y="253"/>
                  </a:lnTo>
                  <a:lnTo>
                    <a:pt x="140" y="253"/>
                  </a:lnTo>
                  <a:lnTo>
                    <a:pt x="140" y="251"/>
                  </a:lnTo>
                  <a:lnTo>
                    <a:pt x="139" y="250"/>
                  </a:lnTo>
                  <a:lnTo>
                    <a:pt x="139" y="248"/>
                  </a:lnTo>
                  <a:lnTo>
                    <a:pt x="134" y="245"/>
                  </a:lnTo>
                  <a:lnTo>
                    <a:pt x="134" y="244"/>
                  </a:lnTo>
                  <a:lnTo>
                    <a:pt x="133" y="244"/>
                  </a:lnTo>
                  <a:lnTo>
                    <a:pt x="133" y="242"/>
                  </a:lnTo>
                  <a:lnTo>
                    <a:pt x="131" y="241"/>
                  </a:lnTo>
                  <a:lnTo>
                    <a:pt x="124" y="239"/>
                  </a:lnTo>
                  <a:lnTo>
                    <a:pt x="117" y="236"/>
                  </a:lnTo>
                  <a:lnTo>
                    <a:pt x="115" y="235"/>
                  </a:lnTo>
                  <a:lnTo>
                    <a:pt x="115" y="233"/>
                  </a:lnTo>
                  <a:lnTo>
                    <a:pt x="111" y="230"/>
                  </a:lnTo>
                  <a:lnTo>
                    <a:pt x="109" y="230"/>
                  </a:lnTo>
                  <a:lnTo>
                    <a:pt x="109" y="229"/>
                  </a:lnTo>
                  <a:lnTo>
                    <a:pt x="108" y="229"/>
                  </a:lnTo>
                  <a:lnTo>
                    <a:pt x="108" y="227"/>
                  </a:lnTo>
                  <a:lnTo>
                    <a:pt x="106" y="227"/>
                  </a:lnTo>
                  <a:lnTo>
                    <a:pt x="105" y="226"/>
                  </a:lnTo>
                  <a:lnTo>
                    <a:pt x="105" y="227"/>
                  </a:lnTo>
                  <a:lnTo>
                    <a:pt x="103" y="227"/>
                  </a:lnTo>
                  <a:lnTo>
                    <a:pt x="102" y="226"/>
                  </a:lnTo>
                  <a:lnTo>
                    <a:pt x="102" y="223"/>
                  </a:lnTo>
                  <a:lnTo>
                    <a:pt x="100" y="223"/>
                  </a:lnTo>
                  <a:lnTo>
                    <a:pt x="100" y="221"/>
                  </a:lnTo>
                  <a:lnTo>
                    <a:pt x="99" y="220"/>
                  </a:lnTo>
                  <a:lnTo>
                    <a:pt x="99" y="218"/>
                  </a:lnTo>
                  <a:lnTo>
                    <a:pt x="94" y="218"/>
                  </a:lnTo>
                  <a:lnTo>
                    <a:pt x="94" y="217"/>
                  </a:lnTo>
                  <a:lnTo>
                    <a:pt x="90" y="217"/>
                  </a:lnTo>
                  <a:lnTo>
                    <a:pt x="88" y="215"/>
                  </a:lnTo>
                  <a:lnTo>
                    <a:pt x="85" y="214"/>
                  </a:lnTo>
                  <a:lnTo>
                    <a:pt x="85" y="212"/>
                  </a:lnTo>
                  <a:lnTo>
                    <a:pt x="81" y="208"/>
                  </a:lnTo>
                  <a:lnTo>
                    <a:pt x="78" y="208"/>
                  </a:lnTo>
                  <a:lnTo>
                    <a:pt x="76" y="206"/>
                  </a:lnTo>
                  <a:lnTo>
                    <a:pt x="76" y="203"/>
                  </a:lnTo>
                  <a:lnTo>
                    <a:pt x="79" y="200"/>
                  </a:lnTo>
                  <a:lnTo>
                    <a:pt x="79" y="196"/>
                  </a:lnTo>
                  <a:lnTo>
                    <a:pt x="78" y="194"/>
                  </a:lnTo>
                  <a:lnTo>
                    <a:pt x="76" y="188"/>
                  </a:lnTo>
                  <a:lnTo>
                    <a:pt x="76" y="187"/>
                  </a:lnTo>
                  <a:lnTo>
                    <a:pt x="73" y="184"/>
                  </a:lnTo>
                  <a:lnTo>
                    <a:pt x="72" y="184"/>
                  </a:lnTo>
                  <a:lnTo>
                    <a:pt x="72" y="182"/>
                  </a:lnTo>
                  <a:lnTo>
                    <a:pt x="67" y="178"/>
                  </a:lnTo>
                  <a:lnTo>
                    <a:pt x="67" y="176"/>
                  </a:lnTo>
                  <a:lnTo>
                    <a:pt x="66" y="175"/>
                  </a:lnTo>
                  <a:lnTo>
                    <a:pt x="66" y="172"/>
                  </a:lnTo>
                  <a:lnTo>
                    <a:pt x="64" y="172"/>
                  </a:lnTo>
                  <a:lnTo>
                    <a:pt x="61" y="169"/>
                  </a:lnTo>
                  <a:lnTo>
                    <a:pt x="60" y="169"/>
                  </a:lnTo>
                  <a:lnTo>
                    <a:pt x="60" y="167"/>
                  </a:lnTo>
                  <a:lnTo>
                    <a:pt x="58" y="167"/>
                  </a:lnTo>
                  <a:lnTo>
                    <a:pt x="58" y="166"/>
                  </a:lnTo>
                  <a:lnTo>
                    <a:pt x="57" y="164"/>
                  </a:lnTo>
                  <a:lnTo>
                    <a:pt x="54" y="164"/>
                  </a:lnTo>
                  <a:lnTo>
                    <a:pt x="54" y="163"/>
                  </a:lnTo>
                  <a:lnTo>
                    <a:pt x="55" y="163"/>
                  </a:lnTo>
                  <a:lnTo>
                    <a:pt x="55" y="161"/>
                  </a:lnTo>
                  <a:lnTo>
                    <a:pt x="51" y="161"/>
                  </a:lnTo>
                  <a:lnTo>
                    <a:pt x="49" y="160"/>
                  </a:lnTo>
                  <a:lnTo>
                    <a:pt x="49" y="155"/>
                  </a:lnTo>
                  <a:lnTo>
                    <a:pt x="54" y="155"/>
                  </a:lnTo>
                  <a:lnTo>
                    <a:pt x="54" y="154"/>
                  </a:lnTo>
                  <a:lnTo>
                    <a:pt x="57" y="154"/>
                  </a:lnTo>
                  <a:lnTo>
                    <a:pt x="57" y="152"/>
                  </a:lnTo>
                  <a:lnTo>
                    <a:pt x="54" y="152"/>
                  </a:lnTo>
                  <a:lnTo>
                    <a:pt x="54" y="154"/>
                  </a:lnTo>
                  <a:lnTo>
                    <a:pt x="52" y="154"/>
                  </a:lnTo>
                  <a:lnTo>
                    <a:pt x="52" y="149"/>
                  </a:lnTo>
                  <a:lnTo>
                    <a:pt x="49" y="148"/>
                  </a:lnTo>
                  <a:lnTo>
                    <a:pt x="48" y="146"/>
                  </a:lnTo>
                  <a:lnTo>
                    <a:pt x="45" y="146"/>
                  </a:lnTo>
                  <a:lnTo>
                    <a:pt x="45" y="142"/>
                  </a:lnTo>
                  <a:lnTo>
                    <a:pt x="43" y="140"/>
                  </a:lnTo>
                  <a:lnTo>
                    <a:pt x="43" y="136"/>
                  </a:lnTo>
                  <a:lnTo>
                    <a:pt x="45" y="134"/>
                  </a:lnTo>
                  <a:lnTo>
                    <a:pt x="45" y="133"/>
                  </a:lnTo>
                  <a:lnTo>
                    <a:pt x="46" y="130"/>
                  </a:lnTo>
                  <a:lnTo>
                    <a:pt x="46" y="129"/>
                  </a:lnTo>
                  <a:lnTo>
                    <a:pt x="45" y="129"/>
                  </a:lnTo>
                  <a:lnTo>
                    <a:pt x="43" y="127"/>
                  </a:lnTo>
                  <a:lnTo>
                    <a:pt x="45" y="127"/>
                  </a:lnTo>
                  <a:lnTo>
                    <a:pt x="45" y="126"/>
                  </a:lnTo>
                  <a:lnTo>
                    <a:pt x="46" y="126"/>
                  </a:lnTo>
                  <a:lnTo>
                    <a:pt x="46" y="124"/>
                  </a:lnTo>
                  <a:lnTo>
                    <a:pt x="45" y="124"/>
                  </a:lnTo>
                  <a:lnTo>
                    <a:pt x="45" y="118"/>
                  </a:lnTo>
                  <a:lnTo>
                    <a:pt x="43" y="118"/>
                  </a:lnTo>
                  <a:lnTo>
                    <a:pt x="43" y="115"/>
                  </a:lnTo>
                  <a:lnTo>
                    <a:pt x="39" y="115"/>
                  </a:lnTo>
                  <a:lnTo>
                    <a:pt x="40" y="114"/>
                  </a:lnTo>
                  <a:lnTo>
                    <a:pt x="40" y="112"/>
                  </a:lnTo>
                  <a:lnTo>
                    <a:pt x="37" y="112"/>
                  </a:lnTo>
                  <a:lnTo>
                    <a:pt x="37" y="111"/>
                  </a:lnTo>
                  <a:lnTo>
                    <a:pt x="36" y="111"/>
                  </a:lnTo>
                  <a:lnTo>
                    <a:pt x="36" y="109"/>
                  </a:lnTo>
                  <a:lnTo>
                    <a:pt x="34" y="108"/>
                  </a:lnTo>
                  <a:lnTo>
                    <a:pt x="34" y="106"/>
                  </a:lnTo>
                  <a:lnTo>
                    <a:pt x="33" y="105"/>
                  </a:lnTo>
                  <a:lnTo>
                    <a:pt x="34" y="105"/>
                  </a:lnTo>
                  <a:lnTo>
                    <a:pt x="34" y="103"/>
                  </a:lnTo>
                  <a:lnTo>
                    <a:pt x="36" y="103"/>
                  </a:lnTo>
                  <a:lnTo>
                    <a:pt x="36" y="102"/>
                  </a:lnTo>
                  <a:lnTo>
                    <a:pt x="37" y="100"/>
                  </a:lnTo>
                  <a:lnTo>
                    <a:pt x="37" y="99"/>
                  </a:lnTo>
                  <a:lnTo>
                    <a:pt x="36" y="97"/>
                  </a:lnTo>
                  <a:lnTo>
                    <a:pt x="37" y="96"/>
                  </a:lnTo>
                  <a:lnTo>
                    <a:pt x="37" y="94"/>
                  </a:lnTo>
                  <a:lnTo>
                    <a:pt x="34" y="91"/>
                  </a:lnTo>
                  <a:lnTo>
                    <a:pt x="34" y="85"/>
                  </a:lnTo>
                  <a:lnTo>
                    <a:pt x="33" y="82"/>
                  </a:lnTo>
                  <a:lnTo>
                    <a:pt x="33" y="78"/>
                  </a:lnTo>
                  <a:lnTo>
                    <a:pt x="34" y="78"/>
                  </a:lnTo>
                  <a:lnTo>
                    <a:pt x="33" y="76"/>
                  </a:lnTo>
                  <a:lnTo>
                    <a:pt x="34" y="72"/>
                  </a:lnTo>
                  <a:lnTo>
                    <a:pt x="33" y="63"/>
                  </a:lnTo>
                  <a:lnTo>
                    <a:pt x="33" y="61"/>
                  </a:lnTo>
                  <a:lnTo>
                    <a:pt x="31" y="61"/>
                  </a:lnTo>
                  <a:lnTo>
                    <a:pt x="31" y="60"/>
                  </a:lnTo>
                  <a:lnTo>
                    <a:pt x="27" y="54"/>
                  </a:lnTo>
                  <a:lnTo>
                    <a:pt x="25" y="51"/>
                  </a:lnTo>
                  <a:lnTo>
                    <a:pt x="25" y="49"/>
                  </a:lnTo>
                  <a:lnTo>
                    <a:pt x="24" y="48"/>
                  </a:lnTo>
                  <a:lnTo>
                    <a:pt x="24" y="45"/>
                  </a:lnTo>
                  <a:lnTo>
                    <a:pt x="22" y="43"/>
                  </a:lnTo>
                  <a:lnTo>
                    <a:pt x="22" y="42"/>
                  </a:lnTo>
                  <a:lnTo>
                    <a:pt x="24" y="40"/>
                  </a:lnTo>
                  <a:lnTo>
                    <a:pt x="24" y="31"/>
                  </a:lnTo>
                  <a:lnTo>
                    <a:pt x="25" y="30"/>
                  </a:lnTo>
                  <a:close/>
                  <a:moveTo>
                    <a:pt x="815" y="28"/>
                  </a:moveTo>
                  <a:lnTo>
                    <a:pt x="819" y="28"/>
                  </a:lnTo>
                  <a:lnTo>
                    <a:pt x="821" y="30"/>
                  </a:lnTo>
                  <a:lnTo>
                    <a:pt x="821" y="31"/>
                  </a:lnTo>
                  <a:lnTo>
                    <a:pt x="818" y="33"/>
                  </a:lnTo>
                  <a:lnTo>
                    <a:pt x="818" y="34"/>
                  </a:lnTo>
                  <a:lnTo>
                    <a:pt x="816" y="34"/>
                  </a:lnTo>
                  <a:lnTo>
                    <a:pt x="815" y="33"/>
                  </a:lnTo>
                  <a:lnTo>
                    <a:pt x="812" y="33"/>
                  </a:lnTo>
                  <a:lnTo>
                    <a:pt x="813" y="31"/>
                  </a:lnTo>
                  <a:lnTo>
                    <a:pt x="818" y="31"/>
                  </a:lnTo>
                  <a:lnTo>
                    <a:pt x="818" y="30"/>
                  </a:lnTo>
                  <a:lnTo>
                    <a:pt x="815" y="30"/>
                  </a:lnTo>
                  <a:lnTo>
                    <a:pt x="815" y="28"/>
                  </a:lnTo>
                  <a:close/>
                  <a:moveTo>
                    <a:pt x="785" y="16"/>
                  </a:moveTo>
                  <a:lnTo>
                    <a:pt x="788" y="16"/>
                  </a:lnTo>
                  <a:lnTo>
                    <a:pt x="789" y="18"/>
                  </a:lnTo>
                  <a:lnTo>
                    <a:pt x="789" y="21"/>
                  </a:lnTo>
                  <a:lnTo>
                    <a:pt x="788" y="21"/>
                  </a:lnTo>
                  <a:lnTo>
                    <a:pt x="788" y="24"/>
                  </a:lnTo>
                  <a:lnTo>
                    <a:pt x="789" y="24"/>
                  </a:lnTo>
                  <a:lnTo>
                    <a:pt x="791" y="25"/>
                  </a:lnTo>
                  <a:lnTo>
                    <a:pt x="789" y="27"/>
                  </a:lnTo>
                  <a:lnTo>
                    <a:pt x="789" y="28"/>
                  </a:lnTo>
                  <a:lnTo>
                    <a:pt x="788" y="30"/>
                  </a:lnTo>
                  <a:lnTo>
                    <a:pt x="788" y="31"/>
                  </a:lnTo>
                  <a:lnTo>
                    <a:pt x="786" y="34"/>
                  </a:lnTo>
                  <a:lnTo>
                    <a:pt x="786" y="36"/>
                  </a:lnTo>
                  <a:lnTo>
                    <a:pt x="789" y="36"/>
                  </a:lnTo>
                  <a:lnTo>
                    <a:pt x="795" y="30"/>
                  </a:lnTo>
                  <a:lnTo>
                    <a:pt x="795" y="28"/>
                  </a:lnTo>
                  <a:lnTo>
                    <a:pt x="797" y="28"/>
                  </a:lnTo>
                  <a:lnTo>
                    <a:pt x="797" y="27"/>
                  </a:lnTo>
                  <a:lnTo>
                    <a:pt x="800" y="25"/>
                  </a:lnTo>
                  <a:lnTo>
                    <a:pt x="800" y="22"/>
                  </a:lnTo>
                  <a:lnTo>
                    <a:pt x="798" y="21"/>
                  </a:lnTo>
                  <a:lnTo>
                    <a:pt x="798" y="19"/>
                  </a:lnTo>
                  <a:lnTo>
                    <a:pt x="800" y="19"/>
                  </a:lnTo>
                  <a:lnTo>
                    <a:pt x="800" y="18"/>
                  </a:lnTo>
                  <a:lnTo>
                    <a:pt x="803" y="18"/>
                  </a:lnTo>
                  <a:lnTo>
                    <a:pt x="803" y="16"/>
                  </a:lnTo>
                  <a:lnTo>
                    <a:pt x="804" y="16"/>
                  </a:lnTo>
                  <a:lnTo>
                    <a:pt x="806" y="18"/>
                  </a:lnTo>
                  <a:lnTo>
                    <a:pt x="809" y="19"/>
                  </a:lnTo>
                  <a:lnTo>
                    <a:pt x="809" y="24"/>
                  </a:lnTo>
                  <a:lnTo>
                    <a:pt x="807" y="24"/>
                  </a:lnTo>
                  <a:lnTo>
                    <a:pt x="807" y="25"/>
                  </a:lnTo>
                  <a:lnTo>
                    <a:pt x="810" y="31"/>
                  </a:lnTo>
                  <a:lnTo>
                    <a:pt x="810" y="34"/>
                  </a:lnTo>
                  <a:lnTo>
                    <a:pt x="815" y="34"/>
                  </a:lnTo>
                  <a:lnTo>
                    <a:pt x="815" y="36"/>
                  </a:lnTo>
                  <a:lnTo>
                    <a:pt x="816" y="37"/>
                  </a:lnTo>
                  <a:lnTo>
                    <a:pt x="819" y="37"/>
                  </a:lnTo>
                  <a:lnTo>
                    <a:pt x="821" y="36"/>
                  </a:lnTo>
                  <a:lnTo>
                    <a:pt x="822" y="36"/>
                  </a:lnTo>
                  <a:lnTo>
                    <a:pt x="822" y="39"/>
                  </a:lnTo>
                  <a:lnTo>
                    <a:pt x="827" y="39"/>
                  </a:lnTo>
                  <a:lnTo>
                    <a:pt x="828" y="40"/>
                  </a:lnTo>
                  <a:lnTo>
                    <a:pt x="828" y="42"/>
                  </a:lnTo>
                  <a:lnTo>
                    <a:pt x="830" y="42"/>
                  </a:lnTo>
                  <a:lnTo>
                    <a:pt x="830" y="43"/>
                  </a:lnTo>
                  <a:lnTo>
                    <a:pt x="831" y="45"/>
                  </a:lnTo>
                  <a:lnTo>
                    <a:pt x="830" y="46"/>
                  </a:lnTo>
                  <a:lnTo>
                    <a:pt x="831" y="48"/>
                  </a:lnTo>
                  <a:lnTo>
                    <a:pt x="830" y="51"/>
                  </a:lnTo>
                  <a:lnTo>
                    <a:pt x="827" y="51"/>
                  </a:lnTo>
                  <a:lnTo>
                    <a:pt x="827" y="52"/>
                  </a:lnTo>
                  <a:lnTo>
                    <a:pt x="825" y="52"/>
                  </a:lnTo>
                  <a:lnTo>
                    <a:pt x="824" y="54"/>
                  </a:lnTo>
                  <a:lnTo>
                    <a:pt x="825" y="54"/>
                  </a:lnTo>
                  <a:lnTo>
                    <a:pt x="825" y="55"/>
                  </a:lnTo>
                  <a:lnTo>
                    <a:pt x="827" y="57"/>
                  </a:lnTo>
                  <a:lnTo>
                    <a:pt x="827" y="60"/>
                  </a:lnTo>
                  <a:lnTo>
                    <a:pt x="825" y="60"/>
                  </a:lnTo>
                  <a:lnTo>
                    <a:pt x="825" y="61"/>
                  </a:lnTo>
                  <a:lnTo>
                    <a:pt x="827" y="61"/>
                  </a:lnTo>
                  <a:lnTo>
                    <a:pt x="827" y="63"/>
                  </a:lnTo>
                  <a:lnTo>
                    <a:pt x="828" y="63"/>
                  </a:lnTo>
                  <a:lnTo>
                    <a:pt x="825" y="66"/>
                  </a:lnTo>
                  <a:lnTo>
                    <a:pt x="819" y="67"/>
                  </a:lnTo>
                  <a:lnTo>
                    <a:pt x="818" y="69"/>
                  </a:lnTo>
                  <a:lnTo>
                    <a:pt x="819" y="69"/>
                  </a:lnTo>
                  <a:lnTo>
                    <a:pt x="822" y="67"/>
                  </a:lnTo>
                  <a:lnTo>
                    <a:pt x="833" y="67"/>
                  </a:lnTo>
                  <a:lnTo>
                    <a:pt x="833" y="66"/>
                  </a:lnTo>
                  <a:lnTo>
                    <a:pt x="836" y="66"/>
                  </a:lnTo>
                  <a:lnTo>
                    <a:pt x="837" y="64"/>
                  </a:lnTo>
                  <a:lnTo>
                    <a:pt x="839" y="64"/>
                  </a:lnTo>
                  <a:lnTo>
                    <a:pt x="839" y="63"/>
                  </a:lnTo>
                  <a:lnTo>
                    <a:pt x="840" y="63"/>
                  </a:lnTo>
                  <a:lnTo>
                    <a:pt x="842" y="61"/>
                  </a:lnTo>
                  <a:lnTo>
                    <a:pt x="842" y="60"/>
                  </a:lnTo>
                  <a:lnTo>
                    <a:pt x="843" y="60"/>
                  </a:lnTo>
                  <a:lnTo>
                    <a:pt x="845" y="61"/>
                  </a:lnTo>
                  <a:lnTo>
                    <a:pt x="845" y="63"/>
                  </a:lnTo>
                  <a:lnTo>
                    <a:pt x="846" y="63"/>
                  </a:lnTo>
                  <a:lnTo>
                    <a:pt x="846" y="66"/>
                  </a:lnTo>
                  <a:lnTo>
                    <a:pt x="848" y="69"/>
                  </a:lnTo>
                  <a:lnTo>
                    <a:pt x="848" y="70"/>
                  </a:lnTo>
                  <a:lnTo>
                    <a:pt x="846" y="72"/>
                  </a:lnTo>
                  <a:lnTo>
                    <a:pt x="839" y="72"/>
                  </a:lnTo>
                  <a:lnTo>
                    <a:pt x="839" y="73"/>
                  </a:lnTo>
                  <a:lnTo>
                    <a:pt x="840" y="76"/>
                  </a:lnTo>
                  <a:lnTo>
                    <a:pt x="840" y="78"/>
                  </a:lnTo>
                  <a:lnTo>
                    <a:pt x="842" y="78"/>
                  </a:lnTo>
                  <a:lnTo>
                    <a:pt x="842" y="76"/>
                  </a:lnTo>
                  <a:lnTo>
                    <a:pt x="849" y="76"/>
                  </a:lnTo>
                  <a:lnTo>
                    <a:pt x="849" y="75"/>
                  </a:lnTo>
                  <a:lnTo>
                    <a:pt x="851" y="73"/>
                  </a:lnTo>
                  <a:lnTo>
                    <a:pt x="851" y="70"/>
                  </a:lnTo>
                  <a:lnTo>
                    <a:pt x="852" y="69"/>
                  </a:lnTo>
                  <a:lnTo>
                    <a:pt x="854" y="70"/>
                  </a:lnTo>
                  <a:lnTo>
                    <a:pt x="852" y="70"/>
                  </a:lnTo>
                  <a:lnTo>
                    <a:pt x="852" y="72"/>
                  </a:lnTo>
                  <a:lnTo>
                    <a:pt x="855" y="70"/>
                  </a:lnTo>
                  <a:lnTo>
                    <a:pt x="858" y="72"/>
                  </a:lnTo>
                  <a:lnTo>
                    <a:pt x="861" y="72"/>
                  </a:lnTo>
                  <a:lnTo>
                    <a:pt x="866" y="75"/>
                  </a:lnTo>
                  <a:lnTo>
                    <a:pt x="867" y="76"/>
                  </a:lnTo>
                  <a:lnTo>
                    <a:pt x="869" y="76"/>
                  </a:lnTo>
                  <a:lnTo>
                    <a:pt x="870" y="78"/>
                  </a:lnTo>
                  <a:lnTo>
                    <a:pt x="870" y="79"/>
                  </a:lnTo>
                  <a:lnTo>
                    <a:pt x="869" y="79"/>
                  </a:lnTo>
                  <a:lnTo>
                    <a:pt x="869" y="85"/>
                  </a:lnTo>
                  <a:lnTo>
                    <a:pt x="870" y="84"/>
                  </a:lnTo>
                  <a:lnTo>
                    <a:pt x="870" y="81"/>
                  </a:lnTo>
                  <a:lnTo>
                    <a:pt x="872" y="79"/>
                  </a:lnTo>
                  <a:lnTo>
                    <a:pt x="873" y="79"/>
                  </a:lnTo>
                  <a:lnTo>
                    <a:pt x="873" y="81"/>
                  </a:lnTo>
                  <a:lnTo>
                    <a:pt x="876" y="82"/>
                  </a:lnTo>
                  <a:lnTo>
                    <a:pt x="876" y="84"/>
                  </a:lnTo>
                  <a:lnTo>
                    <a:pt x="879" y="84"/>
                  </a:lnTo>
                  <a:lnTo>
                    <a:pt x="879" y="85"/>
                  </a:lnTo>
                  <a:lnTo>
                    <a:pt x="881" y="85"/>
                  </a:lnTo>
                  <a:lnTo>
                    <a:pt x="884" y="87"/>
                  </a:lnTo>
                  <a:lnTo>
                    <a:pt x="885" y="88"/>
                  </a:lnTo>
                  <a:lnTo>
                    <a:pt x="885" y="91"/>
                  </a:lnTo>
                  <a:lnTo>
                    <a:pt x="888" y="91"/>
                  </a:lnTo>
                  <a:lnTo>
                    <a:pt x="888" y="90"/>
                  </a:lnTo>
                  <a:lnTo>
                    <a:pt x="887" y="90"/>
                  </a:lnTo>
                  <a:lnTo>
                    <a:pt x="888" y="88"/>
                  </a:lnTo>
                  <a:lnTo>
                    <a:pt x="890" y="88"/>
                  </a:lnTo>
                  <a:lnTo>
                    <a:pt x="891" y="90"/>
                  </a:lnTo>
                  <a:lnTo>
                    <a:pt x="893" y="90"/>
                  </a:lnTo>
                  <a:lnTo>
                    <a:pt x="896" y="88"/>
                  </a:lnTo>
                  <a:lnTo>
                    <a:pt x="899" y="88"/>
                  </a:lnTo>
                  <a:lnTo>
                    <a:pt x="899" y="90"/>
                  </a:lnTo>
                  <a:lnTo>
                    <a:pt x="902" y="93"/>
                  </a:lnTo>
                  <a:lnTo>
                    <a:pt x="902" y="96"/>
                  </a:lnTo>
                  <a:lnTo>
                    <a:pt x="900" y="96"/>
                  </a:lnTo>
                  <a:lnTo>
                    <a:pt x="902" y="99"/>
                  </a:lnTo>
                  <a:lnTo>
                    <a:pt x="902" y="100"/>
                  </a:lnTo>
                  <a:lnTo>
                    <a:pt x="900" y="100"/>
                  </a:lnTo>
                  <a:lnTo>
                    <a:pt x="897" y="103"/>
                  </a:lnTo>
                  <a:lnTo>
                    <a:pt x="896" y="103"/>
                  </a:lnTo>
                  <a:lnTo>
                    <a:pt x="887" y="106"/>
                  </a:lnTo>
                  <a:lnTo>
                    <a:pt x="879" y="109"/>
                  </a:lnTo>
                  <a:lnTo>
                    <a:pt x="878" y="111"/>
                  </a:lnTo>
                  <a:lnTo>
                    <a:pt x="867" y="111"/>
                  </a:lnTo>
                  <a:lnTo>
                    <a:pt x="866" y="112"/>
                  </a:lnTo>
                  <a:lnTo>
                    <a:pt x="866" y="111"/>
                  </a:lnTo>
                  <a:lnTo>
                    <a:pt x="864" y="111"/>
                  </a:lnTo>
                  <a:lnTo>
                    <a:pt x="864" y="109"/>
                  </a:lnTo>
                  <a:lnTo>
                    <a:pt x="863" y="108"/>
                  </a:lnTo>
                  <a:lnTo>
                    <a:pt x="861" y="108"/>
                  </a:lnTo>
                  <a:lnTo>
                    <a:pt x="860" y="106"/>
                  </a:lnTo>
                  <a:lnTo>
                    <a:pt x="857" y="109"/>
                  </a:lnTo>
                  <a:lnTo>
                    <a:pt x="854" y="109"/>
                  </a:lnTo>
                  <a:lnTo>
                    <a:pt x="852" y="111"/>
                  </a:lnTo>
                  <a:lnTo>
                    <a:pt x="851" y="114"/>
                  </a:lnTo>
                  <a:lnTo>
                    <a:pt x="849" y="114"/>
                  </a:lnTo>
                  <a:lnTo>
                    <a:pt x="849" y="115"/>
                  </a:lnTo>
                  <a:lnTo>
                    <a:pt x="852" y="118"/>
                  </a:lnTo>
                  <a:lnTo>
                    <a:pt x="852" y="120"/>
                  </a:lnTo>
                  <a:lnTo>
                    <a:pt x="857" y="124"/>
                  </a:lnTo>
                  <a:lnTo>
                    <a:pt x="860" y="124"/>
                  </a:lnTo>
                  <a:lnTo>
                    <a:pt x="860" y="126"/>
                  </a:lnTo>
                  <a:lnTo>
                    <a:pt x="861" y="126"/>
                  </a:lnTo>
                  <a:lnTo>
                    <a:pt x="861" y="127"/>
                  </a:lnTo>
                  <a:lnTo>
                    <a:pt x="863" y="127"/>
                  </a:lnTo>
                  <a:lnTo>
                    <a:pt x="863" y="126"/>
                  </a:lnTo>
                  <a:lnTo>
                    <a:pt x="864" y="127"/>
                  </a:lnTo>
                  <a:lnTo>
                    <a:pt x="866" y="127"/>
                  </a:lnTo>
                  <a:lnTo>
                    <a:pt x="866" y="129"/>
                  </a:lnTo>
                  <a:lnTo>
                    <a:pt x="864" y="129"/>
                  </a:lnTo>
                  <a:lnTo>
                    <a:pt x="864" y="130"/>
                  </a:lnTo>
                  <a:lnTo>
                    <a:pt x="866" y="130"/>
                  </a:lnTo>
                  <a:lnTo>
                    <a:pt x="866" y="132"/>
                  </a:lnTo>
                  <a:lnTo>
                    <a:pt x="867" y="132"/>
                  </a:lnTo>
                  <a:lnTo>
                    <a:pt x="869" y="130"/>
                  </a:lnTo>
                  <a:lnTo>
                    <a:pt x="870" y="130"/>
                  </a:lnTo>
                  <a:lnTo>
                    <a:pt x="870" y="132"/>
                  </a:lnTo>
                  <a:lnTo>
                    <a:pt x="872" y="134"/>
                  </a:lnTo>
                  <a:lnTo>
                    <a:pt x="870" y="134"/>
                  </a:lnTo>
                  <a:lnTo>
                    <a:pt x="870" y="136"/>
                  </a:lnTo>
                  <a:lnTo>
                    <a:pt x="869" y="137"/>
                  </a:lnTo>
                  <a:lnTo>
                    <a:pt x="866" y="137"/>
                  </a:lnTo>
                  <a:lnTo>
                    <a:pt x="864" y="139"/>
                  </a:lnTo>
                  <a:lnTo>
                    <a:pt x="860" y="139"/>
                  </a:lnTo>
                  <a:lnTo>
                    <a:pt x="858" y="137"/>
                  </a:lnTo>
                  <a:lnTo>
                    <a:pt x="858" y="139"/>
                  </a:lnTo>
                  <a:lnTo>
                    <a:pt x="854" y="140"/>
                  </a:lnTo>
                  <a:lnTo>
                    <a:pt x="849" y="140"/>
                  </a:lnTo>
                  <a:lnTo>
                    <a:pt x="843" y="143"/>
                  </a:lnTo>
                  <a:lnTo>
                    <a:pt x="839" y="143"/>
                  </a:lnTo>
                  <a:lnTo>
                    <a:pt x="836" y="140"/>
                  </a:lnTo>
                  <a:lnTo>
                    <a:pt x="834" y="140"/>
                  </a:lnTo>
                  <a:lnTo>
                    <a:pt x="834" y="139"/>
                  </a:lnTo>
                  <a:lnTo>
                    <a:pt x="831" y="139"/>
                  </a:lnTo>
                  <a:lnTo>
                    <a:pt x="831" y="137"/>
                  </a:lnTo>
                  <a:lnTo>
                    <a:pt x="830" y="137"/>
                  </a:lnTo>
                  <a:lnTo>
                    <a:pt x="828" y="136"/>
                  </a:lnTo>
                  <a:lnTo>
                    <a:pt x="828" y="134"/>
                  </a:lnTo>
                  <a:lnTo>
                    <a:pt x="827" y="134"/>
                  </a:lnTo>
                  <a:lnTo>
                    <a:pt x="825" y="136"/>
                  </a:lnTo>
                  <a:lnTo>
                    <a:pt x="825" y="140"/>
                  </a:lnTo>
                  <a:lnTo>
                    <a:pt x="827" y="140"/>
                  </a:lnTo>
                  <a:lnTo>
                    <a:pt x="827" y="142"/>
                  </a:lnTo>
                  <a:lnTo>
                    <a:pt x="831" y="142"/>
                  </a:lnTo>
                  <a:lnTo>
                    <a:pt x="834" y="145"/>
                  </a:lnTo>
                  <a:lnTo>
                    <a:pt x="836" y="145"/>
                  </a:lnTo>
                  <a:lnTo>
                    <a:pt x="837" y="146"/>
                  </a:lnTo>
                  <a:lnTo>
                    <a:pt x="828" y="146"/>
                  </a:lnTo>
                  <a:lnTo>
                    <a:pt x="827" y="145"/>
                  </a:lnTo>
                  <a:lnTo>
                    <a:pt x="827" y="143"/>
                  </a:lnTo>
                  <a:lnTo>
                    <a:pt x="825" y="143"/>
                  </a:lnTo>
                  <a:lnTo>
                    <a:pt x="824" y="145"/>
                  </a:lnTo>
                  <a:lnTo>
                    <a:pt x="825" y="146"/>
                  </a:lnTo>
                  <a:lnTo>
                    <a:pt x="816" y="146"/>
                  </a:lnTo>
                  <a:lnTo>
                    <a:pt x="816" y="145"/>
                  </a:lnTo>
                  <a:lnTo>
                    <a:pt x="813" y="142"/>
                  </a:lnTo>
                  <a:lnTo>
                    <a:pt x="809" y="140"/>
                  </a:lnTo>
                  <a:lnTo>
                    <a:pt x="807" y="139"/>
                  </a:lnTo>
                  <a:lnTo>
                    <a:pt x="807" y="137"/>
                  </a:lnTo>
                  <a:lnTo>
                    <a:pt x="806" y="137"/>
                  </a:lnTo>
                  <a:lnTo>
                    <a:pt x="804" y="139"/>
                  </a:lnTo>
                  <a:lnTo>
                    <a:pt x="786" y="139"/>
                  </a:lnTo>
                  <a:lnTo>
                    <a:pt x="785" y="137"/>
                  </a:lnTo>
                  <a:lnTo>
                    <a:pt x="783" y="137"/>
                  </a:lnTo>
                  <a:lnTo>
                    <a:pt x="782" y="139"/>
                  </a:lnTo>
                  <a:lnTo>
                    <a:pt x="777" y="139"/>
                  </a:lnTo>
                  <a:lnTo>
                    <a:pt x="776" y="136"/>
                  </a:lnTo>
                  <a:lnTo>
                    <a:pt x="774" y="136"/>
                  </a:lnTo>
                  <a:lnTo>
                    <a:pt x="773" y="137"/>
                  </a:lnTo>
                  <a:lnTo>
                    <a:pt x="773" y="140"/>
                  </a:lnTo>
                  <a:lnTo>
                    <a:pt x="768" y="140"/>
                  </a:lnTo>
                  <a:lnTo>
                    <a:pt x="767" y="139"/>
                  </a:lnTo>
                  <a:lnTo>
                    <a:pt x="767" y="137"/>
                  </a:lnTo>
                  <a:lnTo>
                    <a:pt x="757" y="137"/>
                  </a:lnTo>
                  <a:lnTo>
                    <a:pt x="757" y="139"/>
                  </a:lnTo>
                  <a:lnTo>
                    <a:pt x="755" y="139"/>
                  </a:lnTo>
                  <a:lnTo>
                    <a:pt x="752" y="142"/>
                  </a:lnTo>
                  <a:lnTo>
                    <a:pt x="751" y="142"/>
                  </a:lnTo>
                  <a:lnTo>
                    <a:pt x="751" y="139"/>
                  </a:lnTo>
                  <a:lnTo>
                    <a:pt x="746" y="139"/>
                  </a:lnTo>
                  <a:lnTo>
                    <a:pt x="746" y="137"/>
                  </a:lnTo>
                  <a:lnTo>
                    <a:pt x="745" y="137"/>
                  </a:lnTo>
                  <a:lnTo>
                    <a:pt x="745" y="136"/>
                  </a:lnTo>
                  <a:lnTo>
                    <a:pt x="743" y="136"/>
                  </a:lnTo>
                  <a:lnTo>
                    <a:pt x="743" y="142"/>
                  </a:lnTo>
                  <a:lnTo>
                    <a:pt x="742" y="143"/>
                  </a:lnTo>
                  <a:lnTo>
                    <a:pt x="739" y="143"/>
                  </a:lnTo>
                  <a:lnTo>
                    <a:pt x="736" y="146"/>
                  </a:lnTo>
                  <a:lnTo>
                    <a:pt x="734" y="146"/>
                  </a:lnTo>
                  <a:lnTo>
                    <a:pt x="734" y="152"/>
                  </a:lnTo>
                  <a:lnTo>
                    <a:pt x="733" y="154"/>
                  </a:lnTo>
                  <a:lnTo>
                    <a:pt x="733" y="157"/>
                  </a:lnTo>
                  <a:lnTo>
                    <a:pt x="730" y="157"/>
                  </a:lnTo>
                  <a:lnTo>
                    <a:pt x="730" y="158"/>
                  </a:lnTo>
                  <a:lnTo>
                    <a:pt x="733" y="161"/>
                  </a:lnTo>
                  <a:lnTo>
                    <a:pt x="733" y="163"/>
                  </a:lnTo>
                  <a:lnTo>
                    <a:pt x="730" y="167"/>
                  </a:lnTo>
                  <a:lnTo>
                    <a:pt x="730" y="172"/>
                  </a:lnTo>
                  <a:lnTo>
                    <a:pt x="731" y="175"/>
                  </a:lnTo>
                  <a:lnTo>
                    <a:pt x="731" y="178"/>
                  </a:lnTo>
                  <a:lnTo>
                    <a:pt x="733" y="179"/>
                  </a:lnTo>
                  <a:lnTo>
                    <a:pt x="733" y="181"/>
                  </a:lnTo>
                  <a:lnTo>
                    <a:pt x="730" y="181"/>
                  </a:lnTo>
                  <a:lnTo>
                    <a:pt x="728" y="184"/>
                  </a:lnTo>
                  <a:lnTo>
                    <a:pt x="727" y="190"/>
                  </a:lnTo>
                  <a:lnTo>
                    <a:pt x="727" y="191"/>
                  </a:lnTo>
                  <a:lnTo>
                    <a:pt x="728" y="193"/>
                  </a:lnTo>
                  <a:lnTo>
                    <a:pt x="727" y="194"/>
                  </a:lnTo>
                  <a:lnTo>
                    <a:pt x="727" y="199"/>
                  </a:lnTo>
                  <a:lnTo>
                    <a:pt x="724" y="199"/>
                  </a:lnTo>
                  <a:lnTo>
                    <a:pt x="721" y="200"/>
                  </a:lnTo>
                  <a:lnTo>
                    <a:pt x="718" y="200"/>
                  </a:lnTo>
                  <a:lnTo>
                    <a:pt x="716" y="199"/>
                  </a:lnTo>
                  <a:lnTo>
                    <a:pt x="716" y="197"/>
                  </a:lnTo>
                  <a:lnTo>
                    <a:pt x="715" y="199"/>
                  </a:lnTo>
                  <a:lnTo>
                    <a:pt x="715" y="202"/>
                  </a:lnTo>
                  <a:lnTo>
                    <a:pt x="712" y="203"/>
                  </a:lnTo>
                  <a:lnTo>
                    <a:pt x="710" y="203"/>
                  </a:lnTo>
                  <a:lnTo>
                    <a:pt x="710" y="206"/>
                  </a:lnTo>
                  <a:lnTo>
                    <a:pt x="709" y="206"/>
                  </a:lnTo>
                  <a:lnTo>
                    <a:pt x="709" y="208"/>
                  </a:lnTo>
                  <a:lnTo>
                    <a:pt x="710" y="209"/>
                  </a:lnTo>
                  <a:lnTo>
                    <a:pt x="710" y="211"/>
                  </a:lnTo>
                  <a:lnTo>
                    <a:pt x="707" y="214"/>
                  </a:lnTo>
                  <a:lnTo>
                    <a:pt x="709" y="214"/>
                  </a:lnTo>
                  <a:lnTo>
                    <a:pt x="709" y="215"/>
                  </a:lnTo>
                  <a:lnTo>
                    <a:pt x="707" y="217"/>
                  </a:lnTo>
                  <a:lnTo>
                    <a:pt x="707" y="218"/>
                  </a:lnTo>
                  <a:lnTo>
                    <a:pt x="713" y="218"/>
                  </a:lnTo>
                  <a:lnTo>
                    <a:pt x="713" y="220"/>
                  </a:lnTo>
                  <a:lnTo>
                    <a:pt x="715" y="221"/>
                  </a:lnTo>
                  <a:lnTo>
                    <a:pt x="715" y="223"/>
                  </a:lnTo>
                  <a:lnTo>
                    <a:pt x="713" y="223"/>
                  </a:lnTo>
                  <a:lnTo>
                    <a:pt x="713" y="224"/>
                  </a:lnTo>
                  <a:lnTo>
                    <a:pt x="710" y="224"/>
                  </a:lnTo>
                  <a:lnTo>
                    <a:pt x="707" y="227"/>
                  </a:lnTo>
                  <a:lnTo>
                    <a:pt x="704" y="229"/>
                  </a:lnTo>
                  <a:lnTo>
                    <a:pt x="701" y="229"/>
                  </a:lnTo>
                  <a:lnTo>
                    <a:pt x="701" y="233"/>
                  </a:lnTo>
                  <a:lnTo>
                    <a:pt x="697" y="233"/>
                  </a:lnTo>
                  <a:lnTo>
                    <a:pt x="694" y="236"/>
                  </a:lnTo>
                  <a:lnTo>
                    <a:pt x="694" y="241"/>
                  </a:lnTo>
                  <a:lnTo>
                    <a:pt x="695" y="241"/>
                  </a:lnTo>
                  <a:lnTo>
                    <a:pt x="695" y="244"/>
                  </a:lnTo>
                  <a:lnTo>
                    <a:pt x="698" y="244"/>
                  </a:lnTo>
                  <a:lnTo>
                    <a:pt x="698" y="245"/>
                  </a:lnTo>
                  <a:lnTo>
                    <a:pt x="697" y="247"/>
                  </a:lnTo>
                  <a:lnTo>
                    <a:pt x="697" y="251"/>
                  </a:lnTo>
                  <a:lnTo>
                    <a:pt x="692" y="251"/>
                  </a:lnTo>
                  <a:lnTo>
                    <a:pt x="691" y="253"/>
                  </a:lnTo>
                  <a:lnTo>
                    <a:pt x="691" y="256"/>
                  </a:lnTo>
                  <a:lnTo>
                    <a:pt x="689" y="260"/>
                  </a:lnTo>
                  <a:lnTo>
                    <a:pt x="689" y="262"/>
                  </a:lnTo>
                  <a:lnTo>
                    <a:pt x="688" y="265"/>
                  </a:lnTo>
                  <a:lnTo>
                    <a:pt x="686" y="266"/>
                  </a:lnTo>
                  <a:lnTo>
                    <a:pt x="685" y="266"/>
                  </a:lnTo>
                  <a:lnTo>
                    <a:pt x="685" y="272"/>
                  </a:lnTo>
                  <a:lnTo>
                    <a:pt x="683" y="272"/>
                  </a:lnTo>
                  <a:lnTo>
                    <a:pt x="682" y="271"/>
                  </a:lnTo>
                  <a:lnTo>
                    <a:pt x="679" y="269"/>
                  </a:lnTo>
                  <a:lnTo>
                    <a:pt x="677" y="268"/>
                  </a:lnTo>
                  <a:lnTo>
                    <a:pt x="676" y="268"/>
                  </a:lnTo>
                  <a:lnTo>
                    <a:pt x="668" y="271"/>
                  </a:lnTo>
                  <a:lnTo>
                    <a:pt x="668" y="272"/>
                  </a:lnTo>
                  <a:lnTo>
                    <a:pt x="667" y="272"/>
                  </a:lnTo>
                  <a:lnTo>
                    <a:pt x="665" y="271"/>
                  </a:lnTo>
                  <a:lnTo>
                    <a:pt x="655" y="271"/>
                  </a:lnTo>
                  <a:lnTo>
                    <a:pt x="655" y="272"/>
                  </a:lnTo>
                  <a:lnTo>
                    <a:pt x="653" y="272"/>
                  </a:lnTo>
                  <a:lnTo>
                    <a:pt x="650" y="275"/>
                  </a:lnTo>
                  <a:lnTo>
                    <a:pt x="643" y="281"/>
                  </a:lnTo>
                  <a:lnTo>
                    <a:pt x="641" y="281"/>
                  </a:lnTo>
                  <a:lnTo>
                    <a:pt x="641" y="280"/>
                  </a:lnTo>
                  <a:lnTo>
                    <a:pt x="638" y="278"/>
                  </a:lnTo>
                  <a:lnTo>
                    <a:pt x="637" y="277"/>
                  </a:lnTo>
                  <a:lnTo>
                    <a:pt x="635" y="277"/>
                  </a:lnTo>
                  <a:lnTo>
                    <a:pt x="634" y="278"/>
                  </a:lnTo>
                  <a:lnTo>
                    <a:pt x="631" y="278"/>
                  </a:lnTo>
                  <a:lnTo>
                    <a:pt x="628" y="275"/>
                  </a:lnTo>
                  <a:lnTo>
                    <a:pt x="626" y="275"/>
                  </a:lnTo>
                  <a:lnTo>
                    <a:pt x="623" y="274"/>
                  </a:lnTo>
                  <a:lnTo>
                    <a:pt x="620" y="274"/>
                  </a:lnTo>
                  <a:lnTo>
                    <a:pt x="619" y="272"/>
                  </a:lnTo>
                  <a:lnTo>
                    <a:pt x="611" y="272"/>
                  </a:lnTo>
                  <a:lnTo>
                    <a:pt x="613" y="271"/>
                  </a:lnTo>
                  <a:lnTo>
                    <a:pt x="613" y="269"/>
                  </a:lnTo>
                  <a:lnTo>
                    <a:pt x="614" y="269"/>
                  </a:lnTo>
                  <a:lnTo>
                    <a:pt x="614" y="266"/>
                  </a:lnTo>
                  <a:lnTo>
                    <a:pt x="613" y="266"/>
                  </a:lnTo>
                  <a:lnTo>
                    <a:pt x="611" y="265"/>
                  </a:lnTo>
                  <a:lnTo>
                    <a:pt x="606" y="265"/>
                  </a:lnTo>
                  <a:lnTo>
                    <a:pt x="606" y="266"/>
                  </a:lnTo>
                  <a:lnTo>
                    <a:pt x="603" y="266"/>
                  </a:lnTo>
                  <a:lnTo>
                    <a:pt x="589" y="265"/>
                  </a:lnTo>
                  <a:lnTo>
                    <a:pt x="588" y="266"/>
                  </a:lnTo>
                  <a:lnTo>
                    <a:pt x="586" y="266"/>
                  </a:lnTo>
                  <a:lnTo>
                    <a:pt x="586" y="268"/>
                  </a:lnTo>
                  <a:lnTo>
                    <a:pt x="582" y="268"/>
                  </a:lnTo>
                  <a:lnTo>
                    <a:pt x="576" y="271"/>
                  </a:lnTo>
                  <a:lnTo>
                    <a:pt x="574" y="272"/>
                  </a:lnTo>
                  <a:lnTo>
                    <a:pt x="574" y="274"/>
                  </a:lnTo>
                  <a:lnTo>
                    <a:pt x="576" y="274"/>
                  </a:lnTo>
                  <a:lnTo>
                    <a:pt x="576" y="275"/>
                  </a:lnTo>
                  <a:lnTo>
                    <a:pt x="574" y="277"/>
                  </a:lnTo>
                  <a:lnTo>
                    <a:pt x="573" y="284"/>
                  </a:lnTo>
                  <a:lnTo>
                    <a:pt x="571" y="284"/>
                  </a:lnTo>
                  <a:lnTo>
                    <a:pt x="571" y="286"/>
                  </a:lnTo>
                  <a:lnTo>
                    <a:pt x="564" y="286"/>
                  </a:lnTo>
                  <a:lnTo>
                    <a:pt x="559" y="292"/>
                  </a:lnTo>
                  <a:lnTo>
                    <a:pt x="555" y="292"/>
                  </a:lnTo>
                  <a:lnTo>
                    <a:pt x="553" y="290"/>
                  </a:lnTo>
                  <a:lnTo>
                    <a:pt x="550" y="290"/>
                  </a:lnTo>
                  <a:lnTo>
                    <a:pt x="546" y="292"/>
                  </a:lnTo>
                  <a:lnTo>
                    <a:pt x="546" y="293"/>
                  </a:lnTo>
                  <a:lnTo>
                    <a:pt x="544" y="293"/>
                  </a:lnTo>
                  <a:lnTo>
                    <a:pt x="544" y="290"/>
                  </a:lnTo>
                  <a:lnTo>
                    <a:pt x="541" y="290"/>
                  </a:lnTo>
                  <a:lnTo>
                    <a:pt x="540" y="292"/>
                  </a:lnTo>
                  <a:lnTo>
                    <a:pt x="538" y="292"/>
                  </a:lnTo>
                  <a:lnTo>
                    <a:pt x="538" y="290"/>
                  </a:lnTo>
                  <a:lnTo>
                    <a:pt x="532" y="289"/>
                  </a:lnTo>
                  <a:lnTo>
                    <a:pt x="531" y="287"/>
                  </a:lnTo>
                  <a:lnTo>
                    <a:pt x="520" y="290"/>
                  </a:lnTo>
                  <a:lnTo>
                    <a:pt x="516" y="290"/>
                  </a:lnTo>
                  <a:lnTo>
                    <a:pt x="511" y="295"/>
                  </a:lnTo>
                  <a:lnTo>
                    <a:pt x="510" y="295"/>
                  </a:lnTo>
                  <a:lnTo>
                    <a:pt x="510" y="296"/>
                  </a:lnTo>
                  <a:lnTo>
                    <a:pt x="507" y="296"/>
                  </a:lnTo>
                  <a:lnTo>
                    <a:pt x="507" y="298"/>
                  </a:lnTo>
                  <a:lnTo>
                    <a:pt x="505" y="298"/>
                  </a:lnTo>
                  <a:lnTo>
                    <a:pt x="505" y="296"/>
                  </a:lnTo>
                  <a:lnTo>
                    <a:pt x="504" y="296"/>
                  </a:lnTo>
                  <a:lnTo>
                    <a:pt x="502" y="298"/>
                  </a:lnTo>
                  <a:lnTo>
                    <a:pt x="499" y="298"/>
                  </a:lnTo>
                  <a:lnTo>
                    <a:pt x="496" y="296"/>
                  </a:lnTo>
                  <a:lnTo>
                    <a:pt x="495" y="296"/>
                  </a:lnTo>
                  <a:lnTo>
                    <a:pt x="493" y="293"/>
                  </a:lnTo>
                  <a:lnTo>
                    <a:pt x="492" y="292"/>
                  </a:lnTo>
                  <a:lnTo>
                    <a:pt x="487" y="292"/>
                  </a:lnTo>
                  <a:lnTo>
                    <a:pt x="487" y="290"/>
                  </a:lnTo>
                  <a:lnTo>
                    <a:pt x="486" y="286"/>
                  </a:lnTo>
                  <a:lnTo>
                    <a:pt x="483" y="283"/>
                  </a:lnTo>
                  <a:lnTo>
                    <a:pt x="478" y="283"/>
                  </a:lnTo>
                  <a:lnTo>
                    <a:pt x="478" y="281"/>
                  </a:lnTo>
                  <a:lnTo>
                    <a:pt x="477" y="280"/>
                  </a:lnTo>
                  <a:lnTo>
                    <a:pt x="474" y="278"/>
                  </a:lnTo>
                  <a:lnTo>
                    <a:pt x="474" y="277"/>
                  </a:lnTo>
                  <a:lnTo>
                    <a:pt x="472" y="274"/>
                  </a:lnTo>
                  <a:lnTo>
                    <a:pt x="471" y="272"/>
                  </a:lnTo>
                  <a:lnTo>
                    <a:pt x="469" y="274"/>
                  </a:lnTo>
                  <a:lnTo>
                    <a:pt x="466" y="271"/>
                  </a:lnTo>
                  <a:lnTo>
                    <a:pt x="465" y="271"/>
                  </a:lnTo>
                  <a:lnTo>
                    <a:pt x="465" y="269"/>
                  </a:lnTo>
                  <a:lnTo>
                    <a:pt x="459" y="263"/>
                  </a:lnTo>
                  <a:lnTo>
                    <a:pt x="459" y="256"/>
                  </a:lnTo>
                  <a:lnTo>
                    <a:pt x="456" y="256"/>
                  </a:lnTo>
                  <a:lnTo>
                    <a:pt x="456" y="254"/>
                  </a:lnTo>
                  <a:lnTo>
                    <a:pt x="454" y="254"/>
                  </a:lnTo>
                  <a:lnTo>
                    <a:pt x="454" y="250"/>
                  </a:lnTo>
                  <a:lnTo>
                    <a:pt x="456" y="248"/>
                  </a:lnTo>
                  <a:lnTo>
                    <a:pt x="456" y="247"/>
                  </a:lnTo>
                  <a:lnTo>
                    <a:pt x="457" y="247"/>
                  </a:lnTo>
                  <a:lnTo>
                    <a:pt x="459" y="244"/>
                  </a:lnTo>
                  <a:lnTo>
                    <a:pt x="460" y="245"/>
                  </a:lnTo>
                  <a:lnTo>
                    <a:pt x="460" y="250"/>
                  </a:lnTo>
                  <a:lnTo>
                    <a:pt x="462" y="251"/>
                  </a:lnTo>
                  <a:lnTo>
                    <a:pt x="462" y="253"/>
                  </a:lnTo>
                  <a:lnTo>
                    <a:pt x="463" y="253"/>
                  </a:lnTo>
                  <a:lnTo>
                    <a:pt x="466" y="254"/>
                  </a:lnTo>
                  <a:lnTo>
                    <a:pt x="468" y="256"/>
                  </a:lnTo>
                  <a:lnTo>
                    <a:pt x="469" y="256"/>
                  </a:lnTo>
                  <a:lnTo>
                    <a:pt x="472" y="259"/>
                  </a:lnTo>
                  <a:lnTo>
                    <a:pt x="472" y="260"/>
                  </a:lnTo>
                  <a:lnTo>
                    <a:pt x="475" y="260"/>
                  </a:lnTo>
                  <a:lnTo>
                    <a:pt x="477" y="259"/>
                  </a:lnTo>
                  <a:lnTo>
                    <a:pt x="484" y="259"/>
                  </a:lnTo>
                  <a:lnTo>
                    <a:pt x="484" y="260"/>
                  </a:lnTo>
                  <a:lnTo>
                    <a:pt x="486" y="260"/>
                  </a:lnTo>
                  <a:lnTo>
                    <a:pt x="486" y="259"/>
                  </a:lnTo>
                  <a:lnTo>
                    <a:pt x="487" y="259"/>
                  </a:lnTo>
                  <a:lnTo>
                    <a:pt x="489" y="260"/>
                  </a:lnTo>
                  <a:lnTo>
                    <a:pt x="490" y="259"/>
                  </a:lnTo>
                  <a:lnTo>
                    <a:pt x="489" y="259"/>
                  </a:lnTo>
                  <a:lnTo>
                    <a:pt x="489" y="256"/>
                  </a:lnTo>
                  <a:lnTo>
                    <a:pt x="490" y="256"/>
                  </a:lnTo>
                  <a:lnTo>
                    <a:pt x="490" y="254"/>
                  </a:lnTo>
                  <a:lnTo>
                    <a:pt x="492" y="254"/>
                  </a:lnTo>
                  <a:lnTo>
                    <a:pt x="492" y="259"/>
                  </a:lnTo>
                  <a:lnTo>
                    <a:pt x="493" y="259"/>
                  </a:lnTo>
                  <a:lnTo>
                    <a:pt x="493" y="260"/>
                  </a:lnTo>
                  <a:lnTo>
                    <a:pt x="495" y="260"/>
                  </a:lnTo>
                  <a:lnTo>
                    <a:pt x="495" y="259"/>
                  </a:lnTo>
                  <a:lnTo>
                    <a:pt x="498" y="259"/>
                  </a:lnTo>
                  <a:lnTo>
                    <a:pt x="498" y="257"/>
                  </a:lnTo>
                  <a:lnTo>
                    <a:pt x="499" y="257"/>
                  </a:lnTo>
                  <a:lnTo>
                    <a:pt x="499" y="259"/>
                  </a:lnTo>
                  <a:lnTo>
                    <a:pt x="498" y="260"/>
                  </a:lnTo>
                  <a:lnTo>
                    <a:pt x="498" y="262"/>
                  </a:lnTo>
                  <a:lnTo>
                    <a:pt x="496" y="263"/>
                  </a:lnTo>
                  <a:lnTo>
                    <a:pt x="498" y="263"/>
                  </a:lnTo>
                  <a:lnTo>
                    <a:pt x="499" y="262"/>
                  </a:lnTo>
                  <a:lnTo>
                    <a:pt x="499" y="263"/>
                  </a:lnTo>
                  <a:lnTo>
                    <a:pt x="501" y="263"/>
                  </a:lnTo>
                  <a:lnTo>
                    <a:pt x="501" y="265"/>
                  </a:lnTo>
                  <a:lnTo>
                    <a:pt x="502" y="263"/>
                  </a:lnTo>
                  <a:lnTo>
                    <a:pt x="504" y="263"/>
                  </a:lnTo>
                  <a:lnTo>
                    <a:pt x="505" y="265"/>
                  </a:lnTo>
                  <a:lnTo>
                    <a:pt x="508" y="266"/>
                  </a:lnTo>
                  <a:lnTo>
                    <a:pt x="510" y="268"/>
                  </a:lnTo>
                  <a:lnTo>
                    <a:pt x="510" y="269"/>
                  </a:lnTo>
                  <a:lnTo>
                    <a:pt x="508" y="269"/>
                  </a:lnTo>
                  <a:lnTo>
                    <a:pt x="507" y="271"/>
                  </a:lnTo>
                  <a:lnTo>
                    <a:pt x="510" y="271"/>
                  </a:lnTo>
                  <a:lnTo>
                    <a:pt x="511" y="269"/>
                  </a:lnTo>
                  <a:lnTo>
                    <a:pt x="511" y="266"/>
                  </a:lnTo>
                  <a:lnTo>
                    <a:pt x="513" y="265"/>
                  </a:lnTo>
                  <a:lnTo>
                    <a:pt x="514" y="266"/>
                  </a:lnTo>
                  <a:lnTo>
                    <a:pt x="519" y="268"/>
                  </a:lnTo>
                  <a:lnTo>
                    <a:pt x="520" y="268"/>
                  </a:lnTo>
                  <a:lnTo>
                    <a:pt x="523" y="272"/>
                  </a:lnTo>
                  <a:lnTo>
                    <a:pt x="525" y="274"/>
                  </a:lnTo>
                  <a:lnTo>
                    <a:pt x="528" y="274"/>
                  </a:lnTo>
                  <a:lnTo>
                    <a:pt x="529" y="275"/>
                  </a:lnTo>
                  <a:lnTo>
                    <a:pt x="529" y="272"/>
                  </a:lnTo>
                  <a:lnTo>
                    <a:pt x="528" y="272"/>
                  </a:lnTo>
                  <a:lnTo>
                    <a:pt x="526" y="271"/>
                  </a:lnTo>
                  <a:lnTo>
                    <a:pt x="525" y="271"/>
                  </a:lnTo>
                  <a:lnTo>
                    <a:pt x="523" y="269"/>
                  </a:lnTo>
                  <a:lnTo>
                    <a:pt x="523" y="268"/>
                  </a:lnTo>
                  <a:lnTo>
                    <a:pt x="522" y="266"/>
                  </a:lnTo>
                  <a:lnTo>
                    <a:pt x="522" y="263"/>
                  </a:lnTo>
                  <a:lnTo>
                    <a:pt x="523" y="262"/>
                  </a:lnTo>
                  <a:lnTo>
                    <a:pt x="523" y="260"/>
                  </a:lnTo>
                  <a:lnTo>
                    <a:pt x="528" y="260"/>
                  </a:lnTo>
                  <a:lnTo>
                    <a:pt x="528" y="262"/>
                  </a:lnTo>
                  <a:lnTo>
                    <a:pt x="529" y="262"/>
                  </a:lnTo>
                  <a:lnTo>
                    <a:pt x="529" y="263"/>
                  </a:lnTo>
                  <a:lnTo>
                    <a:pt x="531" y="262"/>
                  </a:lnTo>
                  <a:lnTo>
                    <a:pt x="532" y="263"/>
                  </a:lnTo>
                  <a:lnTo>
                    <a:pt x="534" y="263"/>
                  </a:lnTo>
                  <a:lnTo>
                    <a:pt x="532" y="262"/>
                  </a:lnTo>
                  <a:lnTo>
                    <a:pt x="529" y="262"/>
                  </a:lnTo>
                  <a:lnTo>
                    <a:pt x="529" y="260"/>
                  </a:lnTo>
                  <a:lnTo>
                    <a:pt x="526" y="257"/>
                  </a:lnTo>
                  <a:lnTo>
                    <a:pt x="526" y="256"/>
                  </a:lnTo>
                  <a:lnTo>
                    <a:pt x="528" y="256"/>
                  </a:lnTo>
                  <a:lnTo>
                    <a:pt x="528" y="254"/>
                  </a:lnTo>
                  <a:lnTo>
                    <a:pt x="526" y="254"/>
                  </a:lnTo>
                  <a:lnTo>
                    <a:pt x="526" y="253"/>
                  </a:lnTo>
                  <a:lnTo>
                    <a:pt x="528" y="253"/>
                  </a:lnTo>
                  <a:lnTo>
                    <a:pt x="528" y="251"/>
                  </a:lnTo>
                  <a:lnTo>
                    <a:pt x="529" y="248"/>
                  </a:lnTo>
                  <a:lnTo>
                    <a:pt x="531" y="244"/>
                  </a:lnTo>
                  <a:lnTo>
                    <a:pt x="531" y="242"/>
                  </a:lnTo>
                  <a:lnTo>
                    <a:pt x="532" y="242"/>
                  </a:lnTo>
                  <a:lnTo>
                    <a:pt x="532" y="241"/>
                  </a:lnTo>
                  <a:lnTo>
                    <a:pt x="534" y="239"/>
                  </a:lnTo>
                  <a:lnTo>
                    <a:pt x="535" y="241"/>
                  </a:lnTo>
                  <a:lnTo>
                    <a:pt x="538" y="241"/>
                  </a:lnTo>
                  <a:lnTo>
                    <a:pt x="538" y="238"/>
                  </a:lnTo>
                  <a:lnTo>
                    <a:pt x="537" y="239"/>
                  </a:lnTo>
                  <a:lnTo>
                    <a:pt x="529" y="239"/>
                  </a:lnTo>
                  <a:lnTo>
                    <a:pt x="529" y="238"/>
                  </a:lnTo>
                  <a:lnTo>
                    <a:pt x="531" y="236"/>
                  </a:lnTo>
                  <a:lnTo>
                    <a:pt x="532" y="236"/>
                  </a:lnTo>
                  <a:lnTo>
                    <a:pt x="532" y="235"/>
                  </a:lnTo>
                  <a:lnTo>
                    <a:pt x="531" y="235"/>
                  </a:lnTo>
                  <a:lnTo>
                    <a:pt x="531" y="227"/>
                  </a:lnTo>
                  <a:lnTo>
                    <a:pt x="532" y="227"/>
                  </a:lnTo>
                  <a:lnTo>
                    <a:pt x="532" y="226"/>
                  </a:lnTo>
                  <a:lnTo>
                    <a:pt x="534" y="226"/>
                  </a:lnTo>
                  <a:lnTo>
                    <a:pt x="534" y="227"/>
                  </a:lnTo>
                  <a:lnTo>
                    <a:pt x="535" y="227"/>
                  </a:lnTo>
                  <a:lnTo>
                    <a:pt x="538" y="230"/>
                  </a:lnTo>
                  <a:lnTo>
                    <a:pt x="540" y="229"/>
                  </a:lnTo>
                  <a:lnTo>
                    <a:pt x="538" y="229"/>
                  </a:lnTo>
                  <a:lnTo>
                    <a:pt x="537" y="227"/>
                  </a:lnTo>
                  <a:lnTo>
                    <a:pt x="537" y="226"/>
                  </a:lnTo>
                  <a:lnTo>
                    <a:pt x="535" y="226"/>
                  </a:lnTo>
                  <a:lnTo>
                    <a:pt x="535" y="224"/>
                  </a:lnTo>
                  <a:lnTo>
                    <a:pt x="537" y="223"/>
                  </a:lnTo>
                  <a:lnTo>
                    <a:pt x="537" y="221"/>
                  </a:lnTo>
                  <a:lnTo>
                    <a:pt x="535" y="214"/>
                  </a:lnTo>
                  <a:lnTo>
                    <a:pt x="535" y="211"/>
                  </a:lnTo>
                  <a:lnTo>
                    <a:pt x="537" y="209"/>
                  </a:lnTo>
                  <a:lnTo>
                    <a:pt x="538" y="211"/>
                  </a:lnTo>
                  <a:lnTo>
                    <a:pt x="538" y="212"/>
                  </a:lnTo>
                  <a:lnTo>
                    <a:pt x="540" y="214"/>
                  </a:lnTo>
                  <a:lnTo>
                    <a:pt x="540" y="227"/>
                  </a:lnTo>
                  <a:lnTo>
                    <a:pt x="541" y="229"/>
                  </a:lnTo>
                  <a:lnTo>
                    <a:pt x="543" y="229"/>
                  </a:lnTo>
                  <a:lnTo>
                    <a:pt x="544" y="230"/>
                  </a:lnTo>
                  <a:lnTo>
                    <a:pt x="544" y="229"/>
                  </a:lnTo>
                  <a:lnTo>
                    <a:pt x="543" y="229"/>
                  </a:lnTo>
                  <a:lnTo>
                    <a:pt x="541" y="227"/>
                  </a:lnTo>
                  <a:lnTo>
                    <a:pt x="541" y="226"/>
                  </a:lnTo>
                  <a:lnTo>
                    <a:pt x="540" y="224"/>
                  </a:lnTo>
                  <a:lnTo>
                    <a:pt x="544" y="224"/>
                  </a:lnTo>
                  <a:lnTo>
                    <a:pt x="544" y="223"/>
                  </a:lnTo>
                  <a:lnTo>
                    <a:pt x="543" y="223"/>
                  </a:lnTo>
                  <a:lnTo>
                    <a:pt x="543" y="221"/>
                  </a:lnTo>
                  <a:lnTo>
                    <a:pt x="541" y="221"/>
                  </a:lnTo>
                  <a:lnTo>
                    <a:pt x="541" y="215"/>
                  </a:lnTo>
                  <a:lnTo>
                    <a:pt x="546" y="211"/>
                  </a:lnTo>
                  <a:lnTo>
                    <a:pt x="550" y="208"/>
                  </a:lnTo>
                  <a:lnTo>
                    <a:pt x="552" y="208"/>
                  </a:lnTo>
                  <a:lnTo>
                    <a:pt x="561" y="205"/>
                  </a:lnTo>
                  <a:lnTo>
                    <a:pt x="568" y="205"/>
                  </a:lnTo>
                  <a:lnTo>
                    <a:pt x="582" y="202"/>
                  </a:lnTo>
                  <a:lnTo>
                    <a:pt x="594" y="199"/>
                  </a:lnTo>
                  <a:lnTo>
                    <a:pt x="601" y="197"/>
                  </a:lnTo>
                  <a:lnTo>
                    <a:pt x="604" y="196"/>
                  </a:lnTo>
                  <a:lnTo>
                    <a:pt x="611" y="193"/>
                  </a:lnTo>
                  <a:lnTo>
                    <a:pt x="613" y="193"/>
                  </a:lnTo>
                  <a:lnTo>
                    <a:pt x="617" y="188"/>
                  </a:lnTo>
                  <a:lnTo>
                    <a:pt x="616" y="187"/>
                  </a:lnTo>
                  <a:lnTo>
                    <a:pt x="617" y="187"/>
                  </a:lnTo>
                  <a:lnTo>
                    <a:pt x="617" y="185"/>
                  </a:lnTo>
                  <a:lnTo>
                    <a:pt x="620" y="184"/>
                  </a:lnTo>
                  <a:lnTo>
                    <a:pt x="622" y="181"/>
                  </a:lnTo>
                  <a:lnTo>
                    <a:pt x="626" y="178"/>
                  </a:lnTo>
                  <a:lnTo>
                    <a:pt x="626" y="176"/>
                  </a:lnTo>
                  <a:lnTo>
                    <a:pt x="628" y="175"/>
                  </a:lnTo>
                  <a:lnTo>
                    <a:pt x="628" y="173"/>
                  </a:lnTo>
                  <a:lnTo>
                    <a:pt x="629" y="173"/>
                  </a:lnTo>
                  <a:lnTo>
                    <a:pt x="631" y="170"/>
                  </a:lnTo>
                  <a:lnTo>
                    <a:pt x="632" y="169"/>
                  </a:lnTo>
                  <a:lnTo>
                    <a:pt x="632" y="166"/>
                  </a:lnTo>
                  <a:lnTo>
                    <a:pt x="634" y="166"/>
                  </a:lnTo>
                  <a:lnTo>
                    <a:pt x="634" y="164"/>
                  </a:lnTo>
                  <a:lnTo>
                    <a:pt x="635" y="164"/>
                  </a:lnTo>
                  <a:lnTo>
                    <a:pt x="647" y="154"/>
                  </a:lnTo>
                  <a:lnTo>
                    <a:pt x="656" y="142"/>
                  </a:lnTo>
                  <a:lnTo>
                    <a:pt x="658" y="139"/>
                  </a:lnTo>
                  <a:lnTo>
                    <a:pt x="658" y="136"/>
                  </a:lnTo>
                  <a:lnTo>
                    <a:pt x="659" y="134"/>
                  </a:lnTo>
                  <a:lnTo>
                    <a:pt x="659" y="132"/>
                  </a:lnTo>
                  <a:lnTo>
                    <a:pt x="658" y="129"/>
                  </a:lnTo>
                  <a:lnTo>
                    <a:pt x="658" y="127"/>
                  </a:lnTo>
                  <a:lnTo>
                    <a:pt x="659" y="127"/>
                  </a:lnTo>
                  <a:lnTo>
                    <a:pt x="662" y="129"/>
                  </a:lnTo>
                  <a:lnTo>
                    <a:pt x="665" y="129"/>
                  </a:lnTo>
                  <a:lnTo>
                    <a:pt x="667" y="130"/>
                  </a:lnTo>
                  <a:lnTo>
                    <a:pt x="668" y="130"/>
                  </a:lnTo>
                  <a:lnTo>
                    <a:pt x="668" y="132"/>
                  </a:lnTo>
                  <a:lnTo>
                    <a:pt x="670" y="132"/>
                  </a:lnTo>
                  <a:lnTo>
                    <a:pt x="670" y="133"/>
                  </a:lnTo>
                  <a:lnTo>
                    <a:pt x="671" y="133"/>
                  </a:lnTo>
                  <a:lnTo>
                    <a:pt x="671" y="137"/>
                  </a:lnTo>
                  <a:lnTo>
                    <a:pt x="673" y="137"/>
                  </a:lnTo>
                  <a:lnTo>
                    <a:pt x="673" y="140"/>
                  </a:lnTo>
                  <a:lnTo>
                    <a:pt x="671" y="140"/>
                  </a:lnTo>
                  <a:lnTo>
                    <a:pt x="671" y="142"/>
                  </a:lnTo>
                  <a:lnTo>
                    <a:pt x="679" y="142"/>
                  </a:lnTo>
                  <a:lnTo>
                    <a:pt x="679" y="143"/>
                  </a:lnTo>
                  <a:lnTo>
                    <a:pt x="680" y="146"/>
                  </a:lnTo>
                  <a:lnTo>
                    <a:pt x="682" y="148"/>
                  </a:lnTo>
                  <a:lnTo>
                    <a:pt x="683" y="151"/>
                  </a:lnTo>
                  <a:lnTo>
                    <a:pt x="685" y="151"/>
                  </a:lnTo>
                  <a:lnTo>
                    <a:pt x="686" y="152"/>
                  </a:lnTo>
                  <a:lnTo>
                    <a:pt x="686" y="154"/>
                  </a:lnTo>
                  <a:lnTo>
                    <a:pt x="688" y="154"/>
                  </a:lnTo>
                  <a:lnTo>
                    <a:pt x="691" y="152"/>
                  </a:lnTo>
                  <a:lnTo>
                    <a:pt x="694" y="148"/>
                  </a:lnTo>
                  <a:lnTo>
                    <a:pt x="695" y="148"/>
                  </a:lnTo>
                  <a:lnTo>
                    <a:pt x="695" y="145"/>
                  </a:lnTo>
                  <a:lnTo>
                    <a:pt x="697" y="143"/>
                  </a:lnTo>
                  <a:lnTo>
                    <a:pt x="697" y="142"/>
                  </a:lnTo>
                  <a:lnTo>
                    <a:pt x="695" y="142"/>
                  </a:lnTo>
                  <a:lnTo>
                    <a:pt x="695" y="140"/>
                  </a:lnTo>
                  <a:lnTo>
                    <a:pt x="698" y="137"/>
                  </a:lnTo>
                  <a:lnTo>
                    <a:pt x="698" y="134"/>
                  </a:lnTo>
                  <a:lnTo>
                    <a:pt x="697" y="134"/>
                  </a:lnTo>
                  <a:lnTo>
                    <a:pt x="695" y="133"/>
                  </a:lnTo>
                  <a:lnTo>
                    <a:pt x="695" y="126"/>
                  </a:lnTo>
                  <a:lnTo>
                    <a:pt x="694" y="124"/>
                  </a:lnTo>
                  <a:lnTo>
                    <a:pt x="694" y="121"/>
                  </a:lnTo>
                  <a:lnTo>
                    <a:pt x="695" y="120"/>
                  </a:lnTo>
                  <a:lnTo>
                    <a:pt x="697" y="120"/>
                  </a:lnTo>
                  <a:lnTo>
                    <a:pt x="700" y="117"/>
                  </a:lnTo>
                  <a:lnTo>
                    <a:pt x="701" y="118"/>
                  </a:lnTo>
                  <a:lnTo>
                    <a:pt x="703" y="117"/>
                  </a:lnTo>
                  <a:lnTo>
                    <a:pt x="703" y="115"/>
                  </a:lnTo>
                  <a:lnTo>
                    <a:pt x="704" y="114"/>
                  </a:lnTo>
                  <a:lnTo>
                    <a:pt x="706" y="114"/>
                  </a:lnTo>
                  <a:lnTo>
                    <a:pt x="706" y="124"/>
                  </a:lnTo>
                  <a:lnTo>
                    <a:pt x="707" y="126"/>
                  </a:lnTo>
                  <a:lnTo>
                    <a:pt x="709" y="130"/>
                  </a:lnTo>
                  <a:lnTo>
                    <a:pt x="709" y="136"/>
                  </a:lnTo>
                  <a:lnTo>
                    <a:pt x="710" y="136"/>
                  </a:lnTo>
                  <a:lnTo>
                    <a:pt x="710" y="137"/>
                  </a:lnTo>
                  <a:lnTo>
                    <a:pt x="716" y="137"/>
                  </a:lnTo>
                  <a:lnTo>
                    <a:pt x="716" y="139"/>
                  </a:lnTo>
                  <a:lnTo>
                    <a:pt x="719" y="139"/>
                  </a:lnTo>
                  <a:lnTo>
                    <a:pt x="721" y="140"/>
                  </a:lnTo>
                  <a:lnTo>
                    <a:pt x="722" y="139"/>
                  </a:lnTo>
                  <a:lnTo>
                    <a:pt x="718" y="134"/>
                  </a:lnTo>
                  <a:lnTo>
                    <a:pt x="718" y="126"/>
                  </a:lnTo>
                  <a:lnTo>
                    <a:pt x="715" y="117"/>
                  </a:lnTo>
                  <a:lnTo>
                    <a:pt x="712" y="114"/>
                  </a:lnTo>
                  <a:lnTo>
                    <a:pt x="712" y="112"/>
                  </a:lnTo>
                  <a:lnTo>
                    <a:pt x="713" y="112"/>
                  </a:lnTo>
                  <a:lnTo>
                    <a:pt x="715" y="111"/>
                  </a:lnTo>
                  <a:lnTo>
                    <a:pt x="716" y="111"/>
                  </a:lnTo>
                  <a:lnTo>
                    <a:pt x="716" y="112"/>
                  </a:lnTo>
                  <a:lnTo>
                    <a:pt x="719" y="112"/>
                  </a:lnTo>
                  <a:lnTo>
                    <a:pt x="719" y="114"/>
                  </a:lnTo>
                  <a:lnTo>
                    <a:pt x="722" y="114"/>
                  </a:lnTo>
                  <a:lnTo>
                    <a:pt x="722" y="112"/>
                  </a:lnTo>
                  <a:lnTo>
                    <a:pt x="727" y="108"/>
                  </a:lnTo>
                  <a:lnTo>
                    <a:pt x="728" y="108"/>
                  </a:lnTo>
                  <a:lnTo>
                    <a:pt x="730" y="106"/>
                  </a:lnTo>
                  <a:lnTo>
                    <a:pt x="731" y="106"/>
                  </a:lnTo>
                  <a:lnTo>
                    <a:pt x="731" y="100"/>
                  </a:lnTo>
                  <a:lnTo>
                    <a:pt x="733" y="100"/>
                  </a:lnTo>
                  <a:lnTo>
                    <a:pt x="733" y="99"/>
                  </a:lnTo>
                  <a:lnTo>
                    <a:pt x="728" y="99"/>
                  </a:lnTo>
                  <a:lnTo>
                    <a:pt x="724" y="94"/>
                  </a:lnTo>
                  <a:lnTo>
                    <a:pt x="722" y="94"/>
                  </a:lnTo>
                  <a:lnTo>
                    <a:pt x="722" y="91"/>
                  </a:lnTo>
                  <a:lnTo>
                    <a:pt x="724" y="90"/>
                  </a:lnTo>
                  <a:lnTo>
                    <a:pt x="727" y="88"/>
                  </a:lnTo>
                  <a:lnTo>
                    <a:pt x="727" y="87"/>
                  </a:lnTo>
                  <a:lnTo>
                    <a:pt x="733" y="81"/>
                  </a:lnTo>
                  <a:lnTo>
                    <a:pt x="733" y="79"/>
                  </a:lnTo>
                  <a:lnTo>
                    <a:pt x="734" y="81"/>
                  </a:lnTo>
                  <a:lnTo>
                    <a:pt x="733" y="84"/>
                  </a:lnTo>
                  <a:lnTo>
                    <a:pt x="734" y="82"/>
                  </a:lnTo>
                  <a:lnTo>
                    <a:pt x="736" y="84"/>
                  </a:lnTo>
                  <a:lnTo>
                    <a:pt x="740" y="85"/>
                  </a:lnTo>
                  <a:lnTo>
                    <a:pt x="742" y="85"/>
                  </a:lnTo>
                  <a:lnTo>
                    <a:pt x="743" y="84"/>
                  </a:lnTo>
                  <a:lnTo>
                    <a:pt x="745" y="84"/>
                  </a:lnTo>
                  <a:lnTo>
                    <a:pt x="745" y="81"/>
                  </a:lnTo>
                  <a:lnTo>
                    <a:pt x="746" y="79"/>
                  </a:lnTo>
                  <a:lnTo>
                    <a:pt x="746" y="78"/>
                  </a:lnTo>
                  <a:lnTo>
                    <a:pt x="748" y="75"/>
                  </a:lnTo>
                  <a:lnTo>
                    <a:pt x="748" y="73"/>
                  </a:lnTo>
                  <a:lnTo>
                    <a:pt x="749" y="73"/>
                  </a:lnTo>
                  <a:lnTo>
                    <a:pt x="752" y="70"/>
                  </a:lnTo>
                  <a:lnTo>
                    <a:pt x="754" y="70"/>
                  </a:lnTo>
                  <a:lnTo>
                    <a:pt x="754" y="66"/>
                  </a:lnTo>
                  <a:lnTo>
                    <a:pt x="757" y="61"/>
                  </a:lnTo>
                  <a:lnTo>
                    <a:pt x="758" y="60"/>
                  </a:lnTo>
                  <a:lnTo>
                    <a:pt x="757" y="58"/>
                  </a:lnTo>
                  <a:lnTo>
                    <a:pt x="755" y="58"/>
                  </a:lnTo>
                  <a:lnTo>
                    <a:pt x="757" y="57"/>
                  </a:lnTo>
                  <a:lnTo>
                    <a:pt x="758" y="57"/>
                  </a:lnTo>
                  <a:lnTo>
                    <a:pt x="760" y="52"/>
                  </a:lnTo>
                  <a:lnTo>
                    <a:pt x="761" y="52"/>
                  </a:lnTo>
                  <a:lnTo>
                    <a:pt x="763" y="51"/>
                  </a:lnTo>
                  <a:lnTo>
                    <a:pt x="763" y="52"/>
                  </a:lnTo>
                  <a:lnTo>
                    <a:pt x="764" y="52"/>
                  </a:lnTo>
                  <a:lnTo>
                    <a:pt x="764" y="49"/>
                  </a:lnTo>
                  <a:lnTo>
                    <a:pt x="766" y="49"/>
                  </a:lnTo>
                  <a:lnTo>
                    <a:pt x="766" y="46"/>
                  </a:lnTo>
                  <a:lnTo>
                    <a:pt x="767" y="46"/>
                  </a:lnTo>
                  <a:lnTo>
                    <a:pt x="767" y="45"/>
                  </a:lnTo>
                  <a:lnTo>
                    <a:pt x="771" y="42"/>
                  </a:lnTo>
                  <a:lnTo>
                    <a:pt x="773" y="40"/>
                  </a:lnTo>
                  <a:lnTo>
                    <a:pt x="774" y="40"/>
                  </a:lnTo>
                  <a:lnTo>
                    <a:pt x="774" y="37"/>
                  </a:lnTo>
                  <a:lnTo>
                    <a:pt x="776" y="36"/>
                  </a:lnTo>
                  <a:lnTo>
                    <a:pt x="779" y="31"/>
                  </a:lnTo>
                  <a:lnTo>
                    <a:pt x="780" y="31"/>
                  </a:lnTo>
                  <a:lnTo>
                    <a:pt x="780" y="27"/>
                  </a:lnTo>
                  <a:lnTo>
                    <a:pt x="782" y="25"/>
                  </a:lnTo>
                  <a:lnTo>
                    <a:pt x="782" y="22"/>
                  </a:lnTo>
                  <a:lnTo>
                    <a:pt x="783" y="22"/>
                  </a:lnTo>
                  <a:lnTo>
                    <a:pt x="783" y="18"/>
                  </a:lnTo>
                  <a:lnTo>
                    <a:pt x="785" y="18"/>
                  </a:lnTo>
                  <a:lnTo>
                    <a:pt x="785" y="16"/>
                  </a:lnTo>
                  <a:close/>
                  <a:moveTo>
                    <a:pt x="791" y="6"/>
                  </a:moveTo>
                  <a:lnTo>
                    <a:pt x="792" y="7"/>
                  </a:lnTo>
                  <a:lnTo>
                    <a:pt x="789" y="7"/>
                  </a:lnTo>
                  <a:lnTo>
                    <a:pt x="791" y="6"/>
                  </a:lnTo>
                  <a:close/>
                  <a:moveTo>
                    <a:pt x="792" y="3"/>
                  </a:moveTo>
                  <a:lnTo>
                    <a:pt x="795" y="3"/>
                  </a:lnTo>
                  <a:lnTo>
                    <a:pt x="795" y="6"/>
                  </a:lnTo>
                  <a:lnTo>
                    <a:pt x="791" y="6"/>
                  </a:lnTo>
                  <a:lnTo>
                    <a:pt x="792" y="4"/>
                  </a:lnTo>
                  <a:lnTo>
                    <a:pt x="792" y="3"/>
                  </a:lnTo>
                  <a:close/>
                  <a:moveTo>
                    <a:pt x="809" y="0"/>
                  </a:moveTo>
                  <a:lnTo>
                    <a:pt x="809" y="1"/>
                  </a:lnTo>
                  <a:lnTo>
                    <a:pt x="810" y="1"/>
                  </a:lnTo>
                  <a:lnTo>
                    <a:pt x="810" y="3"/>
                  </a:lnTo>
                  <a:lnTo>
                    <a:pt x="809" y="6"/>
                  </a:lnTo>
                  <a:lnTo>
                    <a:pt x="809" y="9"/>
                  </a:lnTo>
                  <a:lnTo>
                    <a:pt x="807" y="7"/>
                  </a:lnTo>
                  <a:lnTo>
                    <a:pt x="806" y="9"/>
                  </a:lnTo>
                  <a:lnTo>
                    <a:pt x="803" y="9"/>
                  </a:lnTo>
                  <a:lnTo>
                    <a:pt x="801" y="10"/>
                  </a:lnTo>
                  <a:lnTo>
                    <a:pt x="801" y="12"/>
                  </a:lnTo>
                  <a:lnTo>
                    <a:pt x="800" y="12"/>
                  </a:lnTo>
                  <a:lnTo>
                    <a:pt x="800" y="4"/>
                  </a:lnTo>
                  <a:lnTo>
                    <a:pt x="801" y="3"/>
                  </a:lnTo>
                  <a:lnTo>
                    <a:pt x="803" y="3"/>
                  </a:lnTo>
                  <a:lnTo>
                    <a:pt x="803" y="1"/>
                  </a:lnTo>
                  <a:lnTo>
                    <a:pt x="804" y="1"/>
                  </a:lnTo>
                  <a:lnTo>
                    <a:pt x="809" y="0"/>
                  </a:lnTo>
                  <a:close/>
                  <a:moveTo>
                    <a:pt x="797" y="0"/>
                  </a:moveTo>
                  <a:lnTo>
                    <a:pt x="797" y="1"/>
                  </a:lnTo>
                  <a:lnTo>
                    <a:pt x="798" y="3"/>
                  </a:lnTo>
                  <a:lnTo>
                    <a:pt x="797" y="4"/>
                  </a:lnTo>
                  <a:lnTo>
                    <a:pt x="797" y="3"/>
                  </a:lnTo>
                  <a:lnTo>
                    <a:pt x="795" y="3"/>
                  </a:lnTo>
                  <a:lnTo>
                    <a:pt x="79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
              <a:extLst>
                <a:ext uri="{FF2B5EF4-FFF2-40B4-BE49-F238E27FC236}">
                  <a16:creationId xmlns:a16="http://schemas.microsoft.com/office/drawing/2014/main" id="{3E4B5F63-771C-BA6B-8E27-2AD7A8FCA08A}"/>
                </a:ext>
              </a:extLst>
            </p:cNvPr>
            <p:cNvSpPr>
              <a:spLocks/>
            </p:cNvSpPr>
            <p:nvPr/>
          </p:nvSpPr>
          <p:spPr bwMode="auto">
            <a:xfrm>
              <a:off x="2751012" y="4133427"/>
              <a:ext cx="364178" cy="433445"/>
            </a:xfrm>
            <a:custGeom>
              <a:avLst/>
              <a:gdLst/>
              <a:ahLst/>
              <a:cxnLst>
                <a:cxn ang="0">
                  <a:pos x="105" y="18"/>
                </a:cxn>
                <a:cxn ang="0">
                  <a:pos x="121" y="40"/>
                </a:cxn>
                <a:cxn ang="0">
                  <a:pos x="127" y="52"/>
                </a:cxn>
                <a:cxn ang="0">
                  <a:pos x="130" y="68"/>
                </a:cxn>
                <a:cxn ang="0">
                  <a:pos x="152" y="82"/>
                </a:cxn>
                <a:cxn ang="0">
                  <a:pos x="169" y="83"/>
                </a:cxn>
                <a:cxn ang="0">
                  <a:pos x="191" y="77"/>
                </a:cxn>
                <a:cxn ang="0">
                  <a:pos x="206" y="89"/>
                </a:cxn>
                <a:cxn ang="0">
                  <a:pos x="211" y="107"/>
                </a:cxn>
                <a:cxn ang="0">
                  <a:pos x="214" y="127"/>
                </a:cxn>
                <a:cxn ang="0">
                  <a:pos x="205" y="142"/>
                </a:cxn>
                <a:cxn ang="0">
                  <a:pos x="185" y="137"/>
                </a:cxn>
                <a:cxn ang="0">
                  <a:pos x="181" y="149"/>
                </a:cxn>
                <a:cxn ang="0">
                  <a:pos x="179" y="160"/>
                </a:cxn>
                <a:cxn ang="0">
                  <a:pos x="208" y="176"/>
                </a:cxn>
                <a:cxn ang="0">
                  <a:pos x="232" y="190"/>
                </a:cxn>
                <a:cxn ang="0">
                  <a:pos x="244" y="209"/>
                </a:cxn>
                <a:cxn ang="0">
                  <a:pos x="259" y="233"/>
                </a:cxn>
                <a:cxn ang="0">
                  <a:pos x="285" y="259"/>
                </a:cxn>
                <a:cxn ang="0">
                  <a:pos x="308" y="292"/>
                </a:cxn>
                <a:cxn ang="0">
                  <a:pos x="327" y="307"/>
                </a:cxn>
                <a:cxn ang="0">
                  <a:pos x="327" y="322"/>
                </a:cxn>
                <a:cxn ang="0">
                  <a:pos x="344" y="342"/>
                </a:cxn>
                <a:cxn ang="0">
                  <a:pos x="339" y="365"/>
                </a:cxn>
                <a:cxn ang="0">
                  <a:pos x="336" y="383"/>
                </a:cxn>
                <a:cxn ang="0">
                  <a:pos x="321" y="390"/>
                </a:cxn>
                <a:cxn ang="0">
                  <a:pos x="299" y="386"/>
                </a:cxn>
                <a:cxn ang="0">
                  <a:pos x="281" y="386"/>
                </a:cxn>
                <a:cxn ang="0">
                  <a:pos x="272" y="398"/>
                </a:cxn>
                <a:cxn ang="0">
                  <a:pos x="266" y="411"/>
                </a:cxn>
                <a:cxn ang="0">
                  <a:pos x="241" y="402"/>
                </a:cxn>
                <a:cxn ang="0">
                  <a:pos x="245" y="387"/>
                </a:cxn>
                <a:cxn ang="0">
                  <a:pos x="250" y="359"/>
                </a:cxn>
                <a:cxn ang="0">
                  <a:pos x="248" y="342"/>
                </a:cxn>
                <a:cxn ang="0">
                  <a:pos x="244" y="323"/>
                </a:cxn>
                <a:cxn ang="0">
                  <a:pos x="224" y="301"/>
                </a:cxn>
                <a:cxn ang="0">
                  <a:pos x="215" y="280"/>
                </a:cxn>
                <a:cxn ang="0">
                  <a:pos x="212" y="242"/>
                </a:cxn>
                <a:cxn ang="0">
                  <a:pos x="190" y="218"/>
                </a:cxn>
                <a:cxn ang="0">
                  <a:pos x="170" y="203"/>
                </a:cxn>
                <a:cxn ang="0">
                  <a:pos x="146" y="205"/>
                </a:cxn>
                <a:cxn ang="0">
                  <a:pos x="133" y="218"/>
                </a:cxn>
                <a:cxn ang="0">
                  <a:pos x="107" y="220"/>
                </a:cxn>
                <a:cxn ang="0">
                  <a:pos x="84" y="217"/>
                </a:cxn>
                <a:cxn ang="0">
                  <a:pos x="66" y="227"/>
                </a:cxn>
                <a:cxn ang="0">
                  <a:pos x="51" y="241"/>
                </a:cxn>
                <a:cxn ang="0">
                  <a:pos x="39" y="235"/>
                </a:cxn>
                <a:cxn ang="0">
                  <a:pos x="49" y="209"/>
                </a:cxn>
                <a:cxn ang="0">
                  <a:pos x="51" y="190"/>
                </a:cxn>
                <a:cxn ang="0">
                  <a:pos x="55" y="167"/>
                </a:cxn>
                <a:cxn ang="0">
                  <a:pos x="51" y="142"/>
                </a:cxn>
                <a:cxn ang="0">
                  <a:pos x="22" y="145"/>
                </a:cxn>
                <a:cxn ang="0">
                  <a:pos x="21" y="115"/>
                </a:cxn>
                <a:cxn ang="0">
                  <a:pos x="1" y="110"/>
                </a:cxn>
                <a:cxn ang="0">
                  <a:pos x="12" y="83"/>
                </a:cxn>
                <a:cxn ang="0">
                  <a:pos x="28" y="60"/>
                </a:cxn>
                <a:cxn ang="0">
                  <a:pos x="51" y="55"/>
                </a:cxn>
                <a:cxn ang="0">
                  <a:pos x="67" y="61"/>
                </a:cxn>
                <a:cxn ang="0">
                  <a:pos x="79" y="60"/>
                </a:cxn>
                <a:cxn ang="0">
                  <a:pos x="76" y="34"/>
                </a:cxn>
                <a:cxn ang="0">
                  <a:pos x="66" y="13"/>
                </a:cxn>
              </a:cxnLst>
              <a:rect l="0" t="0" r="r" b="b"/>
              <a:pathLst>
                <a:path w="347" h="413">
                  <a:moveTo>
                    <a:pt x="75" y="0"/>
                  </a:moveTo>
                  <a:lnTo>
                    <a:pt x="76" y="0"/>
                  </a:lnTo>
                  <a:lnTo>
                    <a:pt x="78" y="1"/>
                  </a:lnTo>
                  <a:lnTo>
                    <a:pt x="79" y="4"/>
                  </a:lnTo>
                  <a:lnTo>
                    <a:pt x="81" y="6"/>
                  </a:lnTo>
                  <a:lnTo>
                    <a:pt x="82" y="6"/>
                  </a:lnTo>
                  <a:lnTo>
                    <a:pt x="82" y="3"/>
                  </a:lnTo>
                  <a:lnTo>
                    <a:pt x="93" y="3"/>
                  </a:lnTo>
                  <a:lnTo>
                    <a:pt x="93" y="4"/>
                  </a:lnTo>
                  <a:lnTo>
                    <a:pt x="94" y="6"/>
                  </a:lnTo>
                  <a:lnTo>
                    <a:pt x="94" y="9"/>
                  </a:lnTo>
                  <a:lnTo>
                    <a:pt x="100" y="15"/>
                  </a:lnTo>
                  <a:lnTo>
                    <a:pt x="105" y="18"/>
                  </a:lnTo>
                  <a:lnTo>
                    <a:pt x="106" y="19"/>
                  </a:lnTo>
                  <a:lnTo>
                    <a:pt x="106" y="21"/>
                  </a:lnTo>
                  <a:lnTo>
                    <a:pt x="107" y="21"/>
                  </a:lnTo>
                  <a:lnTo>
                    <a:pt x="107" y="22"/>
                  </a:lnTo>
                  <a:lnTo>
                    <a:pt x="109" y="22"/>
                  </a:lnTo>
                  <a:lnTo>
                    <a:pt x="109" y="27"/>
                  </a:lnTo>
                  <a:lnTo>
                    <a:pt x="112" y="27"/>
                  </a:lnTo>
                  <a:lnTo>
                    <a:pt x="115" y="30"/>
                  </a:lnTo>
                  <a:lnTo>
                    <a:pt x="116" y="33"/>
                  </a:lnTo>
                  <a:lnTo>
                    <a:pt x="116" y="40"/>
                  </a:lnTo>
                  <a:lnTo>
                    <a:pt x="118" y="42"/>
                  </a:lnTo>
                  <a:lnTo>
                    <a:pt x="119" y="42"/>
                  </a:lnTo>
                  <a:lnTo>
                    <a:pt x="121" y="40"/>
                  </a:lnTo>
                  <a:lnTo>
                    <a:pt x="122" y="40"/>
                  </a:lnTo>
                  <a:lnTo>
                    <a:pt x="122" y="39"/>
                  </a:lnTo>
                  <a:lnTo>
                    <a:pt x="124" y="37"/>
                  </a:lnTo>
                  <a:lnTo>
                    <a:pt x="124" y="33"/>
                  </a:lnTo>
                  <a:lnTo>
                    <a:pt x="125" y="33"/>
                  </a:lnTo>
                  <a:lnTo>
                    <a:pt x="125" y="39"/>
                  </a:lnTo>
                  <a:lnTo>
                    <a:pt x="127" y="39"/>
                  </a:lnTo>
                  <a:lnTo>
                    <a:pt x="130" y="37"/>
                  </a:lnTo>
                  <a:lnTo>
                    <a:pt x="131" y="37"/>
                  </a:lnTo>
                  <a:lnTo>
                    <a:pt x="131" y="43"/>
                  </a:lnTo>
                  <a:lnTo>
                    <a:pt x="133" y="45"/>
                  </a:lnTo>
                  <a:lnTo>
                    <a:pt x="128" y="49"/>
                  </a:lnTo>
                  <a:lnTo>
                    <a:pt x="127" y="52"/>
                  </a:lnTo>
                  <a:lnTo>
                    <a:pt x="128" y="52"/>
                  </a:lnTo>
                  <a:lnTo>
                    <a:pt x="128" y="51"/>
                  </a:lnTo>
                  <a:lnTo>
                    <a:pt x="130" y="51"/>
                  </a:lnTo>
                  <a:lnTo>
                    <a:pt x="130" y="52"/>
                  </a:lnTo>
                  <a:lnTo>
                    <a:pt x="128" y="54"/>
                  </a:lnTo>
                  <a:lnTo>
                    <a:pt x="128" y="58"/>
                  </a:lnTo>
                  <a:lnTo>
                    <a:pt x="127" y="60"/>
                  </a:lnTo>
                  <a:lnTo>
                    <a:pt x="125" y="60"/>
                  </a:lnTo>
                  <a:lnTo>
                    <a:pt x="124" y="61"/>
                  </a:lnTo>
                  <a:lnTo>
                    <a:pt x="128" y="61"/>
                  </a:lnTo>
                  <a:lnTo>
                    <a:pt x="128" y="66"/>
                  </a:lnTo>
                  <a:lnTo>
                    <a:pt x="130" y="66"/>
                  </a:lnTo>
                  <a:lnTo>
                    <a:pt x="130" y="68"/>
                  </a:lnTo>
                  <a:lnTo>
                    <a:pt x="131" y="68"/>
                  </a:lnTo>
                  <a:lnTo>
                    <a:pt x="131" y="70"/>
                  </a:lnTo>
                  <a:lnTo>
                    <a:pt x="133" y="70"/>
                  </a:lnTo>
                  <a:lnTo>
                    <a:pt x="136" y="73"/>
                  </a:lnTo>
                  <a:lnTo>
                    <a:pt x="136" y="76"/>
                  </a:lnTo>
                  <a:lnTo>
                    <a:pt x="139" y="79"/>
                  </a:lnTo>
                  <a:lnTo>
                    <a:pt x="139" y="80"/>
                  </a:lnTo>
                  <a:lnTo>
                    <a:pt x="142" y="80"/>
                  </a:lnTo>
                  <a:lnTo>
                    <a:pt x="142" y="82"/>
                  </a:lnTo>
                  <a:lnTo>
                    <a:pt x="145" y="82"/>
                  </a:lnTo>
                  <a:lnTo>
                    <a:pt x="148" y="83"/>
                  </a:lnTo>
                  <a:lnTo>
                    <a:pt x="151" y="83"/>
                  </a:lnTo>
                  <a:lnTo>
                    <a:pt x="152" y="82"/>
                  </a:lnTo>
                  <a:lnTo>
                    <a:pt x="154" y="82"/>
                  </a:lnTo>
                  <a:lnTo>
                    <a:pt x="154" y="83"/>
                  </a:lnTo>
                  <a:lnTo>
                    <a:pt x="155" y="85"/>
                  </a:lnTo>
                  <a:lnTo>
                    <a:pt x="157" y="85"/>
                  </a:lnTo>
                  <a:lnTo>
                    <a:pt x="160" y="86"/>
                  </a:lnTo>
                  <a:lnTo>
                    <a:pt x="161" y="86"/>
                  </a:lnTo>
                  <a:lnTo>
                    <a:pt x="163" y="89"/>
                  </a:lnTo>
                  <a:lnTo>
                    <a:pt x="166" y="89"/>
                  </a:lnTo>
                  <a:lnTo>
                    <a:pt x="166" y="86"/>
                  </a:lnTo>
                  <a:lnTo>
                    <a:pt x="169" y="86"/>
                  </a:lnTo>
                  <a:lnTo>
                    <a:pt x="169" y="85"/>
                  </a:lnTo>
                  <a:lnTo>
                    <a:pt x="167" y="83"/>
                  </a:lnTo>
                  <a:lnTo>
                    <a:pt x="169" y="83"/>
                  </a:lnTo>
                  <a:lnTo>
                    <a:pt x="169" y="80"/>
                  </a:lnTo>
                  <a:lnTo>
                    <a:pt x="172" y="80"/>
                  </a:lnTo>
                  <a:lnTo>
                    <a:pt x="173" y="79"/>
                  </a:lnTo>
                  <a:lnTo>
                    <a:pt x="176" y="79"/>
                  </a:lnTo>
                  <a:lnTo>
                    <a:pt x="178" y="77"/>
                  </a:lnTo>
                  <a:lnTo>
                    <a:pt x="179" y="77"/>
                  </a:lnTo>
                  <a:lnTo>
                    <a:pt x="182" y="74"/>
                  </a:lnTo>
                  <a:lnTo>
                    <a:pt x="184" y="74"/>
                  </a:lnTo>
                  <a:lnTo>
                    <a:pt x="184" y="76"/>
                  </a:lnTo>
                  <a:lnTo>
                    <a:pt x="188" y="76"/>
                  </a:lnTo>
                  <a:lnTo>
                    <a:pt x="188" y="77"/>
                  </a:lnTo>
                  <a:lnTo>
                    <a:pt x="190" y="79"/>
                  </a:lnTo>
                  <a:lnTo>
                    <a:pt x="191" y="77"/>
                  </a:lnTo>
                  <a:lnTo>
                    <a:pt x="191" y="79"/>
                  </a:lnTo>
                  <a:lnTo>
                    <a:pt x="193" y="79"/>
                  </a:lnTo>
                  <a:lnTo>
                    <a:pt x="193" y="80"/>
                  </a:lnTo>
                  <a:lnTo>
                    <a:pt x="194" y="82"/>
                  </a:lnTo>
                  <a:lnTo>
                    <a:pt x="196" y="82"/>
                  </a:lnTo>
                  <a:lnTo>
                    <a:pt x="196" y="83"/>
                  </a:lnTo>
                  <a:lnTo>
                    <a:pt x="197" y="83"/>
                  </a:lnTo>
                  <a:lnTo>
                    <a:pt x="197" y="85"/>
                  </a:lnTo>
                  <a:lnTo>
                    <a:pt x="200" y="85"/>
                  </a:lnTo>
                  <a:lnTo>
                    <a:pt x="202" y="86"/>
                  </a:lnTo>
                  <a:lnTo>
                    <a:pt x="202" y="88"/>
                  </a:lnTo>
                  <a:lnTo>
                    <a:pt x="205" y="89"/>
                  </a:lnTo>
                  <a:lnTo>
                    <a:pt x="206" y="89"/>
                  </a:lnTo>
                  <a:lnTo>
                    <a:pt x="208" y="91"/>
                  </a:lnTo>
                  <a:lnTo>
                    <a:pt x="208" y="92"/>
                  </a:lnTo>
                  <a:lnTo>
                    <a:pt x="203" y="97"/>
                  </a:lnTo>
                  <a:lnTo>
                    <a:pt x="200" y="97"/>
                  </a:lnTo>
                  <a:lnTo>
                    <a:pt x="200" y="95"/>
                  </a:lnTo>
                  <a:lnTo>
                    <a:pt x="199" y="98"/>
                  </a:lnTo>
                  <a:lnTo>
                    <a:pt x="196" y="100"/>
                  </a:lnTo>
                  <a:lnTo>
                    <a:pt x="197" y="101"/>
                  </a:lnTo>
                  <a:lnTo>
                    <a:pt x="206" y="101"/>
                  </a:lnTo>
                  <a:lnTo>
                    <a:pt x="208" y="103"/>
                  </a:lnTo>
                  <a:lnTo>
                    <a:pt x="208" y="104"/>
                  </a:lnTo>
                  <a:lnTo>
                    <a:pt x="211" y="104"/>
                  </a:lnTo>
                  <a:lnTo>
                    <a:pt x="211" y="107"/>
                  </a:lnTo>
                  <a:lnTo>
                    <a:pt x="209" y="107"/>
                  </a:lnTo>
                  <a:lnTo>
                    <a:pt x="209" y="112"/>
                  </a:lnTo>
                  <a:lnTo>
                    <a:pt x="217" y="112"/>
                  </a:lnTo>
                  <a:lnTo>
                    <a:pt x="221" y="113"/>
                  </a:lnTo>
                  <a:lnTo>
                    <a:pt x="221" y="116"/>
                  </a:lnTo>
                  <a:lnTo>
                    <a:pt x="223" y="118"/>
                  </a:lnTo>
                  <a:lnTo>
                    <a:pt x="223" y="122"/>
                  </a:lnTo>
                  <a:lnTo>
                    <a:pt x="220" y="122"/>
                  </a:lnTo>
                  <a:lnTo>
                    <a:pt x="220" y="124"/>
                  </a:lnTo>
                  <a:lnTo>
                    <a:pt x="218" y="124"/>
                  </a:lnTo>
                  <a:lnTo>
                    <a:pt x="218" y="125"/>
                  </a:lnTo>
                  <a:lnTo>
                    <a:pt x="215" y="127"/>
                  </a:lnTo>
                  <a:lnTo>
                    <a:pt x="214" y="127"/>
                  </a:lnTo>
                  <a:lnTo>
                    <a:pt x="214" y="128"/>
                  </a:lnTo>
                  <a:lnTo>
                    <a:pt x="217" y="128"/>
                  </a:lnTo>
                  <a:lnTo>
                    <a:pt x="217" y="131"/>
                  </a:lnTo>
                  <a:lnTo>
                    <a:pt x="215" y="133"/>
                  </a:lnTo>
                  <a:lnTo>
                    <a:pt x="214" y="133"/>
                  </a:lnTo>
                  <a:lnTo>
                    <a:pt x="214" y="134"/>
                  </a:lnTo>
                  <a:lnTo>
                    <a:pt x="211" y="134"/>
                  </a:lnTo>
                  <a:lnTo>
                    <a:pt x="211" y="136"/>
                  </a:lnTo>
                  <a:lnTo>
                    <a:pt x="209" y="136"/>
                  </a:lnTo>
                  <a:lnTo>
                    <a:pt x="209" y="137"/>
                  </a:lnTo>
                  <a:lnTo>
                    <a:pt x="208" y="140"/>
                  </a:lnTo>
                  <a:lnTo>
                    <a:pt x="206" y="140"/>
                  </a:lnTo>
                  <a:lnTo>
                    <a:pt x="205" y="142"/>
                  </a:lnTo>
                  <a:lnTo>
                    <a:pt x="203" y="142"/>
                  </a:lnTo>
                  <a:lnTo>
                    <a:pt x="200" y="140"/>
                  </a:lnTo>
                  <a:lnTo>
                    <a:pt x="199" y="139"/>
                  </a:lnTo>
                  <a:lnTo>
                    <a:pt x="197" y="139"/>
                  </a:lnTo>
                  <a:lnTo>
                    <a:pt x="197" y="137"/>
                  </a:lnTo>
                  <a:lnTo>
                    <a:pt x="196" y="137"/>
                  </a:lnTo>
                  <a:lnTo>
                    <a:pt x="193" y="139"/>
                  </a:lnTo>
                  <a:lnTo>
                    <a:pt x="193" y="137"/>
                  </a:lnTo>
                  <a:lnTo>
                    <a:pt x="190" y="137"/>
                  </a:lnTo>
                  <a:lnTo>
                    <a:pt x="190" y="136"/>
                  </a:lnTo>
                  <a:lnTo>
                    <a:pt x="188" y="136"/>
                  </a:lnTo>
                  <a:lnTo>
                    <a:pt x="187" y="137"/>
                  </a:lnTo>
                  <a:lnTo>
                    <a:pt x="185" y="137"/>
                  </a:lnTo>
                  <a:lnTo>
                    <a:pt x="185" y="139"/>
                  </a:lnTo>
                  <a:lnTo>
                    <a:pt x="182" y="139"/>
                  </a:lnTo>
                  <a:lnTo>
                    <a:pt x="181" y="137"/>
                  </a:lnTo>
                  <a:lnTo>
                    <a:pt x="179" y="137"/>
                  </a:lnTo>
                  <a:lnTo>
                    <a:pt x="179" y="139"/>
                  </a:lnTo>
                  <a:lnTo>
                    <a:pt x="181" y="142"/>
                  </a:lnTo>
                  <a:lnTo>
                    <a:pt x="182" y="143"/>
                  </a:lnTo>
                  <a:lnTo>
                    <a:pt x="182" y="145"/>
                  </a:lnTo>
                  <a:lnTo>
                    <a:pt x="184" y="146"/>
                  </a:lnTo>
                  <a:lnTo>
                    <a:pt x="184" y="148"/>
                  </a:lnTo>
                  <a:lnTo>
                    <a:pt x="182" y="148"/>
                  </a:lnTo>
                  <a:lnTo>
                    <a:pt x="182" y="149"/>
                  </a:lnTo>
                  <a:lnTo>
                    <a:pt x="181" y="149"/>
                  </a:lnTo>
                  <a:lnTo>
                    <a:pt x="181" y="151"/>
                  </a:lnTo>
                  <a:lnTo>
                    <a:pt x="178" y="151"/>
                  </a:lnTo>
                  <a:lnTo>
                    <a:pt x="176" y="152"/>
                  </a:lnTo>
                  <a:lnTo>
                    <a:pt x="176" y="154"/>
                  </a:lnTo>
                  <a:lnTo>
                    <a:pt x="175" y="154"/>
                  </a:lnTo>
                  <a:lnTo>
                    <a:pt x="173" y="155"/>
                  </a:lnTo>
                  <a:lnTo>
                    <a:pt x="172" y="155"/>
                  </a:lnTo>
                  <a:lnTo>
                    <a:pt x="173" y="157"/>
                  </a:lnTo>
                  <a:lnTo>
                    <a:pt x="175" y="157"/>
                  </a:lnTo>
                  <a:lnTo>
                    <a:pt x="175" y="158"/>
                  </a:lnTo>
                  <a:lnTo>
                    <a:pt x="176" y="158"/>
                  </a:lnTo>
                  <a:lnTo>
                    <a:pt x="178" y="160"/>
                  </a:lnTo>
                  <a:lnTo>
                    <a:pt x="179" y="160"/>
                  </a:lnTo>
                  <a:lnTo>
                    <a:pt x="181" y="158"/>
                  </a:lnTo>
                  <a:lnTo>
                    <a:pt x="181" y="160"/>
                  </a:lnTo>
                  <a:lnTo>
                    <a:pt x="187" y="161"/>
                  </a:lnTo>
                  <a:lnTo>
                    <a:pt x="188" y="163"/>
                  </a:lnTo>
                  <a:lnTo>
                    <a:pt x="188" y="166"/>
                  </a:lnTo>
                  <a:lnTo>
                    <a:pt x="193" y="166"/>
                  </a:lnTo>
                  <a:lnTo>
                    <a:pt x="193" y="167"/>
                  </a:lnTo>
                  <a:lnTo>
                    <a:pt x="194" y="167"/>
                  </a:lnTo>
                  <a:lnTo>
                    <a:pt x="199" y="172"/>
                  </a:lnTo>
                  <a:lnTo>
                    <a:pt x="203" y="172"/>
                  </a:lnTo>
                  <a:lnTo>
                    <a:pt x="205" y="175"/>
                  </a:lnTo>
                  <a:lnTo>
                    <a:pt x="206" y="176"/>
                  </a:lnTo>
                  <a:lnTo>
                    <a:pt x="208" y="176"/>
                  </a:lnTo>
                  <a:lnTo>
                    <a:pt x="208" y="178"/>
                  </a:lnTo>
                  <a:lnTo>
                    <a:pt x="209" y="178"/>
                  </a:lnTo>
                  <a:lnTo>
                    <a:pt x="209" y="179"/>
                  </a:lnTo>
                  <a:lnTo>
                    <a:pt x="212" y="179"/>
                  </a:lnTo>
                  <a:lnTo>
                    <a:pt x="212" y="181"/>
                  </a:lnTo>
                  <a:lnTo>
                    <a:pt x="221" y="181"/>
                  </a:lnTo>
                  <a:lnTo>
                    <a:pt x="221" y="184"/>
                  </a:lnTo>
                  <a:lnTo>
                    <a:pt x="224" y="184"/>
                  </a:lnTo>
                  <a:lnTo>
                    <a:pt x="227" y="185"/>
                  </a:lnTo>
                  <a:lnTo>
                    <a:pt x="230" y="185"/>
                  </a:lnTo>
                  <a:lnTo>
                    <a:pt x="233" y="188"/>
                  </a:lnTo>
                  <a:lnTo>
                    <a:pt x="233" y="190"/>
                  </a:lnTo>
                  <a:lnTo>
                    <a:pt x="232" y="190"/>
                  </a:lnTo>
                  <a:lnTo>
                    <a:pt x="230" y="191"/>
                  </a:lnTo>
                  <a:lnTo>
                    <a:pt x="230" y="193"/>
                  </a:lnTo>
                  <a:lnTo>
                    <a:pt x="229" y="194"/>
                  </a:lnTo>
                  <a:lnTo>
                    <a:pt x="229" y="197"/>
                  </a:lnTo>
                  <a:lnTo>
                    <a:pt x="232" y="200"/>
                  </a:lnTo>
                  <a:lnTo>
                    <a:pt x="233" y="200"/>
                  </a:lnTo>
                  <a:lnTo>
                    <a:pt x="233" y="203"/>
                  </a:lnTo>
                  <a:lnTo>
                    <a:pt x="236" y="206"/>
                  </a:lnTo>
                  <a:lnTo>
                    <a:pt x="239" y="206"/>
                  </a:lnTo>
                  <a:lnTo>
                    <a:pt x="239" y="209"/>
                  </a:lnTo>
                  <a:lnTo>
                    <a:pt x="241" y="211"/>
                  </a:lnTo>
                  <a:lnTo>
                    <a:pt x="242" y="211"/>
                  </a:lnTo>
                  <a:lnTo>
                    <a:pt x="244" y="209"/>
                  </a:lnTo>
                  <a:lnTo>
                    <a:pt x="247" y="209"/>
                  </a:lnTo>
                  <a:lnTo>
                    <a:pt x="247" y="212"/>
                  </a:lnTo>
                  <a:lnTo>
                    <a:pt x="248" y="212"/>
                  </a:lnTo>
                  <a:lnTo>
                    <a:pt x="248" y="215"/>
                  </a:lnTo>
                  <a:lnTo>
                    <a:pt x="251" y="215"/>
                  </a:lnTo>
                  <a:lnTo>
                    <a:pt x="251" y="218"/>
                  </a:lnTo>
                  <a:lnTo>
                    <a:pt x="253" y="218"/>
                  </a:lnTo>
                  <a:lnTo>
                    <a:pt x="253" y="226"/>
                  </a:lnTo>
                  <a:lnTo>
                    <a:pt x="254" y="227"/>
                  </a:lnTo>
                  <a:lnTo>
                    <a:pt x="256" y="230"/>
                  </a:lnTo>
                  <a:lnTo>
                    <a:pt x="257" y="230"/>
                  </a:lnTo>
                  <a:lnTo>
                    <a:pt x="257" y="232"/>
                  </a:lnTo>
                  <a:lnTo>
                    <a:pt x="259" y="233"/>
                  </a:lnTo>
                  <a:lnTo>
                    <a:pt x="259" y="235"/>
                  </a:lnTo>
                  <a:lnTo>
                    <a:pt x="262" y="236"/>
                  </a:lnTo>
                  <a:lnTo>
                    <a:pt x="263" y="236"/>
                  </a:lnTo>
                  <a:lnTo>
                    <a:pt x="265" y="238"/>
                  </a:lnTo>
                  <a:lnTo>
                    <a:pt x="267" y="242"/>
                  </a:lnTo>
                  <a:lnTo>
                    <a:pt x="272" y="248"/>
                  </a:lnTo>
                  <a:lnTo>
                    <a:pt x="279" y="254"/>
                  </a:lnTo>
                  <a:lnTo>
                    <a:pt x="282" y="254"/>
                  </a:lnTo>
                  <a:lnTo>
                    <a:pt x="282" y="253"/>
                  </a:lnTo>
                  <a:lnTo>
                    <a:pt x="284" y="253"/>
                  </a:lnTo>
                  <a:lnTo>
                    <a:pt x="284" y="254"/>
                  </a:lnTo>
                  <a:lnTo>
                    <a:pt x="285" y="256"/>
                  </a:lnTo>
                  <a:lnTo>
                    <a:pt x="285" y="259"/>
                  </a:lnTo>
                  <a:lnTo>
                    <a:pt x="290" y="263"/>
                  </a:lnTo>
                  <a:lnTo>
                    <a:pt x="288" y="265"/>
                  </a:lnTo>
                  <a:lnTo>
                    <a:pt x="290" y="266"/>
                  </a:lnTo>
                  <a:lnTo>
                    <a:pt x="290" y="268"/>
                  </a:lnTo>
                  <a:lnTo>
                    <a:pt x="296" y="268"/>
                  </a:lnTo>
                  <a:lnTo>
                    <a:pt x="296" y="284"/>
                  </a:lnTo>
                  <a:lnTo>
                    <a:pt x="297" y="286"/>
                  </a:lnTo>
                  <a:lnTo>
                    <a:pt x="300" y="286"/>
                  </a:lnTo>
                  <a:lnTo>
                    <a:pt x="300" y="290"/>
                  </a:lnTo>
                  <a:lnTo>
                    <a:pt x="302" y="292"/>
                  </a:lnTo>
                  <a:lnTo>
                    <a:pt x="302" y="293"/>
                  </a:lnTo>
                  <a:lnTo>
                    <a:pt x="306" y="293"/>
                  </a:lnTo>
                  <a:lnTo>
                    <a:pt x="308" y="292"/>
                  </a:lnTo>
                  <a:lnTo>
                    <a:pt x="308" y="290"/>
                  </a:lnTo>
                  <a:lnTo>
                    <a:pt x="309" y="289"/>
                  </a:lnTo>
                  <a:lnTo>
                    <a:pt x="311" y="290"/>
                  </a:lnTo>
                  <a:lnTo>
                    <a:pt x="311" y="295"/>
                  </a:lnTo>
                  <a:lnTo>
                    <a:pt x="314" y="298"/>
                  </a:lnTo>
                  <a:lnTo>
                    <a:pt x="315" y="298"/>
                  </a:lnTo>
                  <a:lnTo>
                    <a:pt x="315" y="301"/>
                  </a:lnTo>
                  <a:lnTo>
                    <a:pt x="321" y="301"/>
                  </a:lnTo>
                  <a:lnTo>
                    <a:pt x="321" y="302"/>
                  </a:lnTo>
                  <a:lnTo>
                    <a:pt x="323" y="302"/>
                  </a:lnTo>
                  <a:lnTo>
                    <a:pt x="323" y="305"/>
                  </a:lnTo>
                  <a:lnTo>
                    <a:pt x="324" y="307"/>
                  </a:lnTo>
                  <a:lnTo>
                    <a:pt x="327" y="307"/>
                  </a:lnTo>
                  <a:lnTo>
                    <a:pt x="327" y="308"/>
                  </a:lnTo>
                  <a:lnTo>
                    <a:pt x="330" y="310"/>
                  </a:lnTo>
                  <a:lnTo>
                    <a:pt x="330" y="311"/>
                  </a:lnTo>
                  <a:lnTo>
                    <a:pt x="336" y="311"/>
                  </a:lnTo>
                  <a:lnTo>
                    <a:pt x="336" y="313"/>
                  </a:lnTo>
                  <a:lnTo>
                    <a:pt x="338" y="313"/>
                  </a:lnTo>
                  <a:lnTo>
                    <a:pt x="338" y="314"/>
                  </a:lnTo>
                  <a:lnTo>
                    <a:pt x="336" y="314"/>
                  </a:lnTo>
                  <a:lnTo>
                    <a:pt x="336" y="316"/>
                  </a:lnTo>
                  <a:lnTo>
                    <a:pt x="335" y="317"/>
                  </a:lnTo>
                  <a:lnTo>
                    <a:pt x="335" y="319"/>
                  </a:lnTo>
                  <a:lnTo>
                    <a:pt x="330" y="319"/>
                  </a:lnTo>
                  <a:lnTo>
                    <a:pt x="327" y="322"/>
                  </a:lnTo>
                  <a:lnTo>
                    <a:pt x="327" y="320"/>
                  </a:lnTo>
                  <a:lnTo>
                    <a:pt x="326" y="320"/>
                  </a:lnTo>
                  <a:lnTo>
                    <a:pt x="324" y="322"/>
                  </a:lnTo>
                  <a:lnTo>
                    <a:pt x="324" y="326"/>
                  </a:lnTo>
                  <a:lnTo>
                    <a:pt x="327" y="328"/>
                  </a:lnTo>
                  <a:lnTo>
                    <a:pt x="327" y="330"/>
                  </a:lnTo>
                  <a:lnTo>
                    <a:pt x="330" y="333"/>
                  </a:lnTo>
                  <a:lnTo>
                    <a:pt x="332" y="333"/>
                  </a:lnTo>
                  <a:lnTo>
                    <a:pt x="333" y="338"/>
                  </a:lnTo>
                  <a:lnTo>
                    <a:pt x="339" y="338"/>
                  </a:lnTo>
                  <a:lnTo>
                    <a:pt x="339" y="341"/>
                  </a:lnTo>
                  <a:lnTo>
                    <a:pt x="341" y="342"/>
                  </a:lnTo>
                  <a:lnTo>
                    <a:pt x="344" y="342"/>
                  </a:lnTo>
                  <a:lnTo>
                    <a:pt x="344" y="345"/>
                  </a:lnTo>
                  <a:lnTo>
                    <a:pt x="347" y="347"/>
                  </a:lnTo>
                  <a:lnTo>
                    <a:pt x="347" y="351"/>
                  </a:lnTo>
                  <a:lnTo>
                    <a:pt x="345" y="351"/>
                  </a:lnTo>
                  <a:lnTo>
                    <a:pt x="345" y="356"/>
                  </a:lnTo>
                  <a:lnTo>
                    <a:pt x="344" y="356"/>
                  </a:lnTo>
                  <a:lnTo>
                    <a:pt x="344" y="359"/>
                  </a:lnTo>
                  <a:lnTo>
                    <a:pt x="341" y="359"/>
                  </a:lnTo>
                  <a:lnTo>
                    <a:pt x="339" y="360"/>
                  </a:lnTo>
                  <a:lnTo>
                    <a:pt x="338" y="360"/>
                  </a:lnTo>
                  <a:lnTo>
                    <a:pt x="338" y="363"/>
                  </a:lnTo>
                  <a:lnTo>
                    <a:pt x="339" y="363"/>
                  </a:lnTo>
                  <a:lnTo>
                    <a:pt x="339" y="365"/>
                  </a:lnTo>
                  <a:lnTo>
                    <a:pt x="342" y="366"/>
                  </a:lnTo>
                  <a:lnTo>
                    <a:pt x="342" y="368"/>
                  </a:lnTo>
                  <a:lnTo>
                    <a:pt x="339" y="369"/>
                  </a:lnTo>
                  <a:lnTo>
                    <a:pt x="339" y="371"/>
                  </a:lnTo>
                  <a:lnTo>
                    <a:pt x="341" y="372"/>
                  </a:lnTo>
                  <a:lnTo>
                    <a:pt x="339" y="374"/>
                  </a:lnTo>
                  <a:lnTo>
                    <a:pt x="341" y="374"/>
                  </a:lnTo>
                  <a:lnTo>
                    <a:pt x="341" y="375"/>
                  </a:lnTo>
                  <a:lnTo>
                    <a:pt x="339" y="378"/>
                  </a:lnTo>
                  <a:lnTo>
                    <a:pt x="338" y="378"/>
                  </a:lnTo>
                  <a:lnTo>
                    <a:pt x="338" y="380"/>
                  </a:lnTo>
                  <a:lnTo>
                    <a:pt x="336" y="380"/>
                  </a:lnTo>
                  <a:lnTo>
                    <a:pt x="336" y="383"/>
                  </a:lnTo>
                  <a:lnTo>
                    <a:pt x="333" y="383"/>
                  </a:lnTo>
                  <a:lnTo>
                    <a:pt x="333" y="381"/>
                  </a:lnTo>
                  <a:lnTo>
                    <a:pt x="332" y="381"/>
                  </a:lnTo>
                  <a:lnTo>
                    <a:pt x="330" y="380"/>
                  </a:lnTo>
                  <a:lnTo>
                    <a:pt x="329" y="381"/>
                  </a:lnTo>
                  <a:lnTo>
                    <a:pt x="329" y="383"/>
                  </a:lnTo>
                  <a:lnTo>
                    <a:pt x="327" y="383"/>
                  </a:lnTo>
                  <a:lnTo>
                    <a:pt x="327" y="386"/>
                  </a:lnTo>
                  <a:lnTo>
                    <a:pt x="324" y="386"/>
                  </a:lnTo>
                  <a:lnTo>
                    <a:pt x="324" y="387"/>
                  </a:lnTo>
                  <a:lnTo>
                    <a:pt x="323" y="389"/>
                  </a:lnTo>
                  <a:lnTo>
                    <a:pt x="321" y="389"/>
                  </a:lnTo>
                  <a:lnTo>
                    <a:pt x="321" y="390"/>
                  </a:lnTo>
                  <a:lnTo>
                    <a:pt x="320" y="389"/>
                  </a:lnTo>
                  <a:lnTo>
                    <a:pt x="318" y="389"/>
                  </a:lnTo>
                  <a:lnTo>
                    <a:pt x="315" y="392"/>
                  </a:lnTo>
                  <a:lnTo>
                    <a:pt x="315" y="393"/>
                  </a:lnTo>
                  <a:lnTo>
                    <a:pt x="311" y="393"/>
                  </a:lnTo>
                  <a:lnTo>
                    <a:pt x="309" y="395"/>
                  </a:lnTo>
                  <a:lnTo>
                    <a:pt x="309" y="393"/>
                  </a:lnTo>
                  <a:lnTo>
                    <a:pt x="308" y="393"/>
                  </a:lnTo>
                  <a:lnTo>
                    <a:pt x="305" y="390"/>
                  </a:lnTo>
                  <a:lnTo>
                    <a:pt x="305" y="389"/>
                  </a:lnTo>
                  <a:lnTo>
                    <a:pt x="303" y="389"/>
                  </a:lnTo>
                  <a:lnTo>
                    <a:pt x="300" y="387"/>
                  </a:lnTo>
                  <a:lnTo>
                    <a:pt x="299" y="386"/>
                  </a:lnTo>
                  <a:lnTo>
                    <a:pt x="297" y="386"/>
                  </a:lnTo>
                  <a:lnTo>
                    <a:pt x="297" y="384"/>
                  </a:lnTo>
                  <a:lnTo>
                    <a:pt x="296" y="384"/>
                  </a:lnTo>
                  <a:lnTo>
                    <a:pt x="296" y="381"/>
                  </a:lnTo>
                  <a:lnTo>
                    <a:pt x="293" y="381"/>
                  </a:lnTo>
                  <a:lnTo>
                    <a:pt x="293" y="384"/>
                  </a:lnTo>
                  <a:lnTo>
                    <a:pt x="291" y="384"/>
                  </a:lnTo>
                  <a:lnTo>
                    <a:pt x="291" y="386"/>
                  </a:lnTo>
                  <a:lnTo>
                    <a:pt x="290" y="386"/>
                  </a:lnTo>
                  <a:lnTo>
                    <a:pt x="290" y="387"/>
                  </a:lnTo>
                  <a:lnTo>
                    <a:pt x="285" y="387"/>
                  </a:lnTo>
                  <a:lnTo>
                    <a:pt x="282" y="386"/>
                  </a:lnTo>
                  <a:lnTo>
                    <a:pt x="281" y="386"/>
                  </a:lnTo>
                  <a:lnTo>
                    <a:pt x="281" y="390"/>
                  </a:lnTo>
                  <a:lnTo>
                    <a:pt x="279" y="390"/>
                  </a:lnTo>
                  <a:lnTo>
                    <a:pt x="279" y="392"/>
                  </a:lnTo>
                  <a:lnTo>
                    <a:pt x="276" y="392"/>
                  </a:lnTo>
                  <a:lnTo>
                    <a:pt x="275" y="390"/>
                  </a:lnTo>
                  <a:lnTo>
                    <a:pt x="273" y="390"/>
                  </a:lnTo>
                  <a:lnTo>
                    <a:pt x="273" y="392"/>
                  </a:lnTo>
                  <a:lnTo>
                    <a:pt x="269" y="392"/>
                  </a:lnTo>
                  <a:lnTo>
                    <a:pt x="269" y="393"/>
                  </a:lnTo>
                  <a:lnTo>
                    <a:pt x="270" y="393"/>
                  </a:lnTo>
                  <a:lnTo>
                    <a:pt x="270" y="395"/>
                  </a:lnTo>
                  <a:lnTo>
                    <a:pt x="272" y="395"/>
                  </a:lnTo>
                  <a:lnTo>
                    <a:pt x="272" y="398"/>
                  </a:lnTo>
                  <a:lnTo>
                    <a:pt x="275" y="401"/>
                  </a:lnTo>
                  <a:lnTo>
                    <a:pt x="276" y="404"/>
                  </a:lnTo>
                  <a:lnTo>
                    <a:pt x="278" y="405"/>
                  </a:lnTo>
                  <a:lnTo>
                    <a:pt x="278" y="407"/>
                  </a:lnTo>
                  <a:lnTo>
                    <a:pt x="276" y="407"/>
                  </a:lnTo>
                  <a:lnTo>
                    <a:pt x="276" y="408"/>
                  </a:lnTo>
                  <a:lnTo>
                    <a:pt x="275" y="408"/>
                  </a:lnTo>
                  <a:lnTo>
                    <a:pt x="275" y="413"/>
                  </a:lnTo>
                  <a:lnTo>
                    <a:pt x="273" y="413"/>
                  </a:lnTo>
                  <a:lnTo>
                    <a:pt x="270" y="411"/>
                  </a:lnTo>
                  <a:lnTo>
                    <a:pt x="269" y="413"/>
                  </a:lnTo>
                  <a:lnTo>
                    <a:pt x="266" y="413"/>
                  </a:lnTo>
                  <a:lnTo>
                    <a:pt x="266" y="411"/>
                  </a:lnTo>
                  <a:lnTo>
                    <a:pt x="262" y="408"/>
                  </a:lnTo>
                  <a:lnTo>
                    <a:pt x="260" y="407"/>
                  </a:lnTo>
                  <a:lnTo>
                    <a:pt x="260" y="404"/>
                  </a:lnTo>
                  <a:lnTo>
                    <a:pt x="254" y="404"/>
                  </a:lnTo>
                  <a:lnTo>
                    <a:pt x="253" y="402"/>
                  </a:lnTo>
                  <a:lnTo>
                    <a:pt x="251" y="402"/>
                  </a:lnTo>
                  <a:lnTo>
                    <a:pt x="251" y="401"/>
                  </a:lnTo>
                  <a:lnTo>
                    <a:pt x="250" y="401"/>
                  </a:lnTo>
                  <a:lnTo>
                    <a:pt x="248" y="402"/>
                  </a:lnTo>
                  <a:lnTo>
                    <a:pt x="247" y="402"/>
                  </a:lnTo>
                  <a:lnTo>
                    <a:pt x="245" y="404"/>
                  </a:lnTo>
                  <a:lnTo>
                    <a:pt x="241" y="404"/>
                  </a:lnTo>
                  <a:lnTo>
                    <a:pt x="241" y="402"/>
                  </a:lnTo>
                  <a:lnTo>
                    <a:pt x="239" y="401"/>
                  </a:lnTo>
                  <a:lnTo>
                    <a:pt x="238" y="401"/>
                  </a:lnTo>
                  <a:lnTo>
                    <a:pt x="238" y="399"/>
                  </a:lnTo>
                  <a:lnTo>
                    <a:pt x="235" y="396"/>
                  </a:lnTo>
                  <a:lnTo>
                    <a:pt x="235" y="395"/>
                  </a:lnTo>
                  <a:lnTo>
                    <a:pt x="233" y="393"/>
                  </a:lnTo>
                  <a:lnTo>
                    <a:pt x="233" y="392"/>
                  </a:lnTo>
                  <a:lnTo>
                    <a:pt x="238" y="392"/>
                  </a:lnTo>
                  <a:lnTo>
                    <a:pt x="238" y="390"/>
                  </a:lnTo>
                  <a:lnTo>
                    <a:pt x="241" y="390"/>
                  </a:lnTo>
                  <a:lnTo>
                    <a:pt x="242" y="389"/>
                  </a:lnTo>
                  <a:lnTo>
                    <a:pt x="244" y="389"/>
                  </a:lnTo>
                  <a:lnTo>
                    <a:pt x="245" y="387"/>
                  </a:lnTo>
                  <a:lnTo>
                    <a:pt x="245" y="386"/>
                  </a:lnTo>
                  <a:lnTo>
                    <a:pt x="247" y="386"/>
                  </a:lnTo>
                  <a:lnTo>
                    <a:pt x="248" y="383"/>
                  </a:lnTo>
                  <a:lnTo>
                    <a:pt x="248" y="369"/>
                  </a:lnTo>
                  <a:lnTo>
                    <a:pt x="250" y="369"/>
                  </a:lnTo>
                  <a:lnTo>
                    <a:pt x="250" y="366"/>
                  </a:lnTo>
                  <a:lnTo>
                    <a:pt x="251" y="366"/>
                  </a:lnTo>
                  <a:lnTo>
                    <a:pt x="250" y="365"/>
                  </a:lnTo>
                  <a:lnTo>
                    <a:pt x="250" y="363"/>
                  </a:lnTo>
                  <a:lnTo>
                    <a:pt x="253" y="362"/>
                  </a:lnTo>
                  <a:lnTo>
                    <a:pt x="251" y="362"/>
                  </a:lnTo>
                  <a:lnTo>
                    <a:pt x="251" y="360"/>
                  </a:lnTo>
                  <a:lnTo>
                    <a:pt x="250" y="359"/>
                  </a:lnTo>
                  <a:lnTo>
                    <a:pt x="248" y="359"/>
                  </a:lnTo>
                  <a:lnTo>
                    <a:pt x="245" y="356"/>
                  </a:lnTo>
                  <a:lnTo>
                    <a:pt x="245" y="354"/>
                  </a:lnTo>
                  <a:lnTo>
                    <a:pt x="247" y="353"/>
                  </a:lnTo>
                  <a:lnTo>
                    <a:pt x="248" y="350"/>
                  </a:lnTo>
                  <a:lnTo>
                    <a:pt x="250" y="350"/>
                  </a:lnTo>
                  <a:lnTo>
                    <a:pt x="251" y="348"/>
                  </a:lnTo>
                  <a:lnTo>
                    <a:pt x="251" y="345"/>
                  </a:lnTo>
                  <a:lnTo>
                    <a:pt x="250" y="347"/>
                  </a:lnTo>
                  <a:lnTo>
                    <a:pt x="248" y="345"/>
                  </a:lnTo>
                  <a:lnTo>
                    <a:pt x="247" y="345"/>
                  </a:lnTo>
                  <a:lnTo>
                    <a:pt x="248" y="344"/>
                  </a:lnTo>
                  <a:lnTo>
                    <a:pt x="248" y="342"/>
                  </a:lnTo>
                  <a:lnTo>
                    <a:pt x="251" y="342"/>
                  </a:lnTo>
                  <a:lnTo>
                    <a:pt x="253" y="341"/>
                  </a:lnTo>
                  <a:lnTo>
                    <a:pt x="253" y="339"/>
                  </a:lnTo>
                  <a:lnTo>
                    <a:pt x="254" y="338"/>
                  </a:lnTo>
                  <a:lnTo>
                    <a:pt x="254" y="333"/>
                  </a:lnTo>
                  <a:lnTo>
                    <a:pt x="256" y="332"/>
                  </a:lnTo>
                  <a:lnTo>
                    <a:pt x="254" y="329"/>
                  </a:lnTo>
                  <a:lnTo>
                    <a:pt x="254" y="328"/>
                  </a:lnTo>
                  <a:lnTo>
                    <a:pt x="251" y="326"/>
                  </a:lnTo>
                  <a:lnTo>
                    <a:pt x="250" y="326"/>
                  </a:lnTo>
                  <a:lnTo>
                    <a:pt x="248" y="325"/>
                  </a:lnTo>
                  <a:lnTo>
                    <a:pt x="247" y="326"/>
                  </a:lnTo>
                  <a:lnTo>
                    <a:pt x="244" y="323"/>
                  </a:lnTo>
                  <a:lnTo>
                    <a:pt x="242" y="320"/>
                  </a:lnTo>
                  <a:lnTo>
                    <a:pt x="242" y="316"/>
                  </a:lnTo>
                  <a:lnTo>
                    <a:pt x="244" y="316"/>
                  </a:lnTo>
                  <a:lnTo>
                    <a:pt x="244" y="313"/>
                  </a:lnTo>
                  <a:lnTo>
                    <a:pt x="239" y="313"/>
                  </a:lnTo>
                  <a:lnTo>
                    <a:pt x="236" y="311"/>
                  </a:lnTo>
                  <a:lnTo>
                    <a:pt x="230" y="310"/>
                  </a:lnTo>
                  <a:lnTo>
                    <a:pt x="229" y="310"/>
                  </a:lnTo>
                  <a:lnTo>
                    <a:pt x="229" y="308"/>
                  </a:lnTo>
                  <a:lnTo>
                    <a:pt x="227" y="308"/>
                  </a:lnTo>
                  <a:lnTo>
                    <a:pt x="227" y="302"/>
                  </a:lnTo>
                  <a:lnTo>
                    <a:pt x="226" y="301"/>
                  </a:lnTo>
                  <a:lnTo>
                    <a:pt x="224" y="301"/>
                  </a:lnTo>
                  <a:lnTo>
                    <a:pt x="224" y="299"/>
                  </a:lnTo>
                  <a:lnTo>
                    <a:pt x="223" y="299"/>
                  </a:lnTo>
                  <a:lnTo>
                    <a:pt x="221" y="298"/>
                  </a:lnTo>
                  <a:lnTo>
                    <a:pt x="221" y="296"/>
                  </a:lnTo>
                  <a:lnTo>
                    <a:pt x="220" y="295"/>
                  </a:lnTo>
                  <a:lnTo>
                    <a:pt x="220" y="293"/>
                  </a:lnTo>
                  <a:lnTo>
                    <a:pt x="218" y="293"/>
                  </a:lnTo>
                  <a:lnTo>
                    <a:pt x="218" y="292"/>
                  </a:lnTo>
                  <a:lnTo>
                    <a:pt x="215" y="290"/>
                  </a:lnTo>
                  <a:lnTo>
                    <a:pt x="214" y="289"/>
                  </a:lnTo>
                  <a:lnTo>
                    <a:pt x="214" y="283"/>
                  </a:lnTo>
                  <a:lnTo>
                    <a:pt x="215" y="281"/>
                  </a:lnTo>
                  <a:lnTo>
                    <a:pt x="215" y="280"/>
                  </a:lnTo>
                  <a:lnTo>
                    <a:pt x="214" y="277"/>
                  </a:lnTo>
                  <a:lnTo>
                    <a:pt x="214" y="275"/>
                  </a:lnTo>
                  <a:lnTo>
                    <a:pt x="215" y="274"/>
                  </a:lnTo>
                  <a:lnTo>
                    <a:pt x="215" y="272"/>
                  </a:lnTo>
                  <a:lnTo>
                    <a:pt x="214" y="272"/>
                  </a:lnTo>
                  <a:lnTo>
                    <a:pt x="214" y="265"/>
                  </a:lnTo>
                  <a:lnTo>
                    <a:pt x="217" y="259"/>
                  </a:lnTo>
                  <a:lnTo>
                    <a:pt x="217" y="248"/>
                  </a:lnTo>
                  <a:lnTo>
                    <a:pt x="215" y="247"/>
                  </a:lnTo>
                  <a:lnTo>
                    <a:pt x="215" y="245"/>
                  </a:lnTo>
                  <a:lnTo>
                    <a:pt x="214" y="245"/>
                  </a:lnTo>
                  <a:lnTo>
                    <a:pt x="214" y="244"/>
                  </a:lnTo>
                  <a:lnTo>
                    <a:pt x="212" y="242"/>
                  </a:lnTo>
                  <a:lnTo>
                    <a:pt x="212" y="241"/>
                  </a:lnTo>
                  <a:lnTo>
                    <a:pt x="209" y="239"/>
                  </a:lnTo>
                  <a:lnTo>
                    <a:pt x="202" y="236"/>
                  </a:lnTo>
                  <a:lnTo>
                    <a:pt x="199" y="233"/>
                  </a:lnTo>
                  <a:lnTo>
                    <a:pt x="199" y="232"/>
                  </a:lnTo>
                  <a:lnTo>
                    <a:pt x="197" y="232"/>
                  </a:lnTo>
                  <a:lnTo>
                    <a:pt x="197" y="230"/>
                  </a:lnTo>
                  <a:lnTo>
                    <a:pt x="196" y="229"/>
                  </a:lnTo>
                  <a:lnTo>
                    <a:pt x="196" y="227"/>
                  </a:lnTo>
                  <a:lnTo>
                    <a:pt x="193" y="226"/>
                  </a:lnTo>
                  <a:lnTo>
                    <a:pt x="191" y="224"/>
                  </a:lnTo>
                  <a:lnTo>
                    <a:pt x="191" y="223"/>
                  </a:lnTo>
                  <a:lnTo>
                    <a:pt x="190" y="218"/>
                  </a:lnTo>
                  <a:lnTo>
                    <a:pt x="188" y="218"/>
                  </a:lnTo>
                  <a:lnTo>
                    <a:pt x="188" y="217"/>
                  </a:lnTo>
                  <a:lnTo>
                    <a:pt x="185" y="215"/>
                  </a:lnTo>
                  <a:lnTo>
                    <a:pt x="185" y="214"/>
                  </a:lnTo>
                  <a:lnTo>
                    <a:pt x="184" y="214"/>
                  </a:lnTo>
                  <a:lnTo>
                    <a:pt x="182" y="208"/>
                  </a:lnTo>
                  <a:lnTo>
                    <a:pt x="181" y="205"/>
                  </a:lnTo>
                  <a:lnTo>
                    <a:pt x="179" y="203"/>
                  </a:lnTo>
                  <a:lnTo>
                    <a:pt x="175" y="203"/>
                  </a:lnTo>
                  <a:lnTo>
                    <a:pt x="175" y="205"/>
                  </a:lnTo>
                  <a:lnTo>
                    <a:pt x="172" y="205"/>
                  </a:lnTo>
                  <a:lnTo>
                    <a:pt x="172" y="203"/>
                  </a:lnTo>
                  <a:lnTo>
                    <a:pt x="170" y="203"/>
                  </a:lnTo>
                  <a:lnTo>
                    <a:pt x="170" y="202"/>
                  </a:lnTo>
                  <a:lnTo>
                    <a:pt x="166" y="202"/>
                  </a:lnTo>
                  <a:lnTo>
                    <a:pt x="163" y="200"/>
                  </a:lnTo>
                  <a:lnTo>
                    <a:pt x="161" y="200"/>
                  </a:lnTo>
                  <a:lnTo>
                    <a:pt x="161" y="199"/>
                  </a:lnTo>
                  <a:lnTo>
                    <a:pt x="154" y="199"/>
                  </a:lnTo>
                  <a:lnTo>
                    <a:pt x="152" y="197"/>
                  </a:lnTo>
                  <a:lnTo>
                    <a:pt x="151" y="197"/>
                  </a:lnTo>
                  <a:lnTo>
                    <a:pt x="148" y="199"/>
                  </a:lnTo>
                  <a:lnTo>
                    <a:pt x="145" y="199"/>
                  </a:lnTo>
                  <a:lnTo>
                    <a:pt x="145" y="203"/>
                  </a:lnTo>
                  <a:lnTo>
                    <a:pt x="146" y="203"/>
                  </a:lnTo>
                  <a:lnTo>
                    <a:pt x="146" y="205"/>
                  </a:lnTo>
                  <a:lnTo>
                    <a:pt x="145" y="206"/>
                  </a:lnTo>
                  <a:lnTo>
                    <a:pt x="142" y="206"/>
                  </a:lnTo>
                  <a:lnTo>
                    <a:pt x="140" y="208"/>
                  </a:lnTo>
                  <a:lnTo>
                    <a:pt x="140" y="211"/>
                  </a:lnTo>
                  <a:lnTo>
                    <a:pt x="139" y="211"/>
                  </a:lnTo>
                  <a:lnTo>
                    <a:pt x="139" y="212"/>
                  </a:lnTo>
                  <a:lnTo>
                    <a:pt x="137" y="212"/>
                  </a:lnTo>
                  <a:lnTo>
                    <a:pt x="136" y="214"/>
                  </a:lnTo>
                  <a:lnTo>
                    <a:pt x="137" y="217"/>
                  </a:lnTo>
                  <a:lnTo>
                    <a:pt x="136" y="217"/>
                  </a:lnTo>
                  <a:lnTo>
                    <a:pt x="136" y="220"/>
                  </a:lnTo>
                  <a:lnTo>
                    <a:pt x="133" y="220"/>
                  </a:lnTo>
                  <a:lnTo>
                    <a:pt x="133" y="218"/>
                  </a:lnTo>
                  <a:lnTo>
                    <a:pt x="130" y="218"/>
                  </a:lnTo>
                  <a:lnTo>
                    <a:pt x="127" y="220"/>
                  </a:lnTo>
                  <a:lnTo>
                    <a:pt x="125" y="220"/>
                  </a:lnTo>
                  <a:lnTo>
                    <a:pt x="125" y="221"/>
                  </a:lnTo>
                  <a:lnTo>
                    <a:pt x="122" y="223"/>
                  </a:lnTo>
                  <a:lnTo>
                    <a:pt x="121" y="224"/>
                  </a:lnTo>
                  <a:lnTo>
                    <a:pt x="119" y="224"/>
                  </a:lnTo>
                  <a:lnTo>
                    <a:pt x="118" y="226"/>
                  </a:lnTo>
                  <a:lnTo>
                    <a:pt x="118" y="227"/>
                  </a:lnTo>
                  <a:lnTo>
                    <a:pt x="115" y="226"/>
                  </a:lnTo>
                  <a:lnTo>
                    <a:pt x="115" y="221"/>
                  </a:lnTo>
                  <a:lnTo>
                    <a:pt x="113" y="220"/>
                  </a:lnTo>
                  <a:lnTo>
                    <a:pt x="107" y="220"/>
                  </a:lnTo>
                  <a:lnTo>
                    <a:pt x="105" y="217"/>
                  </a:lnTo>
                  <a:lnTo>
                    <a:pt x="102" y="217"/>
                  </a:lnTo>
                  <a:lnTo>
                    <a:pt x="100" y="214"/>
                  </a:lnTo>
                  <a:lnTo>
                    <a:pt x="99" y="212"/>
                  </a:lnTo>
                  <a:lnTo>
                    <a:pt x="97" y="212"/>
                  </a:lnTo>
                  <a:lnTo>
                    <a:pt x="97" y="211"/>
                  </a:lnTo>
                  <a:lnTo>
                    <a:pt x="96" y="211"/>
                  </a:lnTo>
                  <a:lnTo>
                    <a:pt x="96" y="209"/>
                  </a:lnTo>
                  <a:lnTo>
                    <a:pt x="94" y="208"/>
                  </a:lnTo>
                  <a:lnTo>
                    <a:pt x="91" y="208"/>
                  </a:lnTo>
                  <a:lnTo>
                    <a:pt x="91" y="209"/>
                  </a:lnTo>
                  <a:lnTo>
                    <a:pt x="90" y="209"/>
                  </a:lnTo>
                  <a:lnTo>
                    <a:pt x="84" y="217"/>
                  </a:lnTo>
                  <a:lnTo>
                    <a:pt x="81" y="217"/>
                  </a:lnTo>
                  <a:lnTo>
                    <a:pt x="79" y="215"/>
                  </a:lnTo>
                  <a:lnTo>
                    <a:pt x="78" y="215"/>
                  </a:lnTo>
                  <a:lnTo>
                    <a:pt x="76" y="217"/>
                  </a:lnTo>
                  <a:lnTo>
                    <a:pt x="76" y="218"/>
                  </a:lnTo>
                  <a:lnTo>
                    <a:pt x="75" y="221"/>
                  </a:lnTo>
                  <a:lnTo>
                    <a:pt x="75" y="223"/>
                  </a:lnTo>
                  <a:lnTo>
                    <a:pt x="72" y="224"/>
                  </a:lnTo>
                  <a:lnTo>
                    <a:pt x="70" y="224"/>
                  </a:lnTo>
                  <a:lnTo>
                    <a:pt x="70" y="226"/>
                  </a:lnTo>
                  <a:lnTo>
                    <a:pt x="69" y="226"/>
                  </a:lnTo>
                  <a:lnTo>
                    <a:pt x="69" y="227"/>
                  </a:lnTo>
                  <a:lnTo>
                    <a:pt x="66" y="227"/>
                  </a:lnTo>
                  <a:lnTo>
                    <a:pt x="67" y="229"/>
                  </a:lnTo>
                  <a:lnTo>
                    <a:pt x="66" y="229"/>
                  </a:lnTo>
                  <a:lnTo>
                    <a:pt x="64" y="230"/>
                  </a:lnTo>
                  <a:lnTo>
                    <a:pt x="64" y="232"/>
                  </a:lnTo>
                  <a:lnTo>
                    <a:pt x="63" y="232"/>
                  </a:lnTo>
                  <a:lnTo>
                    <a:pt x="63" y="230"/>
                  </a:lnTo>
                  <a:lnTo>
                    <a:pt x="61" y="232"/>
                  </a:lnTo>
                  <a:lnTo>
                    <a:pt x="60" y="232"/>
                  </a:lnTo>
                  <a:lnTo>
                    <a:pt x="60" y="233"/>
                  </a:lnTo>
                  <a:lnTo>
                    <a:pt x="58" y="233"/>
                  </a:lnTo>
                  <a:lnTo>
                    <a:pt x="58" y="235"/>
                  </a:lnTo>
                  <a:lnTo>
                    <a:pt x="54" y="238"/>
                  </a:lnTo>
                  <a:lnTo>
                    <a:pt x="51" y="241"/>
                  </a:lnTo>
                  <a:lnTo>
                    <a:pt x="51" y="242"/>
                  </a:lnTo>
                  <a:lnTo>
                    <a:pt x="49" y="242"/>
                  </a:lnTo>
                  <a:lnTo>
                    <a:pt x="49" y="244"/>
                  </a:lnTo>
                  <a:lnTo>
                    <a:pt x="46" y="244"/>
                  </a:lnTo>
                  <a:lnTo>
                    <a:pt x="45" y="242"/>
                  </a:lnTo>
                  <a:lnTo>
                    <a:pt x="43" y="242"/>
                  </a:lnTo>
                  <a:lnTo>
                    <a:pt x="43" y="241"/>
                  </a:lnTo>
                  <a:lnTo>
                    <a:pt x="40" y="241"/>
                  </a:lnTo>
                  <a:lnTo>
                    <a:pt x="39" y="239"/>
                  </a:lnTo>
                  <a:lnTo>
                    <a:pt x="37" y="239"/>
                  </a:lnTo>
                  <a:lnTo>
                    <a:pt x="36" y="238"/>
                  </a:lnTo>
                  <a:lnTo>
                    <a:pt x="37" y="238"/>
                  </a:lnTo>
                  <a:lnTo>
                    <a:pt x="39" y="235"/>
                  </a:lnTo>
                  <a:lnTo>
                    <a:pt x="40" y="233"/>
                  </a:lnTo>
                  <a:lnTo>
                    <a:pt x="40" y="227"/>
                  </a:lnTo>
                  <a:lnTo>
                    <a:pt x="42" y="227"/>
                  </a:lnTo>
                  <a:lnTo>
                    <a:pt x="42" y="224"/>
                  </a:lnTo>
                  <a:lnTo>
                    <a:pt x="45" y="221"/>
                  </a:lnTo>
                  <a:lnTo>
                    <a:pt x="46" y="221"/>
                  </a:lnTo>
                  <a:lnTo>
                    <a:pt x="46" y="218"/>
                  </a:lnTo>
                  <a:lnTo>
                    <a:pt x="48" y="218"/>
                  </a:lnTo>
                  <a:lnTo>
                    <a:pt x="49" y="217"/>
                  </a:lnTo>
                  <a:lnTo>
                    <a:pt x="49" y="215"/>
                  </a:lnTo>
                  <a:lnTo>
                    <a:pt x="48" y="214"/>
                  </a:lnTo>
                  <a:lnTo>
                    <a:pt x="48" y="212"/>
                  </a:lnTo>
                  <a:lnTo>
                    <a:pt x="49" y="209"/>
                  </a:lnTo>
                  <a:lnTo>
                    <a:pt x="48" y="208"/>
                  </a:lnTo>
                  <a:lnTo>
                    <a:pt x="48" y="205"/>
                  </a:lnTo>
                  <a:lnTo>
                    <a:pt x="49" y="203"/>
                  </a:lnTo>
                  <a:lnTo>
                    <a:pt x="48" y="202"/>
                  </a:lnTo>
                  <a:lnTo>
                    <a:pt x="46" y="202"/>
                  </a:lnTo>
                  <a:lnTo>
                    <a:pt x="43" y="199"/>
                  </a:lnTo>
                  <a:lnTo>
                    <a:pt x="43" y="197"/>
                  </a:lnTo>
                  <a:lnTo>
                    <a:pt x="45" y="196"/>
                  </a:lnTo>
                  <a:lnTo>
                    <a:pt x="45" y="194"/>
                  </a:lnTo>
                  <a:lnTo>
                    <a:pt x="48" y="193"/>
                  </a:lnTo>
                  <a:lnTo>
                    <a:pt x="49" y="191"/>
                  </a:lnTo>
                  <a:lnTo>
                    <a:pt x="49" y="190"/>
                  </a:lnTo>
                  <a:lnTo>
                    <a:pt x="51" y="190"/>
                  </a:lnTo>
                  <a:lnTo>
                    <a:pt x="51" y="188"/>
                  </a:lnTo>
                  <a:lnTo>
                    <a:pt x="52" y="188"/>
                  </a:lnTo>
                  <a:lnTo>
                    <a:pt x="52" y="185"/>
                  </a:lnTo>
                  <a:lnTo>
                    <a:pt x="51" y="184"/>
                  </a:lnTo>
                  <a:lnTo>
                    <a:pt x="51" y="182"/>
                  </a:lnTo>
                  <a:lnTo>
                    <a:pt x="52" y="181"/>
                  </a:lnTo>
                  <a:lnTo>
                    <a:pt x="52" y="176"/>
                  </a:lnTo>
                  <a:lnTo>
                    <a:pt x="54" y="175"/>
                  </a:lnTo>
                  <a:lnTo>
                    <a:pt x="54" y="172"/>
                  </a:lnTo>
                  <a:lnTo>
                    <a:pt x="55" y="172"/>
                  </a:lnTo>
                  <a:lnTo>
                    <a:pt x="57" y="169"/>
                  </a:lnTo>
                  <a:lnTo>
                    <a:pt x="57" y="167"/>
                  </a:lnTo>
                  <a:lnTo>
                    <a:pt x="55" y="167"/>
                  </a:lnTo>
                  <a:lnTo>
                    <a:pt x="54" y="164"/>
                  </a:lnTo>
                  <a:lnTo>
                    <a:pt x="52" y="164"/>
                  </a:lnTo>
                  <a:lnTo>
                    <a:pt x="52" y="160"/>
                  </a:lnTo>
                  <a:lnTo>
                    <a:pt x="51" y="155"/>
                  </a:lnTo>
                  <a:lnTo>
                    <a:pt x="51" y="154"/>
                  </a:lnTo>
                  <a:lnTo>
                    <a:pt x="49" y="154"/>
                  </a:lnTo>
                  <a:lnTo>
                    <a:pt x="49" y="151"/>
                  </a:lnTo>
                  <a:lnTo>
                    <a:pt x="51" y="148"/>
                  </a:lnTo>
                  <a:lnTo>
                    <a:pt x="52" y="148"/>
                  </a:lnTo>
                  <a:lnTo>
                    <a:pt x="54" y="146"/>
                  </a:lnTo>
                  <a:lnTo>
                    <a:pt x="54" y="143"/>
                  </a:lnTo>
                  <a:lnTo>
                    <a:pt x="52" y="142"/>
                  </a:lnTo>
                  <a:lnTo>
                    <a:pt x="51" y="142"/>
                  </a:lnTo>
                  <a:lnTo>
                    <a:pt x="49" y="143"/>
                  </a:lnTo>
                  <a:lnTo>
                    <a:pt x="46" y="143"/>
                  </a:lnTo>
                  <a:lnTo>
                    <a:pt x="45" y="142"/>
                  </a:lnTo>
                  <a:lnTo>
                    <a:pt x="43" y="142"/>
                  </a:lnTo>
                  <a:lnTo>
                    <a:pt x="42" y="140"/>
                  </a:lnTo>
                  <a:lnTo>
                    <a:pt x="36" y="140"/>
                  </a:lnTo>
                  <a:lnTo>
                    <a:pt x="36" y="142"/>
                  </a:lnTo>
                  <a:lnTo>
                    <a:pt x="34" y="142"/>
                  </a:lnTo>
                  <a:lnTo>
                    <a:pt x="33" y="145"/>
                  </a:lnTo>
                  <a:lnTo>
                    <a:pt x="31" y="146"/>
                  </a:lnTo>
                  <a:lnTo>
                    <a:pt x="28" y="146"/>
                  </a:lnTo>
                  <a:lnTo>
                    <a:pt x="25" y="145"/>
                  </a:lnTo>
                  <a:lnTo>
                    <a:pt x="22" y="145"/>
                  </a:lnTo>
                  <a:lnTo>
                    <a:pt x="22" y="146"/>
                  </a:lnTo>
                  <a:lnTo>
                    <a:pt x="19" y="146"/>
                  </a:lnTo>
                  <a:lnTo>
                    <a:pt x="18" y="145"/>
                  </a:lnTo>
                  <a:lnTo>
                    <a:pt x="16" y="145"/>
                  </a:lnTo>
                  <a:lnTo>
                    <a:pt x="16" y="142"/>
                  </a:lnTo>
                  <a:lnTo>
                    <a:pt x="15" y="140"/>
                  </a:lnTo>
                  <a:lnTo>
                    <a:pt x="15" y="136"/>
                  </a:lnTo>
                  <a:lnTo>
                    <a:pt x="13" y="136"/>
                  </a:lnTo>
                  <a:lnTo>
                    <a:pt x="13" y="133"/>
                  </a:lnTo>
                  <a:lnTo>
                    <a:pt x="18" y="128"/>
                  </a:lnTo>
                  <a:lnTo>
                    <a:pt x="18" y="125"/>
                  </a:lnTo>
                  <a:lnTo>
                    <a:pt x="21" y="119"/>
                  </a:lnTo>
                  <a:lnTo>
                    <a:pt x="21" y="115"/>
                  </a:lnTo>
                  <a:lnTo>
                    <a:pt x="19" y="115"/>
                  </a:lnTo>
                  <a:lnTo>
                    <a:pt x="19" y="113"/>
                  </a:lnTo>
                  <a:lnTo>
                    <a:pt x="16" y="113"/>
                  </a:lnTo>
                  <a:lnTo>
                    <a:pt x="16" y="112"/>
                  </a:lnTo>
                  <a:lnTo>
                    <a:pt x="15" y="110"/>
                  </a:lnTo>
                  <a:lnTo>
                    <a:pt x="12" y="104"/>
                  </a:lnTo>
                  <a:lnTo>
                    <a:pt x="12" y="103"/>
                  </a:lnTo>
                  <a:lnTo>
                    <a:pt x="9" y="103"/>
                  </a:lnTo>
                  <a:lnTo>
                    <a:pt x="6" y="104"/>
                  </a:lnTo>
                  <a:lnTo>
                    <a:pt x="6" y="107"/>
                  </a:lnTo>
                  <a:lnTo>
                    <a:pt x="3" y="107"/>
                  </a:lnTo>
                  <a:lnTo>
                    <a:pt x="3" y="110"/>
                  </a:lnTo>
                  <a:lnTo>
                    <a:pt x="1" y="110"/>
                  </a:lnTo>
                  <a:lnTo>
                    <a:pt x="0" y="109"/>
                  </a:lnTo>
                  <a:lnTo>
                    <a:pt x="0" y="104"/>
                  </a:lnTo>
                  <a:lnTo>
                    <a:pt x="1" y="104"/>
                  </a:lnTo>
                  <a:lnTo>
                    <a:pt x="1" y="101"/>
                  </a:lnTo>
                  <a:lnTo>
                    <a:pt x="3" y="100"/>
                  </a:lnTo>
                  <a:lnTo>
                    <a:pt x="3" y="94"/>
                  </a:lnTo>
                  <a:lnTo>
                    <a:pt x="4" y="92"/>
                  </a:lnTo>
                  <a:lnTo>
                    <a:pt x="4" y="91"/>
                  </a:lnTo>
                  <a:lnTo>
                    <a:pt x="6" y="89"/>
                  </a:lnTo>
                  <a:lnTo>
                    <a:pt x="6" y="86"/>
                  </a:lnTo>
                  <a:lnTo>
                    <a:pt x="9" y="85"/>
                  </a:lnTo>
                  <a:lnTo>
                    <a:pt x="9" y="83"/>
                  </a:lnTo>
                  <a:lnTo>
                    <a:pt x="12" y="83"/>
                  </a:lnTo>
                  <a:lnTo>
                    <a:pt x="12" y="82"/>
                  </a:lnTo>
                  <a:lnTo>
                    <a:pt x="24" y="82"/>
                  </a:lnTo>
                  <a:lnTo>
                    <a:pt x="24" y="80"/>
                  </a:lnTo>
                  <a:lnTo>
                    <a:pt x="25" y="80"/>
                  </a:lnTo>
                  <a:lnTo>
                    <a:pt x="25" y="79"/>
                  </a:lnTo>
                  <a:lnTo>
                    <a:pt x="19" y="79"/>
                  </a:lnTo>
                  <a:lnTo>
                    <a:pt x="19" y="76"/>
                  </a:lnTo>
                  <a:lnTo>
                    <a:pt x="21" y="74"/>
                  </a:lnTo>
                  <a:lnTo>
                    <a:pt x="21" y="71"/>
                  </a:lnTo>
                  <a:lnTo>
                    <a:pt x="24" y="71"/>
                  </a:lnTo>
                  <a:lnTo>
                    <a:pt x="25" y="70"/>
                  </a:lnTo>
                  <a:lnTo>
                    <a:pt x="27" y="66"/>
                  </a:lnTo>
                  <a:lnTo>
                    <a:pt x="28" y="60"/>
                  </a:lnTo>
                  <a:lnTo>
                    <a:pt x="28" y="58"/>
                  </a:lnTo>
                  <a:lnTo>
                    <a:pt x="36" y="58"/>
                  </a:lnTo>
                  <a:lnTo>
                    <a:pt x="37" y="57"/>
                  </a:lnTo>
                  <a:lnTo>
                    <a:pt x="37" y="55"/>
                  </a:lnTo>
                  <a:lnTo>
                    <a:pt x="42" y="54"/>
                  </a:lnTo>
                  <a:lnTo>
                    <a:pt x="48" y="48"/>
                  </a:lnTo>
                  <a:lnTo>
                    <a:pt x="49" y="48"/>
                  </a:lnTo>
                  <a:lnTo>
                    <a:pt x="49" y="46"/>
                  </a:lnTo>
                  <a:lnTo>
                    <a:pt x="51" y="48"/>
                  </a:lnTo>
                  <a:lnTo>
                    <a:pt x="51" y="49"/>
                  </a:lnTo>
                  <a:lnTo>
                    <a:pt x="49" y="52"/>
                  </a:lnTo>
                  <a:lnTo>
                    <a:pt x="49" y="54"/>
                  </a:lnTo>
                  <a:lnTo>
                    <a:pt x="51" y="55"/>
                  </a:lnTo>
                  <a:lnTo>
                    <a:pt x="52" y="55"/>
                  </a:lnTo>
                  <a:lnTo>
                    <a:pt x="52" y="57"/>
                  </a:lnTo>
                  <a:lnTo>
                    <a:pt x="51" y="58"/>
                  </a:lnTo>
                  <a:lnTo>
                    <a:pt x="52" y="58"/>
                  </a:lnTo>
                  <a:lnTo>
                    <a:pt x="52" y="60"/>
                  </a:lnTo>
                  <a:lnTo>
                    <a:pt x="51" y="61"/>
                  </a:lnTo>
                  <a:lnTo>
                    <a:pt x="52" y="63"/>
                  </a:lnTo>
                  <a:lnTo>
                    <a:pt x="52" y="64"/>
                  </a:lnTo>
                  <a:lnTo>
                    <a:pt x="57" y="64"/>
                  </a:lnTo>
                  <a:lnTo>
                    <a:pt x="58" y="63"/>
                  </a:lnTo>
                  <a:lnTo>
                    <a:pt x="60" y="63"/>
                  </a:lnTo>
                  <a:lnTo>
                    <a:pt x="64" y="61"/>
                  </a:lnTo>
                  <a:lnTo>
                    <a:pt x="67" y="61"/>
                  </a:lnTo>
                  <a:lnTo>
                    <a:pt x="69" y="63"/>
                  </a:lnTo>
                  <a:lnTo>
                    <a:pt x="69" y="64"/>
                  </a:lnTo>
                  <a:lnTo>
                    <a:pt x="73" y="64"/>
                  </a:lnTo>
                  <a:lnTo>
                    <a:pt x="73" y="66"/>
                  </a:lnTo>
                  <a:lnTo>
                    <a:pt x="75" y="67"/>
                  </a:lnTo>
                  <a:lnTo>
                    <a:pt x="76" y="67"/>
                  </a:lnTo>
                  <a:lnTo>
                    <a:pt x="76" y="66"/>
                  </a:lnTo>
                  <a:lnTo>
                    <a:pt x="78" y="66"/>
                  </a:lnTo>
                  <a:lnTo>
                    <a:pt x="76" y="64"/>
                  </a:lnTo>
                  <a:lnTo>
                    <a:pt x="78" y="63"/>
                  </a:lnTo>
                  <a:lnTo>
                    <a:pt x="78" y="64"/>
                  </a:lnTo>
                  <a:lnTo>
                    <a:pt x="79" y="63"/>
                  </a:lnTo>
                  <a:lnTo>
                    <a:pt x="79" y="60"/>
                  </a:lnTo>
                  <a:lnTo>
                    <a:pt x="76" y="60"/>
                  </a:lnTo>
                  <a:lnTo>
                    <a:pt x="75" y="58"/>
                  </a:lnTo>
                  <a:lnTo>
                    <a:pt x="75" y="51"/>
                  </a:lnTo>
                  <a:lnTo>
                    <a:pt x="76" y="49"/>
                  </a:lnTo>
                  <a:lnTo>
                    <a:pt x="76" y="45"/>
                  </a:lnTo>
                  <a:lnTo>
                    <a:pt x="78" y="45"/>
                  </a:lnTo>
                  <a:lnTo>
                    <a:pt x="79" y="43"/>
                  </a:lnTo>
                  <a:lnTo>
                    <a:pt x="78" y="42"/>
                  </a:lnTo>
                  <a:lnTo>
                    <a:pt x="76" y="42"/>
                  </a:lnTo>
                  <a:lnTo>
                    <a:pt x="76" y="39"/>
                  </a:lnTo>
                  <a:lnTo>
                    <a:pt x="75" y="39"/>
                  </a:lnTo>
                  <a:lnTo>
                    <a:pt x="75" y="37"/>
                  </a:lnTo>
                  <a:lnTo>
                    <a:pt x="76" y="34"/>
                  </a:lnTo>
                  <a:lnTo>
                    <a:pt x="76" y="33"/>
                  </a:lnTo>
                  <a:lnTo>
                    <a:pt x="75" y="33"/>
                  </a:lnTo>
                  <a:lnTo>
                    <a:pt x="75" y="31"/>
                  </a:lnTo>
                  <a:lnTo>
                    <a:pt x="73" y="30"/>
                  </a:lnTo>
                  <a:lnTo>
                    <a:pt x="73" y="28"/>
                  </a:lnTo>
                  <a:lnTo>
                    <a:pt x="72" y="27"/>
                  </a:lnTo>
                  <a:lnTo>
                    <a:pt x="70" y="27"/>
                  </a:lnTo>
                  <a:lnTo>
                    <a:pt x="70" y="25"/>
                  </a:lnTo>
                  <a:lnTo>
                    <a:pt x="69" y="24"/>
                  </a:lnTo>
                  <a:lnTo>
                    <a:pt x="69" y="22"/>
                  </a:lnTo>
                  <a:lnTo>
                    <a:pt x="67" y="21"/>
                  </a:lnTo>
                  <a:lnTo>
                    <a:pt x="67" y="15"/>
                  </a:lnTo>
                  <a:lnTo>
                    <a:pt x="66" y="13"/>
                  </a:lnTo>
                  <a:lnTo>
                    <a:pt x="66" y="12"/>
                  </a:lnTo>
                  <a:lnTo>
                    <a:pt x="67" y="10"/>
                  </a:lnTo>
                  <a:lnTo>
                    <a:pt x="70" y="10"/>
                  </a:lnTo>
                  <a:lnTo>
                    <a:pt x="70" y="7"/>
                  </a:lnTo>
                  <a:lnTo>
                    <a:pt x="72" y="6"/>
                  </a:lnTo>
                  <a:lnTo>
                    <a:pt x="72" y="3"/>
                  </a:lnTo>
                  <a:lnTo>
                    <a:pt x="75"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7">
              <a:extLst>
                <a:ext uri="{FF2B5EF4-FFF2-40B4-BE49-F238E27FC236}">
                  <a16:creationId xmlns:a16="http://schemas.microsoft.com/office/drawing/2014/main" id="{4248A581-775B-1541-4F8A-C3BB8675097A}"/>
                </a:ext>
              </a:extLst>
            </p:cNvPr>
            <p:cNvSpPr>
              <a:spLocks noEditPoints="1"/>
            </p:cNvSpPr>
            <p:nvPr/>
          </p:nvSpPr>
          <p:spPr bwMode="auto">
            <a:xfrm>
              <a:off x="3850895" y="3047189"/>
              <a:ext cx="1495545" cy="995979"/>
            </a:xfrm>
            <a:custGeom>
              <a:avLst/>
              <a:gdLst/>
              <a:ahLst/>
              <a:cxnLst>
                <a:cxn ang="0">
                  <a:pos x="60" y="936"/>
                </a:cxn>
                <a:cxn ang="0">
                  <a:pos x="27" y="870"/>
                </a:cxn>
                <a:cxn ang="0">
                  <a:pos x="224" y="824"/>
                </a:cxn>
                <a:cxn ang="0">
                  <a:pos x="223" y="837"/>
                </a:cxn>
                <a:cxn ang="0">
                  <a:pos x="265" y="785"/>
                </a:cxn>
                <a:cxn ang="0">
                  <a:pos x="325" y="741"/>
                </a:cxn>
                <a:cxn ang="0">
                  <a:pos x="299" y="735"/>
                </a:cxn>
                <a:cxn ang="0">
                  <a:pos x="344" y="630"/>
                </a:cxn>
                <a:cxn ang="0">
                  <a:pos x="322" y="606"/>
                </a:cxn>
                <a:cxn ang="0">
                  <a:pos x="335" y="529"/>
                </a:cxn>
                <a:cxn ang="0">
                  <a:pos x="325" y="529"/>
                </a:cxn>
                <a:cxn ang="0">
                  <a:pos x="262" y="509"/>
                </a:cxn>
                <a:cxn ang="0">
                  <a:pos x="278" y="494"/>
                </a:cxn>
                <a:cxn ang="0">
                  <a:pos x="299" y="481"/>
                </a:cxn>
                <a:cxn ang="0">
                  <a:pos x="540" y="446"/>
                </a:cxn>
                <a:cxn ang="0">
                  <a:pos x="360" y="439"/>
                </a:cxn>
                <a:cxn ang="0">
                  <a:pos x="395" y="478"/>
                </a:cxn>
                <a:cxn ang="0">
                  <a:pos x="402" y="518"/>
                </a:cxn>
                <a:cxn ang="0">
                  <a:pos x="372" y="575"/>
                </a:cxn>
                <a:cxn ang="0">
                  <a:pos x="360" y="566"/>
                </a:cxn>
                <a:cxn ang="0">
                  <a:pos x="334" y="551"/>
                </a:cxn>
                <a:cxn ang="0">
                  <a:pos x="341" y="484"/>
                </a:cxn>
                <a:cxn ang="0">
                  <a:pos x="322" y="505"/>
                </a:cxn>
                <a:cxn ang="0">
                  <a:pos x="316" y="487"/>
                </a:cxn>
                <a:cxn ang="0">
                  <a:pos x="323" y="464"/>
                </a:cxn>
                <a:cxn ang="0">
                  <a:pos x="761" y="434"/>
                </a:cxn>
                <a:cxn ang="0">
                  <a:pos x="458" y="422"/>
                </a:cxn>
                <a:cxn ang="0">
                  <a:pos x="505" y="415"/>
                </a:cxn>
                <a:cxn ang="0">
                  <a:pos x="517" y="470"/>
                </a:cxn>
                <a:cxn ang="0">
                  <a:pos x="461" y="506"/>
                </a:cxn>
                <a:cxn ang="0">
                  <a:pos x="434" y="470"/>
                </a:cxn>
                <a:cxn ang="0">
                  <a:pos x="474" y="437"/>
                </a:cxn>
                <a:cxn ang="0">
                  <a:pos x="510" y="409"/>
                </a:cxn>
                <a:cxn ang="0">
                  <a:pos x="538" y="419"/>
                </a:cxn>
                <a:cxn ang="0">
                  <a:pos x="293" y="416"/>
                </a:cxn>
                <a:cxn ang="0">
                  <a:pos x="465" y="325"/>
                </a:cxn>
                <a:cxn ang="0">
                  <a:pos x="712" y="204"/>
                </a:cxn>
                <a:cxn ang="0">
                  <a:pos x="828" y="2"/>
                </a:cxn>
                <a:cxn ang="0">
                  <a:pos x="867" y="85"/>
                </a:cxn>
                <a:cxn ang="0">
                  <a:pos x="867" y="145"/>
                </a:cxn>
                <a:cxn ang="0">
                  <a:pos x="848" y="187"/>
                </a:cxn>
                <a:cxn ang="0">
                  <a:pos x="812" y="303"/>
                </a:cxn>
                <a:cxn ang="0">
                  <a:pos x="778" y="368"/>
                </a:cxn>
                <a:cxn ang="0">
                  <a:pos x="769" y="365"/>
                </a:cxn>
                <a:cxn ang="0">
                  <a:pos x="725" y="398"/>
                </a:cxn>
                <a:cxn ang="0">
                  <a:pos x="686" y="400"/>
                </a:cxn>
                <a:cxn ang="0">
                  <a:pos x="643" y="389"/>
                </a:cxn>
                <a:cxn ang="0">
                  <a:pos x="640" y="416"/>
                </a:cxn>
                <a:cxn ang="0">
                  <a:pos x="613" y="436"/>
                </a:cxn>
                <a:cxn ang="0">
                  <a:pos x="561" y="434"/>
                </a:cxn>
                <a:cxn ang="0">
                  <a:pos x="519" y="398"/>
                </a:cxn>
                <a:cxn ang="0">
                  <a:pos x="471" y="421"/>
                </a:cxn>
                <a:cxn ang="0">
                  <a:pos x="422" y="442"/>
                </a:cxn>
                <a:cxn ang="0">
                  <a:pos x="375" y="434"/>
                </a:cxn>
                <a:cxn ang="0">
                  <a:pos x="396" y="401"/>
                </a:cxn>
                <a:cxn ang="0">
                  <a:pos x="471" y="349"/>
                </a:cxn>
                <a:cxn ang="0">
                  <a:pos x="567" y="344"/>
                </a:cxn>
                <a:cxn ang="0">
                  <a:pos x="601" y="344"/>
                </a:cxn>
                <a:cxn ang="0">
                  <a:pos x="661" y="243"/>
                </a:cxn>
                <a:cxn ang="0">
                  <a:pos x="695" y="259"/>
                </a:cxn>
                <a:cxn ang="0">
                  <a:pos x="778" y="99"/>
                </a:cxn>
                <a:cxn ang="0">
                  <a:pos x="797" y="24"/>
                </a:cxn>
                <a:cxn ang="0">
                  <a:pos x="828" y="20"/>
                </a:cxn>
              </a:cxnLst>
              <a:rect l="0" t="0" r="r" b="b"/>
              <a:pathLst>
                <a:path w="1425" h="949">
                  <a:moveTo>
                    <a:pt x="851" y="948"/>
                  </a:moveTo>
                  <a:lnTo>
                    <a:pt x="851" y="949"/>
                  </a:lnTo>
                  <a:lnTo>
                    <a:pt x="849" y="949"/>
                  </a:lnTo>
                  <a:lnTo>
                    <a:pt x="851" y="948"/>
                  </a:lnTo>
                  <a:close/>
                  <a:moveTo>
                    <a:pt x="1424" y="945"/>
                  </a:moveTo>
                  <a:lnTo>
                    <a:pt x="1425" y="945"/>
                  </a:lnTo>
                  <a:lnTo>
                    <a:pt x="1425" y="946"/>
                  </a:lnTo>
                  <a:lnTo>
                    <a:pt x="1424" y="946"/>
                  </a:lnTo>
                  <a:lnTo>
                    <a:pt x="1424" y="945"/>
                  </a:lnTo>
                  <a:close/>
                  <a:moveTo>
                    <a:pt x="39" y="939"/>
                  </a:moveTo>
                  <a:lnTo>
                    <a:pt x="40" y="940"/>
                  </a:lnTo>
                  <a:lnTo>
                    <a:pt x="45" y="940"/>
                  </a:lnTo>
                  <a:lnTo>
                    <a:pt x="46" y="942"/>
                  </a:lnTo>
                  <a:lnTo>
                    <a:pt x="46" y="943"/>
                  </a:lnTo>
                  <a:lnTo>
                    <a:pt x="43" y="946"/>
                  </a:lnTo>
                  <a:lnTo>
                    <a:pt x="34" y="946"/>
                  </a:lnTo>
                  <a:lnTo>
                    <a:pt x="34" y="945"/>
                  </a:lnTo>
                  <a:lnTo>
                    <a:pt x="36" y="943"/>
                  </a:lnTo>
                  <a:lnTo>
                    <a:pt x="36" y="945"/>
                  </a:lnTo>
                  <a:lnTo>
                    <a:pt x="37" y="943"/>
                  </a:lnTo>
                  <a:lnTo>
                    <a:pt x="37" y="942"/>
                  </a:lnTo>
                  <a:lnTo>
                    <a:pt x="39" y="940"/>
                  </a:lnTo>
                  <a:lnTo>
                    <a:pt x="39" y="939"/>
                  </a:lnTo>
                  <a:close/>
                  <a:moveTo>
                    <a:pt x="0" y="936"/>
                  </a:moveTo>
                  <a:lnTo>
                    <a:pt x="5" y="936"/>
                  </a:lnTo>
                  <a:lnTo>
                    <a:pt x="5" y="937"/>
                  </a:lnTo>
                  <a:lnTo>
                    <a:pt x="0" y="937"/>
                  </a:lnTo>
                  <a:lnTo>
                    <a:pt x="0" y="936"/>
                  </a:lnTo>
                  <a:close/>
                  <a:moveTo>
                    <a:pt x="63" y="930"/>
                  </a:moveTo>
                  <a:lnTo>
                    <a:pt x="64" y="930"/>
                  </a:lnTo>
                  <a:lnTo>
                    <a:pt x="64" y="933"/>
                  </a:lnTo>
                  <a:lnTo>
                    <a:pt x="63" y="933"/>
                  </a:lnTo>
                  <a:lnTo>
                    <a:pt x="61" y="936"/>
                  </a:lnTo>
                  <a:lnTo>
                    <a:pt x="61" y="940"/>
                  </a:lnTo>
                  <a:lnTo>
                    <a:pt x="58" y="943"/>
                  </a:lnTo>
                  <a:lnTo>
                    <a:pt x="55" y="943"/>
                  </a:lnTo>
                  <a:lnTo>
                    <a:pt x="55" y="939"/>
                  </a:lnTo>
                  <a:lnTo>
                    <a:pt x="52" y="939"/>
                  </a:lnTo>
                  <a:lnTo>
                    <a:pt x="52" y="937"/>
                  </a:lnTo>
                  <a:lnTo>
                    <a:pt x="54" y="937"/>
                  </a:lnTo>
                  <a:lnTo>
                    <a:pt x="54" y="936"/>
                  </a:lnTo>
                  <a:lnTo>
                    <a:pt x="55" y="936"/>
                  </a:lnTo>
                  <a:lnTo>
                    <a:pt x="55" y="937"/>
                  </a:lnTo>
                  <a:lnTo>
                    <a:pt x="60" y="937"/>
                  </a:lnTo>
                  <a:lnTo>
                    <a:pt x="60" y="936"/>
                  </a:lnTo>
                  <a:lnTo>
                    <a:pt x="61" y="934"/>
                  </a:lnTo>
                  <a:lnTo>
                    <a:pt x="63" y="931"/>
                  </a:lnTo>
                  <a:lnTo>
                    <a:pt x="63" y="930"/>
                  </a:lnTo>
                  <a:close/>
                  <a:moveTo>
                    <a:pt x="845" y="919"/>
                  </a:moveTo>
                  <a:lnTo>
                    <a:pt x="845" y="921"/>
                  </a:lnTo>
                  <a:lnTo>
                    <a:pt x="842" y="924"/>
                  </a:lnTo>
                  <a:lnTo>
                    <a:pt x="842" y="921"/>
                  </a:lnTo>
                  <a:lnTo>
                    <a:pt x="843" y="921"/>
                  </a:lnTo>
                  <a:lnTo>
                    <a:pt x="845" y="919"/>
                  </a:lnTo>
                  <a:close/>
                  <a:moveTo>
                    <a:pt x="108" y="916"/>
                  </a:moveTo>
                  <a:lnTo>
                    <a:pt x="109" y="916"/>
                  </a:lnTo>
                  <a:lnTo>
                    <a:pt x="109" y="919"/>
                  </a:lnTo>
                  <a:lnTo>
                    <a:pt x="111" y="921"/>
                  </a:lnTo>
                  <a:lnTo>
                    <a:pt x="115" y="921"/>
                  </a:lnTo>
                  <a:lnTo>
                    <a:pt x="115" y="922"/>
                  </a:lnTo>
                  <a:lnTo>
                    <a:pt x="114" y="924"/>
                  </a:lnTo>
                  <a:lnTo>
                    <a:pt x="109" y="924"/>
                  </a:lnTo>
                  <a:lnTo>
                    <a:pt x="106" y="922"/>
                  </a:lnTo>
                  <a:lnTo>
                    <a:pt x="106" y="921"/>
                  </a:lnTo>
                  <a:lnTo>
                    <a:pt x="108" y="919"/>
                  </a:lnTo>
                  <a:lnTo>
                    <a:pt x="108" y="916"/>
                  </a:lnTo>
                  <a:close/>
                  <a:moveTo>
                    <a:pt x="102" y="916"/>
                  </a:moveTo>
                  <a:lnTo>
                    <a:pt x="103" y="916"/>
                  </a:lnTo>
                  <a:lnTo>
                    <a:pt x="103" y="918"/>
                  </a:lnTo>
                  <a:lnTo>
                    <a:pt x="105" y="918"/>
                  </a:lnTo>
                  <a:lnTo>
                    <a:pt x="105" y="919"/>
                  </a:lnTo>
                  <a:lnTo>
                    <a:pt x="102" y="919"/>
                  </a:lnTo>
                  <a:lnTo>
                    <a:pt x="102" y="916"/>
                  </a:lnTo>
                  <a:close/>
                  <a:moveTo>
                    <a:pt x="106" y="915"/>
                  </a:moveTo>
                  <a:lnTo>
                    <a:pt x="108" y="915"/>
                  </a:lnTo>
                  <a:lnTo>
                    <a:pt x="108" y="916"/>
                  </a:lnTo>
                  <a:lnTo>
                    <a:pt x="106" y="915"/>
                  </a:lnTo>
                  <a:close/>
                  <a:moveTo>
                    <a:pt x="842" y="886"/>
                  </a:moveTo>
                  <a:lnTo>
                    <a:pt x="843" y="888"/>
                  </a:lnTo>
                  <a:lnTo>
                    <a:pt x="842" y="888"/>
                  </a:lnTo>
                  <a:lnTo>
                    <a:pt x="842" y="886"/>
                  </a:lnTo>
                  <a:close/>
                  <a:moveTo>
                    <a:pt x="31" y="871"/>
                  </a:moveTo>
                  <a:lnTo>
                    <a:pt x="31" y="873"/>
                  </a:lnTo>
                  <a:lnTo>
                    <a:pt x="30" y="873"/>
                  </a:lnTo>
                  <a:lnTo>
                    <a:pt x="31" y="871"/>
                  </a:lnTo>
                  <a:close/>
                  <a:moveTo>
                    <a:pt x="27" y="870"/>
                  </a:moveTo>
                  <a:lnTo>
                    <a:pt x="28" y="870"/>
                  </a:lnTo>
                  <a:lnTo>
                    <a:pt x="28" y="871"/>
                  </a:lnTo>
                  <a:lnTo>
                    <a:pt x="27" y="871"/>
                  </a:lnTo>
                  <a:lnTo>
                    <a:pt x="27" y="870"/>
                  </a:lnTo>
                  <a:close/>
                  <a:moveTo>
                    <a:pt x="381" y="865"/>
                  </a:moveTo>
                  <a:lnTo>
                    <a:pt x="383" y="867"/>
                  </a:lnTo>
                  <a:lnTo>
                    <a:pt x="381" y="868"/>
                  </a:lnTo>
                  <a:lnTo>
                    <a:pt x="380" y="868"/>
                  </a:lnTo>
                  <a:lnTo>
                    <a:pt x="380" y="867"/>
                  </a:lnTo>
                  <a:lnTo>
                    <a:pt x="381" y="865"/>
                  </a:lnTo>
                  <a:close/>
                  <a:moveTo>
                    <a:pt x="383" y="861"/>
                  </a:moveTo>
                  <a:lnTo>
                    <a:pt x="384" y="861"/>
                  </a:lnTo>
                  <a:lnTo>
                    <a:pt x="386" y="862"/>
                  </a:lnTo>
                  <a:lnTo>
                    <a:pt x="383" y="862"/>
                  </a:lnTo>
                  <a:lnTo>
                    <a:pt x="383" y="861"/>
                  </a:lnTo>
                  <a:close/>
                  <a:moveTo>
                    <a:pt x="203" y="847"/>
                  </a:moveTo>
                  <a:lnTo>
                    <a:pt x="203" y="850"/>
                  </a:lnTo>
                  <a:lnTo>
                    <a:pt x="202" y="850"/>
                  </a:lnTo>
                  <a:lnTo>
                    <a:pt x="202" y="849"/>
                  </a:lnTo>
                  <a:lnTo>
                    <a:pt x="203" y="847"/>
                  </a:lnTo>
                  <a:close/>
                  <a:moveTo>
                    <a:pt x="175" y="839"/>
                  </a:moveTo>
                  <a:lnTo>
                    <a:pt x="177" y="840"/>
                  </a:lnTo>
                  <a:lnTo>
                    <a:pt x="178" y="840"/>
                  </a:lnTo>
                  <a:lnTo>
                    <a:pt x="178" y="843"/>
                  </a:lnTo>
                  <a:lnTo>
                    <a:pt x="177" y="843"/>
                  </a:lnTo>
                  <a:lnTo>
                    <a:pt x="175" y="842"/>
                  </a:lnTo>
                  <a:lnTo>
                    <a:pt x="174" y="842"/>
                  </a:lnTo>
                  <a:lnTo>
                    <a:pt x="174" y="840"/>
                  </a:lnTo>
                  <a:lnTo>
                    <a:pt x="175" y="839"/>
                  </a:lnTo>
                  <a:close/>
                  <a:moveTo>
                    <a:pt x="197" y="828"/>
                  </a:moveTo>
                  <a:lnTo>
                    <a:pt x="197" y="830"/>
                  </a:lnTo>
                  <a:lnTo>
                    <a:pt x="196" y="830"/>
                  </a:lnTo>
                  <a:lnTo>
                    <a:pt x="197" y="828"/>
                  </a:lnTo>
                  <a:close/>
                  <a:moveTo>
                    <a:pt x="882" y="827"/>
                  </a:moveTo>
                  <a:lnTo>
                    <a:pt x="884" y="828"/>
                  </a:lnTo>
                  <a:lnTo>
                    <a:pt x="882" y="827"/>
                  </a:lnTo>
                  <a:close/>
                  <a:moveTo>
                    <a:pt x="879" y="822"/>
                  </a:moveTo>
                  <a:lnTo>
                    <a:pt x="881" y="822"/>
                  </a:lnTo>
                  <a:lnTo>
                    <a:pt x="881" y="824"/>
                  </a:lnTo>
                  <a:lnTo>
                    <a:pt x="882" y="824"/>
                  </a:lnTo>
                  <a:lnTo>
                    <a:pt x="882" y="825"/>
                  </a:lnTo>
                  <a:lnTo>
                    <a:pt x="884" y="825"/>
                  </a:lnTo>
                  <a:lnTo>
                    <a:pt x="884" y="827"/>
                  </a:lnTo>
                  <a:lnTo>
                    <a:pt x="882" y="827"/>
                  </a:lnTo>
                  <a:lnTo>
                    <a:pt x="881" y="825"/>
                  </a:lnTo>
                  <a:lnTo>
                    <a:pt x="879" y="822"/>
                  </a:lnTo>
                  <a:close/>
                  <a:moveTo>
                    <a:pt x="221" y="822"/>
                  </a:moveTo>
                  <a:lnTo>
                    <a:pt x="224" y="822"/>
                  </a:lnTo>
                  <a:lnTo>
                    <a:pt x="224" y="824"/>
                  </a:lnTo>
                  <a:lnTo>
                    <a:pt x="223" y="824"/>
                  </a:lnTo>
                  <a:lnTo>
                    <a:pt x="221" y="822"/>
                  </a:lnTo>
                  <a:close/>
                  <a:moveTo>
                    <a:pt x="244" y="815"/>
                  </a:moveTo>
                  <a:lnTo>
                    <a:pt x="248" y="818"/>
                  </a:lnTo>
                  <a:lnTo>
                    <a:pt x="248" y="821"/>
                  </a:lnTo>
                  <a:lnTo>
                    <a:pt x="247" y="821"/>
                  </a:lnTo>
                  <a:lnTo>
                    <a:pt x="247" y="824"/>
                  </a:lnTo>
                  <a:lnTo>
                    <a:pt x="245" y="827"/>
                  </a:lnTo>
                  <a:lnTo>
                    <a:pt x="241" y="827"/>
                  </a:lnTo>
                  <a:lnTo>
                    <a:pt x="239" y="828"/>
                  </a:lnTo>
                  <a:lnTo>
                    <a:pt x="239" y="831"/>
                  </a:lnTo>
                  <a:lnTo>
                    <a:pt x="235" y="831"/>
                  </a:lnTo>
                  <a:lnTo>
                    <a:pt x="235" y="833"/>
                  </a:lnTo>
                  <a:lnTo>
                    <a:pt x="232" y="834"/>
                  </a:lnTo>
                  <a:lnTo>
                    <a:pt x="232" y="836"/>
                  </a:lnTo>
                  <a:lnTo>
                    <a:pt x="227" y="836"/>
                  </a:lnTo>
                  <a:lnTo>
                    <a:pt x="226" y="837"/>
                  </a:lnTo>
                  <a:lnTo>
                    <a:pt x="226" y="839"/>
                  </a:lnTo>
                  <a:lnTo>
                    <a:pt x="227" y="840"/>
                  </a:lnTo>
                  <a:lnTo>
                    <a:pt x="227" y="842"/>
                  </a:lnTo>
                  <a:lnTo>
                    <a:pt x="229" y="843"/>
                  </a:lnTo>
                  <a:lnTo>
                    <a:pt x="224" y="843"/>
                  </a:lnTo>
                  <a:lnTo>
                    <a:pt x="223" y="847"/>
                  </a:lnTo>
                  <a:lnTo>
                    <a:pt x="221" y="847"/>
                  </a:lnTo>
                  <a:lnTo>
                    <a:pt x="221" y="849"/>
                  </a:lnTo>
                  <a:lnTo>
                    <a:pt x="224" y="849"/>
                  </a:lnTo>
                  <a:lnTo>
                    <a:pt x="224" y="850"/>
                  </a:lnTo>
                  <a:lnTo>
                    <a:pt x="223" y="852"/>
                  </a:lnTo>
                  <a:lnTo>
                    <a:pt x="223" y="853"/>
                  </a:lnTo>
                  <a:lnTo>
                    <a:pt x="221" y="852"/>
                  </a:lnTo>
                  <a:lnTo>
                    <a:pt x="221" y="853"/>
                  </a:lnTo>
                  <a:lnTo>
                    <a:pt x="220" y="855"/>
                  </a:lnTo>
                  <a:lnTo>
                    <a:pt x="217" y="855"/>
                  </a:lnTo>
                  <a:lnTo>
                    <a:pt x="217" y="853"/>
                  </a:lnTo>
                  <a:lnTo>
                    <a:pt x="215" y="849"/>
                  </a:lnTo>
                  <a:lnTo>
                    <a:pt x="215" y="847"/>
                  </a:lnTo>
                  <a:lnTo>
                    <a:pt x="217" y="849"/>
                  </a:lnTo>
                  <a:lnTo>
                    <a:pt x="218" y="847"/>
                  </a:lnTo>
                  <a:lnTo>
                    <a:pt x="218" y="844"/>
                  </a:lnTo>
                  <a:lnTo>
                    <a:pt x="220" y="844"/>
                  </a:lnTo>
                  <a:lnTo>
                    <a:pt x="220" y="843"/>
                  </a:lnTo>
                  <a:lnTo>
                    <a:pt x="221" y="843"/>
                  </a:lnTo>
                  <a:lnTo>
                    <a:pt x="220" y="842"/>
                  </a:lnTo>
                  <a:lnTo>
                    <a:pt x="220" y="837"/>
                  </a:lnTo>
                  <a:lnTo>
                    <a:pt x="223" y="837"/>
                  </a:lnTo>
                  <a:lnTo>
                    <a:pt x="224" y="836"/>
                  </a:lnTo>
                  <a:lnTo>
                    <a:pt x="224" y="834"/>
                  </a:lnTo>
                  <a:lnTo>
                    <a:pt x="226" y="834"/>
                  </a:lnTo>
                  <a:lnTo>
                    <a:pt x="229" y="833"/>
                  </a:lnTo>
                  <a:lnTo>
                    <a:pt x="230" y="833"/>
                  </a:lnTo>
                  <a:lnTo>
                    <a:pt x="230" y="828"/>
                  </a:lnTo>
                  <a:lnTo>
                    <a:pt x="227" y="828"/>
                  </a:lnTo>
                  <a:lnTo>
                    <a:pt x="227" y="824"/>
                  </a:lnTo>
                  <a:lnTo>
                    <a:pt x="232" y="824"/>
                  </a:lnTo>
                  <a:lnTo>
                    <a:pt x="233" y="825"/>
                  </a:lnTo>
                  <a:lnTo>
                    <a:pt x="232" y="825"/>
                  </a:lnTo>
                  <a:lnTo>
                    <a:pt x="232" y="827"/>
                  </a:lnTo>
                  <a:lnTo>
                    <a:pt x="235" y="827"/>
                  </a:lnTo>
                  <a:lnTo>
                    <a:pt x="238" y="825"/>
                  </a:lnTo>
                  <a:lnTo>
                    <a:pt x="238" y="824"/>
                  </a:lnTo>
                  <a:lnTo>
                    <a:pt x="239" y="822"/>
                  </a:lnTo>
                  <a:lnTo>
                    <a:pt x="239" y="821"/>
                  </a:lnTo>
                  <a:lnTo>
                    <a:pt x="241" y="821"/>
                  </a:lnTo>
                  <a:lnTo>
                    <a:pt x="241" y="819"/>
                  </a:lnTo>
                  <a:lnTo>
                    <a:pt x="242" y="818"/>
                  </a:lnTo>
                  <a:lnTo>
                    <a:pt x="244" y="818"/>
                  </a:lnTo>
                  <a:lnTo>
                    <a:pt x="244" y="815"/>
                  </a:lnTo>
                  <a:close/>
                  <a:moveTo>
                    <a:pt x="253" y="804"/>
                  </a:moveTo>
                  <a:lnTo>
                    <a:pt x="253" y="807"/>
                  </a:lnTo>
                  <a:lnTo>
                    <a:pt x="251" y="807"/>
                  </a:lnTo>
                  <a:lnTo>
                    <a:pt x="251" y="806"/>
                  </a:lnTo>
                  <a:lnTo>
                    <a:pt x="253" y="804"/>
                  </a:lnTo>
                  <a:close/>
                  <a:moveTo>
                    <a:pt x="232" y="804"/>
                  </a:moveTo>
                  <a:lnTo>
                    <a:pt x="232" y="806"/>
                  </a:lnTo>
                  <a:lnTo>
                    <a:pt x="230" y="807"/>
                  </a:lnTo>
                  <a:lnTo>
                    <a:pt x="232" y="804"/>
                  </a:lnTo>
                  <a:close/>
                  <a:moveTo>
                    <a:pt x="884" y="803"/>
                  </a:moveTo>
                  <a:lnTo>
                    <a:pt x="885" y="803"/>
                  </a:lnTo>
                  <a:lnTo>
                    <a:pt x="885" y="806"/>
                  </a:lnTo>
                  <a:lnTo>
                    <a:pt x="884" y="806"/>
                  </a:lnTo>
                  <a:lnTo>
                    <a:pt x="884" y="803"/>
                  </a:lnTo>
                  <a:close/>
                  <a:moveTo>
                    <a:pt x="232" y="803"/>
                  </a:moveTo>
                  <a:lnTo>
                    <a:pt x="233" y="803"/>
                  </a:lnTo>
                  <a:lnTo>
                    <a:pt x="232" y="804"/>
                  </a:lnTo>
                  <a:lnTo>
                    <a:pt x="232" y="803"/>
                  </a:lnTo>
                  <a:close/>
                  <a:moveTo>
                    <a:pt x="824" y="795"/>
                  </a:moveTo>
                  <a:lnTo>
                    <a:pt x="824" y="797"/>
                  </a:lnTo>
                  <a:lnTo>
                    <a:pt x="822" y="797"/>
                  </a:lnTo>
                  <a:lnTo>
                    <a:pt x="824" y="795"/>
                  </a:lnTo>
                  <a:close/>
                  <a:moveTo>
                    <a:pt x="265" y="785"/>
                  </a:moveTo>
                  <a:lnTo>
                    <a:pt x="265" y="786"/>
                  </a:lnTo>
                  <a:lnTo>
                    <a:pt x="263" y="786"/>
                  </a:lnTo>
                  <a:lnTo>
                    <a:pt x="263" y="788"/>
                  </a:lnTo>
                  <a:lnTo>
                    <a:pt x="262" y="788"/>
                  </a:lnTo>
                  <a:lnTo>
                    <a:pt x="262" y="789"/>
                  </a:lnTo>
                  <a:lnTo>
                    <a:pt x="259" y="789"/>
                  </a:lnTo>
                  <a:lnTo>
                    <a:pt x="259" y="791"/>
                  </a:lnTo>
                  <a:lnTo>
                    <a:pt x="257" y="789"/>
                  </a:lnTo>
                  <a:lnTo>
                    <a:pt x="257" y="786"/>
                  </a:lnTo>
                  <a:lnTo>
                    <a:pt x="262" y="786"/>
                  </a:lnTo>
                  <a:lnTo>
                    <a:pt x="265" y="785"/>
                  </a:lnTo>
                  <a:close/>
                  <a:moveTo>
                    <a:pt x="277" y="761"/>
                  </a:moveTo>
                  <a:lnTo>
                    <a:pt x="277" y="765"/>
                  </a:lnTo>
                  <a:lnTo>
                    <a:pt x="278" y="767"/>
                  </a:lnTo>
                  <a:lnTo>
                    <a:pt x="280" y="767"/>
                  </a:lnTo>
                  <a:lnTo>
                    <a:pt x="280" y="770"/>
                  </a:lnTo>
                  <a:lnTo>
                    <a:pt x="277" y="773"/>
                  </a:lnTo>
                  <a:lnTo>
                    <a:pt x="275" y="773"/>
                  </a:lnTo>
                  <a:lnTo>
                    <a:pt x="275" y="771"/>
                  </a:lnTo>
                  <a:lnTo>
                    <a:pt x="274" y="771"/>
                  </a:lnTo>
                  <a:lnTo>
                    <a:pt x="274" y="768"/>
                  </a:lnTo>
                  <a:lnTo>
                    <a:pt x="272" y="765"/>
                  </a:lnTo>
                  <a:lnTo>
                    <a:pt x="274" y="765"/>
                  </a:lnTo>
                  <a:lnTo>
                    <a:pt x="274" y="762"/>
                  </a:lnTo>
                  <a:lnTo>
                    <a:pt x="275" y="762"/>
                  </a:lnTo>
                  <a:lnTo>
                    <a:pt x="277" y="761"/>
                  </a:lnTo>
                  <a:close/>
                  <a:moveTo>
                    <a:pt x="295" y="749"/>
                  </a:moveTo>
                  <a:lnTo>
                    <a:pt x="296" y="749"/>
                  </a:lnTo>
                  <a:lnTo>
                    <a:pt x="296" y="750"/>
                  </a:lnTo>
                  <a:lnTo>
                    <a:pt x="295" y="750"/>
                  </a:lnTo>
                  <a:lnTo>
                    <a:pt x="295" y="749"/>
                  </a:lnTo>
                  <a:close/>
                  <a:moveTo>
                    <a:pt x="287" y="746"/>
                  </a:moveTo>
                  <a:lnTo>
                    <a:pt x="289" y="746"/>
                  </a:lnTo>
                  <a:lnTo>
                    <a:pt x="289" y="747"/>
                  </a:lnTo>
                  <a:lnTo>
                    <a:pt x="290" y="747"/>
                  </a:lnTo>
                  <a:lnTo>
                    <a:pt x="290" y="750"/>
                  </a:lnTo>
                  <a:lnTo>
                    <a:pt x="293" y="750"/>
                  </a:lnTo>
                  <a:lnTo>
                    <a:pt x="295" y="752"/>
                  </a:lnTo>
                  <a:lnTo>
                    <a:pt x="289" y="752"/>
                  </a:lnTo>
                  <a:lnTo>
                    <a:pt x="289" y="749"/>
                  </a:lnTo>
                  <a:lnTo>
                    <a:pt x="287" y="747"/>
                  </a:lnTo>
                  <a:lnTo>
                    <a:pt x="287" y="746"/>
                  </a:lnTo>
                  <a:close/>
                  <a:moveTo>
                    <a:pt x="326" y="737"/>
                  </a:moveTo>
                  <a:lnTo>
                    <a:pt x="326" y="740"/>
                  </a:lnTo>
                  <a:lnTo>
                    <a:pt x="325" y="741"/>
                  </a:lnTo>
                  <a:lnTo>
                    <a:pt x="320" y="741"/>
                  </a:lnTo>
                  <a:lnTo>
                    <a:pt x="323" y="738"/>
                  </a:lnTo>
                  <a:lnTo>
                    <a:pt x="325" y="738"/>
                  </a:lnTo>
                  <a:lnTo>
                    <a:pt x="326" y="737"/>
                  </a:lnTo>
                  <a:close/>
                  <a:moveTo>
                    <a:pt x="307" y="731"/>
                  </a:moveTo>
                  <a:lnTo>
                    <a:pt x="307" y="734"/>
                  </a:lnTo>
                  <a:lnTo>
                    <a:pt x="308" y="734"/>
                  </a:lnTo>
                  <a:lnTo>
                    <a:pt x="310" y="731"/>
                  </a:lnTo>
                  <a:lnTo>
                    <a:pt x="311" y="731"/>
                  </a:lnTo>
                  <a:lnTo>
                    <a:pt x="311" y="734"/>
                  </a:lnTo>
                  <a:lnTo>
                    <a:pt x="310" y="734"/>
                  </a:lnTo>
                  <a:lnTo>
                    <a:pt x="310" y="735"/>
                  </a:lnTo>
                  <a:lnTo>
                    <a:pt x="307" y="735"/>
                  </a:lnTo>
                  <a:lnTo>
                    <a:pt x="307" y="737"/>
                  </a:lnTo>
                  <a:lnTo>
                    <a:pt x="305" y="737"/>
                  </a:lnTo>
                  <a:lnTo>
                    <a:pt x="304" y="740"/>
                  </a:lnTo>
                  <a:lnTo>
                    <a:pt x="302" y="740"/>
                  </a:lnTo>
                  <a:lnTo>
                    <a:pt x="301" y="741"/>
                  </a:lnTo>
                  <a:lnTo>
                    <a:pt x="299" y="741"/>
                  </a:lnTo>
                  <a:lnTo>
                    <a:pt x="299" y="743"/>
                  </a:lnTo>
                  <a:lnTo>
                    <a:pt x="298" y="743"/>
                  </a:lnTo>
                  <a:lnTo>
                    <a:pt x="298" y="744"/>
                  </a:lnTo>
                  <a:lnTo>
                    <a:pt x="299" y="744"/>
                  </a:lnTo>
                  <a:lnTo>
                    <a:pt x="301" y="746"/>
                  </a:lnTo>
                  <a:lnTo>
                    <a:pt x="298" y="747"/>
                  </a:lnTo>
                  <a:lnTo>
                    <a:pt x="296" y="749"/>
                  </a:lnTo>
                  <a:lnTo>
                    <a:pt x="296" y="747"/>
                  </a:lnTo>
                  <a:lnTo>
                    <a:pt x="295" y="749"/>
                  </a:lnTo>
                  <a:lnTo>
                    <a:pt x="292" y="747"/>
                  </a:lnTo>
                  <a:lnTo>
                    <a:pt x="292" y="746"/>
                  </a:lnTo>
                  <a:lnTo>
                    <a:pt x="290" y="744"/>
                  </a:lnTo>
                  <a:lnTo>
                    <a:pt x="290" y="746"/>
                  </a:lnTo>
                  <a:lnTo>
                    <a:pt x="289" y="744"/>
                  </a:lnTo>
                  <a:lnTo>
                    <a:pt x="286" y="744"/>
                  </a:lnTo>
                  <a:lnTo>
                    <a:pt x="286" y="743"/>
                  </a:lnTo>
                  <a:lnTo>
                    <a:pt x="290" y="743"/>
                  </a:lnTo>
                  <a:lnTo>
                    <a:pt x="292" y="741"/>
                  </a:lnTo>
                  <a:lnTo>
                    <a:pt x="289" y="741"/>
                  </a:lnTo>
                  <a:lnTo>
                    <a:pt x="290" y="740"/>
                  </a:lnTo>
                  <a:lnTo>
                    <a:pt x="292" y="740"/>
                  </a:lnTo>
                  <a:lnTo>
                    <a:pt x="295" y="737"/>
                  </a:lnTo>
                  <a:lnTo>
                    <a:pt x="296" y="738"/>
                  </a:lnTo>
                  <a:lnTo>
                    <a:pt x="296" y="737"/>
                  </a:lnTo>
                  <a:lnTo>
                    <a:pt x="299" y="737"/>
                  </a:lnTo>
                  <a:lnTo>
                    <a:pt x="299" y="735"/>
                  </a:lnTo>
                  <a:lnTo>
                    <a:pt x="302" y="735"/>
                  </a:lnTo>
                  <a:lnTo>
                    <a:pt x="302" y="737"/>
                  </a:lnTo>
                  <a:lnTo>
                    <a:pt x="304" y="734"/>
                  </a:lnTo>
                  <a:lnTo>
                    <a:pt x="307" y="731"/>
                  </a:lnTo>
                  <a:close/>
                  <a:moveTo>
                    <a:pt x="305" y="680"/>
                  </a:moveTo>
                  <a:lnTo>
                    <a:pt x="307" y="680"/>
                  </a:lnTo>
                  <a:lnTo>
                    <a:pt x="307" y="681"/>
                  </a:lnTo>
                  <a:lnTo>
                    <a:pt x="305" y="681"/>
                  </a:lnTo>
                  <a:lnTo>
                    <a:pt x="305" y="680"/>
                  </a:lnTo>
                  <a:close/>
                  <a:moveTo>
                    <a:pt x="313" y="669"/>
                  </a:moveTo>
                  <a:lnTo>
                    <a:pt x="313" y="672"/>
                  </a:lnTo>
                  <a:lnTo>
                    <a:pt x="311" y="672"/>
                  </a:lnTo>
                  <a:lnTo>
                    <a:pt x="311" y="671"/>
                  </a:lnTo>
                  <a:lnTo>
                    <a:pt x="313" y="669"/>
                  </a:lnTo>
                  <a:close/>
                  <a:moveTo>
                    <a:pt x="317" y="657"/>
                  </a:moveTo>
                  <a:lnTo>
                    <a:pt x="319" y="659"/>
                  </a:lnTo>
                  <a:lnTo>
                    <a:pt x="320" y="659"/>
                  </a:lnTo>
                  <a:lnTo>
                    <a:pt x="320" y="660"/>
                  </a:lnTo>
                  <a:lnTo>
                    <a:pt x="322" y="662"/>
                  </a:lnTo>
                  <a:lnTo>
                    <a:pt x="319" y="662"/>
                  </a:lnTo>
                  <a:lnTo>
                    <a:pt x="317" y="660"/>
                  </a:lnTo>
                  <a:lnTo>
                    <a:pt x="317" y="657"/>
                  </a:lnTo>
                  <a:close/>
                  <a:moveTo>
                    <a:pt x="320" y="651"/>
                  </a:moveTo>
                  <a:lnTo>
                    <a:pt x="322" y="653"/>
                  </a:lnTo>
                  <a:lnTo>
                    <a:pt x="322" y="654"/>
                  </a:lnTo>
                  <a:lnTo>
                    <a:pt x="320" y="654"/>
                  </a:lnTo>
                  <a:lnTo>
                    <a:pt x="320" y="651"/>
                  </a:lnTo>
                  <a:close/>
                  <a:moveTo>
                    <a:pt x="345" y="627"/>
                  </a:moveTo>
                  <a:lnTo>
                    <a:pt x="347" y="627"/>
                  </a:lnTo>
                  <a:lnTo>
                    <a:pt x="348" y="629"/>
                  </a:lnTo>
                  <a:lnTo>
                    <a:pt x="350" y="629"/>
                  </a:lnTo>
                  <a:lnTo>
                    <a:pt x="351" y="630"/>
                  </a:lnTo>
                  <a:lnTo>
                    <a:pt x="353" y="630"/>
                  </a:lnTo>
                  <a:lnTo>
                    <a:pt x="356" y="632"/>
                  </a:lnTo>
                  <a:lnTo>
                    <a:pt x="354" y="633"/>
                  </a:lnTo>
                  <a:lnTo>
                    <a:pt x="354" y="636"/>
                  </a:lnTo>
                  <a:lnTo>
                    <a:pt x="351" y="638"/>
                  </a:lnTo>
                  <a:lnTo>
                    <a:pt x="351" y="639"/>
                  </a:lnTo>
                  <a:lnTo>
                    <a:pt x="344" y="639"/>
                  </a:lnTo>
                  <a:lnTo>
                    <a:pt x="344" y="638"/>
                  </a:lnTo>
                  <a:lnTo>
                    <a:pt x="342" y="636"/>
                  </a:lnTo>
                  <a:lnTo>
                    <a:pt x="342" y="633"/>
                  </a:lnTo>
                  <a:lnTo>
                    <a:pt x="341" y="632"/>
                  </a:lnTo>
                  <a:lnTo>
                    <a:pt x="341" y="630"/>
                  </a:lnTo>
                  <a:lnTo>
                    <a:pt x="344" y="630"/>
                  </a:lnTo>
                  <a:lnTo>
                    <a:pt x="344" y="629"/>
                  </a:lnTo>
                  <a:lnTo>
                    <a:pt x="345" y="629"/>
                  </a:lnTo>
                  <a:lnTo>
                    <a:pt x="345" y="627"/>
                  </a:lnTo>
                  <a:close/>
                  <a:moveTo>
                    <a:pt x="797" y="626"/>
                  </a:moveTo>
                  <a:lnTo>
                    <a:pt x="799" y="626"/>
                  </a:lnTo>
                  <a:lnTo>
                    <a:pt x="797" y="627"/>
                  </a:lnTo>
                  <a:lnTo>
                    <a:pt x="797" y="626"/>
                  </a:lnTo>
                  <a:close/>
                  <a:moveTo>
                    <a:pt x="334" y="626"/>
                  </a:moveTo>
                  <a:lnTo>
                    <a:pt x="337" y="629"/>
                  </a:lnTo>
                  <a:lnTo>
                    <a:pt x="335" y="629"/>
                  </a:lnTo>
                  <a:lnTo>
                    <a:pt x="334" y="630"/>
                  </a:lnTo>
                  <a:lnTo>
                    <a:pt x="334" y="626"/>
                  </a:lnTo>
                  <a:close/>
                  <a:moveTo>
                    <a:pt x="331" y="626"/>
                  </a:moveTo>
                  <a:lnTo>
                    <a:pt x="332" y="626"/>
                  </a:lnTo>
                  <a:lnTo>
                    <a:pt x="334" y="627"/>
                  </a:lnTo>
                  <a:lnTo>
                    <a:pt x="332" y="627"/>
                  </a:lnTo>
                  <a:lnTo>
                    <a:pt x="331" y="626"/>
                  </a:lnTo>
                  <a:close/>
                  <a:moveTo>
                    <a:pt x="371" y="608"/>
                  </a:moveTo>
                  <a:lnTo>
                    <a:pt x="372" y="608"/>
                  </a:lnTo>
                  <a:lnTo>
                    <a:pt x="374" y="609"/>
                  </a:lnTo>
                  <a:lnTo>
                    <a:pt x="374" y="615"/>
                  </a:lnTo>
                  <a:lnTo>
                    <a:pt x="372" y="617"/>
                  </a:lnTo>
                  <a:lnTo>
                    <a:pt x="372" y="623"/>
                  </a:lnTo>
                  <a:lnTo>
                    <a:pt x="371" y="623"/>
                  </a:lnTo>
                  <a:lnTo>
                    <a:pt x="369" y="624"/>
                  </a:lnTo>
                  <a:lnTo>
                    <a:pt x="369" y="627"/>
                  </a:lnTo>
                  <a:lnTo>
                    <a:pt x="368" y="627"/>
                  </a:lnTo>
                  <a:lnTo>
                    <a:pt x="369" y="629"/>
                  </a:lnTo>
                  <a:lnTo>
                    <a:pt x="369" y="630"/>
                  </a:lnTo>
                  <a:lnTo>
                    <a:pt x="368" y="632"/>
                  </a:lnTo>
                  <a:lnTo>
                    <a:pt x="366" y="632"/>
                  </a:lnTo>
                  <a:lnTo>
                    <a:pt x="365" y="633"/>
                  </a:lnTo>
                  <a:lnTo>
                    <a:pt x="363" y="633"/>
                  </a:lnTo>
                  <a:lnTo>
                    <a:pt x="363" y="627"/>
                  </a:lnTo>
                  <a:lnTo>
                    <a:pt x="365" y="627"/>
                  </a:lnTo>
                  <a:lnTo>
                    <a:pt x="365" y="626"/>
                  </a:lnTo>
                  <a:lnTo>
                    <a:pt x="366" y="626"/>
                  </a:lnTo>
                  <a:lnTo>
                    <a:pt x="366" y="623"/>
                  </a:lnTo>
                  <a:lnTo>
                    <a:pt x="368" y="621"/>
                  </a:lnTo>
                  <a:lnTo>
                    <a:pt x="368" y="615"/>
                  </a:lnTo>
                  <a:lnTo>
                    <a:pt x="369" y="615"/>
                  </a:lnTo>
                  <a:lnTo>
                    <a:pt x="369" y="612"/>
                  </a:lnTo>
                  <a:lnTo>
                    <a:pt x="371" y="612"/>
                  </a:lnTo>
                  <a:lnTo>
                    <a:pt x="371" y="608"/>
                  </a:lnTo>
                  <a:close/>
                  <a:moveTo>
                    <a:pt x="322" y="606"/>
                  </a:moveTo>
                  <a:lnTo>
                    <a:pt x="323" y="608"/>
                  </a:lnTo>
                  <a:lnTo>
                    <a:pt x="322" y="608"/>
                  </a:lnTo>
                  <a:lnTo>
                    <a:pt x="322" y="609"/>
                  </a:lnTo>
                  <a:lnTo>
                    <a:pt x="320" y="608"/>
                  </a:lnTo>
                  <a:lnTo>
                    <a:pt x="322" y="606"/>
                  </a:lnTo>
                  <a:close/>
                  <a:moveTo>
                    <a:pt x="314" y="557"/>
                  </a:moveTo>
                  <a:lnTo>
                    <a:pt x="316" y="559"/>
                  </a:lnTo>
                  <a:lnTo>
                    <a:pt x="314" y="560"/>
                  </a:lnTo>
                  <a:lnTo>
                    <a:pt x="313" y="563"/>
                  </a:lnTo>
                  <a:lnTo>
                    <a:pt x="313" y="565"/>
                  </a:lnTo>
                  <a:lnTo>
                    <a:pt x="311" y="565"/>
                  </a:lnTo>
                  <a:lnTo>
                    <a:pt x="311" y="566"/>
                  </a:lnTo>
                  <a:lnTo>
                    <a:pt x="310" y="565"/>
                  </a:lnTo>
                  <a:lnTo>
                    <a:pt x="308" y="565"/>
                  </a:lnTo>
                  <a:lnTo>
                    <a:pt x="308" y="563"/>
                  </a:lnTo>
                  <a:lnTo>
                    <a:pt x="310" y="563"/>
                  </a:lnTo>
                  <a:lnTo>
                    <a:pt x="310" y="562"/>
                  </a:lnTo>
                  <a:lnTo>
                    <a:pt x="311" y="560"/>
                  </a:lnTo>
                  <a:lnTo>
                    <a:pt x="313" y="560"/>
                  </a:lnTo>
                  <a:lnTo>
                    <a:pt x="313" y="559"/>
                  </a:lnTo>
                  <a:lnTo>
                    <a:pt x="314" y="559"/>
                  </a:lnTo>
                  <a:lnTo>
                    <a:pt x="314" y="557"/>
                  </a:lnTo>
                  <a:close/>
                  <a:moveTo>
                    <a:pt x="317" y="551"/>
                  </a:moveTo>
                  <a:lnTo>
                    <a:pt x="320" y="554"/>
                  </a:lnTo>
                  <a:lnTo>
                    <a:pt x="320" y="553"/>
                  </a:lnTo>
                  <a:lnTo>
                    <a:pt x="322" y="553"/>
                  </a:lnTo>
                  <a:lnTo>
                    <a:pt x="322" y="554"/>
                  </a:lnTo>
                  <a:lnTo>
                    <a:pt x="320" y="556"/>
                  </a:lnTo>
                  <a:lnTo>
                    <a:pt x="319" y="556"/>
                  </a:lnTo>
                  <a:lnTo>
                    <a:pt x="319" y="554"/>
                  </a:lnTo>
                  <a:lnTo>
                    <a:pt x="316" y="554"/>
                  </a:lnTo>
                  <a:lnTo>
                    <a:pt x="316" y="553"/>
                  </a:lnTo>
                  <a:lnTo>
                    <a:pt x="317" y="553"/>
                  </a:lnTo>
                  <a:lnTo>
                    <a:pt x="317" y="551"/>
                  </a:lnTo>
                  <a:close/>
                  <a:moveTo>
                    <a:pt x="331" y="533"/>
                  </a:moveTo>
                  <a:lnTo>
                    <a:pt x="331" y="535"/>
                  </a:lnTo>
                  <a:lnTo>
                    <a:pt x="334" y="535"/>
                  </a:lnTo>
                  <a:lnTo>
                    <a:pt x="334" y="536"/>
                  </a:lnTo>
                  <a:lnTo>
                    <a:pt x="332" y="539"/>
                  </a:lnTo>
                  <a:lnTo>
                    <a:pt x="331" y="539"/>
                  </a:lnTo>
                  <a:lnTo>
                    <a:pt x="331" y="536"/>
                  </a:lnTo>
                  <a:lnTo>
                    <a:pt x="329" y="536"/>
                  </a:lnTo>
                  <a:lnTo>
                    <a:pt x="329" y="535"/>
                  </a:lnTo>
                  <a:lnTo>
                    <a:pt x="331" y="533"/>
                  </a:lnTo>
                  <a:close/>
                  <a:moveTo>
                    <a:pt x="335" y="529"/>
                  </a:moveTo>
                  <a:lnTo>
                    <a:pt x="337" y="529"/>
                  </a:lnTo>
                  <a:lnTo>
                    <a:pt x="337" y="530"/>
                  </a:lnTo>
                  <a:lnTo>
                    <a:pt x="335" y="532"/>
                  </a:lnTo>
                  <a:lnTo>
                    <a:pt x="334" y="532"/>
                  </a:lnTo>
                  <a:lnTo>
                    <a:pt x="334" y="530"/>
                  </a:lnTo>
                  <a:lnTo>
                    <a:pt x="335" y="530"/>
                  </a:lnTo>
                  <a:lnTo>
                    <a:pt x="335" y="529"/>
                  </a:lnTo>
                  <a:close/>
                  <a:moveTo>
                    <a:pt x="772" y="520"/>
                  </a:moveTo>
                  <a:lnTo>
                    <a:pt x="773" y="521"/>
                  </a:lnTo>
                  <a:lnTo>
                    <a:pt x="772" y="521"/>
                  </a:lnTo>
                  <a:lnTo>
                    <a:pt x="772" y="520"/>
                  </a:lnTo>
                  <a:close/>
                  <a:moveTo>
                    <a:pt x="341" y="517"/>
                  </a:moveTo>
                  <a:lnTo>
                    <a:pt x="342" y="518"/>
                  </a:lnTo>
                  <a:lnTo>
                    <a:pt x="344" y="517"/>
                  </a:lnTo>
                  <a:lnTo>
                    <a:pt x="345" y="517"/>
                  </a:lnTo>
                  <a:lnTo>
                    <a:pt x="345" y="518"/>
                  </a:lnTo>
                  <a:lnTo>
                    <a:pt x="344" y="518"/>
                  </a:lnTo>
                  <a:lnTo>
                    <a:pt x="342" y="524"/>
                  </a:lnTo>
                  <a:lnTo>
                    <a:pt x="341" y="526"/>
                  </a:lnTo>
                  <a:lnTo>
                    <a:pt x="341" y="523"/>
                  </a:lnTo>
                  <a:lnTo>
                    <a:pt x="338" y="523"/>
                  </a:lnTo>
                  <a:lnTo>
                    <a:pt x="337" y="524"/>
                  </a:lnTo>
                  <a:lnTo>
                    <a:pt x="335" y="524"/>
                  </a:lnTo>
                  <a:lnTo>
                    <a:pt x="335" y="523"/>
                  </a:lnTo>
                  <a:lnTo>
                    <a:pt x="334" y="521"/>
                  </a:lnTo>
                  <a:lnTo>
                    <a:pt x="335" y="521"/>
                  </a:lnTo>
                  <a:lnTo>
                    <a:pt x="335" y="520"/>
                  </a:lnTo>
                  <a:lnTo>
                    <a:pt x="337" y="520"/>
                  </a:lnTo>
                  <a:lnTo>
                    <a:pt x="338" y="518"/>
                  </a:lnTo>
                  <a:lnTo>
                    <a:pt x="340" y="518"/>
                  </a:lnTo>
                  <a:lnTo>
                    <a:pt x="341" y="517"/>
                  </a:lnTo>
                  <a:close/>
                  <a:moveTo>
                    <a:pt x="331" y="515"/>
                  </a:moveTo>
                  <a:lnTo>
                    <a:pt x="332" y="515"/>
                  </a:lnTo>
                  <a:lnTo>
                    <a:pt x="334" y="517"/>
                  </a:lnTo>
                  <a:lnTo>
                    <a:pt x="334" y="527"/>
                  </a:lnTo>
                  <a:lnTo>
                    <a:pt x="332" y="529"/>
                  </a:lnTo>
                  <a:lnTo>
                    <a:pt x="331" y="532"/>
                  </a:lnTo>
                  <a:lnTo>
                    <a:pt x="329" y="532"/>
                  </a:lnTo>
                  <a:lnTo>
                    <a:pt x="328" y="533"/>
                  </a:lnTo>
                  <a:lnTo>
                    <a:pt x="328" y="535"/>
                  </a:lnTo>
                  <a:lnTo>
                    <a:pt x="325" y="535"/>
                  </a:lnTo>
                  <a:lnTo>
                    <a:pt x="325" y="532"/>
                  </a:lnTo>
                  <a:lnTo>
                    <a:pt x="323" y="532"/>
                  </a:lnTo>
                  <a:lnTo>
                    <a:pt x="326" y="529"/>
                  </a:lnTo>
                  <a:lnTo>
                    <a:pt x="325" y="529"/>
                  </a:lnTo>
                  <a:lnTo>
                    <a:pt x="323" y="527"/>
                  </a:lnTo>
                  <a:lnTo>
                    <a:pt x="323" y="524"/>
                  </a:lnTo>
                  <a:lnTo>
                    <a:pt x="325" y="524"/>
                  </a:lnTo>
                  <a:lnTo>
                    <a:pt x="325" y="521"/>
                  </a:lnTo>
                  <a:lnTo>
                    <a:pt x="326" y="520"/>
                  </a:lnTo>
                  <a:lnTo>
                    <a:pt x="326" y="518"/>
                  </a:lnTo>
                  <a:lnTo>
                    <a:pt x="325" y="517"/>
                  </a:lnTo>
                  <a:lnTo>
                    <a:pt x="331" y="517"/>
                  </a:lnTo>
                  <a:lnTo>
                    <a:pt x="331" y="515"/>
                  </a:lnTo>
                  <a:close/>
                  <a:moveTo>
                    <a:pt x="344" y="512"/>
                  </a:moveTo>
                  <a:lnTo>
                    <a:pt x="345" y="512"/>
                  </a:lnTo>
                  <a:lnTo>
                    <a:pt x="345" y="515"/>
                  </a:lnTo>
                  <a:lnTo>
                    <a:pt x="344" y="515"/>
                  </a:lnTo>
                  <a:lnTo>
                    <a:pt x="344" y="517"/>
                  </a:lnTo>
                  <a:lnTo>
                    <a:pt x="342" y="515"/>
                  </a:lnTo>
                  <a:lnTo>
                    <a:pt x="342" y="514"/>
                  </a:lnTo>
                  <a:lnTo>
                    <a:pt x="344" y="512"/>
                  </a:lnTo>
                  <a:close/>
                  <a:moveTo>
                    <a:pt x="441" y="505"/>
                  </a:moveTo>
                  <a:lnTo>
                    <a:pt x="443" y="506"/>
                  </a:lnTo>
                  <a:lnTo>
                    <a:pt x="441" y="508"/>
                  </a:lnTo>
                  <a:lnTo>
                    <a:pt x="441" y="505"/>
                  </a:lnTo>
                  <a:close/>
                  <a:moveTo>
                    <a:pt x="262" y="503"/>
                  </a:moveTo>
                  <a:lnTo>
                    <a:pt x="265" y="503"/>
                  </a:lnTo>
                  <a:lnTo>
                    <a:pt x="265" y="505"/>
                  </a:lnTo>
                  <a:lnTo>
                    <a:pt x="266" y="505"/>
                  </a:lnTo>
                  <a:lnTo>
                    <a:pt x="268" y="503"/>
                  </a:lnTo>
                  <a:lnTo>
                    <a:pt x="269" y="503"/>
                  </a:lnTo>
                  <a:lnTo>
                    <a:pt x="271" y="505"/>
                  </a:lnTo>
                  <a:lnTo>
                    <a:pt x="272" y="505"/>
                  </a:lnTo>
                  <a:lnTo>
                    <a:pt x="271" y="508"/>
                  </a:lnTo>
                  <a:lnTo>
                    <a:pt x="272" y="508"/>
                  </a:lnTo>
                  <a:lnTo>
                    <a:pt x="272" y="509"/>
                  </a:lnTo>
                  <a:lnTo>
                    <a:pt x="274" y="509"/>
                  </a:lnTo>
                  <a:lnTo>
                    <a:pt x="274" y="511"/>
                  </a:lnTo>
                  <a:lnTo>
                    <a:pt x="268" y="511"/>
                  </a:lnTo>
                  <a:lnTo>
                    <a:pt x="268" y="512"/>
                  </a:lnTo>
                  <a:lnTo>
                    <a:pt x="269" y="512"/>
                  </a:lnTo>
                  <a:lnTo>
                    <a:pt x="269" y="514"/>
                  </a:lnTo>
                  <a:lnTo>
                    <a:pt x="268" y="514"/>
                  </a:lnTo>
                  <a:lnTo>
                    <a:pt x="266" y="512"/>
                  </a:lnTo>
                  <a:lnTo>
                    <a:pt x="263" y="512"/>
                  </a:lnTo>
                  <a:lnTo>
                    <a:pt x="263" y="514"/>
                  </a:lnTo>
                  <a:lnTo>
                    <a:pt x="260" y="512"/>
                  </a:lnTo>
                  <a:lnTo>
                    <a:pt x="260" y="509"/>
                  </a:lnTo>
                  <a:lnTo>
                    <a:pt x="262" y="509"/>
                  </a:lnTo>
                  <a:lnTo>
                    <a:pt x="262" y="511"/>
                  </a:lnTo>
                  <a:lnTo>
                    <a:pt x="263" y="509"/>
                  </a:lnTo>
                  <a:lnTo>
                    <a:pt x="263" y="508"/>
                  </a:lnTo>
                  <a:lnTo>
                    <a:pt x="262" y="506"/>
                  </a:lnTo>
                  <a:lnTo>
                    <a:pt x="262" y="503"/>
                  </a:lnTo>
                  <a:close/>
                  <a:moveTo>
                    <a:pt x="271" y="500"/>
                  </a:moveTo>
                  <a:lnTo>
                    <a:pt x="274" y="500"/>
                  </a:lnTo>
                  <a:lnTo>
                    <a:pt x="274" y="503"/>
                  </a:lnTo>
                  <a:lnTo>
                    <a:pt x="272" y="505"/>
                  </a:lnTo>
                  <a:lnTo>
                    <a:pt x="272" y="503"/>
                  </a:lnTo>
                  <a:lnTo>
                    <a:pt x="271" y="503"/>
                  </a:lnTo>
                  <a:lnTo>
                    <a:pt x="271" y="500"/>
                  </a:lnTo>
                  <a:close/>
                  <a:moveTo>
                    <a:pt x="441" y="494"/>
                  </a:moveTo>
                  <a:lnTo>
                    <a:pt x="443" y="496"/>
                  </a:lnTo>
                  <a:lnTo>
                    <a:pt x="441" y="496"/>
                  </a:lnTo>
                  <a:lnTo>
                    <a:pt x="441" y="494"/>
                  </a:lnTo>
                  <a:close/>
                  <a:moveTo>
                    <a:pt x="281" y="488"/>
                  </a:moveTo>
                  <a:lnTo>
                    <a:pt x="281" y="490"/>
                  </a:lnTo>
                  <a:lnTo>
                    <a:pt x="283" y="490"/>
                  </a:lnTo>
                  <a:lnTo>
                    <a:pt x="283" y="491"/>
                  </a:lnTo>
                  <a:lnTo>
                    <a:pt x="284" y="493"/>
                  </a:lnTo>
                  <a:lnTo>
                    <a:pt x="286" y="491"/>
                  </a:lnTo>
                  <a:lnTo>
                    <a:pt x="287" y="491"/>
                  </a:lnTo>
                  <a:lnTo>
                    <a:pt x="287" y="493"/>
                  </a:lnTo>
                  <a:lnTo>
                    <a:pt x="286" y="493"/>
                  </a:lnTo>
                  <a:lnTo>
                    <a:pt x="283" y="496"/>
                  </a:lnTo>
                  <a:lnTo>
                    <a:pt x="283" y="499"/>
                  </a:lnTo>
                  <a:lnTo>
                    <a:pt x="281" y="499"/>
                  </a:lnTo>
                  <a:lnTo>
                    <a:pt x="281" y="500"/>
                  </a:lnTo>
                  <a:lnTo>
                    <a:pt x="280" y="499"/>
                  </a:lnTo>
                  <a:lnTo>
                    <a:pt x="277" y="499"/>
                  </a:lnTo>
                  <a:lnTo>
                    <a:pt x="277" y="502"/>
                  </a:lnTo>
                  <a:lnTo>
                    <a:pt x="275" y="502"/>
                  </a:lnTo>
                  <a:lnTo>
                    <a:pt x="275" y="500"/>
                  </a:lnTo>
                  <a:lnTo>
                    <a:pt x="274" y="500"/>
                  </a:lnTo>
                  <a:lnTo>
                    <a:pt x="274" y="499"/>
                  </a:lnTo>
                  <a:lnTo>
                    <a:pt x="275" y="499"/>
                  </a:lnTo>
                  <a:lnTo>
                    <a:pt x="275" y="497"/>
                  </a:lnTo>
                  <a:lnTo>
                    <a:pt x="278" y="497"/>
                  </a:lnTo>
                  <a:lnTo>
                    <a:pt x="278" y="496"/>
                  </a:lnTo>
                  <a:lnTo>
                    <a:pt x="280" y="496"/>
                  </a:lnTo>
                  <a:lnTo>
                    <a:pt x="280" y="497"/>
                  </a:lnTo>
                  <a:lnTo>
                    <a:pt x="281" y="496"/>
                  </a:lnTo>
                  <a:lnTo>
                    <a:pt x="280" y="494"/>
                  </a:lnTo>
                  <a:lnTo>
                    <a:pt x="278" y="494"/>
                  </a:lnTo>
                  <a:lnTo>
                    <a:pt x="278" y="493"/>
                  </a:lnTo>
                  <a:lnTo>
                    <a:pt x="281" y="493"/>
                  </a:lnTo>
                  <a:lnTo>
                    <a:pt x="280" y="491"/>
                  </a:lnTo>
                  <a:lnTo>
                    <a:pt x="281" y="488"/>
                  </a:lnTo>
                  <a:close/>
                  <a:moveTo>
                    <a:pt x="435" y="487"/>
                  </a:moveTo>
                  <a:lnTo>
                    <a:pt x="437" y="488"/>
                  </a:lnTo>
                  <a:lnTo>
                    <a:pt x="434" y="488"/>
                  </a:lnTo>
                  <a:lnTo>
                    <a:pt x="435" y="487"/>
                  </a:lnTo>
                  <a:close/>
                  <a:moveTo>
                    <a:pt x="416" y="487"/>
                  </a:moveTo>
                  <a:lnTo>
                    <a:pt x="417" y="488"/>
                  </a:lnTo>
                  <a:lnTo>
                    <a:pt x="416" y="488"/>
                  </a:lnTo>
                  <a:lnTo>
                    <a:pt x="416" y="487"/>
                  </a:lnTo>
                  <a:close/>
                  <a:moveTo>
                    <a:pt x="773" y="482"/>
                  </a:moveTo>
                  <a:lnTo>
                    <a:pt x="773" y="484"/>
                  </a:lnTo>
                  <a:lnTo>
                    <a:pt x="775" y="484"/>
                  </a:lnTo>
                  <a:lnTo>
                    <a:pt x="778" y="487"/>
                  </a:lnTo>
                  <a:lnTo>
                    <a:pt x="776" y="488"/>
                  </a:lnTo>
                  <a:lnTo>
                    <a:pt x="773" y="488"/>
                  </a:lnTo>
                  <a:lnTo>
                    <a:pt x="773" y="487"/>
                  </a:lnTo>
                  <a:lnTo>
                    <a:pt x="772" y="485"/>
                  </a:lnTo>
                  <a:lnTo>
                    <a:pt x="772" y="484"/>
                  </a:lnTo>
                  <a:lnTo>
                    <a:pt x="773" y="482"/>
                  </a:lnTo>
                  <a:close/>
                  <a:moveTo>
                    <a:pt x="283" y="482"/>
                  </a:moveTo>
                  <a:lnTo>
                    <a:pt x="284" y="482"/>
                  </a:lnTo>
                  <a:lnTo>
                    <a:pt x="284" y="487"/>
                  </a:lnTo>
                  <a:lnTo>
                    <a:pt x="283" y="488"/>
                  </a:lnTo>
                  <a:lnTo>
                    <a:pt x="283" y="482"/>
                  </a:lnTo>
                  <a:close/>
                  <a:moveTo>
                    <a:pt x="434" y="479"/>
                  </a:moveTo>
                  <a:lnTo>
                    <a:pt x="437" y="479"/>
                  </a:lnTo>
                  <a:lnTo>
                    <a:pt x="437" y="481"/>
                  </a:lnTo>
                  <a:lnTo>
                    <a:pt x="434" y="481"/>
                  </a:lnTo>
                  <a:lnTo>
                    <a:pt x="434" y="479"/>
                  </a:lnTo>
                  <a:close/>
                  <a:moveTo>
                    <a:pt x="283" y="475"/>
                  </a:moveTo>
                  <a:lnTo>
                    <a:pt x="284" y="475"/>
                  </a:lnTo>
                  <a:lnTo>
                    <a:pt x="286" y="476"/>
                  </a:lnTo>
                  <a:lnTo>
                    <a:pt x="284" y="478"/>
                  </a:lnTo>
                  <a:lnTo>
                    <a:pt x="283" y="478"/>
                  </a:lnTo>
                  <a:lnTo>
                    <a:pt x="283" y="475"/>
                  </a:lnTo>
                  <a:close/>
                  <a:moveTo>
                    <a:pt x="302" y="469"/>
                  </a:moveTo>
                  <a:lnTo>
                    <a:pt x="304" y="469"/>
                  </a:lnTo>
                  <a:lnTo>
                    <a:pt x="304" y="473"/>
                  </a:lnTo>
                  <a:lnTo>
                    <a:pt x="302" y="475"/>
                  </a:lnTo>
                  <a:lnTo>
                    <a:pt x="302" y="476"/>
                  </a:lnTo>
                  <a:lnTo>
                    <a:pt x="301" y="478"/>
                  </a:lnTo>
                  <a:lnTo>
                    <a:pt x="299" y="481"/>
                  </a:lnTo>
                  <a:lnTo>
                    <a:pt x="298" y="481"/>
                  </a:lnTo>
                  <a:lnTo>
                    <a:pt x="296" y="482"/>
                  </a:lnTo>
                  <a:lnTo>
                    <a:pt x="295" y="481"/>
                  </a:lnTo>
                  <a:lnTo>
                    <a:pt x="296" y="481"/>
                  </a:lnTo>
                  <a:lnTo>
                    <a:pt x="296" y="478"/>
                  </a:lnTo>
                  <a:lnTo>
                    <a:pt x="298" y="478"/>
                  </a:lnTo>
                  <a:lnTo>
                    <a:pt x="298" y="476"/>
                  </a:lnTo>
                  <a:lnTo>
                    <a:pt x="299" y="475"/>
                  </a:lnTo>
                  <a:lnTo>
                    <a:pt x="299" y="472"/>
                  </a:lnTo>
                  <a:lnTo>
                    <a:pt x="301" y="472"/>
                  </a:lnTo>
                  <a:lnTo>
                    <a:pt x="302" y="470"/>
                  </a:lnTo>
                  <a:lnTo>
                    <a:pt x="302" y="469"/>
                  </a:lnTo>
                  <a:close/>
                  <a:moveTo>
                    <a:pt x="588" y="466"/>
                  </a:moveTo>
                  <a:lnTo>
                    <a:pt x="591" y="466"/>
                  </a:lnTo>
                  <a:lnTo>
                    <a:pt x="591" y="467"/>
                  </a:lnTo>
                  <a:lnTo>
                    <a:pt x="589" y="467"/>
                  </a:lnTo>
                  <a:lnTo>
                    <a:pt x="588" y="466"/>
                  </a:lnTo>
                  <a:close/>
                  <a:moveTo>
                    <a:pt x="304" y="463"/>
                  </a:moveTo>
                  <a:lnTo>
                    <a:pt x="304" y="464"/>
                  </a:lnTo>
                  <a:lnTo>
                    <a:pt x="305" y="464"/>
                  </a:lnTo>
                  <a:lnTo>
                    <a:pt x="304" y="466"/>
                  </a:lnTo>
                  <a:lnTo>
                    <a:pt x="302" y="464"/>
                  </a:lnTo>
                  <a:lnTo>
                    <a:pt x="304" y="463"/>
                  </a:lnTo>
                  <a:close/>
                  <a:moveTo>
                    <a:pt x="338" y="454"/>
                  </a:moveTo>
                  <a:lnTo>
                    <a:pt x="340" y="455"/>
                  </a:lnTo>
                  <a:lnTo>
                    <a:pt x="338" y="455"/>
                  </a:lnTo>
                  <a:lnTo>
                    <a:pt x="338" y="454"/>
                  </a:lnTo>
                  <a:close/>
                  <a:moveTo>
                    <a:pt x="308" y="449"/>
                  </a:moveTo>
                  <a:lnTo>
                    <a:pt x="310" y="449"/>
                  </a:lnTo>
                  <a:lnTo>
                    <a:pt x="308" y="451"/>
                  </a:lnTo>
                  <a:lnTo>
                    <a:pt x="308" y="449"/>
                  </a:lnTo>
                  <a:close/>
                  <a:moveTo>
                    <a:pt x="426" y="448"/>
                  </a:moveTo>
                  <a:lnTo>
                    <a:pt x="428" y="448"/>
                  </a:lnTo>
                  <a:lnTo>
                    <a:pt x="429" y="449"/>
                  </a:lnTo>
                  <a:lnTo>
                    <a:pt x="426" y="449"/>
                  </a:lnTo>
                  <a:lnTo>
                    <a:pt x="426" y="448"/>
                  </a:lnTo>
                  <a:close/>
                  <a:moveTo>
                    <a:pt x="419" y="446"/>
                  </a:moveTo>
                  <a:lnTo>
                    <a:pt x="420" y="446"/>
                  </a:lnTo>
                  <a:lnTo>
                    <a:pt x="420" y="448"/>
                  </a:lnTo>
                  <a:lnTo>
                    <a:pt x="419" y="448"/>
                  </a:lnTo>
                  <a:lnTo>
                    <a:pt x="419" y="446"/>
                  </a:lnTo>
                  <a:close/>
                  <a:moveTo>
                    <a:pt x="541" y="445"/>
                  </a:moveTo>
                  <a:lnTo>
                    <a:pt x="543" y="445"/>
                  </a:lnTo>
                  <a:lnTo>
                    <a:pt x="541" y="446"/>
                  </a:lnTo>
                  <a:lnTo>
                    <a:pt x="540" y="446"/>
                  </a:lnTo>
                  <a:lnTo>
                    <a:pt x="541" y="445"/>
                  </a:lnTo>
                  <a:close/>
                  <a:moveTo>
                    <a:pt x="310" y="443"/>
                  </a:moveTo>
                  <a:lnTo>
                    <a:pt x="311" y="443"/>
                  </a:lnTo>
                  <a:lnTo>
                    <a:pt x="314" y="445"/>
                  </a:lnTo>
                  <a:lnTo>
                    <a:pt x="314" y="449"/>
                  </a:lnTo>
                  <a:lnTo>
                    <a:pt x="316" y="449"/>
                  </a:lnTo>
                  <a:lnTo>
                    <a:pt x="314" y="451"/>
                  </a:lnTo>
                  <a:lnTo>
                    <a:pt x="313" y="451"/>
                  </a:lnTo>
                  <a:lnTo>
                    <a:pt x="311" y="452"/>
                  </a:lnTo>
                  <a:lnTo>
                    <a:pt x="310" y="452"/>
                  </a:lnTo>
                  <a:lnTo>
                    <a:pt x="310" y="449"/>
                  </a:lnTo>
                  <a:lnTo>
                    <a:pt x="308" y="448"/>
                  </a:lnTo>
                  <a:lnTo>
                    <a:pt x="308" y="446"/>
                  </a:lnTo>
                  <a:lnTo>
                    <a:pt x="310" y="446"/>
                  </a:lnTo>
                  <a:lnTo>
                    <a:pt x="310" y="443"/>
                  </a:lnTo>
                  <a:close/>
                  <a:moveTo>
                    <a:pt x="764" y="442"/>
                  </a:moveTo>
                  <a:lnTo>
                    <a:pt x="766" y="442"/>
                  </a:lnTo>
                  <a:lnTo>
                    <a:pt x="766" y="445"/>
                  </a:lnTo>
                  <a:lnTo>
                    <a:pt x="764" y="445"/>
                  </a:lnTo>
                  <a:lnTo>
                    <a:pt x="764" y="442"/>
                  </a:lnTo>
                  <a:close/>
                  <a:moveTo>
                    <a:pt x="556" y="442"/>
                  </a:moveTo>
                  <a:lnTo>
                    <a:pt x="558" y="442"/>
                  </a:lnTo>
                  <a:lnTo>
                    <a:pt x="556" y="443"/>
                  </a:lnTo>
                  <a:lnTo>
                    <a:pt x="556" y="442"/>
                  </a:lnTo>
                  <a:close/>
                  <a:moveTo>
                    <a:pt x="609" y="439"/>
                  </a:moveTo>
                  <a:lnTo>
                    <a:pt x="610" y="439"/>
                  </a:lnTo>
                  <a:lnTo>
                    <a:pt x="610" y="440"/>
                  </a:lnTo>
                  <a:lnTo>
                    <a:pt x="609" y="439"/>
                  </a:lnTo>
                  <a:close/>
                  <a:moveTo>
                    <a:pt x="425" y="439"/>
                  </a:moveTo>
                  <a:lnTo>
                    <a:pt x="429" y="439"/>
                  </a:lnTo>
                  <a:lnTo>
                    <a:pt x="429" y="440"/>
                  </a:lnTo>
                  <a:lnTo>
                    <a:pt x="431" y="442"/>
                  </a:lnTo>
                  <a:lnTo>
                    <a:pt x="432" y="442"/>
                  </a:lnTo>
                  <a:lnTo>
                    <a:pt x="434" y="440"/>
                  </a:lnTo>
                  <a:lnTo>
                    <a:pt x="437" y="440"/>
                  </a:lnTo>
                  <a:lnTo>
                    <a:pt x="437" y="442"/>
                  </a:lnTo>
                  <a:lnTo>
                    <a:pt x="434" y="442"/>
                  </a:lnTo>
                  <a:lnTo>
                    <a:pt x="434" y="445"/>
                  </a:lnTo>
                  <a:lnTo>
                    <a:pt x="431" y="445"/>
                  </a:lnTo>
                  <a:lnTo>
                    <a:pt x="431" y="443"/>
                  </a:lnTo>
                  <a:lnTo>
                    <a:pt x="426" y="443"/>
                  </a:lnTo>
                  <a:lnTo>
                    <a:pt x="425" y="442"/>
                  </a:lnTo>
                  <a:lnTo>
                    <a:pt x="425" y="439"/>
                  </a:lnTo>
                  <a:close/>
                  <a:moveTo>
                    <a:pt x="359" y="439"/>
                  </a:moveTo>
                  <a:lnTo>
                    <a:pt x="360" y="439"/>
                  </a:lnTo>
                  <a:lnTo>
                    <a:pt x="362" y="440"/>
                  </a:lnTo>
                  <a:lnTo>
                    <a:pt x="365" y="440"/>
                  </a:lnTo>
                  <a:lnTo>
                    <a:pt x="365" y="442"/>
                  </a:lnTo>
                  <a:lnTo>
                    <a:pt x="366" y="442"/>
                  </a:lnTo>
                  <a:lnTo>
                    <a:pt x="369" y="439"/>
                  </a:lnTo>
                  <a:lnTo>
                    <a:pt x="371" y="439"/>
                  </a:lnTo>
                  <a:lnTo>
                    <a:pt x="371" y="443"/>
                  </a:lnTo>
                  <a:lnTo>
                    <a:pt x="369" y="443"/>
                  </a:lnTo>
                  <a:lnTo>
                    <a:pt x="369" y="445"/>
                  </a:lnTo>
                  <a:lnTo>
                    <a:pt x="368" y="445"/>
                  </a:lnTo>
                  <a:lnTo>
                    <a:pt x="368" y="446"/>
                  </a:lnTo>
                  <a:lnTo>
                    <a:pt x="371" y="446"/>
                  </a:lnTo>
                  <a:lnTo>
                    <a:pt x="371" y="451"/>
                  </a:lnTo>
                  <a:lnTo>
                    <a:pt x="372" y="454"/>
                  </a:lnTo>
                  <a:lnTo>
                    <a:pt x="374" y="455"/>
                  </a:lnTo>
                  <a:lnTo>
                    <a:pt x="374" y="457"/>
                  </a:lnTo>
                  <a:lnTo>
                    <a:pt x="378" y="457"/>
                  </a:lnTo>
                  <a:lnTo>
                    <a:pt x="380" y="458"/>
                  </a:lnTo>
                  <a:lnTo>
                    <a:pt x="381" y="458"/>
                  </a:lnTo>
                  <a:lnTo>
                    <a:pt x="383" y="460"/>
                  </a:lnTo>
                  <a:lnTo>
                    <a:pt x="389" y="460"/>
                  </a:lnTo>
                  <a:lnTo>
                    <a:pt x="392" y="457"/>
                  </a:lnTo>
                  <a:lnTo>
                    <a:pt x="392" y="455"/>
                  </a:lnTo>
                  <a:lnTo>
                    <a:pt x="393" y="455"/>
                  </a:lnTo>
                  <a:lnTo>
                    <a:pt x="395" y="454"/>
                  </a:lnTo>
                  <a:lnTo>
                    <a:pt x="398" y="454"/>
                  </a:lnTo>
                  <a:lnTo>
                    <a:pt x="399" y="455"/>
                  </a:lnTo>
                  <a:lnTo>
                    <a:pt x="399" y="454"/>
                  </a:lnTo>
                  <a:lnTo>
                    <a:pt x="401" y="455"/>
                  </a:lnTo>
                  <a:lnTo>
                    <a:pt x="402" y="455"/>
                  </a:lnTo>
                  <a:lnTo>
                    <a:pt x="402" y="458"/>
                  </a:lnTo>
                  <a:lnTo>
                    <a:pt x="404" y="460"/>
                  </a:lnTo>
                  <a:lnTo>
                    <a:pt x="404" y="466"/>
                  </a:lnTo>
                  <a:lnTo>
                    <a:pt x="402" y="467"/>
                  </a:lnTo>
                  <a:lnTo>
                    <a:pt x="402" y="469"/>
                  </a:lnTo>
                  <a:lnTo>
                    <a:pt x="401" y="469"/>
                  </a:lnTo>
                  <a:lnTo>
                    <a:pt x="401" y="467"/>
                  </a:lnTo>
                  <a:lnTo>
                    <a:pt x="399" y="469"/>
                  </a:lnTo>
                  <a:lnTo>
                    <a:pt x="399" y="470"/>
                  </a:lnTo>
                  <a:lnTo>
                    <a:pt x="398" y="470"/>
                  </a:lnTo>
                  <a:lnTo>
                    <a:pt x="398" y="472"/>
                  </a:lnTo>
                  <a:lnTo>
                    <a:pt x="393" y="472"/>
                  </a:lnTo>
                  <a:lnTo>
                    <a:pt x="393" y="476"/>
                  </a:lnTo>
                  <a:lnTo>
                    <a:pt x="395" y="476"/>
                  </a:lnTo>
                  <a:lnTo>
                    <a:pt x="395" y="478"/>
                  </a:lnTo>
                  <a:lnTo>
                    <a:pt x="398" y="478"/>
                  </a:lnTo>
                  <a:lnTo>
                    <a:pt x="401" y="476"/>
                  </a:lnTo>
                  <a:lnTo>
                    <a:pt x="402" y="478"/>
                  </a:lnTo>
                  <a:lnTo>
                    <a:pt x="402" y="476"/>
                  </a:lnTo>
                  <a:lnTo>
                    <a:pt x="405" y="478"/>
                  </a:lnTo>
                  <a:lnTo>
                    <a:pt x="410" y="478"/>
                  </a:lnTo>
                  <a:lnTo>
                    <a:pt x="411" y="476"/>
                  </a:lnTo>
                  <a:lnTo>
                    <a:pt x="411" y="478"/>
                  </a:lnTo>
                  <a:lnTo>
                    <a:pt x="410" y="479"/>
                  </a:lnTo>
                  <a:lnTo>
                    <a:pt x="410" y="481"/>
                  </a:lnTo>
                  <a:lnTo>
                    <a:pt x="407" y="484"/>
                  </a:lnTo>
                  <a:lnTo>
                    <a:pt x="408" y="485"/>
                  </a:lnTo>
                  <a:lnTo>
                    <a:pt x="410" y="484"/>
                  </a:lnTo>
                  <a:lnTo>
                    <a:pt x="413" y="484"/>
                  </a:lnTo>
                  <a:lnTo>
                    <a:pt x="411" y="485"/>
                  </a:lnTo>
                  <a:lnTo>
                    <a:pt x="410" y="485"/>
                  </a:lnTo>
                  <a:lnTo>
                    <a:pt x="410" y="487"/>
                  </a:lnTo>
                  <a:lnTo>
                    <a:pt x="414" y="487"/>
                  </a:lnTo>
                  <a:lnTo>
                    <a:pt x="414" y="488"/>
                  </a:lnTo>
                  <a:lnTo>
                    <a:pt x="413" y="488"/>
                  </a:lnTo>
                  <a:lnTo>
                    <a:pt x="413" y="490"/>
                  </a:lnTo>
                  <a:lnTo>
                    <a:pt x="411" y="490"/>
                  </a:lnTo>
                  <a:lnTo>
                    <a:pt x="411" y="493"/>
                  </a:lnTo>
                  <a:lnTo>
                    <a:pt x="414" y="493"/>
                  </a:lnTo>
                  <a:lnTo>
                    <a:pt x="414" y="494"/>
                  </a:lnTo>
                  <a:lnTo>
                    <a:pt x="419" y="494"/>
                  </a:lnTo>
                  <a:lnTo>
                    <a:pt x="419" y="496"/>
                  </a:lnTo>
                  <a:lnTo>
                    <a:pt x="416" y="496"/>
                  </a:lnTo>
                  <a:lnTo>
                    <a:pt x="416" y="499"/>
                  </a:lnTo>
                  <a:lnTo>
                    <a:pt x="414" y="500"/>
                  </a:lnTo>
                  <a:lnTo>
                    <a:pt x="416" y="500"/>
                  </a:lnTo>
                  <a:lnTo>
                    <a:pt x="416" y="502"/>
                  </a:lnTo>
                  <a:lnTo>
                    <a:pt x="414" y="502"/>
                  </a:lnTo>
                  <a:lnTo>
                    <a:pt x="413" y="503"/>
                  </a:lnTo>
                  <a:lnTo>
                    <a:pt x="411" y="503"/>
                  </a:lnTo>
                  <a:lnTo>
                    <a:pt x="410" y="505"/>
                  </a:lnTo>
                  <a:lnTo>
                    <a:pt x="410" y="508"/>
                  </a:lnTo>
                  <a:lnTo>
                    <a:pt x="408" y="508"/>
                  </a:lnTo>
                  <a:lnTo>
                    <a:pt x="405" y="511"/>
                  </a:lnTo>
                  <a:lnTo>
                    <a:pt x="405" y="514"/>
                  </a:lnTo>
                  <a:lnTo>
                    <a:pt x="402" y="514"/>
                  </a:lnTo>
                  <a:lnTo>
                    <a:pt x="402" y="515"/>
                  </a:lnTo>
                  <a:lnTo>
                    <a:pt x="401" y="517"/>
                  </a:lnTo>
                  <a:lnTo>
                    <a:pt x="402" y="517"/>
                  </a:lnTo>
                  <a:lnTo>
                    <a:pt x="402" y="518"/>
                  </a:lnTo>
                  <a:lnTo>
                    <a:pt x="404" y="518"/>
                  </a:lnTo>
                  <a:lnTo>
                    <a:pt x="404" y="520"/>
                  </a:lnTo>
                  <a:lnTo>
                    <a:pt x="401" y="520"/>
                  </a:lnTo>
                  <a:lnTo>
                    <a:pt x="401" y="521"/>
                  </a:lnTo>
                  <a:lnTo>
                    <a:pt x="402" y="523"/>
                  </a:lnTo>
                  <a:lnTo>
                    <a:pt x="401" y="523"/>
                  </a:lnTo>
                  <a:lnTo>
                    <a:pt x="401" y="524"/>
                  </a:lnTo>
                  <a:lnTo>
                    <a:pt x="399" y="524"/>
                  </a:lnTo>
                  <a:lnTo>
                    <a:pt x="399" y="527"/>
                  </a:lnTo>
                  <a:lnTo>
                    <a:pt x="398" y="527"/>
                  </a:lnTo>
                  <a:lnTo>
                    <a:pt x="398" y="529"/>
                  </a:lnTo>
                  <a:lnTo>
                    <a:pt x="396" y="532"/>
                  </a:lnTo>
                  <a:lnTo>
                    <a:pt x="396" y="533"/>
                  </a:lnTo>
                  <a:lnTo>
                    <a:pt x="395" y="536"/>
                  </a:lnTo>
                  <a:lnTo>
                    <a:pt x="395" y="539"/>
                  </a:lnTo>
                  <a:lnTo>
                    <a:pt x="392" y="551"/>
                  </a:lnTo>
                  <a:lnTo>
                    <a:pt x="390" y="553"/>
                  </a:lnTo>
                  <a:lnTo>
                    <a:pt x="390" y="554"/>
                  </a:lnTo>
                  <a:lnTo>
                    <a:pt x="392" y="556"/>
                  </a:lnTo>
                  <a:lnTo>
                    <a:pt x="393" y="556"/>
                  </a:lnTo>
                  <a:lnTo>
                    <a:pt x="393" y="557"/>
                  </a:lnTo>
                  <a:lnTo>
                    <a:pt x="392" y="557"/>
                  </a:lnTo>
                  <a:lnTo>
                    <a:pt x="392" y="559"/>
                  </a:lnTo>
                  <a:lnTo>
                    <a:pt x="390" y="565"/>
                  </a:lnTo>
                  <a:lnTo>
                    <a:pt x="392" y="566"/>
                  </a:lnTo>
                  <a:lnTo>
                    <a:pt x="390" y="568"/>
                  </a:lnTo>
                  <a:lnTo>
                    <a:pt x="389" y="568"/>
                  </a:lnTo>
                  <a:lnTo>
                    <a:pt x="389" y="569"/>
                  </a:lnTo>
                  <a:lnTo>
                    <a:pt x="387" y="571"/>
                  </a:lnTo>
                  <a:lnTo>
                    <a:pt x="389" y="571"/>
                  </a:lnTo>
                  <a:lnTo>
                    <a:pt x="389" y="572"/>
                  </a:lnTo>
                  <a:lnTo>
                    <a:pt x="387" y="574"/>
                  </a:lnTo>
                  <a:lnTo>
                    <a:pt x="387" y="577"/>
                  </a:lnTo>
                  <a:lnTo>
                    <a:pt x="386" y="578"/>
                  </a:lnTo>
                  <a:lnTo>
                    <a:pt x="386" y="580"/>
                  </a:lnTo>
                  <a:lnTo>
                    <a:pt x="384" y="580"/>
                  </a:lnTo>
                  <a:lnTo>
                    <a:pt x="384" y="578"/>
                  </a:lnTo>
                  <a:lnTo>
                    <a:pt x="381" y="578"/>
                  </a:lnTo>
                  <a:lnTo>
                    <a:pt x="381" y="577"/>
                  </a:lnTo>
                  <a:lnTo>
                    <a:pt x="380" y="575"/>
                  </a:lnTo>
                  <a:lnTo>
                    <a:pt x="378" y="575"/>
                  </a:lnTo>
                  <a:lnTo>
                    <a:pt x="378" y="574"/>
                  </a:lnTo>
                  <a:lnTo>
                    <a:pt x="375" y="574"/>
                  </a:lnTo>
                  <a:lnTo>
                    <a:pt x="374" y="575"/>
                  </a:lnTo>
                  <a:lnTo>
                    <a:pt x="372" y="575"/>
                  </a:lnTo>
                  <a:lnTo>
                    <a:pt x="372" y="577"/>
                  </a:lnTo>
                  <a:lnTo>
                    <a:pt x="371" y="578"/>
                  </a:lnTo>
                  <a:lnTo>
                    <a:pt x="371" y="580"/>
                  </a:lnTo>
                  <a:lnTo>
                    <a:pt x="372" y="581"/>
                  </a:lnTo>
                  <a:lnTo>
                    <a:pt x="375" y="581"/>
                  </a:lnTo>
                  <a:lnTo>
                    <a:pt x="375" y="582"/>
                  </a:lnTo>
                  <a:lnTo>
                    <a:pt x="374" y="582"/>
                  </a:lnTo>
                  <a:lnTo>
                    <a:pt x="374" y="584"/>
                  </a:lnTo>
                  <a:lnTo>
                    <a:pt x="377" y="584"/>
                  </a:lnTo>
                  <a:lnTo>
                    <a:pt x="372" y="587"/>
                  </a:lnTo>
                  <a:lnTo>
                    <a:pt x="371" y="587"/>
                  </a:lnTo>
                  <a:lnTo>
                    <a:pt x="371" y="588"/>
                  </a:lnTo>
                  <a:lnTo>
                    <a:pt x="369" y="588"/>
                  </a:lnTo>
                  <a:lnTo>
                    <a:pt x="369" y="591"/>
                  </a:lnTo>
                  <a:lnTo>
                    <a:pt x="368" y="591"/>
                  </a:lnTo>
                  <a:lnTo>
                    <a:pt x="368" y="593"/>
                  </a:lnTo>
                  <a:lnTo>
                    <a:pt x="366" y="593"/>
                  </a:lnTo>
                  <a:lnTo>
                    <a:pt x="365" y="594"/>
                  </a:lnTo>
                  <a:lnTo>
                    <a:pt x="360" y="594"/>
                  </a:lnTo>
                  <a:lnTo>
                    <a:pt x="360" y="596"/>
                  </a:lnTo>
                  <a:lnTo>
                    <a:pt x="357" y="596"/>
                  </a:lnTo>
                  <a:lnTo>
                    <a:pt x="356" y="597"/>
                  </a:lnTo>
                  <a:lnTo>
                    <a:pt x="356" y="599"/>
                  </a:lnTo>
                  <a:lnTo>
                    <a:pt x="354" y="599"/>
                  </a:lnTo>
                  <a:lnTo>
                    <a:pt x="354" y="594"/>
                  </a:lnTo>
                  <a:lnTo>
                    <a:pt x="356" y="594"/>
                  </a:lnTo>
                  <a:lnTo>
                    <a:pt x="357" y="593"/>
                  </a:lnTo>
                  <a:lnTo>
                    <a:pt x="359" y="593"/>
                  </a:lnTo>
                  <a:lnTo>
                    <a:pt x="359" y="588"/>
                  </a:lnTo>
                  <a:lnTo>
                    <a:pt x="360" y="585"/>
                  </a:lnTo>
                  <a:lnTo>
                    <a:pt x="360" y="580"/>
                  </a:lnTo>
                  <a:lnTo>
                    <a:pt x="359" y="578"/>
                  </a:lnTo>
                  <a:lnTo>
                    <a:pt x="359" y="575"/>
                  </a:lnTo>
                  <a:lnTo>
                    <a:pt x="356" y="575"/>
                  </a:lnTo>
                  <a:lnTo>
                    <a:pt x="356" y="574"/>
                  </a:lnTo>
                  <a:lnTo>
                    <a:pt x="357" y="571"/>
                  </a:lnTo>
                  <a:lnTo>
                    <a:pt x="356" y="569"/>
                  </a:lnTo>
                  <a:lnTo>
                    <a:pt x="353" y="569"/>
                  </a:lnTo>
                  <a:lnTo>
                    <a:pt x="351" y="568"/>
                  </a:lnTo>
                  <a:lnTo>
                    <a:pt x="353" y="566"/>
                  </a:lnTo>
                  <a:lnTo>
                    <a:pt x="357" y="566"/>
                  </a:lnTo>
                  <a:lnTo>
                    <a:pt x="357" y="569"/>
                  </a:lnTo>
                  <a:lnTo>
                    <a:pt x="359" y="569"/>
                  </a:lnTo>
                  <a:lnTo>
                    <a:pt x="360" y="568"/>
                  </a:lnTo>
                  <a:lnTo>
                    <a:pt x="360" y="566"/>
                  </a:lnTo>
                  <a:lnTo>
                    <a:pt x="362" y="565"/>
                  </a:lnTo>
                  <a:lnTo>
                    <a:pt x="362" y="562"/>
                  </a:lnTo>
                  <a:lnTo>
                    <a:pt x="357" y="562"/>
                  </a:lnTo>
                  <a:lnTo>
                    <a:pt x="356" y="560"/>
                  </a:lnTo>
                  <a:lnTo>
                    <a:pt x="354" y="560"/>
                  </a:lnTo>
                  <a:lnTo>
                    <a:pt x="353" y="563"/>
                  </a:lnTo>
                  <a:lnTo>
                    <a:pt x="351" y="565"/>
                  </a:lnTo>
                  <a:lnTo>
                    <a:pt x="351" y="566"/>
                  </a:lnTo>
                  <a:lnTo>
                    <a:pt x="350" y="566"/>
                  </a:lnTo>
                  <a:lnTo>
                    <a:pt x="350" y="569"/>
                  </a:lnTo>
                  <a:lnTo>
                    <a:pt x="348" y="571"/>
                  </a:lnTo>
                  <a:lnTo>
                    <a:pt x="348" y="577"/>
                  </a:lnTo>
                  <a:lnTo>
                    <a:pt x="350" y="580"/>
                  </a:lnTo>
                  <a:lnTo>
                    <a:pt x="350" y="582"/>
                  </a:lnTo>
                  <a:lnTo>
                    <a:pt x="351" y="582"/>
                  </a:lnTo>
                  <a:lnTo>
                    <a:pt x="353" y="584"/>
                  </a:lnTo>
                  <a:lnTo>
                    <a:pt x="354" y="584"/>
                  </a:lnTo>
                  <a:lnTo>
                    <a:pt x="354" y="588"/>
                  </a:lnTo>
                  <a:lnTo>
                    <a:pt x="353" y="588"/>
                  </a:lnTo>
                  <a:lnTo>
                    <a:pt x="353" y="590"/>
                  </a:lnTo>
                  <a:lnTo>
                    <a:pt x="348" y="590"/>
                  </a:lnTo>
                  <a:lnTo>
                    <a:pt x="348" y="588"/>
                  </a:lnTo>
                  <a:lnTo>
                    <a:pt x="345" y="585"/>
                  </a:lnTo>
                  <a:lnTo>
                    <a:pt x="334" y="585"/>
                  </a:lnTo>
                  <a:lnTo>
                    <a:pt x="334" y="582"/>
                  </a:lnTo>
                  <a:lnTo>
                    <a:pt x="332" y="581"/>
                  </a:lnTo>
                  <a:lnTo>
                    <a:pt x="334" y="581"/>
                  </a:lnTo>
                  <a:lnTo>
                    <a:pt x="334" y="580"/>
                  </a:lnTo>
                  <a:lnTo>
                    <a:pt x="332" y="578"/>
                  </a:lnTo>
                  <a:lnTo>
                    <a:pt x="331" y="578"/>
                  </a:lnTo>
                  <a:lnTo>
                    <a:pt x="331" y="577"/>
                  </a:lnTo>
                  <a:lnTo>
                    <a:pt x="334" y="577"/>
                  </a:lnTo>
                  <a:lnTo>
                    <a:pt x="334" y="578"/>
                  </a:lnTo>
                  <a:lnTo>
                    <a:pt x="335" y="578"/>
                  </a:lnTo>
                  <a:lnTo>
                    <a:pt x="338" y="575"/>
                  </a:lnTo>
                  <a:lnTo>
                    <a:pt x="338" y="574"/>
                  </a:lnTo>
                  <a:lnTo>
                    <a:pt x="340" y="572"/>
                  </a:lnTo>
                  <a:lnTo>
                    <a:pt x="340" y="565"/>
                  </a:lnTo>
                  <a:lnTo>
                    <a:pt x="338" y="563"/>
                  </a:lnTo>
                  <a:lnTo>
                    <a:pt x="337" y="560"/>
                  </a:lnTo>
                  <a:lnTo>
                    <a:pt x="335" y="560"/>
                  </a:lnTo>
                  <a:lnTo>
                    <a:pt x="332" y="557"/>
                  </a:lnTo>
                  <a:lnTo>
                    <a:pt x="332" y="554"/>
                  </a:lnTo>
                  <a:lnTo>
                    <a:pt x="334" y="554"/>
                  </a:lnTo>
                  <a:lnTo>
                    <a:pt x="334" y="551"/>
                  </a:lnTo>
                  <a:lnTo>
                    <a:pt x="335" y="550"/>
                  </a:lnTo>
                  <a:lnTo>
                    <a:pt x="334" y="548"/>
                  </a:lnTo>
                  <a:lnTo>
                    <a:pt x="334" y="547"/>
                  </a:lnTo>
                  <a:lnTo>
                    <a:pt x="332" y="545"/>
                  </a:lnTo>
                  <a:lnTo>
                    <a:pt x="334" y="544"/>
                  </a:lnTo>
                  <a:lnTo>
                    <a:pt x="334" y="542"/>
                  </a:lnTo>
                  <a:lnTo>
                    <a:pt x="332" y="541"/>
                  </a:lnTo>
                  <a:lnTo>
                    <a:pt x="335" y="538"/>
                  </a:lnTo>
                  <a:lnTo>
                    <a:pt x="337" y="541"/>
                  </a:lnTo>
                  <a:lnTo>
                    <a:pt x="338" y="539"/>
                  </a:lnTo>
                  <a:lnTo>
                    <a:pt x="340" y="539"/>
                  </a:lnTo>
                  <a:lnTo>
                    <a:pt x="340" y="536"/>
                  </a:lnTo>
                  <a:lnTo>
                    <a:pt x="341" y="536"/>
                  </a:lnTo>
                  <a:lnTo>
                    <a:pt x="341" y="535"/>
                  </a:lnTo>
                  <a:lnTo>
                    <a:pt x="344" y="532"/>
                  </a:lnTo>
                  <a:lnTo>
                    <a:pt x="344" y="530"/>
                  </a:lnTo>
                  <a:lnTo>
                    <a:pt x="345" y="530"/>
                  </a:lnTo>
                  <a:lnTo>
                    <a:pt x="345" y="527"/>
                  </a:lnTo>
                  <a:lnTo>
                    <a:pt x="348" y="527"/>
                  </a:lnTo>
                  <a:lnTo>
                    <a:pt x="348" y="523"/>
                  </a:lnTo>
                  <a:lnTo>
                    <a:pt x="350" y="523"/>
                  </a:lnTo>
                  <a:lnTo>
                    <a:pt x="350" y="518"/>
                  </a:lnTo>
                  <a:lnTo>
                    <a:pt x="351" y="518"/>
                  </a:lnTo>
                  <a:lnTo>
                    <a:pt x="351" y="517"/>
                  </a:lnTo>
                  <a:lnTo>
                    <a:pt x="350" y="517"/>
                  </a:lnTo>
                  <a:lnTo>
                    <a:pt x="350" y="515"/>
                  </a:lnTo>
                  <a:lnTo>
                    <a:pt x="354" y="512"/>
                  </a:lnTo>
                  <a:lnTo>
                    <a:pt x="354" y="511"/>
                  </a:lnTo>
                  <a:lnTo>
                    <a:pt x="347" y="512"/>
                  </a:lnTo>
                  <a:lnTo>
                    <a:pt x="345" y="512"/>
                  </a:lnTo>
                  <a:lnTo>
                    <a:pt x="345" y="511"/>
                  </a:lnTo>
                  <a:lnTo>
                    <a:pt x="350" y="509"/>
                  </a:lnTo>
                  <a:lnTo>
                    <a:pt x="350" y="508"/>
                  </a:lnTo>
                  <a:lnTo>
                    <a:pt x="353" y="508"/>
                  </a:lnTo>
                  <a:lnTo>
                    <a:pt x="353" y="506"/>
                  </a:lnTo>
                  <a:lnTo>
                    <a:pt x="351" y="506"/>
                  </a:lnTo>
                  <a:lnTo>
                    <a:pt x="351" y="505"/>
                  </a:lnTo>
                  <a:lnTo>
                    <a:pt x="353" y="503"/>
                  </a:lnTo>
                  <a:lnTo>
                    <a:pt x="345" y="496"/>
                  </a:lnTo>
                  <a:lnTo>
                    <a:pt x="344" y="496"/>
                  </a:lnTo>
                  <a:lnTo>
                    <a:pt x="344" y="487"/>
                  </a:lnTo>
                  <a:lnTo>
                    <a:pt x="342" y="487"/>
                  </a:lnTo>
                  <a:lnTo>
                    <a:pt x="342" y="485"/>
                  </a:lnTo>
                  <a:lnTo>
                    <a:pt x="341" y="485"/>
                  </a:lnTo>
                  <a:lnTo>
                    <a:pt x="341" y="484"/>
                  </a:lnTo>
                  <a:lnTo>
                    <a:pt x="340" y="484"/>
                  </a:lnTo>
                  <a:lnTo>
                    <a:pt x="337" y="481"/>
                  </a:lnTo>
                  <a:lnTo>
                    <a:pt x="335" y="481"/>
                  </a:lnTo>
                  <a:lnTo>
                    <a:pt x="335" y="482"/>
                  </a:lnTo>
                  <a:lnTo>
                    <a:pt x="332" y="484"/>
                  </a:lnTo>
                  <a:lnTo>
                    <a:pt x="331" y="485"/>
                  </a:lnTo>
                  <a:lnTo>
                    <a:pt x="331" y="487"/>
                  </a:lnTo>
                  <a:lnTo>
                    <a:pt x="332" y="488"/>
                  </a:lnTo>
                  <a:lnTo>
                    <a:pt x="334" y="491"/>
                  </a:lnTo>
                  <a:lnTo>
                    <a:pt x="335" y="493"/>
                  </a:lnTo>
                  <a:lnTo>
                    <a:pt x="335" y="494"/>
                  </a:lnTo>
                  <a:lnTo>
                    <a:pt x="334" y="494"/>
                  </a:lnTo>
                  <a:lnTo>
                    <a:pt x="334" y="496"/>
                  </a:lnTo>
                  <a:lnTo>
                    <a:pt x="332" y="496"/>
                  </a:lnTo>
                  <a:lnTo>
                    <a:pt x="331" y="497"/>
                  </a:lnTo>
                  <a:lnTo>
                    <a:pt x="329" y="497"/>
                  </a:lnTo>
                  <a:lnTo>
                    <a:pt x="332" y="500"/>
                  </a:lnTo>
                  <a:lnTo>
                    <a:pt x="334" y="500"/>
                  </a:lnTo>
                  <a:lnTo>
                    <a:pt x="335" y="497"/>
                  </a:lnTo>
                  <a:lnTo>
                    <a:pt x="338" y="497"/>
                  </a:lnTo>
                  <a:lnTo>
                    <a:pt x="341" y="500"/>
                  </a:lnTo>
                  <a:lnTo>
                    <a:pt x="341" y="508"/>
                  </a:lnTo>
                  <a:lnTo>
                    <a:pt x="338" y="511"/>
                  </a:lnTo>
                  <a:lnTo>
                    <a:pt x="337" y="511"/>
                  </a:lnTo>
                  <a:lnTo>
                    <a:pt x="337" y="512"/>
                  </a:lnTo>
                  <a:lnTo>
                    <a:pt x="334" y="512"/>
                  </a:lnTo>
                  <a:lnTo>
                    <a:pt x="332" y="514"/>
                  </a:lnTo>
                  <a:lnTo>
                    <a:pt x="332" y="512"/>
                  </a:lnTo>
                  <a:lnTo>
                    <a:pt x="331" y="511"/>
                  </a:lnTo>
                  <a:lnTo>
                    <a:pt x="331" y="508"/>
                  </a:lnTo>
                  <a:lnTo>
                    <a:pt x="332" y="508"/>
                  </a:lnTo>
                  <a:lnTo>
                    <a:pt x="334" y="506"/>
                  </a:lnTo>
                  <a:lnTo>
                    <a:pt x="334" y="505"/>
                  </a:lnTo>
                  <a:lnTo>
                    <a:pt x="332" y="503"/>
                  </a:lnTo>
                  <a:lnTo>
                    <a:pt x="334" y="503"/>
                  </a:lnTo>
                  <a:lnTo>
                    <a:pt x="332" y="502"/>
                  </a:lnTo>
                  <a:lnTo>
                    <a:pt x="331" y="502"/>
                  </a:lnTo>
                  <a:lnTo>
                    <a:pt x="331" y="503"/>
                  </a:lnTo>
                  <a:lnTo>
                    <a:pt x="329" y="502"/>
                  </a:lnTo>
                  <a:lnTo>
                    <a:pt x="328" y="503"/>
                  </a:lnTo>
                  <a:lnTo>
                    <a:pt x="326" y="503"/>
                  </a:lnTo>
                  <a:lnTo>
                    <a:pt x="326" y="505"/>
                  </a:lnTo>
                  <a:lnTo>
                    <a:pt x="323" y="505"/>
                  </a:lnTo>
                  <a:lnTo>
                    <a:pt x="323" y="503"/>
                  </a:lnTo>
                  <a:lnTo>
                    <a:pt x="322" y="505"/>
                  </a:lnTo>
                  <a:lnTo>
                    <a:pt x="322" y="506"/>
                  </a:lnTo>
                  <a:lnTo>
                    <a:pt x="320" y="508"/>
                  </a:lnTo>
                  <a:lnTo>
                    <a:pt x="320" y="509"/>
                  </a:lnTo>
                  <a:lnTo>
                    <a:pt x="319" y="511"/>
                  </a:lnTo>
                  <a:lnTo>
                    <a:pt x="317" y="511"/>
                  </a:lnTo>
                  <a:lnTo>
                    <a:pt x="317" y="512"/>
                  </a:lnTo>
                  <a:lnTo>
                    <a:pt x="316" y="514"/>
                  </a:lnTo>
                  <a:lnTo>
                    <a:pt x="314" y="514"/>
                  </a:lnTo>
                  <a:lnTo>
                    <a:pt x="314" y="512"/>
                  </a:lnTo>
                  <a:lnTo>
                    <a:pt x="316" y="511"/>
                  </a:lnTo>
                  <a:lnTo>
                    <a:pt x="316" y="508"/>
                  </a:lnTo>
                  <a:lnTo>
                    <a:pt x="317" y="508"/>
                  </a:lnTo>
                  <a:lnTo>
                    <a:pt x="319" y="506"/>
                  </a:lnTo>
                  <a:lnTo>
                    <a:pt x="316" y="506"/>
                  </a:lnTo>
                  <a:lnTo>
                    <a:pt x="316" y="503"/>
                  </a:lnTo>
                  <a:lnTo>
                    <a:pt x="314" y="503"/>
                  </a:lnTo>
                  <a:lnTo>
                    <a:pt x="314" y="502"/>
                  </a:lnTo>
                  <a:lnTo>
                    <a:pt x="313" y="502"/>
                  </a:lnTo>
                  <a:lnTo>
                    <a:pt x="310" y="499"/>
                  </a:lnTo>
                  <a:lnTo>
                    <a:pt x="310" y="496"/>
                  </a:lnTo>
                  <a:lnTo>
                    <a:pt x="308" y="496"/>
                  </a:lnTo>
                  <a:lnTo>
                    <a:pt x="308" y="488"/>
                  </a:lnTo>
                  <a:lnTo>
                    <a:pt x="310" y="487"/>
                  </a:lnTo>
                  <a:lnTo>
                    <a:pt x="311" y="487"/>
                  </a:lnTo>
                  <a:lnTo>
                    <a:pt x="313" y="488"/>
                  </a:lnTo>
                  <a:lnTo>
                    <a:pt x="313" y="491"/>
                  </a:lnTo>
                  <a:lnTo>
                    <a:pt x="314" y="490"/>
                  </a:lnTo>
                  <a:lnTo>
                    <a:pt x="316" y="491"/>
                  </a:lnTo>
                  <a:lnTo>
                    <a:pt x="316" y="494"/>
                  </a:lnTo>
                  <a:lnTo>
                    <a:pt x="314" y="494"/>
                  </a:lnTo>
                  <a:lnTo>
                    <a:pt x="314" y="496"/>
                  </a:lnTo>
                  <a:lnTo>
                    <a:pt x="316" y="496"/>
                  </a:lnTo>
                  <a:lnTo>
                    <a:pt x="316" y="499"/>
                  </a:lnTo>
                  <a:lnTo>
                    <a:pt x="319" y="499"/>
                  </a:lnTo>
                  <a:lnTo>
                    <a:pt x="319" y="497"/>
                  </a:lnTo>
                  <a:lnTo>
                    <a:pt x="322" y="499"/>
                  </a:lnTo>
                  <a:lnTo>
                    <a:pt x="323" y="500"/>
                  </a:lnTo>
                  <a:lnTo>
                    <a:pt x="325" y="500"/>
                  </a:lnTo>
                  <a:lnTo>
                    <a:pt x="323" y="499"/>
                  </a:lnTo>
                  <a:lnTo>
                    <a:pt x="322" y="496"/>
                  </a:lnTo>
                  <a:lnTo>
                    <a:pt x="322" y="490"/>
                  </a:lnTo>
                  <a:lnTo>
                    <a:pt x="320" y="490"/>
                  </a:lnTo>
                  <a:lnTo>
                    <a:pt x="319" y="488"/>
                  </a:lnTo>
                  <a:lnTo>
                    <a:pt x="316" y="488"/>
                  </a:lnTo>
                  <a:lnTo>
                    <a:pt x="316" y="487"/>
                  </a:lnTo>
                  <a:lnTo>
                    <a:pt x="314" y="487"/>
                  </a:lnTo>
                  <a:lnTo>
                    <a:pt x="314" y="488"/>
                  </a:lnTo>
                  <a:lnTo>
                    <a:pt x="313" y="488"/>
                  </a:lnTo>
                  <a:lnTo>
                    <a:pt x="313" y="484"/>
                  </a:lnTo>
                  <a:lnTo>
                    <a:pt x="311" y="484"/>
                  </a:lnTo>
                  <a:lnTo>
                    <a:pt x="311" y="485"/>
                  </a:lnTo>
                  <a:lnTo>
                    <a:pt x="310" y="485"/>
                  </a:lnTo>
                  <a:lnTo>
                    <a:pt x="308" y="484"/>
                  </a:lnTo>
                  <a:lnTo>
                    <a:pt x="310" y="484"/>
                  </a:lnTo>
                  <a:lnTo>
                    <a:pt x="310" y="482"/>
                  </a:lnTo>
                  <a:lnTo>
                    <a:pt x="308" y="482"/>
                  </a:lnTo>
                  <a:lnTo>
                    <a:pt x="308" y="481"/>
                  </a:lnTo>
                  <a:lnTo>
                    <a:pt x="307" y="481"/>
                  </a:lnTo>
                  <a:lnTo>
                    <a:pt x="307" y="479"/>
                  </a:lnTo>
                  <a:lnTo>
                    <a:pt x="304" y="479"/>
                  </a:lnTo>
                  <a:lnTo>
                    <a:pt x="304" y="478"/>
                  </a:lnTo>
                  <a:lnTo>
                    <a:pt x="305" y="476"/>
                  </a:lnTo>
                  <a:lnTo>
                    <a:pt x="305" y="470"/>
                  </a:lnTo>
                  <a:lnTo>
                    <a:pt x="307" y="472"/>
                  </a:lnTo>
                  <a:lnTo>
                    <a:pt x="308" y="472"/>
                  </a:lnTo>
                  <a:lnTo>
                    <a:pt x="310" y="469"/>
                  </a:lnTo>
                  <a:lnTo>
                    <a:pt x="310" y="472"/>
                  </a:lnTo>
                  <a:lnTo>
                    <a:pt x="316" y="472"/>
                  </a:lnTo>
                  <a:lnTo>
                    <a:pt x="316" y="475"/>
                  </a:lnTo>
                  <a:lnTo>
                    <a:pt x="317" y="475"/>
                  </a:lnTo>
                  <a:lnTo>
                    <a:pt x="317" y="472"/>
                  </a:lnTo>
                  <a:lnTo>
                    <a:pt x="319" y="472"/>
                  </a:lnTo>
                  <a:lnTo>
                    <a:pt x="319" y="469"/>
                  </a:lnTo>
                  <a:lnTo>
                    <a:pt x="316" y="467"/>
                  </a:lnTo>
                  <a:lnTo>
                    <a:pt x="314" y="466"/>
                  </a:lnTo>
                  <a:lnTo>
                    <a:pt x="316" y="466"/>
                  </a:lnTo>
                  <a:lnTo>
                    <a:pt x="316" y="464"/>
                  </a:lnTo>
                  <a:lnTo>
                    <a:pt x="317" y="466"/>
                  </a:lnTo>
                  <a:lnTo>
                    <a:pt x="317" y="467"/>
                  </a:lnTo>
                  <a:lnTo>
                    <a:pt x="319" y="467"/>
                  </a:lnTo>
                  <a:lnTo>
                    <a:pt x="319" y="466"/>
                  </a:lnTo>
                  <a:lnTo>
                    <a:pt x="317" y="464"/>
                  </a:lnTo>
                  <a:lnTo>
                    <a:pt x="317" y="461"/>
                  </a:lnTo>
                  <a:lnTo>
                    <a:pt x="320" y="461"/>
                  </a:lnTo>
                  <a:lnTo>
                    <a:pt x="322" y="463"/>
                  </a:lnTo>
                  <a:lnTo>
                    <a:pt x="323" y="463"/>
                  </a:lnTo>
                  <a:lnTo>
                    <a:pt x="323" y="464"/>
                  </a:lnTo>
                  <a:lnTo>
                    <a:pt x="322" y="464"/>
                  </a:lnTo>
                  <a:lnTo>
                    <a:pt x="322" y="466"/>
                  </a:lnTo>
                  <a:lnTo>
                    <a:pt x="323" y="464"/>
                  </a:lnTo>
                  <a:lnTo>
                    <a:pt x="323" y="466"/>
                  </a:lnTo>
                  <a:lnTo>
                    <a:pt x="325" y="467"/>
                  </a:lnTo>
                  <a:lnTo>
                    <a:pt x="326" y="466"/>
                  </a:lnTo>
                  <a:lnTo>
                    <a:pt x="326" y="464"/>
                  </a:lnTo>
                  <a:lnTo>
                    <a:pt x="328" y="464"/>
                  </a:lnTo>
                  <a:lnTo>
                    <a:pt x="328" y="463"/>
                  </a:lnTo>
                  <a:lnTo>
                    <a:pt x="332" y="463"/>
                  </a:lnTo>
                  <a:lnTo>
                    <a:pt x="332" y="461"/>
                  </a:lnTo>
                  <a:lnTo>
                    <a:pt x="329" y="461"/>
                  </a:lnTo>
                  <a:lnTo>
                    <a:pt x="329" y="458"/>
                  </a:lnTo>
                  <a:lnTo>
                    <a:pt x="332" y="458"/>
                  </a:lnTo>
                  <a:lnTo>
                    <a:pt x="332" y="457"/>
                  </a:lnTo>
                  <a:lnTo>
                    <a:pt x="334" y="457"/>
                  </a:lnTo>
                  <a:lnTo>
                    <a:pt x="334" y="455"/>
                  </a:lnTo>
                  <a:lnTo>
                    <a:pt x="335" y="455"/>
                  </a:lnTo>
                  <a:lnTo>
                    <a:pt x="335" y="458"/>
                  </a:lnTo>
                  <a:lnTo>
                    <a:pt x="337" y="458"/>
                  </a:lnTo>
                  <a:lnTo>
                    <a:pt x="337" y="460"/>
                  </a:lnTo>
                  <a:lnTo>
                    <a:pt x="338" y="460"/>
                  </a:lnTo>
                  <a:lnTo>
                    <a:pt x="340" y="458"/>
                  </a:lnTo>
                  <a:lnTo>
                    <a:pt x="342" y="458"/>
                  </a:lnTo>
                  <a:lnTo>
                    <a:pt x="342" y="455"/>
                  </a:lnTo>
                  <a:lnTo>
                    <a:pt x="340" y="455"/>
                  </a:lnTo>
                  <a:lnTo>
                    <a:pt x="342" y="454"/>
                  </a:lnTo>
                  <a:lnTo>
                    <a:pt x="344" y="452"/>
                  </a:lnTo>
                  <a:lnTo>
                    <a:pt x="345" y="452"/>
                  </a:lnTo>
                  <a:lnTo>
                    <a:pt x="345" y="446"/>
                  </a:lnTo>
                  <a:lnTo>
                    <a:pt x="347" y="446"/>
                  </a:lnTo>
                  <a:lnTo>
                    <a:pt x="347" y="445"/>
                  </a:lnTo>
                  <a:lnTo>
                    <a:pt x="348" y="443"/>
                  </a:lnTo>
                  <a:lnTo>
                    <a:pt x="353" y="443"/>
                  </a:lnTo>
                  <a:lnTo>
                    <a:pt x="356" y="440"/>
                  </a:lnTo>
                  <a:lnTo>
                    <a:pt x="357" y="440"/>
                  </a:lnTo>
                  <a:lnTo>
                    <a:pt x="359" y="439"/>
                  </a:lnTo>
                  <a:close/>
                  <a:moveTo>
                    <a:pt x="444" y="436"/>
                  </a:moveTo>
                  <a:lnTo>
                    <a:pt x="446" y="436"/>
                  </a:lnTo>
                  <a:lnTo>
                    <a:pt x="446" y="439"/>
                  </a:lnTo>
                  <a:lnTo>
                    <a:pt x="443" y="439"/>
                  </a:lnTo>
                  <a:lnTo>
                    <a:pt x="443" y="437"/>
                  </a:lnTo>
                  <a:lnTo>
                    <a:pt x="444" y="437"/>
                  </a:lnTo>
                  <a:lnTo>
                    <a:pt x="444" y="436"/>
                  </a:lnTo>
                  <a:close/>
                  <a:moveTo>
                    <a:pt x="761" y="430"/>
                  </a:moveTo>
                  <a:lnTo>
                    <a:pt x="763" y="430"/>
                  </a:lnTo>
                  <a:lnTo>
                    <a:pt x="764" y="431"/>
                  </a:lnTo>
                  <a:lnTo>
                    <a:pt x="761" y="434"/>
                  </a:lnTo>
                  <a:lnTo>
                    <a:pt x="760" y="433"/>
                  </a:lnTo>
                  <a:lnTo>
                    <a:pt x="760" y="431"/>
                  </a:lnTo>
                  <a:lnTo>
                    <a:pt x="761" y="430"/>
                  </a:lnTo>
                  <a:close/>
                  <a:moveTo>
                    <a:pt x="440" y="427"/>
                  </a:moveTo>
                  <a:lnTo>
                    <a:pt x="441" y="427"/>
                  </a:lnTo>
                  <a:lnTo>
                    <a:pt x="441" y="430"/>
                  </a:lnTo>
                  <a:lnTo>
                    <a:pt x="443" y="430"/>
                  </a:lnTo>
                  <a:lnTo>
                    <a:pt x="443" y="433"/>
                  </a:lnTo>
                  <a:lnTo>
                    <a:pt x="441" y="433"/>
                  </a:lnTo>
                  <a:lnTo>
                    <a:pt x="441" y="431"/>
                  </a:lnTo>
                  <a:lnTo>
                    <a:pt x="437" y="431"/>
                  </a:lnTo>
                  <a:lnTo>
                    <a:pt x="440" y="428"/>
                  </a:lnTo>
                  <a:lnTo>
                    <a:pt x="438" y="428"/>
                  </a:lnTo>
                  <a:lnTo>
                    <a:pt x="440" y="427"/>
                  </a:lnTo>
                  <a:close/>
                  <a:moveTo>
                    <a:pt x="464" y="425"/>
                  </a:moveTo>
                  <a:lnTo>
                    <a:pt x="465" y="425"/>
                  </a:lnTo>
                  <a:lnTo>
                    <a:pt x="465" y="427"/>
                  </a:lnTo>
                  <a:lnTo>
                    <a:pt x="467" y="427"/>
                  </a:lnTo>
                  <a:lnTo>
                    <a:pt x="464" y="430"/>
                  </a:lnTo>
                  <a:lnTo>
                    <a:pt x="462" y="430"/>
                  </a:lnTo>
                  <a:lnTo>
                    <a:pt x="462" y="428"/>
                  </a:lnTo>
                  <a:lnTo>
                    <a:pt x="464" y="428"/>
                  </a:lnTo>
                  <a:lnTo>
                    <a:pt x="464" y="425"/>
                  </a:lnTo>
                  <a:close/>
                  <a:moveTo>
                    <a:pt x="447" y="425"/>
                  </a:moveTo>
                  <a:lnTo>
                    <a:pt x="450" y="425"/>
                  </a:lnTo>
                  <a:lnTo>
                    <a:pt x="452" y="427"/>
                  </a:lnTo>
                  <a:lnTo>
                    <a:pt x="449" y="427"/>
                  </a:lnTo>
                  <a:lnTo>
                    <a:pt x="447" y="425"/>
                  </a:lnTo>
                  <a:close/>
                  <a:moveTo>
                    <a:pt x="488" y="422"/>
                  </a:moveTo>
                  <a:lnTo>
                    <a:pt x="491" y="422"/>
                  </a:lnTo>
                  <a:lnTo>
                    <a:pt x="491" y="424"/>
                  </a:lnTo>
                  <a:lnTo>
                    <a:pt x="489" y="424"/>
                  </a:lnTo>
                  <a:lnTo>
                    <a:pt x="488" y="422"/>
                  </a:lnTo>
                  <a:close/>
                  <a:moveTo>
                    <a:pt x="636" y="421"/>
                  </a:moveTo>
                  <a:lnTo>
                    <a:pt x="637" y="421"/>
                  </a:lnTo>
                  <a:lnTo>
                    <a:pt x="639" y="422"/>
                  </a:lnTo>
                  <a:lnTo>
                    <a:pt x="636" y="422"/>
                  </a:lnTo>
                  <a:lnTo>
                    <a:pt x="636" y="421"/>
                  </a:lnTo>
                  <a:close/>
                  <a:moveTo>
                    <a:pt x="458" y="421"/>
                  </a:moveTo>
                  <a:lnTo>
                    <a:pt x="459" y="421"/>
                  </a:lnTo>
                  <a:lnTo>
                    <a:pt x="459" y="422"/>
                  </a:lnTo>
                  <a:lnTo>
                    <a:pt x="456" y="425"/>
                  </a:lnTo>
                  <a:lnTo>
                    <a:pt x="455" y="424"/>
                  </a:lnTo>
                  <a:lnTo>
                    <a:pt x="455" y="422"/>
                  </a:lnTo>
                  <a:lnTo>
                    <a:pt x="458" y="422"/>
                  </a:lnTo>
                  <a:lnTo>
                    <a:pt x="458" y="421"/>
                  </a:lnTo>
                  <a:close/>
                  <a:moveTo>
                    <a:pt x="464" y="419"/>
                  </a:moveTo>
                  <a:lnTo>
                    <a:pt x="464" y="421"/>
                  </a:lnTo>
                  <a:lnTo>
                    <a:pt x="465" y="422"/>
                  </a:lnTo>
                  <a:lnTo>
                    <a:pt x="465" y="424"/>
                  </a:lnTo>
                  <a:lnTo>
                    <a:pt x="464" y="425"/>
                  </a:lnTo>
                  <a:lnTo>
                    <a:pt x="461" y="425"/>
                  </a:lnTo>
                  <a:lnTo>
                    <a:pt x="461" y="424"/>
                  </a:lnTo>
                  <a:lnTo>
                    <a:pt x="462" y="424"/>
                  </a:lnTo>
                  <a:lnTo>
                    <a:pt x="462" y="422"/>
                  </a:lnTo>
                  <a:lnTo>
                    <a:pt x="461" y="422"/>
                  </a:lnTo>
                  <a:lnTo>
                    <a:pt x="464" y="419"/>
                  </a:lnTo>
                  <a:close/>
                  <a:moveTo>
                    <a:pt x="431" y="419"/>
                  </a:moveTo>
                  <a:lnTo>
                    <a:pt x="432" y="419"/>
                  </a:lnTo>
                  <a:lnTo>
                    <a:pt x="432" y="421"/>
                  </a:lnTo>
                  <a:lnTo>
                    <a:pt x="431" y="422"/>
                  </a:lnTo>
                  <a:lnTo>
                    <a:pt x="429" y="422"/>
                  </a:lnTo>
                  <a:lnTo>
                    <a:pt x="429" y="424"/>
                  </a:lnTo>
                  <a:lnTo>
                    <a:pt x="428" y="422"/>
                  </a:lnTo>
                  <a:lnTo>
                    <a:pt x="431" y="419"/>
                  </a:lnTo>
                  <a:close/>
                  <a:moveTo>
                    <a:pt x="289" y="418"/>
                  </a:moveTo>
                  <a:lnTo>
                    <a:pt x="289" y="419"/>
                  </a:lnTo>
                  <a:lnTo>
                    <a:pt x="290" y="419"/>
                  </a:lnTo>
                  <a:lnTo>
                    <a:pt x="290" y="418"/>
                  </a:lnTo>
                  <a:lnTo>
                    <a:pt x="292" y="418"/>
                  </a:lnTo>
                  <a:lnTo>
                    <a:pt x="292" y="421"/>
                  </a:lnTo>
                  <a:lnTo>
                    <a:pt x="293" y="421"/>
                  </a:lnTo>
                  <a:lnTo>
                    <a:pt x="293" y="424"/>
                  </a:lnTo>
                  <a:lnTo>
                    <a:pt x="292" y="424"/>
                  </a:lnTo>
                  <a:lnTo>
                    <a:pt x="292" y="430"/>
                  </a:lnTo>
                  <a:lnTo>
                    <a:pt x="290" y="430"/>
                  </a:lnTo>
                  <a:lnTo>
                    <a:pt x="290" y="431"/>
                  </a:lnTo>
                  <a:lnTo>
                    <a:pt x="289" y="431"/>
                  </a:lnTo>
                  <a:lnTo>
                    <a:pt x="287" y="430"/>
                  </a:lnTo>
                  <a:lnTo>
                    <a:pt x="286" y="430"/>
                  </a:lnTo>
                  <a:lnTo>
                    <a:pt x="286" y="428"/>
                  </a:lnTo>
                  <a:lnTo>
                    <a:pt x="287" y="427"/>
                  </a:lnTo>
                  <a:lnTo>
                    <a:pt x="287" y="419"/>
                  </a:lnTo>
                  <a:lnTo>
                    <a:pt x="289" y="418"/>
                  </a:lnTo>
                  <a:close/>
                  <a:moveTo>
                    <a:pt x="476" y="416"/>
                  </a:moveTo>
                  <a:lnTo>
                    <a:pt x="477" y="416"/>
                  </a:lnTo>
                  <a:lnTo>
                    <a:pt x="477" y="418"/>
                  </a:lnTo>
                  <a:lnTo>
                    <a:pt x="476" y="418"/>
                  </a:lnTo>
                  <a:lnTo>
                    <a:pt x="476" y="416"/>
                  </a:lnTo>
                  <a:close/>
                  <a:moveTo>
                    <a:pt x="505" y="415"/>
                  </a:moveTo>
                  <a:lnTo>
                    <a:pt x="507" y="416"/>
                  </a:lnTo>
                  <a:lnTo>
                    <a:pt x="511" y="416"/>
                  </a:lnTo>
                  <a:lnTo>
                    <a:pt x="513" y="415"/>
                  </a:lnTo>
                  <a:lnTo>
                    <a:pt x="514" y="415"/>
                  </a:lnTo>
                  <a:lnTo>
                    <a:pt x="516" y="416"/>
                  </a:lnTo>
                  <a:lnTo>
                    <a:pt x="516" y="418"/>
                  </a:lnTo>
                  <a:lnTo>
                    <a:pt x="517" y="416"/>
                  </a:lnTo>
                  <a:lnTo>
                    <a:pt x="519" y="418"/>
                  </a:lnTo>
                  <a:lnTo>
                    <a:pt x="520" y="418"/>
                  </a:lnTo>
                  <a:lnTo>
                    <a:pt x="520" y="419"/>
                  </a:lnTo>
                  <a:lnTo>
                    <a:pt x="523" y="422"/>
                  </a:lnTo>
                  <a:lnTo>
                    <a:pt x="526" y="422"/>
                  </a:lnTo>
                  <a:lnTo>
                    <a:pt x="526" y="424"/>
                  </a:lnTo>
                  <a:lnTo>
                    <a:pt x="528" y="425"/>
                  </a:lnTo>
                  <a:lnTo>
                    <a:pt x="529" y="425"/>
                  </a:lnTo>
                  <a:lnTo>
                    <a:pt x="531" y="424"/>
                  </a:lnTo>
                  <a:lnTo>
                    <a:pt x="537" y="424"/>
                  </a:lnTo>
                  <a:lnTo>
                    <a:pt x="537" y="425"/>
                  </a:lnTo>
                  <a:lnTo>
                    <a:pt x="535" y="427"/>
                  </a:lnTo>
                  <a:lnTo>
                    <a:pt x="537" y="427"/>
                  </a:lnTo>
                  <a:lnTo>
                    <a:pt x="537" y="428"/>
                  </a:lnTo>
                  <a:lnTo>
                    <a:pt x="535" y="430"/>
                  </a:lnTo>
                  <a:lnTo>
                    <a:pt x="535" y="436"/>
                  </a:lnTo>
                  <a:lnTo>
                    <a:pt x="537" y="436"/>
                  </a:lnTo>
                  <a:lnTo>
                    <a:pt x="540" y="439"/>
                  </a:lnTo>
                  <a:lnTo>
                    <a:pt x="540" y="442"/>
                  </a:lnTo>
                  <a:lnTo>
                    <a:pt x="537" y="445"/>
                  </a:lnTo>
                  <a:lnTo>
                    <a:pt x="540" y="445"/>
                  </a:lnTo>
                  <a:lnTo>
                    <a:pt x="540" y="446"/>
                  </a:lnTo>
                  <a:lnTo>
                    <a:pt x="538" y="448"/>
                  </a:lnTo>
                  <a:lnTo>
                    <a:pt x="537" y="448"/>
                  </a:lnTo>
                  <a:lnTo>
                    <a:pt x="535" y="449"/>
                  </a:lnTo>
                  <a:lnTo>
                    <a:pt x="534" y="449"/>
                  </a:lnTo>
                  <a:lnTo>
                    <a:pt x="534" y="451"/>
                  </a:lnTo>
                  <a:lnTo>
                    <a:pt x="532" y="451"/>
                  </a:lnTo>
                  <a:lnTo>
                    <a:pt x="532" y="452"/>
                  </a:lnTo>
                  <a:lnTo>
                    <a:pt x="526" y="455"/>
                  </a:lnTo>
                  <a:lnTo>
                    <a:pt x="525" y="457"/>
                  </a:lnTo>
                  <a:lnTo>
                    <a:pt x="526" y="457"/>
                  </a:lnTo>
                  <a:lnTo>
                    <a:pt x="523" y="460"/>
                  </a:lnTo>
                  <a:lnTo>
                    <a:pt x="522" y="460"/>
                  </a:lnTo>
                  <a:lnTo>
                    <a:pt x="522" y="463"/>
                  </a:lnTo>
                  <a:lnTo>
                    <a:pt x="520" y="463"/>
                  </a:lnTo>
                  <a:lnTo>
                    <a:pt x="519" y="466"/>
                  </a:lnTo>
                  <a:lnTo>
                    <a:pt x="517" y="470"/>
                  </a:lnTo>
                  <a:lnTo>
                    <a:pt x="517" y="475"/>
                  </a:lnTo>
                  <a:lnTo>
                    <a:pt x="516" y="476"/>
                  </a:lnTo>
                  <a:lnTo>
                    <a:pt x="516" y="478"/>
                  </a:lnTo>
                  <a:lnTo>
                    <a:pt x="514" y="476"/>
                  </a:lnTo>
                  <a:lnTo>
                    <a:pt x="514" y="475"/>
                  </a:lnTo>
                  <a:lnTo>
                    <a:pt x="513" y="475"/>
                  </a:lnTo>
                  <a:lnTo>
                    <a:pt x="513" y="473"/>
                  </a:lnTo>
                  <a:lnTo>
                    <a:pt x="511" y="473"/>
                  </a:lnTo>
                  <a:lnTo>
                    <a:pt x="510" y="470"/>
                  </a:lnTo>
                  <a:lnTo>
                    <a:pt x="504" y="464"/>
                  </a:lnTo>
                  <a:lnTo>
                    <a:pt x="501" y="464"/>
                  </a:lnTo>
                  <a:lnTo>
                    <a:pt x="497" y="463"/>
                  </a:lnTo>
                  <a:lnTo>
                    <a:pt x="497" y="461"/>
                  </a:lnTo>
                  <a:lnTo>
                    <a:pt x="494" y="463"/>
                  </a:lnTo>
                  <a:lnTo>
                    <a:pt x="491" y="463"/>
                  </a:lnTo>
                  <a:lnTo>
                    <a:pt x="489" y="464"/>
                  </a:lnTo>
                  <a:lnTo>
                    <a:pt x="488" y="464"/>
                  </a:lnTo>
                  <a:lnTo>
                    <a:pt x="483" y="466"/>
                  </a:lnTo>
                  <a:lnTo>
                    <a:pt x="483" y="469"/>
                  </a:lnTo>
                  <a:lnTo>
                    <a:pt x="482" y="469"/>
                  </a:lnTo>
                  <a:lnTo>
                    <a:pt x="482" y="470"/>
                  </a:lnTo>
                  <a:lnTo>
                    <a:pt x="479" y="470"/>
                  </a:lnTo>
                  <a:lnTo>
                    <a:pt x="477" y="472"/>
                  </a:lnTo>
                  <a:lnTo>
                    <a:pt x="477" y="470"/>
                  </a:lnTo>
                  <a:lnTo>
                    <a:pt x="476" y="472"/>
                  </a:lnTo>
                  <a:lnTo>
                    <a:pt x="474" y="472"/>
                  </a:lnTo>
                  <a:lnTo>
                    <a:pt x="474" y="479"/>
                  </a:lnTo>
                  <a:lnTo>
                    <a:pt x="473" y="479"/>
                  </a:lnTo>
                  <a:lnTo>
                    <a:pt x="473" y="482"/>
                  </a:lnTo>
                  <a:lnTo>
                    <a:pt x="471" y="482"/>
                  </a:lnTo>
                  <a:lnTo>
                    <a:pt x="470" y="484"/>
                  </a:lnTo>
                  <a:lnTo>
                    <a:pt x="468" y="487"/>
                  </a:lnTo>
                  <a:lnTo>
                    <a:pt x="467" y="488"/>
                  </a:lnTo>
                  <a:lnTo>
                    <a:pt x="467" y="490"/>
                  </a:lnTo>
                  <a:lnTo>
                    <a:pt x="465" y="490"/>
                  </a:lnTo>
                  <a:lnTo>
                    <a:pt x="465" y="488"/>
                  </a:lnTo>
                  <a:lnTo>
                    <a:pt x="462" y="490"/>
                  </a:lnTo>
                  <a:lnTo>
                    <a:pt x="462" y="499"/>
                  </a:lnTo>
                  <a:lnTo>
                    <a:pt x="461" y="499"/>
                  </a:lnTo>
                  <a:lnTo>
                    <a:pt x="461" y="503"/>
                  </a:lnTo>
                  <a:lnTo>
                    <a:pt x="462" y="503"/>
                  </a:lnTo>
                  <a:lnTo>
                    <a:pt x="462" y="505"/>
                  </a:lnTo>
                  <a:lnTo>
                    <a:pt x="464" y="505"/>
                  </a:lnTo>
                  <a:lnTo>
                    <a:pt x="464" y="506"/>
                  </a:lnTo>
                  <a:lnTo>
                    <a:pt x="461" y="506"/>
                  </a:lnTo>
                  <a:lnTo>
                    <a:pt x="461" y="505"/>
                  </a:lnTo>
                  <a:lnTo>
                    <a:pt x="459" y="503"/>
                  </a:lnTo>
                  <a:lnTo>
                    <a:pt x="458" y="503"/>
                  </a:lnTo>
                  <a:lnTo>
                    <a:pt x="456" y="505"/>
                  </a:lnTo>
                  <a:lnTo>
                    <a:pt x="456" y="503"/>
                  </a:lnTo>
                  <a:lnTo>
                    <a:pt x="455" y="505"/>
                  </a:lnTo>
                  <a:lnTo>
                    <a:pt x="450" y="505"/>
                  </a:lnTo>
                  <a:lnTo>
                    <a:pt x="450" y="503"/>
                  </a:lnTo>
                  <a:lnTo>
                    <a:pt x="447" y="503"/>
                  </a:lnTo>
                  <a:lnTo>
                    <a:pt x="444" y="505"/>
                  </a:lnTo>
                  <a:lnTo>
                    <a:pt x="444" y="502"/>
                  </a:lnTo>
                  <a:lnTo>
                    <a:pt x="447" y="499"/>
                  </a:lnTo>
                  <a:lnTo>
                    <a:pt x="447" y="497"/>
                  </a:lnTo>
                  <a:lnTo>
                    <a:pt x="449" y="497"/>
                  </a:lnTo>
                  <a:lnTo>
                    <a:pt x="449" y="496"/>
                  </a:lnTo>
                  <a:lnTo>
                    <a:pt x="444" y="496"/>
                  </a:lnTo>
                  <a:lnTo>
                    <a:pt x="443" y="494"/>
                  </a:lnTo>
                  <a:lnTo>
                    <a:pt x="440" y="494"/>
                  </a:lnTo>
                  <a:lnTo>
                    <a:pt x="440" y="496"/>
                  </a:lnTo>
                  <a:lnTo>
                    <a:pt x="441" y="497"/>
                  </a:lnTo>
                  <a:lnTo>
                    <a:pt x="438" y="497"/>
                  </a:lnTo>
                  <a:lnTo>
                    <a:pt x="438" y="491"/>
                  </a:lnTo>
                  <a:lnTo>
                    <a:pt x="440" y="491"/>
                  </a:lnTo>
                  <a:lnTo>
                    <a:pt x="438" y="490"/>
                  </a:lnTo>
                  <a:lnTo>
                    <a:pt x="438" y="484"/>
                  </a:lnTo>
                  <a:lnTo>
                    <a:pt x="437" y="484"/>
                  </a:lnTo>
                  <a:lnTo>
                    <a:pt x="437" y="481"/>
                  </a:lnTo>
                  <a:lnTo>
                    <a:pt x="438" y="481"/>
                  </a:lnTo>
                  <a:lnTo>
                    <a:pt x="438" y="482"/>
                  </a:lnTo>
                  <a:lnTo>
                    <a:pt x="440" y="481"/>
                  </a:lnTo>
                  <a:lnTo>
                    <a:pt x="440" y="479"/>
                  </a:lnTo>
                  <a:lnTo>
                    <a:pt x="441" y="479"/>
                  </a:lnTo>
                  <a:lnTo>
                    <a:pt x="441" y="478"/>
                  </a:lnTo>
                  <a:lnTo>
                    <a:pt x="440" y="478"/>
                  </a:lnTo>
                  <a:lnTo>
                    <a:pt x="441" y="476"/>
                  </a:lnTo>
                  <a:lnTo>
                    <a:pt x="438" y="476"/>
                  </a:lnTo>
                  <a:lnTo>
                    <a:pt x="438" y="475"/>
                  </a:lnTo>
                  <a:lnTo>
                    <a:pt x="440" y="475"/>
                  </a:lnTo>
                  <a:lnTo>
                    <a:pt x="440" y="473"/>
                  </a:lnTo>
                  <a:lnTo>
                    <a:pt x="438" y="473"/>
                  </a:lnTo>
                  <a:lnTo>
                    <a:pt x="435" y="475"/>
                  </a:lnTo>
                  <a:lnTo>
                    <a:pt x="434" y="473"/>
                  </a:lnTo>
                  <a:lnTo>
                    <a:pt x="435" y="473"/>
                  </a:lnTo>
                  <a:lnTo>
                    <a:pt x="435" y="472"/>
                  </a:lnTo>
                  <a:lnTo>
                    <a:pt x="434" y="470"/>
                  </a:lnTo>
                  <a:lnTo>
                    <a:pt x="434" y="469"/>
                  </a:lnTo>
                  <a:lnTo>
                    <a:pt x="435" y="469"/>
                  </a:lnTo>
                  <a:lnTo>
                    <a:pt x="435" y="467"/>
                  </a:lnTo>
                  <a:lnTo>
                    <a:pt x="434" y="466"/>
                  </a:lnTo>
                  <a:lnTo>
                    <a:pt x="431" y="466"/>
                  </a:lnTo>
                  <a:lnTo>
                    <a:pt x="429" y="467"/>
                  </a:lnTo>
                  <a:lnTo>
                    <a:pt x="426" y="467"/>
                  </a:lnTo>
                  <a:lnTo>
                    <a:pt x="422" y="472"/>
                  </a:lnTo>
                  <a:lnTo>
                    <a:pt x="420" y="470"/>
                  </a:lnTo>
                  <a:lnTo>
                    <a:pt x="419" y="472"/>
                  </a:lnTo>
                  <a:lnTo>
                    <a:pt x="417" y="472"/>
                  </a:lnTo>
                  <a:lnTo>
                    <a:pt x="420" y="469"/>
                  </a:lnTo>
                  <a:lnTo>
                    <a:pt x="423" y="469"/>
                  </a:lnTo>
                  <a:lnTo>
                    <a:pt x="423" y="467"/>
                  </a:lnTo>
                  <a:lnTo>
                    <a:pt x="425" y="466"/>
                  </a:lnTo>
                  <a:lnTo>
                    <a:pt x="428" y="466"/>
                  </a:lnTo>
                  <a:lnTo>
                    <a:pt x="429" y="464"/>
                  </a:lnTo>
                  <a:lnTo>
                    <a:pt x="435" y="461"/>
                  </a:lnTo>
                  <a:lnTo>
                    <a:pt x="440" y="457"/>
                  </a:lnTo>
                  <a:lnTo>
                    <a:pt x="444" y="455"/>
                  </a:lnTo>
                  <a:lnTo>
                    <a:pt x="444" y="454"/>
                  </a:lnTo>
                  <a:lnTo>
                    <a:pt x="446" y="454"/>
                  </a:lnTo>
                  <a:lnTo>
                    <a:pt x="447" y="452"/>
                  </a:lnTo>
                  <a:lnTo>
                    <a:pt x="449" y="449"/>
                  </a:lnTo>
                  <a:lnTo>
                    <a:pt x="449" y="448"/>
                  </a:lnTo>
                  <a:lnTo>
                    <a:pt x="447" y="446"/>
                  </a:lnTo>
                  <a:lnTo>
                    <a:pt x="449" y="445"/>
                  </a:lnTo>
                  <a:lnTo>
                    <a:pt x="449" y="442"/>
                  </a:lnTo>
                  <a:lnTo>
                    <a:pt x="450" y="442"/>
                  </a:lnTo>
                  <a:lnTo>
                    <a:pt x="450" y="440"/>
                  </a:lnTo>
                  <a:lnTo>
                    <a:pt x="452" y="439"/>
                  </a:lnTo>
                  <a:lnTo>
                    <a:pt x="452" y="436"/>
                  </a:lnTo>
                  <a:lnTo>
                    <a:pt x="453" y="436"/>
                  </a:lnTo>
                  <a:lnTo>
                    <a:pt x="456" y="433"/>
                  </a:lnTo>
                  <a:lnTo>
                    <a:pt x="458" y="433"/>
                  </a:lnTo>
                  <a:lnTo>
                    <a:pt x="459" y="431"/>
                  </a:lnTo>
                  <a:lnTo>
                    <a:pt x="459" y="428"/>
                  </a:lnTo>
                  <a:lnTo>
                    <a:pt x="464" y="433"/>
                  </a:lnTo>
                  <a:lnTo>
                    <a:pt x="465" y="437"/>
                  </a:lnTo>
                  <a:lnTo>
                    <a:pt x="465" y="439"/>
                  </a:lnTo>
                  <a:lnTo>
                    <a:pt x="467" y="439"/>
                  </a:lnTo>
                  <a:lnTo>
                    <a:pt x="468" y="440"/>
                  </a:lnTo>
                  <a:lnTo>
                    <a:pt x="470" y="439"/>
                  </a:lnTo>
                  <a:lnTo>
                    <a:pt x="473" y="439"/>
                  </a:lnTo>
                  <a:lnTo>
                    <a:pt x="474" y="437"/>
                  </a:lnTo>
                  <a:lnTo>
                    <a:pt x="482" y="437"/>
                  </a:lnTo>
                  <a:lnTo>
                    <a:pt x="485" y="439"/>
                  </a:lnTo>
                  <a:lnTo>
                    <a:pt x="486" y="439"/>
                  </a:lnTo>
                  <a:lnTo>
                    <a:pt x="486" y="437"/>
                  </a:lnTo>
                  <a:lnTo>
                    <a:pt x="488" y="437"/>
                  </a:lnTo>
                  <a:lnTo>
                    <a:pt x="488" y="436"/>
                  </a:lnTo>
                  <a:lnTo>
                    <a:pt x="489" y="436"/>
                  </a:lnTo>
                  <a:lnTo>
                    <a:pt x="491" y="434"/>
                  </a:lnTo>
                  <a:lnTo>
                    <a:pt x="491" y="433"/>
                  </a:lnTo>
                  <a:lnTo>
                    <a:pt x="492" y="431"/>
                  </a:lnTo>
                  <a:lnTo>
                    <a:pt x="492" y="425"/>
                  </a:lnTo>
                  <a:lnTo>
                    <a:pt x="491" y="425"/>
                  </a:lnTo>
                  <a:lnTo>
                    <a:pt x="491" y="424"/>
                  </a:lnTo>
                  <a:lnTo>
                    <a:pt x="492" y="422"/>
                  </a:lnTo>
                  <a:lnTo>
                    <a:pt x="494" y="424"/>
                  </a:lnTo>
                  <a:lnTo>
                    <a:pt x="497" y="421"/>
                  </a:lnTo>
                  <a:lnTo>
                    <a:pt x="498" y="421"/>
                  </a:lnTo>
                  <a:lnTo>
                    <a:pt x="501" y="419"/>
                  </a:lnTo>
                  <a:lnTo>
                    <a:pt x="502" y="418"/>
                  </a:lnTo>
                  <a:lnTo>
                    <a:pt x="502" y="416"/>
                  </a:lnTo>
                  <a:lnTo>
                    <a:pt x="504" y="416"/>
                  </a:lnTo>
                  <a:lnTo>
                    <a:pt x="505" y="415"/>
                  </a:lnTo>
                  <a:close/>
                  <a:moveTo>
                    <a:pt x="494" y="415"/>
                  </a:moveTo>
                  <a:lnTo>
                    <a:pt x="495" y="415"/>
                  </a:lnTo>
                  <a:lnTo>
                    <a:pt x="495" y="416"/>
                  </a:lnTo>
                  <a:lnTo>
                    <a:pt x="494" y="416"/>
                  </a:lnTo>
                  <a:lnTo>
                    <a:pt x="494" y="415"/>
                  </a:lnTo>
                  <a:close/>
                  <a:moveTo>
                    <a:pt x="292" y="415"/>
                  </a:moveTo>
                  <a:lnTo>
                    <a:pt x="292" y="416"/>
                  </a:lnTo>
                  <a:lnTo>
                    <a:pt x="290" y="416"/>
                  </a:lnTo>
                  <a:lnTo>
                    <a:pt x="292" y="415"/>
                  </a:lnTo>
                  <a:close/>
                  <a:moveTo>
                    <a:pt x="751" y="413"/>
                  </a:moveTo>
                  <a:lnTo>
                    <a:pt x="751" y="418"/>
                  </a:lnTo>
                  <a:lnTo>
                    <a:pt x="749" y="418"/>
                  </a:lnTo>
                  <a:lnTo>
                    <a:pt x="749" y="415"/>
                  </a:lnTo>
                  <a:lnTo>
                    <a:pt x="751" y="413"/>
                  </a:lnTo>
                  <a:close/>
                  <a:moveTo>
                    <a:pt x="564" y="412"/>
                  </a:moveTo>
                  <a:lnTo>
                    <a:pt x="565" y="412"/>
                  </a:lnTo>
                  <a:lnTo>
                    <a:pt x="564" y="413"/>
                  </a:lnTo>
                  <a:lnTo>
                    <a:pt x="564" y="412"/>
                  </a:lnTo>
                  <a:close/>
                  <a:moveTo>
                    <a:pt x="640" y="409"/>
                  </a:moveTo>
                  <a:lnTo>
                    <a:pt x="642" y="409"/>
                  </a:lnTo>
                  <a:lnTo>
                    <a:pt x="640" y="410"/>
                  </a:lnTo>
                  <a:lnTo>
                    <a:pt x="640" y="409"/>
                  </a:lnTo>
                  <a:close/>
                  <a:moveTo>
                    <a:pt x="510" y="409"/>
                  </a:moveTo>
                  <a:lnTo>
                    <a:pt x="513" y="409"/>
                  </a:lnTo>
                  <a:lnTo>
                    <a:pt x="513" y="410"/>
                  </a:lnTo>
                  <a:lnTo>
                    <a:pt x="510" y="410"/>
                  </a:lnTo>
                  <a:lnTo>
                    <a:pt x="510" y="409"/>
                  </a:lnTo>
                  <a:close/>
                  <a:moveTo>
                    <a:pt x="640" y="406"/>
                  </a:moveTo>
                  <a:lnTo>
                    <a:pt x="642" y="406"/>
                  </a:lnTo>
                  <a:lnTo>
                    <a:pt x="642" y="407"/>
                  </a:lnTo>
                  <a:lnTo>
                    <a:pt x="640" y="407"/>
                  </a:lnTo>
                  <a:lnTo>
                    <a:pt x="640" y="406"/>
                  </a:lnTo>
                  <a:close/>
                  <a:moveTo>
                    <a:pt x="520" y="406"/>
                  </a:moveTo>
                  <a:lnTo>
                    <a:pt x="525" y="406"/>
                  </a:lnTo>
                  <a:lnTo>
                    <a:pt x="525" y="409"/>
                  </a:lnTo>
                  <a:lnTo>
                    <a:pt x="523" y="412"/>
                  </a:lnTo>
                  <a:lnTo>
                    <a:pt x="523" y="410"/>
                  </a:lnTo>
                  <a:lnTo>
                    <a:pt x="522" y="410"/>
                  </a:lnTo>
                  <a:lnTo>
                    <a:pt x="520" y="412"/>
                  </a:lnTo>
                  <a:lnTo>
                    <a:pt x="520" y="413"/>
                  </a:lnTo>
                  <a:lnTo>
                    <a:pt x="519" y="413"/>
                  </a:lnTo>
                  <a:lnTo>
                    <a:pt x="519" y="410"/>
                  </a:lnTo>
                  <a:lnTo>
                    <a:pt x="516" y="410"/>
                  </a:lnTo>
                  <a:lnTo>
                    <a:pt x="516" y="407"/>
                  </a:lnTo>
                  <a:lnTo>
                    <a:pt x="519" y="407"/>
                  </a:lnTo>
                  <a:lnTo>
                    <a:pt x="520" y="406"/>
                  </a:lnTo>
                  <a:close/>
                  <a:moveTo>
                    <a:pt x="553" y="403"/>
                  </a:moveTo>
                  <a:lnTo>
                    <a:pt x="555" y="403"/>
                  </a:lnTo>
                  <a:lnTo>
                    <a:pt x="555" y="404"/>
                  </a:lnTo>
                  <a:lnTo>
                    <a:pt x="553" y="406"/>
                  </a:lnTo>
                  <a:lnTo>
                    <a:pt x="553" y="409"/>
                  </a:lnTo>
                  <a:lnTo>
                    <a:pt x="552" y="409"/>
                  </a:lnTo>
                  <a:lnTo>
                    <a:pt x="550" y="412"/>
                  </a:lnTo>
                  <a:lnTo>
                    <a:pt x="549" y="413"/>
                  </a:lnTo>
                  <a:lnTo>
                    <a:pt x="549" y="416"/>
                  </a:lnTo>
                  <a:lnTo>
                    <a:pt x="550" y="418"/>
                  </a:lnTo>
                  <a:lnTo>
                    <a:pt x="550" y="419"/>
                  </a:lnTo>
                  <a:lnTo>
                    <a:pt x="552" y="421"/>
                  </a:lnTo>
                  <a:lnTo>
                    <a:pt x="550" y="422"/>
                  </a:lnTo>
                  <a:lnTo>
                    <a:pt x="549" y="422"/>
                  </a:lnTo>
                  <a:lnTo>
                    <a:pt x="547" y="424"/>
                  </a:lnTo>
                  <a:lnTo>
                    <a:pt x="546" y="424"/>
                  </a:lnTo>
                  <a:lnTo>
                    <a:pt x="544" y="425"/>
                  </a:lnTo>
                  <a:lnTo>
                    <a:pt x="541" y="425"/>
                  </a:lnTo>
                  <a:lnTo>
                    <a:pt x="540" y="424"/>
                  </a:lnTo>
                  <a:lnTo>
                    <a:pt x="540" y="422"/>
                  </a:lnTo>
                  <a:lnTo>
                    <a:pt x="538" y="422"/>
                  </a:lnTo>
                  <a:lnTo>
                    <a:pt x="538" y="419"/>
                  </a:lnTo>
                  <a:lnTo>
                    <a:pt x="540" y="418"/>
                  </a:lnTo>
                  <a:lnTo>
                    <a:pt x="541" y="418"/>
                  </a:lnTo>
                  <a:lnTo>
                    <a:pt x="544" y="412"/>
                  </a:lnTo>
                  <a:lnTo>
                    <a:pt x="546" y="410"/>
                  </a:lnTo>
                  <a:lnTo>
                    <a:pt x="547" y="410"/>
                  </a:lnTo>
                  <a:lnTo>
                    <a:pt x="547" y="407"/>
                  </a:lnTo>
                  <a:lnTo>
                    <a:pt x="549" y="407"/>
                  </a:lnTo>
                  <a:lnTo>
                    <a:pt x="553" y="403"/>
                  </a:lnTo>
                  <a:close/>
                  <a:moveTo>
                    <a:pt x="505" y="403"/>
                  </a:moveTo>
                  <a:lnTo>
                    <a:pt x="505" y="404"/>
                  </a:lnTo>
                  <a:lnTo>
                    <a:pt x="504" y="404"/>
                  </a:lnTo>
                  <a:lnTo>
                    <a:pt x="504" y="406"/>
                  </a:lnTo>
                  <a:lnTo>
                    <a:pt x="505" y="406"/>
                  </a:lnTo>
                  <a:lnTo>
                    <a:pt x="505" y="404"/>
                  </a:lnTo>
                  <a:lnTo>
                    <a:pt x="507" y="404"/>
                  </a:lnTo>
                  <a:lnTo>
                    <a:pt x="508" y="403"/>
                  </a:lnTo>
                  <a:lnTo>
                    <a:pt x="505" y="403"/>
                  </a:lnTo>
                  <a:close/>
                  <a:moveTo>
                    <a:pt x="564" y="398"/>
                  </a:moveTo>
                  <a:lnTo>
                    <a:pt x="565" y="400"/>
                  </a:lnTo>
                  <a:lnTo>
                    <a:pt x="564" y="400"/>
                  </a:lnTo>
                  <a:lnTo>
                    <a:pt x="564" y="398"/>
                  </a:lnTo>
                  <a:close/>
                  <a:moveTo>
                    <a:pt x="299" y="397"/>
                  </a:moveTo>
                  <a:lnTo>
                    <a:pt x="301" y="398"/>
                  </a:lnTo>
                  <a:lnTo>
                    <a:pt x="301" y="401"/>
                  </a:lnTo>
                  <a:lnTo>
                    <a:pt x="299" y="401"/>
                  </a:lnTo>
                  <a:lnTo>
                    <a:pt x="299" y="403"/>
                  </a:lnTo>
                  <a:lnTo>
                    <a:pt x="301" y="403"/>
                  </a:lnTo>
                  <a:lnTo>
                    <a:pt x="301" y="404"/>
                  </a:lnTo>
                  <a:lnTo>
                    <a:pt x="299" y="406"/>
                  </a:lnTo>
                  <a:lnTo>
                    <a:pt x="299" y="407"/>
                  </a:lnTo>
                  <a:lnTo>
                    <a:pt x="298" y="410"/>
                  </a:lnTo>
                  <a:lnTo>
                    <a:pt x="296" y="412"/>
                  </a:lnTo>
                  <a:lnTo>
                    <a:pt x="296" y="413"/>
                  </a:lnTo>
                  <a:lnTo>
                    <a:pt x="295" y="413"/>
                  </a:lnTo>
                  <a:lnTo>
                    <a:pt x="295" y="415"/>
                  </a:lnTo>
                  <a:lnTo>
                    <a:pt x="296" y="415"/>
                  </a:lnTo>
                  <a:lnTo>
                    <a:pt x="296" y="416"/>
                  </a:lnTo>
                  <a:lnTo>
                    <a:pt x="298" y="416"/>
                  </a:lnTo>
                  <a:lnTo>
                    <a:pt x="295" y="419"/>
                  </a:lnTo>
                  <a:lnTo>
                    <a:pt x="295" y="421"/>
                  </a:lnTo>
                  <a:lnTo>
                    <a:pt x="293" y="421"/>
                  </a:lnTo>
                  <a:lnTo>
                    <a:pt x="293" y="418"/>
                  </a:lnTo>
                  <a:lnTo>
                    <a:pt x="295" y="418"/>
                  </a:lnTo>
                  <a:lnTo>
                    <a:pt x="295" y="416"/>
                  </a:lnTo>
                  <a:lnTo>
                    <a:pt x="293" y="416"/>
                  </a:lnTo>
                  <a:lnTo>
                    <a:pt x="293" y="415"/>
                  </a:lnTo>
                  <a:lnTo>
                    <a:pt x="292" y="415"/>
                  </a:lnTo>
                  <a:lnTo>
                    <a:pt x="292" y="413"/>
                  </a:lnTo>
                  <a:lnTo>
                    <a:pt x="290" y="412"/>
                  </a:lnTo>
                  <a:lnTo>
                    <a:pt x="292" y="412"/>
                  </a:lnTo>
                  <a:lnTo>
                    <a:pt x="292" y="409"/>
                  </a:lnTo>
                  <a:lnTo>
                    <a:pt x="293" y="407"/>
                  </a:lnTo>
                  <a:lnTo>
                    <a:pt x="293" y="406"/>
                  </a:lnTo>
                  <a:lnTo>
                    <a:pt x="292" y="406"/>
                  </a:lnTo>
                  <a:lnTo>
                    <a:pt x="292" y="404"/>
                  </a:lnTo>
                  <a:lnTo>
                    <a:pt x="293" y="403"/>
                  </a:lnTo>
                  <a:lnTo>
                    <a:pt x="293" y="400"/>
                  </a:lnTo>
                  <a:lnTo>
                    <a:pt x="296" y="400"/>
                  </a:lnTo>
                  <a:lnTo>
                    <a:pt x="298" y="398"/>
                  </a:lnTo>
                  <a:lnTo>
                    <a:pt x="299" y="398"/>
                  </a:lnTo>
                  <a:lnTo>
                    <a:pt x="299" y="397"/>
                  </a:lnTo>
                  <a:close/>
                  <a:moveTo>
                    <a:pt x="517" y="395"/>
                  </a:moveTo>
                  <a:lnTo>
                    <a:pt x="517" y="397"/>
                  </a:lnTo>
                  <a:lnTo>
                    <a:pt x="519" y="397"/>
                  </a:lnTo>
                  <a:lnTo>
                    <a:pt x="517" y="395"/>
                  </a:lnTo>
                  <a:close/>
                  <a:moveTo>
                    <a:pt x="754" y="392"/>
                  </a:moveTo>
                  <a:lnTo>
                    <a:pt x="757" y="392"/>
                  </a:lnTo>
                  <a:lnTo>
                    <a:pt x="757" y="394"/>
                  </a:lnTo>
                  <a:lnTo>
                    <a:pt x="758" y="394"/>
                  </a:lnTo>
                  <a:lnTo>
                    <a:pt x="758" y="398"/>
                  </a:lnTo>
                  <a:lnTo>
                    <a:pt x="757" y="398"/>
                  </a:lnTo>
                  <a:lnTo>
                    <a:pt x="754" y="397"/>
                  </a:lnTo>
                  <a:lnTo>
                    <a:pt x="754" y="392"/>
                  </a:lnTo>
                  <a:close/>
                  <a:moveTo>
                    <a:pt x="636" y="388"/>
                  </a:moveTo>
                  <a:lnTo>
                    <a:pt x="637" y="388"/>
                  </a:lnTo>
                  <a:lnTo>
                    <a:pt x="637" y="389"/>
                  </a:lnTo>
                  <a:lnTo>
                    <a:pt x="636" y="388"/>
                  </a:lnTo>
                  <a:close/>
                  <a:moveTo>
                    <a:pt x="586" y="349"/>
                  </a:moveTo>
                  <a:lnTo>
                    <a:pt x="588" y="349"/>
                  </a:lnTo>
                  <a:lnTo>
                    <a:pt x="588" y="350"/>
                  </a:lnTo>
                  <a:lnTo>
                    <a:pt x="586" y="352"/>
                  </a:lnTo>
                  <a:lnTo>
                    <a:pt x="586" y="349"/>
                  </a:lnTo>
                  <a:close/>
                  <a:moveTo>
                    <a:pt x="591" y="344"/>
                  </a:moveTo>
                  <a:lnTo>
                    <a:pt x="592" y="344"/>
                  </a:lnTo>
                  <a:lnTo>
                    <a:pt x="592" y="346"/>
                  </a:lnTo>
                  <a:lnTo>
                    <a:pt x="591" y="346"/>
                  </a:lnTo>
                  <a:lnTo>
                    <a:pt x="591" y="344"/>
                  </a:lnTo>
                  <a:close/>
                  <a:moveTo>
                    <a:pt x="462" y="323"/>
                  </a:moveTo>
                  <a:lnTo>
                    <a:pt x="465" y="323"/>
                  </a:lnTo>
                  <a:lnTo>
                    <a:pt x="465" y="325"/>
                  </a:lnTo>
                  <a:lnTo>
                    <a:pt x="462" y="325"/>
                  </a:lnTo>
                  <a:lnTo>
                    <a:pt x="462" y="323"/>
                  </a:lnTo>
                  <a:close/>
                  <a:moveTo>
                    <a:pt x="467" y="319"/>
                  </a:moveTo>
                  <a:lnTo>
                    <a:pt x="468" y="319"/>
                  </a:lnTo>
                  <a:lnTo>
                    <a:pt x="468" y="321"/>
                  </a:lnTo>
                  <a:lnTo>
                    <a:pt x="465" y="323"/>
                  </a:lnTo>
                  <a:lnTo>
                    <a:pt x="465" y="321"/>
                  </a:lnTo>
                  <a:lnTo>
                    <a:pt x="467" y="319"/>
                  </a:lnTo>
                  <a:close/>
                  <a:moveTo>
                    <a:pt x="464" y="318"/>
                  </a:moveTo>
                  <a:lnTo>
                    <a:pt x="467" y="318"/>
                  </a:lnTo>
                  <a:lnTo>
                    <a:pt x="467" y="319"/>
                  </a:lnTo>
                  <a:lnTo>
                    <a:pt x="465" y="319"/>
                  </a:lnTo>
                  <a:lnTo>
                    <a:pt x="465" y="321"/>
                  </a:lnTo>
                  <a:lnTo>
                    <a:pt x="464" y="322"/>
                  </a:lnTo>
                  <a:lnTo>
                    <a:pt x="464" y="321"/>
                  </a:lnTo>
                  <a:lnTo>
                    <a:pt x="462" y="321"/>
                  </a:lnTo>
                  <a:lnTo>
                    <a:pt x="462" y="322"/>
                  </a:lnTo>
                  <a:lnTo>
                    <a:pt x="461" y="322"/>
                  </a:lnTo>
                  <a:lnTo>
                    <a:pt x="459" y="321"/>
                  </a:lnTo>
                  <a:lnTo>
                    <a:pt x="461" y="321"/>
                  </a:lnTo>
                  <a:lnTo>
                    <a:pt x="464" y="318"/>
                  </a:lnTo>
                  <a:close/>
                  <a:moveTo>
                    <a:pt x="476" y="306"/>
                  </a:moveTo>
                  <a:lnTo>
                    <a:pt x="477" y="307"/>
                  </a:lnTo>
                  <a:lnTo>
                    <a:pt x="479" y="307"/>
                  </a:lnTo>
                  <a:lnTo>
                    <a:pt x="479" y="309"/>
                  </a:lnTo>
                  <a:lnTo>
                    <a:pt x="480" y="310"/>
                  </a:lnTo>
                  <a:lnTo>
                    <a:pt x="480" y="313"/>
                  </a:lnTo>
                  <a:lnTo>
                    <a:pt x="477" y="313"/>
                  </a:lnTo>
                  <a:lnTo>
                    <a:pt x="477" y="316"/>
                  </a:lnTo>
                  <a:lnTo>
                    <a:pt x="471" y="313"/>
                  </a:lnTo>
                  <a:lnTo>
                    <a:pt x="471" y="307"/>
                  </a:lnTo>
                  <a:lnTo>
                    <a:pt x="476" y="306"/>
                  </a:lnTo>
                  <a:close/>
                  <a:moveTo>
                    <a:pt x="642" y="259"/>
                  </a:moveTo>
                  <a:lnTo>
                    <a:pt x="648" y="259"/>
                  </a:lnTo>
                  <a:lnTo>
                    <a:pt x="648" y="261"/>
                  </a:lnTo>
                  <a:lnTo>
                    <a:pt x="646" y="261"/>
                  </a:lnTo>
                  <a:lnTo>
                    <a:pt x="645" y="262"/>
                  </a:lnTo>
                  <a:lnTo>
                    <a:pt x="643" y="262"/>
                  </a:lnTo>
                  <a:lnTo>
                    <a:pt x="642" y="261"/>
                  </a:lnTo>
                  <a:lnTo>
                    <a:pt x="642" y="259"/>
                  </a:lnTo>
                  <a:close/>
                  <a:moveTo>
                    <a:pt x="713" y="192"/>
                  </a:moveTo>
                  <a:lnTo>
                    <a:pt x="715" y="192"/>
                  </a:lnTo>
                  <a:lnTo>
                    <a:pt x="715" y="196"/>
                  </a:lnTo>
                  <a:lnTo>
                    <a:pt x="713" y="199"/>
                  </a:lnTo>
                  <a:lnTo>
                    <a:pt x="712" y="204"/>
                  </a:lnTo>
                  <a:lnTo>
                    <a:pt x="712" y="205"/>
                  </a:lnTo>
                  <a:lnTo>
                    <a:pt x="715" y="207"/>
                  </a:lnTo>
                  <a:lnTo>
                    <a:pt x="716" y="205"/>
                  </a:lnTo>
                  <a:lnTo>
                    <a:pt x="718" y="205"/>
                  </a:lnTo>
                  <a:lnTo>
                    <a:pt x="718" y="210"/>
                  </a:lnTo>
                  <a:lnTo>
                    <a:pt x="715" y="213"/>
                  </a:lnTo>
                  <a:lnTo>
                    <a:pt x="715" y="216"/>
                  </a:lnTo>
                  <a:lnTo>
                    <a:pt x="713" y="216"/>
                  </a:lnTo>
                  <a:lnTo>
                    <a:pt x="709" y="220"/>
                  </a:lnTo>
                  <a:lnTo>
                    <a:pt x="703" y="222"/>
                  </a:lnTo>
                  <a:lnTo>
                    <a:pt x="701" y="222"/>
                  </a:lnTo>
                  <a:lnTo>
                    <a:pt x="701" y="220"/>
                  </a:lnTo>
                  <a:lnTo>
                    <a:pt x="704" y="219"/>
                  </a:lnTo>
                  <a:lnTo>
                    <a:pt x="704" y="216"/>
                  </a:lnTo>
                  <a:lnTo>
                    <a:pt x="706" y="214"/>
                  </a:lnTo>
                  <a:lnTo>
                    <a:pt x="706" y="213"/>
                  </a:lnTo>
                  <a:lnTo>
                    <a:pt x="707" y="211"/>
                  </a:lnTo>
                  <a:lnTo>
                    <a:pt x="706" y="210"/>
                  </a:lnTo>
                  <a:lnTo>
                    <a:pt x="703" y="211"/>
                  </a:lnTo>
                  <a:lnTo>
                    <a:pt x="701" y="210"/>
                  </a:lnTo>
                  <a:lnTo>
                    <a:pt x="701" y="208"/>
                  </a:lnTo>
                  <a:lnTo>
                    <a:pt x="703" y="207"/>
                  </a:lnTo>
                  <a:lnTo>
                    <a:pt x="703" y="205"/>
                  </a:lnTo>
                  <a:lnTo>
                    <a:pt x="704" y="202"/>
                  </a:lnTo>
                  <a:lnTo>
                    <a:pt x="706" y="201"/>
                  </a:lnTo>
                  <a:lnTo>
                    <a:pt x="706" y="199"/>
                  </a:lnTo>
                  <a:lnTo>
                    <a:pt x="707" y="199"/>
                  </a:lnTo>
                  <a:lnTo>
                    <a:pt x="707" y="198"/>
                  </a:lnTo>
                  <a:lnTo>
                    <a:pt x="710" y="196"/>
                  </a:lnTo>
                  <a:lnTo>
                    <a:pt x="710" y="195"/>
                  </a:lnTo>
                  <a:lnTo>
                    <a:pt x="713" y="192"/>
                  </a:lnTo>
                  <a:close/>
                  <a:moveTo>
                    <a:pt x="876" y="123"/>
                  </a:moveTo>
                  <a:lnTo>
                    <a:pt x="878" y="123"/>
                  </a:lnTo>
                  <a:lnTo>
                    <a:pt x="878" y="124"/>
                  </a:lnTo>
                  <a:lnTo>
                    <a:pt x="876" y="124"/>
                  </a:lnTo>
                  <a:lnTo>
                    <a:pt x="876" y="123"/>
                  </a:lnTo>
                  <a:close/>
                  <a:moveTo>
                    <a:pt x="849" y="6"/>
                  </a:moveTo>
                  <a:lnTo>
                    <a:pt x="851" y="6"/>
                  </a:lnTo>
                  <a:lnTo>
                    <a:pt x="851" y="8"/>
                  </a:lnTo>
                  <a:lnTo>
                    <a:pt x="849" y="8"/>
                  </a:lnTo>
                  <a:lnTo>
                    <a:pt x="849" y="6"/>
                  </a:lnTo>
                  <a:close/>
                  <a:moveTo>
                    <a:pt x="825" y="0"/>
                  </a:moveTo>
                  <a:lnTo>
                    <a:pt x="827" y="0"/>
                  </a:lnTo>
                  <a:lnTo>
                    <a:pt x="827" y="2"/>
                  </a:lnTo>
                  <a:lnTo>
                    <a:pt x="828" y="2"/>
                  </a:lnTo>
                  <a:lnTo>
                    <a:pt x="828" y="3"/>
                  </a:lnTo>
                  <a:lnTo>
                    <a:pt x="834" y="3"/>
                  </a:lnTo>
                  <a:lnTo>
                    <a:pt x="836" y="6"/>
                  </a:lnTo>
                  <a:lnTo>
                    <a:pt x="837" y="8"/>
                  </a:lnTo>
                  <a:lnTo>
                    <a:pt x="837" y="9"/>
                  </a:lnTo>
                  <a:lnTo>
                    <a:pt x="840" y="9"/>
                  </a:lnTo>
                  <a:lnTo>
                    <a:pt x="842" y="11"/>
                  </a:lnTo>
                  <a:lnTo>
                    <a:pt x="845" y="11"/>
                  </a:lnTo>
                  <a:lnTo>
                    <a:pt x="848" y="8"/>
                  </a:lnTo>
                  <a:lnTo>
                    <a:pt x="849" y="8"/>
                  </a:lnTo>
                  <a:lnTo>
                    <a:pt x="851" y="9"/>
                  </a:lnTo>
                  <a:lnTo>
                    <a:pt x="849" y="9"/>
                  </a:lnTo>
                  <a:lnTo>
                    <a:pt x="849" y="12"/>
                  </a:lnTo>
                  <a:lnTo>
                    <a:pt x="848" y="14"/>
                  </a:lnTo>
                  <a:lnTo>
                    <a:pt x="848" y="18"/>
                  </a:lnTo>
                  <a:lnTo>
                    <a:pt x="846" y="23"/>
                  </a:lnTo>
                  <a:lnTo>
                    <a:pt x="848" y="24"/>
                  </a:lnTo>
                  <a:lnTo>
                    <a:pt x="846" y="26"/>
                  </a:lnTo>
                  <a:lnTo>
                    <a:pt x="848" y="26"/>
                  </a:lnTo>
                  <a:lnTo>
                    <a:pt x="848" y="27"/>
                  </a:lnTo>
                  <a:lnTo>
                    <a:pt x="846" y="30"/>
                  </a:lnTo>
                  <a:lnTo>
                    <a:pt x="846" y="38"/>
                  </a:lnTo>
                  <a:lnTo>
                    <a:pt x="848" y="44"/>
                  </a:lnTo>
                  <a:lnTo>
                    <a:pt x="848" y="48"/>
                  </a:lnTo>
                  <a:lnTo>
                    <a:pt x="851" y="57"/>
                  </a:lnTo>
                  <a:lnTo>
                    <a:pt x="851" y="59"/>
                  </a:lnTo>
                  <a:lnTo>
                    <a:pt x="852" y="60"/>
                  </a:lnTo>
                  <a:lnTo>
                    <a:pt x="855" y="60"/>
                  </a:lnTo>
                  <a:lnTo>
                    <a:pt x="855" y="62"/>
                  </a:lnTo>
                  <a:lnTo>
                    <a:pt x="858" y="62"/>
                  </a:lnTo>
                  <a:lnTo>
                    <a:pt x="860" y="64"/>
                  </a:lnTo>
                  <a:lnTo>
                    <a:pt x="861" y="66"/>
                  </a:lnTo>
                  <a:lnTo>
                    <a:pt x="861" y="67"/>
                  </a:lnTo>
                  <a:lnTo>
                    <a:pt x="864" y="70"/>
                  </a:lnTo>
                  <a:lnTo>
                    <a:pt x="864" y="73"/>
                  </a:lnTo>
                  <a:lnTo>
                    <a:pt x="866" y="73"/>
                  </a:lnTo>
                  <a:lnTo>
                    <a:pt x="866" y="75"/>
                  </a:lnTo>
                  <a:lnTo>
                    <a:pt x="867" y="76"/>
                  </a:lnTo>
                  <a:lnTo>
                    <a:pt x="867" y="79"/>
                  </a:lnTo>
                  <a:lnTo>
                    <a:pt x="866" y="79"/>
                  </a:lnTo>
                  <a:lnTo>
                    <a:pt x="866" y="81"/>
                  </a:lnTo>
                  <a:lnTo>
                    <a:pt x="867" y="82"/>
                  </a:lnTo>
                  <a:lnTo>
                    <a:pt x="869" y="82"/>
                  </a:lnTo>
                  <a:lnTo>
                    <a:pt x="869" y="84"/>
                  </a:lnTo>
                  <a:lnTo>
                    <a:pt x="867" y="85"/>
                  </a:lnTo>
                  <a:lnTo>
                    <a:pt x="867" y="88"/>
                  </a:lnTo>
                  <a:lnTo>
                    <a:pt x="869" y="88"/>
                  </a:lnTo>
                  <a:lnTo>
                    <a:pt x="873" y="93"/>
                  </a:lnTo>
                  <a:lnTo>
                    <a:pt x="873" y="96"/>
                  </a:lnTo>
                  <a:lnTo>
                    <a:pt x="872" y="96"/>
                  </a:lnTo>
                  <a:lnTo>
                    <a:pt x="872" y="97"/>
                  </a:lnTo>
                  <a:lnTo>
                    <a:pt x="873" y="97"/>
                  </a:lnTo>
                  <a:lnTo>
                    <a:pt x="873" y="102"/>
                  </a:lnTo>
                  <a:lnTo>
                    <a:pt x="875" y="105"/>
                  </a:lnTo>
                  <a:lnTo>
                    <a:pt x="875" y="109"/>
                  </a:lnTo>
                  <a:lnTo>
                    <a:pt x="873" y="112"/>
                  </a:lnTo>
                  <a:lnTo>
                    <a:pt x="873" y="117"/>
                  </a:lnTo>
                  <a:lnTo>
                    <a:pt x="875" y="114"/>
                  </a:lnTo>
                  <a:lnTo>
                    <a:pt x="876" y="114"/>
                  </a:lnTo>
                  <a:lnTo>
                    <a:pt x="876" y="117"/>
                  </a:lnTo>
                  <a:lnTo>
                    <a:pt x="878" y="118"/>
                  </a:lnTo>
                  <a:lnTo>
                    <a:pt x="878" y="121"/>
                  </a:lnTo>
                  <a:lnTo>
                    <a:pt x="876" y="123"/>
                  </a:lnTo>
                  <a:lnTo>
                    <a:pt x="875" y="123"/>
                  </a:lnTo>
                  <a:lnTo>
                    <a:pt x="873" y="124"/>
                  </a:lnTo>
                  <a:lnTo>
                    <a:pt x="873" y="126"/>
                  </a:lnTo>
                  <a:lnTo>
                    <a:pt x="875" y="126"/>
                  </a:lnTo>
                  <a:lnTo>
                    <a:pt x="876" y="124"/>
                  </a:lnTo>
                  <a:lnTo>
                    <a:pt x="876" y="127"/>
                  </a:lnTo>
                  <a:lnTo>
                    <a:pt x="873" y="127"/>
                  </a:lnTo>
                  <a:lnTo>
                    <a:pt x="873" y="130"/>
                  </a:lnTo>
                  <a:lnTo>
                    <a:pt x="872" y="130"/>
                  </a:lnTo>
                  <a:lnTo>
                    <a:pt x="870" y="132"/>
                  </a:lnTo>
                  <a:lnTo>
                    <a:pt x="873" y="132"/>
                  </a:lnTo>
                  <a:lnTo>
                    <a:pt x="873" y="130"/>
                  </a:lnTo>
                  <a:lnTo>
                    <a:pt x="875" y="132"/>
                  </a:lnTo>
                  <a:lnTo>
                    <a:pt x="873" y="133"/>
                  </a:lnTo>
                  <a:lnTo>
                    <a:pt x="870" y="135"/>
                  </a:lnTo>
                  <a:lnTo>
                    <a:pt x="870" y="136"/>
                  </a:lnTo>
                  <a:lnTo>
                    <a:pt x="872" y="136"/>
                  </a:lnTo>
                  <a:lnTo>
                    <a:pt x="873" y="138"/>
                  </a:lnTo>
                  <a:lnTo>
                    <a:pt x="872" y="139"/>
                  </a:lnTo>
                  <a:lnTo>
                    <a:pt x="869" y="139"/>
                  </a:lnTo>
                  <a:lnTo>
                    <a:pt x="869" y="141"/>
                  </a:lnTo>
                  <a:lnTo>
                    <a:pt x="870" y="141"/>
                  </a:lnTo>
                  <a:lnTo>
                    <a:pt x="870" y="142"/>
                  </a:lnTo>
                  <a:lnTo>
                    <a:pt x="867" y="142"/>
                  </a:lnTo>
                  <a:lnTo>
                    <a:pt x="870" y="145"/>
                  </a:lnTo>
                  <a:lnTo>
                    <a:pt x="870" y="147"/>
                  </a:lnTo>
                  <a:lnTo>
                    <a:pt x="867" y="145"/>
                  </a:lnTo>
                  <a:lnTo>
                    <a:pt x="866" y="147"/>
                  </a:lnTo>
                  <a:lnTo>
                    <a:pt x="869" y="147"/>
                  </a:lnTo>
                  <a:lnTo>
                    <a:pt x="869" y="148"/>
                  </a:lnTo>
                  <a:lnTo>
                    <a:pt x="867" y="148"/>
                  </a:lnTo>
                  <a:lnTo>
                    <a:pt x="867" y="150"/>
                  </a:lnTo>
                  <a:lnTo>
                    <a:pt x="863" y="150"/>
                  </a:lnTo>
                  <a:lnTo>
                    <a:pt x="863" y="154"/>
                  </a:lnTo>
                  <a:lnTo>
                    <a:pt x="861" y="154"/>
                  </a:lnTo>
                  <a:lnTo>
                    <a:pt x="860" y="153"/>
                  </a:lnTo>
                  <a:lnTo>
                    <a:pt x="861" y="151"/>
                  </a:lnTo>
                  <a:lnTo>
                    <a:pt x="858" y="151"/>
                  </a:lnTo>
                  <a:lnTo>
                    <a:pt x="858" y="156"/>
                  </a:lnTo>
                  <a:lnTo>
                    <a:pt x="860" y="159"/>
                  </a:lnTo>
                  <a:lnTo>
                    <a:pt x="860" y="160"/>
                  </a:lnTo>
                  <a:lnTo>
                    <a:pt x="858" y="159"/>
                  </a:lnTo>
                  <a:lnTo>
                    <a:pt x="855" y="159"/>
                  </a:lnTo>
                  <a:lnTo>
                    <a:pt x="855" y="163"/>
                  </a:lnTo>
                  <a:lnTo>
                    <a:pt x="854" y="165"/>
                  </a:lnTo>
                  <a:lnTo>
                    <a:pt x="854" y="166"/>
                  </a:lnTo>
                  <a:lnTo>
                    <a:pt x="855" y="168"/>
                  </a:lnTo>
                  <a:lnTo>
                    <a:pt x="855" y="169"/>
                  </a:lnTo>
                  <a:lnTo>
                    <a:pt x="854" y="169"/>
                  </a:lnTo>
                  <a:lnTo>
                    <a:pt x="852" y="171"/>
                  </a:lnTo>
                  <a:lnTo>
                    <a:pt x="851" y="171"/>
                  </a:lnTo>
                  <a:lnTo>
                    <a:pt x="851" y="172"/>
                  </a:lnTo>
                  <a:lnTo>
                    <a:pt x="854" y="172"/>
                  </a:lnTo>
                  <a:lnTo>
                    <a:pt x="854" y="174"/>
                  </a:lnTo>
                  <a:lnTo>
                    <a:pt x="851" y="177"/>
                  </a:lnTo>
                  <a:lnTo>
                    <a:pt x="852" y="178"/>
                  </a:lnTo>
                  <a:lnTo>
                    <a:pt x="854" y="178"/>
                  </a:lnTo>
                  <a:lnTo>
                    <a:pt x="854" y="181"/>
                  </a:lnTo>
                  <a:lnTo>
                    <a:pt x="852" y="181"/>
                  </a:lnTo>
                  <a:lnTo>
                    <a:pt x="852" y="184"/>
                  </a:lnTo>
                  <a:lnTo>
                    <a:pt x="851" y="184"/>
                  </a:lnTo>
                  <a:lnTo>
                    <a:pt x="851" y="187"/>
                  </a:lnTo>
                  <a:lnTo>
                    <a:pt x="852" y="187"/>
                  </a:lnTo>
                  <a:lnTo>
                    <a:pt x="852" y="189"/>
                  </a:lnTo>
                  <a:lnTo>
                    <a:pt x="854" y="189"/>
                  </a:lnTo>
                  <a:lnTo>
                    <a:pt x="854" y="195"/>
                  </a:lnTo>
                  <a:lnTo>
                    <a:pt x="852" y="195"/>
                  </a:lnTo>
                  <a:lnTo>
                    <a:pt x="851" y="193"/>
                  </a:lnTo>
                  <a:lnTo>
                    <a:pt x="851" y="192"/>
                  </a:lnTo>
                  <a:lnTo>
                    <a:pt x="849" y="190"/>
                  </a:lnTo>
                  <a:lnTo>
                    <a:pt x="849" y="187"/>
                  </a:lnTo>
                  <a:lnTo>
                    <a:pt x="848" y="187"/>
                  </a:lnTo>
                  <a:lnTo>
                    <a:pt x="848" y="189"/>
                  </a:lnTo>
                  <a:lnTo>
                    <a:pt x="846" y="187"/>
                  </a:lnTo>
                  <a:lnTo>
                    <a:pt x="845" y="187"/>
                  </a:lnTo>
                  <a:lnTo>
                    <a:pt x="845" y="186"/>
                  </a:lnTo>
                  <a:lnTo>
                    <a:pt x="843" y="186"/>
                  </a:lnTo>
                  <a:lnTo>
                    <a:pt x="839" y="187"/>
                  </a:lnTo>
                  <a:lnTo>
                    <a:pt x="837" y="189"/>
                  </a:lnTo>
                  <a:lnTo>
                    <a:pt x="837" y="192"/>
                  </a:lnTo>
                  <a:lnTo>
                    <a:pt x="836" y="192"/>
                  </a:lnTo>
                  <a:lnTo>
                    <a:pt x="836" y="190"/>
                  </a:lnTo>
                  <a:lnTo>
                    <a:pt x="834" y="189"/>
                  </a:lnTo>
                  <a:lnTo>
                    <a:pt x="833" y="189"/>
                  </a:lnTo>
                  <a:lnTo>
                    <a:pt x="831" y="190"/>
                  </a:lnTo>
                  <a:lnTo>
                    <a:pt x="831" y="192"/>
                  </a:lnTo>
                  <a:lnTo>
                    <a:pt x="833" y="192"/>
                  </a:lnTo>
                  <a:lnTo>
                    <a:pt x="833" y="193"/>
                  </a:lnTo>
                  <a:lnTo>
                    <a:pt x="831" y="193"/>
                  </a:lnTo>
                  <a:lnTo>
                    <a:pt x="830" y="196"/>
                  </a:lnTo>
                  <a:lnTo>
                    <a:pt x="828" y="198"/>
                  </a:lnTo>
                  <a:lnTo>
                    <a:pt x="827" y="201"/>
                  </a:lnTo>
                  <a:lnTo>
                    <a:pt x="825" y="207"/>
                  </a:lnTo>
                  <a:lnTo>
                    <a:pt x="825" y="216"/>
                  </a:lnTo>
                  <a:lnTo>
                    <a:pt x="828" y="222"/>
                  </a:lnTo>
                  <a:lnTo>
                    <a:pt x="830" y="223"/>
                  </a:lnTo>
                  <a:lnTo>
                    <a:pt x="830" y="231"/>
                  </a:lnTo>
                  <a:lnTo>
                    <a:pt x="831" y="246"/>
                  </a:lnTo>
                  <a:lnTo>
                    <a:pt x="830" y="247"/>
                  </a:lnTo>
                  <a:lnTo>
                    <a:pt x="830" y="261"/>
                  </a:lnTo>
                  <a:lnTo>
                    <a:pt x="828" y="262"/>
                  </a:lnTo>
                  <a:lnTo>
                    <a:pt x="828" y="268"/>
                  </a:lnTo>
                  <a:lnTo>
                    <a:pt x="825" y="271"/>
                  </a:lnTo>
                  <a:lnTo>
                    <a:pt x="824" y="271"/>
                  </a:lnTo>
                  <a:lnTo>
                    <a:pt x="822" y="273"/>
                  </a:lnTo>
                  <a:lnTo>
                    <a:pt x="821" y="273"/>
                  </a:lnTo>
                  <a:lnTo>
                    <a:pt x="821" y="274"/>
                  </a:lnTo>
                  <a:lnTo>
                    <a:pt x="820" y="274"/>
                  </a:lnTo>
                  <a:lnTo>
                    <a:pt x="820" y="277"/>
                  </a:lnTo>
                  <a:lnTo>
                    <a:pt x="818" y="280"/>
                  </a:lnTo>
                  <a:lnTo>
                    <a:pt x="817" y="282"/>
                  </a:lnTo>
                  <a:lnTo>
                    <a:pt x="815" y="289"/>
                  </a:lnTo>
                  <a:lnTo>
                    <a:pt x="812" y="294"/>
                  </a:lnTo>
                  <a:lnTo>
                    <a:pt x="812" y="297"/>
                  </a:lnTo>
                  <a:lnTo>
                    <a:pt x="811" y="300"/>
                  </a:lnTo>
                  <a:lnTo>
                    <a:pt x="811" y="301"/>
                  </a:lnTo>
                  <a:lnTo>
                    <a:pt x="812" y="303"/>
                  </a:lnTo>
                  <a:lnTo>
                    <a:pt x="812" y="306"/>
                  </a:lnTo>
                  <a:lnTo>
                    <a:pt x="809" y="307"/>
                  </a:lnTo>
                  <a:lnTo>
                    <a:pt x="809" y="316"/>
                  </a:lnTo>
                  <a:lnTo>
                    <a:pt x="811" y="319"/>
                  </a:lnTo>
                  <a:lnTo>
                    <a:pt x="814" y="323"/>
                  </a:lnTo>
                  <a:lnTo>
                    <a:pt x="821" y="338"/>
                  </a:lnTo>
                  <a:lnTo>
                    <a:pt x="822" y="338"/>
                  </a:lnTo>
                  <a:lnTo>
                    <a:pt x="822" y="340"/>
                  </a:lnTo>
                  <a:lnTo>
                    <a:pt x="824" y="340"/>
                  </a:lnTo>
                  <a:lnTo>
                    <a:pt x="822" y="341"/>
                  </a:lnTo>
                  <a:lnTo>
                    <a:pt x="821" y="341"/>
                  </a:lnTo>
                  <a:lnTo>
                    <a:pt x="821" y="340"/>
                  </a:lnTo>
                  <a:lnTo>
                    <a:pt x="820" y="341"/>
                  </a:lnTo>
                  <a:lnTo>
                    <a:pt x="818" y="341"/>
                  </a:lnTo>
                  <a:lnTo>
                    <a:pt x="817" y="343"/>
                  </a:lnTo>
                  <a:lnTo>
                    <a:pt x="817" y="341"/>
                  </a:lnTo>
                  <a:lnTo>
                    <a:pt x="814" y="341"/>
                  </a:lnTo>
                  <a:lnTo>
                    <a:pt x="806" y="349"/>
                  </a:lnTo>
                  <a:lnTo>
                    <a:pt x="803" y="353"/>
                  </a:lnTo>
                  <a:lnTo>
                    <a:pt x="802" y="359"/>
                  </a:lnTo>
                  <a:lnTo>
                    <a:pt x="802" y="370"/>
                  </a:lnTo>
                  <a:lnTo>
                    <a:pt x="800" y="371"/>
                  </a:lnTo>
                  <a:lnTo>
                    <a:pt x="799" y="370"/>
                  </a:lnTo>
                  <a:lnTo>
                    <a:pt x="799" y="373"/>
                  </a:lnTo>
                  <a:lnTo>
                    <a:pt x="794" y="373"/>
                  </a:lnTo>
                  <a:lnTo>
                    <a:pt x="794" y="374"/>
                  </a:lnTo>
                  <a:lnTo>
                    <a:pt x="790" y="374"/>
                  </a:lnTo>
                  <a:lnTo>
                    <a:pt x="787" y="377"/>
                  </a:lnTo>
                  <a:lnTo>
                    <a:pt x="785" y="377"/>
                  </a:lnTo>
                  <a:lnTo>
                    <a:pt x="784" y="379"/>
                  </a:lnTo>
                  <a:lnTo>
                    <a:pt x="782" y="379"/>
                  </a:lnTo>
                  <a:lnTo>
                    <a:pt x="782" y="383"/>
                  </a:lnTo>
                  <a:lnTo>
                    <a:pt x="779" y="386"/>
                  </a:lnTo>
                  <a:lnTo>
                    <a:pt x="775" y="386"/>
                  </a:lnTo>
                  <a:lnTo>
                    <a:pt x="775" y="383"/>
                  </a:lnTo>
                  <a:lnTo>
                    <a:pt x="772" y="383"/>
                  </a:lnTo>
                  <a:lnTo>
                    <a:pt x="772" y="382"/>
                  </a:lnTo>
                  <a:lnTo>
                    <a:pt x="778" y="382"/>
                  </a:lnTo>
                  <a:lnTo>
                    <a:pt x="778" y="380"/>
                  </a:lnTo>
                  <a:lnTo>
                    <a:pt x="776" y="379"/>
                  </a:lnTo>
                  <a:lnTo>
                    <a:pt x="776" y="373"/>
                  </a:lnTo>
                  <a:lnTo>
                    <a:pt x="775" y="371"/>
                  </a:lnTo>
                  <a:lnTo>
                    <a:pt x="775" y="370"/>
                  </a:lnTo>
                  <a:lnTo>
                    <a:pt x="776" y="368"/>
                  </a:lnTo>
                  <a:lnTo>
                    <a:pt x="778" y="368"/>
                  </a:lnTo>
                  <a:lnTo>
                    <a:pt x="778" y="367"/>
                  </a:lnTo>
                  <a:lnTo>
                    <a:pt x="776" y="365"/>
                  </a:lnTo>
                  <a:lnTo>
                    <a:pt x="776" y="364"/>
                  </a:lnTo>
                  <a:lnTo>
                    <a:pt x="773" y="364"/>
                  </a:lnTo>
                  <a:lnTo>
                    <a:pt x="773" y="362"/>
                  </a:lnTo>
                  <a:lnTo>
                    <a:pt x="775" y="362"/>
                  </a:lnTo>
                  <a:lnTo>
                    <a:pt x="775" y="361"/>
                  </a:lnTo>
                  <a:lnTo>
                    <a:pt x="776" y="361"/>
                  </a:lnTo>
                  <a:lnTo>
                    <a:pt x="776" y="359"/>
                  </a:lnTo>
                  <a:lnTo>
                    <a:pt x="778" y="361"/>
                  </a:lnTo>
                  <a:lnTo>
                    <a:pt x="779" y="359"/>
                  </a:lnTo>
                  <a:lnTo>
                    <a:pt x="779" y="356"/>
                  </a:lnTo>
                  <a:lnTo>
                    <a:pt x="781" y="356"/>
                  </a:lnTo>
                  <a:lnTo>
                    <a:pt x="781" y="355"/>
                  </a:lnTo>
                  <a:lnTo>
                    <a:pt x="784" y="355"/>
                  </a:lnTo>
                  <a:lnTo>
                    <a:pt x="784" y="353"/>
                  </a:lnTo>
                  <a:lnTo>
                    <a:pt x="788" y="349"/>
                  </a:lnTo>
                  <a:lnTo>
                    <a:pt x="787" y="349"/>
                  </a:lnTo>
                  <a:lnTo>
                    <a:pt x="787" y="346"/>
                  </a:lnTo>
                  <a:lnTo>
                    <a:pt x="785" y="346"/>
                  </a:lnTo>
                  <a:lnTo>
                    <a:pt x="785" y="344"/>
                  </a:lnTo>
                  <a:lnTo>
                    <a:pt x="784" y="344"/>
                  </a:lnTo>
                  <a:lnTo>
                    <a:pt x="782" y="343"/>
                  </a:lnTo>
                  <a:lnTo>
                    <a:pt x="779" y="343"/>
                  </a:lnTo>
                  <a:lnTo>
                    <a:pt x="781" y="344"/>
                  </a:lnTo>
                  <a:lnTo>
                    <a:pt x="779" y="346"/>
                  </a:lnTo>
                  <a:lnTo>
                    <a:pt x="778" y="346"/>
                  </a:lnTo>
                  <a:lnTo>
                    <a:pt x="776" y="344"/>
                  </a:lnTo>
                  <a:lnTo>
                    <a:pt x="776" y="346"/>
                  </a:lnTo>
                  <a:lnTo>
                    <a:pt x="775" y="346"/>
                  </a:lnTo>
                  <a:lnTo>
                    <a:pt x="773" y="347"/>
                  </a:lnTo>
                  <a:lnTo>
                    <a:pt x="773" y="344"/>
                  </a:lnTo>
                  <a:lnTo>
                    <a:pt x="772" y="346"/>
                  </a:lnTo>
                  <a:lnTo>
                    <a:pt x="773" y="347"/>
                  </a:lnTo>
                  <a:lnTo>
                    <a:pt x="773" y="349"/>
                  </a:lnTo>
                  <a:lnTo>
                    <a:pt x="775" y="350"/>
                  </a:lnTo>
                  <a:lnTo>
                    <a:pt x="770" y="355"/>
                  </a:lnTo>
                  <a:lnTo>
                    <a:pt x="767" y="355"/>
                  </a:lnTo>
                  <a:lnTo>
                    <a:pt x="767" y="356"/>
                  </a:lnTo>
                  <a:lnTo>
                    <a:pt x="769" y="356"/>
                  </a:lnTo>
                  <a:lnTo>
                    <a:pt x="769" y="358"/>
                  </a:lnTo>
                  <a:lnTo>
                    <a:pt x="767" y="358"/>
                  </a:lnTo>
                  <a:lnTo>
                    <a:pt x="767" y="364"/>
                  </a:lnTo>
                  <a:lnTo>
                    <a:pt x="769" y="364"/>
                  </a:lnTo>
                  <a:lnTo>
                    <a:pt x="769" y="365"/>
                  </a:lnTo>
                  <a:lnTo>
                    <a:pt x="772" y="365"/>
                  </a:lnTo>
                  <a:lnTo>
                    <a:pt x="772" y="367"/>
                  </a:lnTo>
                  <a:lnTo>
                    <a:pt x="770" y="368"/>
                  </a:lnTo>
                  <a:lnTo>
                    <a:pt x="770" y="370"/>
                  </a:lnTo>
                  <a:lnTo>
                    <a:pt x="769" y="368"/>
                  </a:lnTo>
                  <a:lnTo>
                    <a:pt x="767" y="370"/>
                  </a:lnTo>
                  <a:lnTo>
                    <a:pt x="767" y="371"/>
                  </a:lnTo>
                  <a:lnTo>
                    <a:pt x="769" y="371"/>
                  </a:lnTo>
                  <a:lnTo>
                    <a:pt x="769" y="373"/>
                  </a:lnTo>
                  <a:lnTo>
                    <a:pt x="766" y="373"/>
                  </a:lnTo>
                  <a:lnTo>
                    <a:pt x="766" y="371"/>
                  </a:lnTo>
                  <a:lnTo>
                    <a:pt x="764" y="370"/>
                  </a:lnTo>
                  <a:lnTo>
                    <a:pt x="766" y="368"/>
                  </a:lnTo>
                  <a:lnTo>
                    <a:pt x="763" y="365"/>
                  </a:lnTo>
                  <a:lnTo>
                    <a:pt x="763" y="364"/>
                  </a:lnTo>
                  <a:lnTo>
                    <a:pt x="758" y="364"/>
                  </a:lnTo>
                  <a:lnTo>
                    <a:pt x="757" y="362"/>
                  </a:lnTo>
                  <a:lnTo>
                    <a:pt x="752" y="364"/>
                  </a:lnTo>
                  <a:lnTo>
                    <a:pt x="751" y="364"/>
                  </a:lnTo>
                  <a:lnTo>
                    <a:pt x="748" y="365"/>
                  </a:lnTo>
                  <a:lnTo>
                    <a:pt x="746" y="365"/>
                  </a:lnTo>
                  <a:lnTo>
                    <a:pt x="743" y="367"/>
                  </a:lnTo>
                  <a:lnTo>
                    <a:pt x="743" y="370"/>
                  </a:lnTo>
                  <a:lnTo>
                    <a:pt x="745" y="373"/>
                  </a:lnTo>
                  <a:lnTo>
                    <a:pt x="743" y="373"/>
                  </a:lnTo>
                  <a:lnTo>
                    <a:pt x="740" y="376"/>
                  </a:lnTo>
                  <a:lnTo>
                    <a:pt x="740" y="377"/>
                  </a:lnTo>
                  <a:lnTo>
                    <a:pt x="742" y="377"/>
                  </a:lnTo>
                  <a:lnTo>
                    <a:pt x="742" y="382"/>
                  </a:lnTo>
                  <a:lnTo>
                    <a:pt x="743" y="383"/>
                  </a:lnTo>
                  <a:lnTo>
                    <a:pt x="745" y="386"/>
                  </a:lnTo>
                  <a:lnTo>
                    <a:pt x="742" y="389"/>
                  </a:lnTo>
                  <a:lnTo>
                    <a:pt x="742" y="391"/>
                  </a:lnTo>
                  <a:lnTo>
                    <a:pt x="740" y="391"/>
                  </a:lnTo>
                  <a:lnTo>
                    <a:pt x="740" y="394"/>
                  </a:lnTo>
                  <a:lnTo>
                    <a:pt x="739" y="394"/>
                  </a:lnTo>
                  <a:lnTo>
                    <a:pt x="737" y="395"/>
                  </a:lnTo>
                  <a:lnTo>
                    <a:pt x="737" y="400"/>
                  </a:lnTo>
                  <a:lnTo>
                    <a:pt x="734" y="400"/>
                  </a:lnTo>
                  <a:lnTo>
                    <a:pt x="731" y="403"/>
                  </a:lnTo>
                  <a:lnTo>
                    <a:pt x="728" y="403"/>
                  </a:lnTo>
                  <a:lnTo>
                    <a:pt x="728" y="401"/>
                  </a:lnTo>
                  <a:lnTo>
                    <a:pt x="727" y="400"/>
                  </a:lnTo>
                  <a:lnTo>
                    <a:pt x="727" y="398"/>
                  </a:lnTo>
                  <a:lnTo>
                    <a:pt x="725" y="398"/>
                  </a:lnTo>
                  <a:lnTo>
                    <a:pt x="725" y="395"/>
                  </a:lnTo>
                  <a:lnTo>
                    <a:pt x="727" y="395"/>
                  </a:lnTo>
                  <a:lnTo>
                    <a:pt x="727" y="392"/>
                  </a:lnTo>
                  <a:lnTo>
                    <a:pt x="725" y="391"/>
                  </a:lnTo>
                  <a:lnTo>
                    <a:pt x="727" y="391"/>
                  </a:lnTo>
                  <a:lnTo>
                    <a:pt x="727" y="388"/>
                  </a:lnTo>
                  <a:lnTo>
                    <a:pt x="725" y="388"/>
                  </a:lnTo>
                  <a:lnTo>
                    <a:pt x="727" y="386"/>
                  </a:lnTo>
                  <a:lnTo>
                    <a:pt x="728" y="386"/>
                  </a:lnTo>
                  <a:lnTo>
                    <a:pt x="727" y="385"/>
                  </a:lnTo>
                  <a:lnTo>
                    <a:pt x="727" y="379"/>
                  </a:lnTo>
                  <a:lnTo>
                    <a:pt x="730" y="379"/>
                  </a:lnTo>
                  <a:lnTo>
                    <a:pt x="731" y="380"/>
                  </a:lnTo>
                  <a:lnTo>
                    <a:pt x="731" y="379"/>
                  </a:lnTo>
                  <a:lnTo>
                    <a:pt x="733" y="379"/>
                  </a:lnTo>
                  <a:lnTo>
                    <a:pt x="731" y="376"/>
                  </a:lnTo>
                  <a:lnTo>
                    <a:pt x="730" y="376"/>
                  </a:lnTo>
                  <a:lnTo>
                    <a:pt x="728" y="374"/>
                  </a:lnTo>
                  <a:lnTo>
                    <a:pt x="725" y="373"/>
                  </a:lnTo>
                  <a:lnTo>
                    <a:pt x="722" y="373"/>
                  </a:lnTo>
                  <a:lnTo>
                    <a:pt x="721" y="374"/>
                  </a:lnTo>
                  <a:lnTo>
                    <a:pt x="718" y="374"/>
                  </a:lnTo>
                  <a:lnTo>
                    <a:pt x="716" y="376"/>
                  </a:lnTo>
                  <a:lnTo>
                    <a:pt x="716" y="377"/>
                  </a:lnTo>
                  <a:lnTo>
                    <a:pt x="715" y="379"/>
                  </a:lnTo>
                  <a:lnTo>
                    <a:pt x="715" y="380"/>
                  </a:lnTo>
                  <a:lnTo>
                    <a:pt x="716" y="380"/>
                  </a:lnTo>
                  <a:lnTo>
                    <a:pt x="713" y="383"/>
                  </a:lnTo>
                  <a:lnTo>
                    <a:pt x="712" y="383"/>
                  </a:lnTo>
                  <a:lnTo>
                    <a:pt x="710" y="385"/>
                  </a:lnTo>
                  <a:lnTo>
                    <a:pt x="709" y="385"/>
                  </a:lnTo>
                  <a:lnTo>
                    <a:pt x="707" y="386"/>
                  </a:lnTo>
                  <a:lnTo>
                    <a:pt x="707" y="388"/>
                  </a:lnTo>
                  <a:lnTo>
                    <a:pt x="706" y="389"/>
                  </a:lnTo>
                  <a:lnTo>
                    <a:pt x="707" y="391"/>
                  </a:lnTo>
                  <a:lnTo>
                    <a:pt x="706" y="391"/>
                  </a:lnTo>
                  <a:lnTo>
                    <a:pt x="706" y="392"/>
                  </a:lnTo>
                  <a:lnTo>
                    <a:pt x="701" y="397"/>
                  </a:lnTo>
                  <a:lnTo>
                    <a:pt x="701" y="400"/>
                  </a:lnTo>
                  <a:lnTo>
                    <a:pt x="700" y="401"/>
                  </a:lnTo>
                  <a:lnTo>
                    <a:pt x="701" y="401"/>
                  </a:lnTo>
                  <a:lnTo>
                    <a:pt x="701" y="403"/>
                  </a:lnTo>
                  <a:lnTo>
                    <a:pt x="700" y="403"/>
                  </a:lnTo>
                  <a:lnTo>
                    <a:pt x="694" y="400"/>
                  </a:lnTo>
                  <a:lnTo>
                    <a:pt x="686" y="400"/>
                  </a:lnTo>
                  <a:lnTo>
                    <a:pt x="682" y="401"/>
                  </a:lnTo>
                  <a:lnTo>
                    <a:pt x="677" y="398"/>
                  </a:lnTo>
                  <a:lnTo>
                    <a:pt x="670" y="398"/>
                  </a:lnTo>
                  <a:lnTo>
                    <a:pt x="665" y="400"/>
                  </a:lnTo>
                  <a:lnTo>
                    <a:pt x="661" y="400"/>
                  </a:lnTo>
                  <a:lnTo>
                    <a:pt x="652" y="404"/>
                  </a:lnTo>
                  <a:lnTo>
                    <a:pt x="651" y="403"/>
                  </a:lnTo>
                  <a:lnTo>
                    <a:pt x="648" y="404"/>
                  </a:lnTo>
                  <a:lnTo>
                    <a:pt x="646" y="404"/>
                  </a:lnTo>
                  <a:lnTo>
                    <a:pt x="646" y="403"/>
                  </a:lnTo>
                  <a:lnTo>
                    <a:pt x="648" y="403"/>
                  </a:lnTo>
                  <a:lnTo>
                    <a:pt x="648" y="400"/>
                  </a:lnTo>
                  <a:lnTo>
                    <a:pt x="649" y="400"/>
                  </a:lnTo>
                  <a:lnTo>
                    <a:pt x="651" y="401"/>
                  </a:lnTo>
                  <a:lnTo>
                    <a:pt x="652" y="400"/>
                  </a:lnTo>
                  <a:lnTo>
                    <a:pt x="654" y="400"/>
                  </a:lnTo>
                  <a:lnTo>
                    <a:pt x="655" y="398"/>
                  </a:lnTo>
                  <a:lnTo>
                    <a:pt x="657" y="398"/>
                  </a:lnTo>
                  <a:lnTo>
                    <a:pt x="658" y="397"/>
                  </a:lnTo>
                  <a:lnTo>
                    <a:pt x="658" y="395"/>
                  </a:lnTo>
                  <a:lnTo>
                    <a:pt x="660" y="395"/>
                  </a:lnTo>
                  <a:lnTo>
                    <a:pt x="661" y="397"/>
                  </a:lnTo>
                  <a:lnTo>
                    <a:pt x="661" y="395"/>
                  </a:lnTo>
                  <a:lnTo>
                    <a:pt x="660" y="395"/>
                  </a:lnTo>
                  <a:lnTo>
                    <a:pt x="661" y="394"/>
                  </a:lnTo>
                  <a:lnTo>
                    <a:pt x="658" y="391"/>
                  </a:lnTo>
                  <a:lnTo>
                    <a:pt x="658" y="392"/>
                  </a:lnTo>
                  <a:lnTo>
                    <a:pt x="657" y="391"/>
                  </a:lnTo>
                  <a:lnTo>
                    <a:pt x="655" y="391"/>
                  </a:lnTo>
                  <a:lnTo>
                    <a:pt x="655" y="392"/>
                  </a:lnTo>
                  <a:lnTo>
                    <a:pt x="654" y="394"/>
                  </a:lnTo>
                  <a:lnTo>
                    <a:pt x="654" y="392"/>
                  </a:lnTo>
                  <a:lnTo>
                    <a:pt x="651" y="392"/>
                  </a:lnTo>
                  <a:lnTo>
                    <a:pt x="649" y="394"/>
                  </a:lnTo>
                  <a:lnTo>
                    <a:pt x="649" y="392"/>
                  </a:lnTo>
                  <a:lnTo>
                    <a:pt x="648" y="394"/>
                  </a:lnTo>
                  <a:lnTo>
                    <a:pt x="648" y="392"/>
                  </a:lnTo>
                  <a:lnTo>
                    <a:pt x="646" y="392"/>
                  </a:lnTo>
                  <a:lnTo>
                    <a:pt x="646" y="391"/>
                  </a:lnTo>
                  <a:lnTo>
                    <a:pt x="645" y="391"/>
                  </a:lnTo>
                  <a:lnTo>
                    <a:pt x="643" y="389"/>
                  </a:lnTo>
                  <a:lnTo>
                    <a:pt x="645" y="389"/>
                  </a:lnTo>
                  <a:lnTo>
                    <a:pt x="645" y="386"/>
                  </a:lnTo>
                  <a:lnTo>
                    <a:pt x="643" y="388"/>
                  </a:lnTo>
                  <a:lnTo>
                    <a:pt x="643" y="389"/>
                  </a:lnTo>
                  <a:lnTo>
                    <a:pt x="642" y="391"/>
                  </a:lnTo>
                  <a:lnTo>
                    <a:pt x="642" y="394"/>
                  </a:lnTo>
                  <a:lnTo>
                    <a:pt x="643" y="395"/>
                  </a:lnTo>
                  <a:lnTo>
                    <a:pt x="645" y="395"/>
                  </a:lnTo>
                  <a:lnTo>
                    <a:pt x="645" y="398"/>
                  </a:lnTo>
                  <a:lnTo>
                    <a:pt x="643" y="397"/>
                  </a:lnTo>
                  <a:lnTo>
                    <a:pt x="642" y="397"/>
                  </a:lnTo>
                  <a:lnTo>
                    <a:pt x="640" y="395"/>
                  </a:lnTo>
                  <a:lnTo>
                    <a:pt x="639" y="395"/>
                  </a:lnTo>
                  <a:lnTo>
                    <a:pt x="639" y="392"/>
                  </a:lnTo>
                  <a:lnTo>
                    <a:pt x="640" y="391"/>
                  </a:lnTo>
                  <a:lnTo>
                    <a:pt x="639" y="389"/>
                  </a:lnTo>
                  <a:lnTo>
                    <a:pt x="639" y="388"/>
                  </a:lnTo>
                  <a:lnTo>
                    <a:pt x="637" y="388"/>
                  </a:lnTo>
                  <a:lnTo>
                    <a:pt x="637" y="383"/>
                  </a:lnTo>
                  <a:lnTo>
                    <a:pt x="639" y="382"/>
                  </a:lnTo>
                  <a:lnTo>
                    <a:pt x="639" y="380"/>
                  </a:lnTo>
                  <a:lnTo>
                    <a:pt x="640" y="379"/>
                  </a:lnTo>
                  <a:lnTo>
                    <a:pt x="640" y="376"/>
                  </a:lnTo>
                  <a:lnTo>
                    <a:pt x="639" y="377"/>
                  </a:lnTo>
                  <a:lnTo>
                    <a:pt x="639" y="376"/>
                  </a:lnTo>
                  <a:lnTo>
                    <a:pt x="637" y="376"/>
                  </a:lnTo>
                  <a:lnTo>
                    <a:pt x="639" y="379"/>
                  </a:lnTo>
                  <a:lnTo>
                    <a:pt x="637" y="379"/>
                  </a:lnTo>
                  <a:lnTo>
                    <a:pt x="637" y="377"/>
                  </a:lnTo>
                  <a:lnTo>
                    <a:pt x="636" y="379"/>
                  </a:lnTo>
                  <a:lnTo>
                    <a:pt x="633" y="379"/>
                  </a:lnTo>
                  <a:lnTo>
                    <a:pt x="630" y="382"/>
                  </a:lnTo>
                  <a:lnTo>
                    <a:pt x="630" y="386"/>
                  </a:lnTo>
                  <a:lnTo>
                    <a:pt x="628" y="389"/>
                  </a:lnTo>
                  <a:lnTo>
                    <a:pt x="624" y="394"/>
                  </a:lnTo>
                  <a:lnTo>
                    <a:pt x="624" y="400"/>
                  </a:lnTo>
                  <a:lnTo>
                    <a:pt x="625" y="400"/>
                  </a:lnTo>
                  <a:lnTo>
                    <a:pt x="625" y="403"/>
                  </a:lnTo>
                  <a:lnTo>
                    <a:pt x="628" y="403"/>
                  </a:lnTo>
                  <a:lnTo>
                    <a:pt x="631" y="406"/>
                  </a:lnTo>
                  <a:lnTo>
                    <a:pt x="637" y="409"/>
                  </a:lnTo>
                  <a:lnTo>
                    <a:pt x="639" y="409"/>
                  </a:lnTo>
                  <a:lnTo>
                    <a:pt x="639" y="410"/>
                  </a:lnTo>
                  <a:lnTo>
                    <a:pt x="640" y="410"/>
                  </a:lnTo>
                  <a:lnTo>
                    <a:pt x="640" y="412"/>
                  </a:lnTo>
                  <a:lnTo>
                    <a:pt x="642" y="412"/>
                  </a:lnTo>
                  <a:lnTo>
                    <a:pt x="642" y="415"/>
                  </a:lnTo>
                  <a:lnTo>
                    <a:pt x="640" y="415"/>
                  </a:lnTo>
                  <a:lnTo>
                    <a:pt x="640" y="416"/>
                  </a:lnTo>
                  <a:lnTo>
                    <a:pt x="642" y="416"/>
                  </a:lnTo>
                  <a:lnTo>
                    <a:pt x="640" y="418"/>
                  </a:lnTo>
                  <a:lnTo>
                    <a:pt x="640" y="419"/>
                  </a:lnTo>
                  <a:lnTo>
                    <a:pt x="642" y="419"/>
                  </a:lnTo>
                  <a:lnTo>
                    <a:pt x="642" y="421"/>
                  </a:lnTo>
                  <a:lnTo>
                    <a:pt x="640" y="421"/>
                  </a:lnTo>
                  <a:lnTo>
                    <a:pt x="640" y="422"/>
                  </a:lnTo>
                  <a:lnTo>
                    <a:pt x="639" y="422"/>
                  </a:lnTo>
                  <a:lnTo>
                    <a:pt x="639" y="419"/>
                  </a:lnTo>
                  <a:lnTo>
                    <a:pt x="637" y="419"/>
                  </a:lnTo>
                  <a:lnTo>
                    <a:pt x="637" y="421"/>
                  </a:lnTo>
                  <a:lnTo>
                    <a:pt x="636" y="419"/>
                  </a:lnTo>
                  <a:lnTo>
                    <a:pt x="634" y="419"/>
                  </a:lnTo>
                  <a:lnTo>
                    <a:pt x="633" y="421"/>
                  </a:lnTo>
                  <a:lnTo>
                    <a:pt x="633" y="418"/>
                  </a:lnTo>
                  <a:lnTo>
                    <a:pt x="631" y="418"/>
                  </a:lnTo>
                  <a:lnTo>
                    <a:pt x="630" y="419"/>
                  </a:lnTo>
                  <a:lnTo>
                    <a:pt x="630" y="421"/>
                  </a:lnTo>
                  <a:lnTo>
                    <a:pt x="628" y="421"/>
                  </a:lnTo>
                  <a:lnTo>
                    <a:pt x="628" y="422"/>
                  </a:lnTo>
                  <a:lnTo>
                    <a:pt x="627" y="422"/>
                  </a:lnTo>
                  <a:lnTo>
                    <a:pt x="627" y="421"/>
                  </a:lnTo>
                  <a:lnTo>
                    <a:pt x="625" y="421"/>
                  </a:lnTo>
                  <a:lnTo>
                    <a:pt x="625" y="422"/>
                  </a:lnTo>
                  <a:lnTo>
                    <a:pt x="624" y="421"/>
                  </a:lnTo>
                  <a:lnTo>
                    <a:pt x="624" y="422"/>
                  </a:lnTo>
                  <a:lnTo>
                    <a:pt x="622" y="422"/>
                  </a:lnTo>
                  <a:lnTo>
                    <a:pt x="624" y="424"/>
                  </a:lnTo>
                  <a:lnTo>
                    <a:pt x="622" y="424"/>
                  </a:lnTo>
                  <a:lnTo>
                    <a:pt x="621" y="422"/>
                  </a:lnTo>
                  <a:lnTo>
                    <a:pt x="619" y="424"/>
                  </a:lnTo>
                  <a:lnTo>
                    <a:pt x="619" y="425"/>
                  </a:lnTo>
                  <a:lnTo>
                    <a:pt x="618" y="425"/>
                  </a:lnTo>
                  <a:lnTo>
                    <a:pt x="615" y="427"/>
                  </a:lnTo>
                  <a:lnTo>
                    <a:pt x="613" y="428"/>
                  </a:lnTo>
                  <a:lnTo>
                    <a:pt x="613" y="430"/>
                  </a:lnTo>
                  <a:lnTo>
                    <a:pt x="615" y="430"/>
                  </a:lnTo>
                  <a:lnTo>
                    <a:pt x="615" y="431"/>
                  </a:lnTo>
                  <a:lnTo>
                    <a:pt x="612" y="431"/>
                  </a:lnTo>
                  <a:lnTo>
                    <a:pt x="612" y="430"/>
                  </a:lnTo>
                  <a:lnTo>
                    <a:pt x="610" y="431"/>
                  </a:lnTo>
                  <a:lnTo>
                    <a:pt x="610" y="433"/>
                  </a:lnTo>
                  <a:lnTo>
                    <a:pt x="612" y="433"/>
                  </a:lnTo>
                  <a:lnTo>
                    <a:pt x="612" y="434"/>
                  </a:lnTo>
                  <a:lnTo>
                    <a:pt x="613" y="436"/>
                  </a:lnTo>
                  <a:lnTo>
                    <a:pt x="612" y="436"/>
                  </a:lnTo>
                  <a:lnTo>
                    <a:pt x="612" y="437"/>
                  </a:lnTo>
                  <a:lnTo>
                    <a:pt x="609" y="437"/>
                  </a:lnTo>
                  <a:lnTo>
                    <a:pt x="609" y="440"/>
                  </a:lnTo>
                  <a:lnTo>
                    <a:pt x="607" y="440"/>
                  </a:lnTo>
                  <a:lnTo>
                    <a:pt x="607" y="442"/>
                  </a:lnTo>
                  <a:lnTo>
                    <a:pt x="604" y="442"/>
                  </a:lnTo>
                  <a:lnTo>
                    <a:pt x="600" y="451"/>
                  </a:lnTo>
                  <a:lnTo>
                    <a:pt x="600" y="454"/>
                  </a:lnTo>
                  <a:lnTo>
                    <a:pt x="598" y="455"/>
                  </a:lnTo>
                  <a:lnTo>
                    <a:pt x="598" y="457"/>
                  </a:lnTo>
                  <a:lnTo>
                    <a:pt x="597" y="457"/>
                  </a:lnTo>
                  <a:lnTo>
                    <a:pt x="597" y="458"/>
                  </a:lnTo>
                  <a:lnTo>
                    <a:pt x="598" y="458"/>
                  </a:lnTo>
                  <a:lnTo>
                    <a:pt x="594" y="463"/>
                  </a:lnTo>
                  <a:lnTo>
                    <a:pt x="591" y="463"/>
                  </a:lnTo>
                  <a:lnTo>
                    <a:pt x="591" y="464"/>
                  </a:lnTo>
                  <a:lnTo>
                    <a:pt x="589" y="466"/>
                  </a:lnTo>
                  <a:lnTo>
                    <a:pt x="589" y="464"/>
                  </a:lnTo>
                  <a:lnTo>
                    <a:pt x="583" y="464"/>
                  </a:lnTo>
                  <a:lnTo>
                    <a:pt x="576" y="461"/>
                  </a:lnTo>
                  <a:lnTo>
                    <a:pt x="574" y="461"/>
                  </a:lnTo>
                  <a:lnTo>
                    <a:pt x="573" y="460"/>
                  </a:lnTo>
                  <a:lnTo>
                    <a:pt x="571" y="460"/>
                  </a:lnTo>
                  <a:lnTo>
                    <a:pt x="571" y="455"/>
                  </a:lnTo>
                  <a:lnTo>
                    <a:pt x="570" y="455"/>
                  </a:lnTo>
                  <a:lnTo>
                    <a:pt x="568" y="454"/>
                  </a:lnTo>
                  <a:lnTo>
                    <a:pt x="570" y="454"/>
                  </a:lnTo>
                  <a:lnTo>
                    <a:pt x="571" y="452"/>
                  </a:lnTo>
                  <a:lnTo>
                    <a:pt x="568" y="449"/>
                  </a:lnTo>
                  <a:lnTo>
                    <a:pt x="567" y="449"/>
                  </a:lnTo>
                  <a:lnTo>
                    <a:pt x="565" y="448"/>
                  </a:lnTo>
                  <a:lnTo>
                    <a:pt x="564" y="448"/>
                  </a:lnTo>
                  <a:lnTo>
                    <a:pt x="562" y="446"/>
                  </a:lnTo>
                  <a:lnTo>
                    <a:pt x="562" y="445"/>
                  </a:lnTo>
                  <a:lnTo>
                    <a:pt x="559" y="442"/>
                  </a:lnTo>
                  <a:lnTo>
                    <a:pt x="558" y="442"/>
                  </a:lnTo>
                  <a:lnTo>
                    <a:pt x="558" y="440"/>
                  </a:lnTo>
                  <a:lnTo>
                    <a:pt x="556" y="440"/>
                  </a:lnTo>
                  <a:lnTo>
                    <a:pt x="558" y="439"/>
                  </a:lnTo>
                  <a:lnTo>
                    <a:pt x="558" y="437"/>
                  </a:lnTo>
                  <a:lnTo>
                    <a:pt x="559" y="437"/>
                  </a:lnTo>
                  <a:lnTo>
                    <a:pt x="559" y="436"/>
                  </a:lnTo>
                  <a:lnTo>
                    <a:pt x="561" y="436"/>
                  </a:lnTo>
                  <a:lnTo>
                    <a:pt x="561" y="434"/>
                  </a:lnTo>
                  <a:lnTo>
                    <a:pt x="559" y="433"/>
                  </a:lnTo>
                  <a:lnTo>
                    <a:pt x="558" y="433"/>
                  </a:lnTo>
                  <a:lnTo>
                    <a:pt x="559" y="431"/>
                  </a:lnTo>
                  <a:lnTo>
                    <a:pt x="559" y="428"/>
                  </a:lnTo>
                  <a:lnTo>
                    <a:pt x="562" y="428"/>
                  </a:lnTo>
                  <a:lnTo>
                    <a:pt x="562" y="427"/>
                  </a:lnTo>
                  <a:lnTo>
                    <a:pt x="559" y="424"/>
                  </a:lnTo>
                  <a:lnTo>
                    <a:pt x="559" y="422"/>
                  </a:lnTo>
                  <a:lnTo>
                    <a:pt x="558" y="422"/>
                  </a:lnTo>
                  <a:lnTo>
                    <a:pt x="556" y="421"/>
                  </a:lnTo>
                  <a:lnTo>
                    <a:pt x="559" y="419"/>
                  </a:lnTo>
                  <a:lnTo>
                    <a:pt x="564" y="418"/>
                  </a:lnTo>
                  <a:lnTo>
                    <a:pt x="565" y="415"/>
                  </a:lnTo>
                  <a:lnTo>
                    <a:pt x="567" y="415"/>
                  </a:lnTo>
                  <a:lnTo>
                    <a:pt x="568" y="412"/>
                  </a:lnTo>
                  <a:lnTo>
                    <a:pt x="571" y="409"/>
                  </a:lnTo>
                  <a:lnTo>
                    <a:pt x="571" y="407"/>
                  </a:lnTo>
                  <a:lnTo>
                    <a:pt x="573" y="407"/>
                  </a:lnTo>
                  <a:lnTo>
                    <a:pt x="573" y="398"/>
                  </a:lnTo>
                  <a:lnTo>
                    <a:pt x="570" y="398"/>
                  </a:lnTo>
                  <a:lnTo>
                    <a:pt x="570" y="397"/>
                  </a:lnTo>
                  <a:lnTo>
                    <a:pt x="567" y="397"/>
                  </a:lnTo>
                  <a:lnTo>
                    <a:pt x="567" y="398"/>
                  </a:lnTo>
                  <a:lnTo>
                    <a:pt x="565" y="398"/>
                  </a:lnTo>
                  <a:lnTo>
                    <a:pt x="565" y="397"/>
                  </a:lnTo>
                  <a:lnTo>
                    <a:pt x="564" y="398"/>
                  </a:lnTo>
                  <a:lnTo>
                    <a:pt x="562" y="398"/>
                  </a:lnTo>
                  <a:lnTo>
                    <a:pt x="562" y="400"/>
                  </a:lnTo>
                  <a:lnTo>
                    <a:pt x="559" y="401"/>
                  </a:lnTo>
                  <a:lnTo>
                    <a:pt x="553" y="401"/>
                  </a:lnTo>
                  <a:lnTo>
                    <a:pt x="552" y="400"/>
                  </a:lnTo>
                  <a:lnTo>
                    <a:pt x="550" y="400"/>
                  </a:lnTo>
                  <a:lnTo>
                    <a:pt x="549" y="398"/>
                  </a:lnTo>
                  <a:lnTo>
                    <a:pt x="546" y="397"/>
                  </a:lnTo>
                  <a:lnTo>
                    <a:pt x="543" y="394"/>
                  </a:lnTo>
                  <a:lnTo>
                    <a:pt x="531" y="394"/>
                  </a:lnTo>
                  <a:lnTo>
                    <a:pt x="531" y="392"/>
                  </a:lnTo>
                  <a:lnTo>
                    <a:pt x="529" y="392"/>
                  </a:lnTo>
                  <a:lnTo>
                    <a:pt x="529" y="394"/>
                  </a:lnTo>
                  <a:lnTo>
                    <a:pt x="528" y="395"/>
                  </a:lnTo>
                  <a:lnTo>
                    <a:pt x="525" y="395"/>
                  </a:lnTo>
                  <a:lnTo>
                    <a:pt x="523" y="397"/>
                  </a:lnTo>
                  <a:lnTo>
                    <a:pt x="520" y="397"/>
                  </a:lnTo>
                  <a:lnTo>
                    <a:pt x="520" y="398"/>
                  </a:lnTo>
                  <a:lnTo>
                    <a:pt x="519" y="398"/>
                  </a:lnTo>
                  <a:lnTo>
                    <a:pt x="517" y="400"/>
                  </a:lnTo>
                  <a:lnTo>
                    <a:pt x="516" y="400"/>
                  </a:lnTo>
                  <a:lnTo>
                    <a:pt x="514" y="401"/>
                  </a:lnTo>
                  <a:lnTo>
                    <a:pt x="516" y="401"/>
                  </a:lnTo>
                  <a:lnTo>
                    <a:pt x="516" y="403"/>
                  </a:lnTo>
                  <a:lnTo>
                    <a:pt x="514" y="403"/>
                  </a:lnTo>
                  <a:lnTo>
                    <a:pt x="513" y="404"/>
                  </a:lnTo>
                  <a:lnTo>
                    <a:pt x="511" y="404"/>
                  </a:lnTo>
                  <a:lnTo>
                    <a:pt x="510" y="403"/>
                  </a:lnTo>
                  <a:lnTo>
                    <a:pt x="510" y="406"/>
                  </a:lnTo>
                  <a:lnTo>
                    <a:pt x="508" y="406"/>
                  </a:lnTo>
                  <a:lnTo>
                    <a:pt x="508" y="407"/>
                  </a:lnTo>
                  <a:lnTo>
                    <a:pt x="507" y="407"/>
                  </a:lnTo>
                  <a:lnTo>
                    <a:pt x="507" y="409"/>
                  </a:lnTo>
                  <a:lnTo>
                    <a:pt x="505" y="410"/>
                  </a:lnTo>
                  <a:lnTo>
                    <a:pt x="505" y="412"/>
                  </a:lnTo>
                  <a:lnTo>
                    <a:pt x="501" y="410"/>
                  </a:lnTo>
                  <a:lnTo>
                    <a:pt x="500" y="410"/>
                  </a:lnTo>
                  <a:lnTo>
                    <a:pt x="500" y="412"/>
                  </a:lnTo>
                  <a:lnTo>
                    <a:pt x="498" y="412"/>
                  </a:lnTo>
                  <a:lnTo>
                    <a:pt x="498" y="409"/>
                  </a:lnTo>
                  <a:lnTo>
                    <a:pt x="495" y="409"/>
                  </a:lnTo>
                  <a:lnTo>
                    <a:pt x="495" y="407"/>
                  </a:lnTo>
                  <a:lnTo>
                    <a:pt x="492" y="407"/>
                  </a:lnTo>
                  <a:lnTo>
                    <a:pt x="492" y="409"/>
                  </a:lnTo>
                  <a:lnTo>
                    <a:pt x="489" y="409"/>
                  </a:lnTo>
                  <a:lnTo>
                    <a:pt x="489" y="410"/>
                  </a:lnTo>
                  <a:lnTo>
                    <a:pt x="488" y="410"/>
                  </a:lnTo>
                  <a:lnTo>
                    <a:pt x="488" y="412"/>
                  </a:lnTo>
                  <a:lnTo>
                    <a:pt x="486" y="412"/>
                  </a:lnTo>
                  <a:lnTo>
                    <a:pt x="483" y="413"/>
                  </a:lnTo>
                  <a:lnTo>
                    <a:pt x="486" y="410"/>
                  </a:lnTo>
                  <a:lnTo>
                    <a:pt x="486" y="409"/>
                  </a:lnTo>
                  <a:lnTo>
                    <a:pt x="485" y="409"/>
                  </a:lnTo>
                  <a:lnTo>
                    <a:pt x="483" y="410"/>
                  </a:lnTo>
                  <a:lnTo>
                    <a:pt x="482" y="410"/>
                  </a:lnTo>
                  <a:lnTo>
                    <a:pt x="482" y="413"/>
                  </a:lnTo>
                  <a:lnTo>
                    <a:pt x="477" y="416"/>
                  </a:lnTo>
                  <a:lnTo>
                    <a:pt x="476" y="415"/>
                  </a:lnTo>
                  <a:lnTo>
                    <a:pt x="474" y="415"/>
                  </a:lnTo>
                  <a:lnTo>
                    <a:pt x="474" y="413"/>
                  </a:lnTo>
                  <a:lnTo>
                    <a:pt x="473" y="413"/>
                  </a:lnTo>
                  <a:lnTo>
                    <a:pt x="473" y="415"/>
                  </a:lnTo>
                  <a:lnTo>
                    <a:pt x="471" y="416"/>
                  </a:lnTo>
                  <a:lnTo>
                    <a:pt x="471" y="421"/>
                  </a:lnTo>
                  <a:lnTo>
                    <a:pt x="468" y="421"/>
                  </a:lnTo>
                  <a:lnTo>
                    <a:pt x="467" y="422"/>
                  </a:lnTo>
                  <a:lnTo>
                    <a:pt x="465" y="422"/>
                  </a:lnTo>
                  <a:lnTo>
                    <a:pt x="465" y="419"/>
                  </a:lnTo>
                  <a:lnTo>
                    <a:pt x="467" y="418"/>
                  </a:lnTo>
                  <a:lnTo>
                    <a:pt x="467" y="416"/>
                  </a:lnTo>
                  <a:lnTo>
                    <a:pt x="468" y="418"/>
                  </a:lnTo>
                  <a:lnTo>
                    <a:pt x="467" y="419"/>
                  </a:lnTo>
                  <a:lnTo>
                    <a:pt x="468" y="419"/>
                  </a:lnTo>
                  <a:lnTo>
                    <a:pt x="468" y="416"/>
                  </a:lnTo>
                  <a:lnTo>
                    <a:pt x="470" y="416"/>
                  </a:lnTo>
                  <a:lnTo>
                    <a:pt x="468" y="415"/>
                  </a:lnTo>
                  <a:lnTo>
                    <a:pt x="465" y="415"/>
                  </a:lnTo>
                  <a:lnTo>
                    <a:pt x="467" y="416"/>
                  </a:lnTo>
                  <a:lnTo>
                    <a:pt x="465" y="418"/>
                  </a:lnTo>
                  <a:lnTo>
                    <a:pt x="462" y="418"/>
                  </a:lnTo>
                  <a:lnTo>
                    <a:pt x="458" y="419"/>
                  </a:lnTo>
                  <a:lnTo>
                    <a:pt x="456" y="419"/>
                  </a:lnTo>
                  <a:lnTo>
                    <a:pt x="455" y="421"/>
                  </a:lnTo>
                  <a:lnTo>
                    <a:pt x="455" y="419"/>
                  </a:lnTo>
                  <a:lnTo>
                    <a:pt x="453" y="419"/>
                  </a:lnTo>
                  <a:lnTo>
                    <a:pt x="453" y="421"/>
                  </a:lnTo>
                  <a:lnTo>
                    <a:pt x="452" y="421"/>
                  </a:lnTo>
                  <a:lnTo>
                    <a:pt x="452" y="424"/>
                  </a:lnTo>
                  <a:lnTo>
                    <a:pt x="449" y="424"/>
                  </a:lnTo>
                  <a:lnTo>
                    <a:pt x="446" y="425"/>
                  </a:lnTo>
                  <a:lnTo>
                    <a:pt x="441" y="425"/>
                  </a:lnTo>
                  <a:lnTo>
                    <a:pt x="441" y="422"/>
                  </a:lnTo>
                  <a:lnTo>
                    <a:pt x="440" y="421"/>
                  </a:lnTo>
                  <a:lnTo>
                    <a:pt x="440" y="416"/>
                  </a:lnTo>
                  <a:lnTo>
                    <a:pt x="432" y="416"/>
                  </a:lnTo>
                  <a:lnTo>
                    <a:pt x="426" y="422"/>
                  </a:lnTo>
                  <a:lnTo>
                    <a:pt x="426" y="424"/>
                  </a:lnTo>
                  <a:lnTo>
                    <a:pt x="428" y="425"/>
                  </a:lnTo>
                  <a:lnTo>
                    <a:pt x="428" y="428"/>
                  </a:lnTo>
                  <a:lnTo>
                    <a:pt x="426" y="428"/>
                  </a:lnTo>
                  <a:lnTo>
                    <a:pt x="426" y="430"/>
                  </a:lnTo>
                  <a:lnTo>
                    <a:pt x="425" y="430"/>
                  </a:lnTo>
                  <a:lnTo>
                    <a:pt x="425" y="433"/>
                  </a:lnTo>
                  <a:lnTo>
                    <a:pt x="426" y="434"/>
                  </a:lnTo>
                  <a:lnTo>
                    <a:pt x="426" y="437"/>
                  </a:lnTo>
                  <a:lnTo>
                    <a:pt x="425" y="439"/>
                  </a:lnTo>
                  <a:lnTo>
                    <a:pt x="423" y="439"/>
                  </a:lnTo>
                  <a:lnTo>
                    <a:pt x="422" y="440"/>
                  </a:lnTo>
                  <a:lnTo>
                    <a:pt x="422" y="442"/>
                  </a:lnTo>
                  <a:lnTo>
                    <a:pt x="423" y="445"/>
                  </a:lnTo>
                  <a:lnTo>
                    <a:pt x="423" y="446"/>
                  </a:lnTo>
                  <a:lnTo>
                    <a:pt x="422" y="446"/>
                  </a:lnTo>
                  <a:lnTo>
                    <a:pt x="422" y="443"/>
                  </a:lnTo>
                  <a:lnTo>
                    <a:pt x="420" y="443"/>
                  </a:lnTo>
                  <a:lnTo>
                    <a:pt x="420" y="442"/>
                  </a:lnTo>
                  <a:lnTo>
                    <a:pt x="419" y="442"/>
                  </a:lnTo>
                  <a:lnTo>
                    <a:pt x="416" y="440"/>
                  </a:lnTo>
                  <a:lnTo>
                    <a:pt x="414" y="440"/>
                  </a:lnTo>
                  <a:lnTo>
                    <a:pt x="413" y="439"/>
                  </a:lnTo>
                  <a:lnTo>
                    <a:pt x="411" y="439"/>
                  </a:lnTo>
                  <a:lnTo>
                    <a:pt x="411" y="437"/>
                  </a:lnTo>
                  <a:lnTo>
                    <a:pt x="410" y="437"/>
                  </a:lnTo>
                  <a:lnTo>
                    <a:pt x="410" y="436"/>
                  </a:lnTo>
                  <a:lnTo>
                    <a:pt x="408" y="437"/>
                  </a:lnTo>
                  <a:lnTo>
                    <a:pt x="408" y="439"/>
                  </a:lnTo>
                  <a:lnTo>
                    <a:pt x="407" y="439"/>
                  </a:lnTo>
                  <a:lnTo>
                    <a:pt x="405" y="437"/>
                  </a:lnTo>
                  <a:lnTo>
                    <a:pt x="407" y="436"/>
                  </a:lnTo>
                  <a:lnTo>
                    <a:pt x="408" y="436"/>
                  </a:lnTo>
                  <a:lnTo>
                    <a:pt x="408" y="434"/>
                  </a:lnTo>
                  <a:lnTo>
                    <a:pt x="407" y="434"/>
                  </a:lnTo>
                  <a:lnTo>
                    <a:pt x="404" y="433"/>
                  </a:lnTo>
                  <a:lnTo>
                    <a:pt x="402" y="434"/>
                  </a:lnTo>
                  <a:lnTo>
                    <a:pt x="398" y="434"/>
                  </a:lnTo>
                  <a:lnTo>
                    <a:pt x="398" y="437"/>
                  </a:lnTo>
                  <a:lnTo>
                    <a:pt x="396" y="437"/>
                  </a:lnTo>
                  <a:lnTo>
                    <a:pt x="396" y="436"/>
                  </a:lnTo>
                  <a:lnTo>
                    <a:pt x="393" y="436"/>
                  </a:lnTo>
                  <a:lnTo>
                    <a:pt x="393" y="434"/>
                  </a:lnTo>
                  <a:lnTo>
                    <a:pt x="392" y="434"/>
                  </a:lnTo>
                  <a:lnTo>
                    <a:pt x="392" y="437"/>
                  </a:lnTo>
                  <a:lnTo>
                    <a:pt x="390" y="437"/>
                  </a:lnTo>
                  <a:lnTo>
                    <a:pt x="389" y="436"/>
                  </a:lnTo>
                  <a:lnTo>
                    <a:pt x="389" y="434"/>
                  </a:lnTo>
                  <a:lnTo>
                    <a:pt x="387" y="434"/>
                  </a:lnTo>
                  <a:lnTo>
                    <a:pt x="386" y="437"/>
                  </a:lnTo>
                  <a:lnTo>
                    <a:pt x="386" y="439"/>
                  </a:lnTo>
                  <a:lnTo>
                    <a:pt x="384" y="439"/>
                  </a:lnTo>
                  <a:lnTo>
                    <a:pt x="383" y="440"/>
                  </a:lnTo>
                  <a:lnTo>
                    <a:pt x="378" y="440"/>
                  </a:lnTo>
                  <a:lnTo>
                    <a:pt x="378" y="437"/>
                  </a:lnTo>
                  <a:lnTo>
                    <a:pt x="377" y="437"/>
                  </a:lnTo>
                  <a:lnTo>
                    <a:pt x="375" y="436"/>
                  </a:lnTo>
                  <a:lnTo>
                    <a:pt x="375" y="434"/>
                  </a:lnTo>
                  <a:lnTo>
                    <a:pt x="372" y="434"/>
                  </a:lnTo>
                  <a:lnTo>
                    <a:pt x="369" y="437"/>
                  </a:lnTo>
                  <a:lnTo>
                    <a:pt x="366" y="439"/>
                  </a:lnTo>
                  <a:lnTo>
                    <a:pt x="366" y="440"/>
                  </a:lnTo>
                  <a:lnTo>
                    <a:pt x="365" y="440"/>
                  </a:lnTo>
                  <a:lnTo>
                    <a:pt x="365" y="439"/>
                  </a:lnTo>
                  <a:lnTo>
                    <a:pt x="366" y="437"/>
                  </a:lnTo>
                  <a:lnTo>
                    <a:pt x="366" y="433"/>
                  </a:lnTo>
                  <a:lnTo>
                    <a:pt x="365" y="433"/>
                  </a:lnTo>
                  <a:lnTo>
                    <a:pt x="365" y="431"/>
                  </a:lnTo>
                  <a:lnTo>
                    <a:pt x="363" y="431"/>
                  </a:lnTo>
                  <a:lnTo>
                    <a:pt x="363" y="430"/>
                  </a:lnTo>
                  <a:lnTo>
                    <a:pt x="365" y="430"/>
                  </a:lnTo>
                  <a:lnTo>
                    <a:pt x="365" y="428"/>
                  </a:lnTo>
                  <a:lnTo>
                    <a:pt x="366" y="428"/>
                  </a:lnTo>
                  <a:lnTo>
                    <a:pt x="366" y="424"/>
                  </a:lnTo>
                  <a:lnTo>
                    <a:pt x="365" y="422"/>
                  </a:lnTo>
                  <a:lnTo>
                    <a:pt x="365" y="416"/>
                  </a:lnTo>
                  <a:lnTo>
                    <a:pt x="369" y="416"/>
                  </a:lnTo>
                  <a:lnTo>
                    <a:pt x="371" y="415"/>
                  </a:lnTo>
                  <a:lnTo>
                    <a:pt x="368" y="415"/>
                  </a:lnTo>
                  <a:lnTo>
                    <a:pt x="368" y="413"/>
                  </a:lnTo>
                  <a:lnTo>
                    <a:pt x="369" y="412"/>
                  </a:lnTo>
                  <a:lnTo>
                    <a:pt x="371" y="413"/>
                  </a:lnTo>
                  <a:lnTo>
                    <a:pt x="377" y="413"/>
                  </a:lnTo>
                  <a:lnTo>
                    <a:pt x="377" y="416"/>
                  </a:lnTo>
                  <a:lnTo>
                    <a:pt x="378" y="416"/>
                  </a:lnTo>
                  <a:lnTo>
                    <a:pt x="378" y="413"/>
                  </a:lnTo>
                  <a:lnTo>
                    <a:pt x="380" y="412"/>
                  </a:lnTo>
                  <a:lnTo>
                    <a:pt x="383" y="412"/>
                  </a:lnTo>
                  <a:lnTo>
                    <a:pt x="383" y="413"/>
                  </a:lnTo>
                  <a:lnTo>
                    <a:pt x="380" y="413"/>
                  </a:lnTo>
                  <a:lnTo>
                    <a:pt x="380" y="416"/>
                  </a:lnTo>
                  <a:lnTo>
                    <a:pt x="381" y="415"/>
                  </a:lnTo>
                  <a:lnTo>
                    <a:pt x="384" y="415"/>
                  </a:lnTo>
                  <a:lnTo>
                    <a:pt x="386" y="413"/>
                  </a:lnTo>
                  <a:lnTo>
                    <a:pt x="389" y="413"/>
                  </a:lnTo>
                  <a:lnTo>
                    <a:pt x="389" y="412"/>
                  </a:lnTo>
                  <a:lnTo>
                    <a:pt x="392" y="409"/>
                  </a:lnTo>
                  <a:lnTo>
                    <a:pt x="390" y="407"/>
                  </a:lnTo>
                  <a:lnTo>
                    <a:pt x="392" y="407"/>
                  </a:lnTo>
                  <a:lnTo>
                    <a:pt x="395" y="406"/>
                  </a:lnTo>
                  <a:lnTo>
                    <a:pt x="395" y="404"/>
                  </a:lnTo>
                  <a:lnTo>
                    <a:pt x="396" y="403"/>
                  </a:lnTo>
                  <a:lnTo>
                    <a:pt x="396" y="401"/>
                  </a:lnTo>
                  <a:lnTo>
                    <a:pt x="398" y="401"/>
                  </a:lnTo>
                  <a:lnTo>
                    <a:pt x="398" y="400"/>
                  </a:lnTo>
                  <a:lnTo>
                    <a:pt x="401" y="400"/>
                  </a:lnTo>
                  <a:lnTo>
                    <a:pt x="401" y="398"/>
                  </a:lnTo>
                  <a:lnTo>
                    <a:pt x="407" y="398"/>
                  </a:lnTo>
                  <a:lnTo>
                    <a:pt x="408" y="397"/>
                  </a:lnTo>
                  <a:lnTo>
                    <a:pt x="410" y="397"/>
                  </a:lnTo>
                  <a:lnTo>
                    <a:pt x="410" y="394"/>
                  </a:lnTo>
                  <a:lnTo>
                    <a:pt x="411" y="394"/>
                  </a:lnTo>
                  <a:lnTo>
                    <a:pt x="417" y="388"/>
                  </a:lnTo>
                  <a:lnTo>
                    <a:pt x="419" y="388"/>
                  </a:lnTo>
                  <a:lnTo>
                    <a:pt x="419" y="386"/>
                  </a:lnTo>
                  <a:lnTo>
                    <a:pt x="423" y="382"/>
                  </a:lnTo>
                  <a:lnTo>
                    <a:pt x="426" y="380"/>
                  </a:lnTo>
                  <a:lnTo>
                    <a:pt x="426" y="379"/>
                  </a:lnTo>
                  <a:lnTo>
                    <a:pt x="429" y="379"/>
                  </a:lnTo>
                  <a:lnTo>
                    <a:pt x="429" y="377"/>
                  </a:lnTo>
                  <a:lnTo>
                    <a:pt x="431" y="377"/>
                  </a:lnTo>
                  <a:lnTo>
                    <a:pt x="431" y="376"/>
                  </a:lnTo>
                  <a:lnTo>
                    <a:pt x="432" y="374"/>
                  </a:lnTo>
                  <a:lnTo>
                    <a:pt x="434" y="374"/>
                  </a:lnTo>
                  <a:lnTo>
                    <a:pt x="434" y="373"/>
                  </a:lnTo>
                  <a:lnTo>
                    <a:pt x="440" y="367"/>
                  </a:lnTo>
                  <a:lnTo>
                    <a:pt x="441" y="367"/>
                  </a:lnTo>
                  <a:lnTo>
                    <a:pt x="441" y="365"/>
                  </a:lnTo>
                  <a:lnTo>
                    <a:pt x="444" y="365"/>
                  </a:lnTo>
                  <a:lnTo>
                    <a:pt x="447" y="362"/>
                  </a:lnTo>
                  <a:lnTo>
                    <a:pt x="447" y="358"/>
                  </a:lnTo>
                  <a:lnTo>
                    <a:pt x="446" y="358"/>
                  </a:lnTo>
                  <a:lnTo>
                    <a:pt x="444" y="356"/>
                  </a:lnTo>
                  <a:lnTo>
                    <a:pt x="446" y="356"/>
                  </a:lnTo>
                  <a:lnTo>
                    <a:pt x="447" y="355"/>
                  </a:lnTo>
                  <a:lnTo>
                    <a:pt x="450" y="355"/>
                  </a:lnTo>
                  <a:lnTo>
                    <a:pt x="450" y="353"/>
                  </a:lnTo>
                  <a:lnTo>
                    <a:pt x="453" y="353"/>
                  </a:lnTo>
                  <a:lnTo>
                    <a:pt x="455" y="352"/>
                  </a:lnTo>
                  <a:lnTo>
                    <a:pt x="461" y="352"/>
                  </a:lnTo>
                  <a:lnTo>
                    <a:pt x="461" y="350"/>
                  </a:lnTo>
                  <a:lnTo>
                    <a:pt x="464" y="350"/>
                  </a:lnTo>
                  <a:lnTo>
                    <a:pt x="464" y="349"/>
                  </a:lnTo>
                  <a:lnTo>
                    <a:pt x="465" y="349"/>
                  </a:lnTo>
                  <a:lnTo>
                    <a:pt x="467" y="347"/>
                  </a:lnTo>
                  <a:lnTo>
                    <a:pt x="468" y="347"/>
                  </a:lnTo>
                  <a:lnTo>
                    <a:pt x="468" y="349"/>
                  </a:lnTo>
                  <a:lnTo>
                    <a:pt x="471" y="349"/>
                  </a:lnTo>
                  <a:lnTo>
                    <a:pt x="473" y="347"/>
                  </a:lnTo>
                  <a:lnTo>
                    <a:pt x="473" y="349"/>
                  </a:lnTo>
                  <a:lnTo>
                    <a:pt x="476" y="349"/>
                  </a:lnTo>
                  <a:lnTo>
                    <a:pt x="476" y="350"/>
                  </a:lnTo>
                  <a:lnTo>
                    <a:pt x="474" y="350"/>
                  </a:lnTo>
                  <a:lnTo>
                    <a:pt x="474" y="353"/>
                  </a:lnTo>
                  <a:lnTo>
                    <a:pt x="476" y="353"/>
                  </a:lnTo>
                  <a:lnTo>
                    <a:pt x="477" y="355"/>
                  </a:lnTo>
                  <a:lnTo>
                    <a:pt x="482" y="355"/>
                  </a:lnTo>
                  <a:lnTo>
                    <a:pt x="482" y="353"/>
                  </a:lnTo>
                  <a:lnTo>
                    <a:pt x="485" y="352"/>
                  </a:lnTo>
                  <a:lnTo>
                    <a:pt x="486" y="352"/>
                  </a:lnTo>
                  <a:lnTo>
                    <a:pt x="489" y="350"/>
                  </a:lnTo>
                  <a:lnTo>
                    <a:pt x="491" y="352"/>
                  </a:lnTo>
                  <a:lnTo>
                    <a:pt x="504" y="352"/>
                  </a:lnTo>
                  <a:lnTo>
                    <a:pt x="508" y="350"/>
                  </a:lnTo>
                  <a:lnTo>
                    <a:pt x="510" y="352"/>
                  </a:lnTo>
                  <a:lnTo>
                    <a:pt x="516" y="350"/>
                  </a:lnTo>
                  <a:lnTo>
                    <a:pt x="520" y="350"/>
                  </a:lnTo>
                  <a:lnTo>
                    <a:pt x="520" y="349"/>
                  </a:lnTo>
                  <a:lnTo>
                    <a:pt x="522" y="347"/>
                  </a:lnTo>
                  <a:lnTo>
                    <a:pt x="525" y="347"/>
                  </a:lnTo>
                  <a:lnTo>
                    <a:pt x="525" y="346"/>
                  </a:lnTo>
                  <a:lnTo>
                    <a:pt x="526" y="346"/>
                  </a:lnTo>
                  <a:lnTo>
                    <a:pt x="529" y="344"/>
                  </a:lnTo>
                  <a:lnTo>
                    <a:pt x="531" y="344"/>
                  </a:lnTo>
                  <a:lnTo>
                    <a:pt x="532" y="343"/>
                  </a:lnTo>
                  <a:lnTo>
                    <a:pt x="535" y="344"/>
                  </a:lnTo>
                  <a:lnTo>
                    <a:pt x="537" y="343"/>
                  </a:lnTo>
                  <a:lnTo>
                    <a:pt x="546" y="343"/>
                  </a:lnTo>
                  <a:lnTo>
                    <a:pt x="546" y="344"/>
                  </a:lnTo>
                  <a:lnTo>
                    <a:pt x="552" y="344"/>
                  </a:lnTo>
                  <a:lnTo>
                    <a:pt x="552" y="343"/>
                  </a:lnTo>
                  <a:lnTo>
                    <a:pt x="553" y="341"/>
                  </a:lnTo>
                  <a:lnTo>
                    <a:pt x="556" y="341"/>
                  </a:lnTo>
                  <a:lnTo>
                    <a:pt x="559" y="338"/>
                  </a:lnTo>
                  <a:lnTo>
                    <a:pt x="564" y="338"/>
                  </a:lnTo>
                  <a:lnTo>
                    <a:pt x="564" y="337"/>
                  </a:lnTo>
                  <a:lnTo>
                    <a:pt x="565" y="338"/>
                  </a:lnTo>
                  <a:lnTo>
                    <a:pt x="565" y="340"/>
                  </a:lnTo>
                  <a:lnTo>
                    <a:pt x="567" y="340"/>
                  </a:lnTo>
                  <a:lnTo>
                    <a:pt x="567" y="341"/>
                  </a:lnTo>
                  <a:lnTo>
                    <a:pt x="568" y="341"/>
                  </a:lnTo>
                  <a:lnTo>
                    <a:pt x="568" y="343"/>
                  </a:lnTo>
                  <a:lnTo>
                    <a:pt x="567" y="344"/>
                  </a:lnTo>
                  <a:lnTo>
                    <a:pt x="567" y="343"/>
                  </a:lnTo>
                  <a:lnTo>
                    <a:pt x="565" y="344"/>
                  </a:lnTo>
                  <a:lnTo>
                    <a:pt x="565" y="346"/>
                  </a:lnTo>
                  <a:lnTo>
                    <a:pt x="564" y="346"/>
                  </a:lnTo>
                  <a:lnTo>
                    <a:pt x="564" y="347"/>
                  </a:lnTo>
                  <a:lnTo>
                    <a:pt x="562" y="349"/>
                  </a:lnTo>
                  <a:lnTo>
                    <a:pt x="562" y="350"/>
                  </a:lnTo>
                  <a:lnTo>
                    <a:pt x="564" y="350"/>
                  </a:lnTo>
                  <a:lnTo>
                    <a:pt x="564" y="349"/>
                  </a:lnTo>
                  <a:lnTo>
                    <a:pt x="565" y="347"/>
                  </a:lnTo>
                  <a:lnTo>
                    <a:pt x="565" y="350"/>
                  </a:lnTo>
                  <a:lnTo>
                    <a:pt x="568" y="352"/>
                  </a:lnTo>
                  <a:lnTo>
                    <a:pt x="570" y="352"/>
                  </a:lnTo>
                  <a:lnTo>
                    <a:pt x="568" y="353"/>
                  </a:lnTo>
                  <a:lnTo>
                    <a:pt x="568" y="355"/>
                  </a:lnTo>
                  <a:lnTo>
                    <a:pt x="570" y="355"/>
                  </a:lnTo>
                  <a:lnTo>
                    <a:pt x="570" y="353"/>
                  </a:lnTo>
                  <a:lnTo>
                    <a:pt x="573" y="353"/>
                  </a:lnTo>
                  <a:lnTo>
                    <a:pt x="573" y="352"/>
                  </a:lnTo>
                  <a:lnTo>
                    <a:pt x="570" y="352"/>
                  </a:lnTo>
                  <a:lnTo>
                    <a:pt x="570" y="349"/>
                  </a:lnTo>
                  <a:lnTo>
                    <a:pt x="576" y="349"/>
                  </a:lnTo>
                  <a:lnTo>
                    <a:pt x="576" y="352"/>
                  </a:lnTo>
                  <a:lnTo>
                    <a:pt x="577" y="350"/>
                  </a:lnTo>
                  <a:lnTo>
                    <a:pt x="577" y="353"/>
                  </a:lnTo>
                  <a:lnTo>
                    <a:pt x="580" y="353"/>
                  </a:lnTo>
                  <a:lnTo>
                    <a:pt x="582" y="352"/>
                  </a:lnTo>
                  <a:lnTo>
                    <a:pt x="582" y="350"/>
                  </a:lnTo>
                  <a:lnTo>
                    <a:pt x="585" y="350"/>
                  </a:lnTo>
                  <a:lnTo>
                    <a:pt x="583" y="352"/>
                  </a:lnTo>
                  <a:lnTo>
                    <a:pt x="583" y="353"/>
                  </a:lnTo>
                  <a:lnTo>
                    <a:pt x="588" y="353"/>
                  </a:lnTo>
                  <a:lnTo>
                    <a:pt x="588" y="350"/>
                  </a:lnTo>
                  <a:lnTo>
                    <a:pt x="591" y="350"/>
                  </a:lnTo>
                  <a:lnTo>
                    <a:pt x="591" y="352"/>
                  </a:lnTo>
                  <a:lnTo>
                    <a:pt x="592" y="350"/>
                  </a:lnTo>
                  <a:lnTo>
                    <a:pt x="591" y="350"/>
                  </a:lnTo>
                  <a:lnTo>
                    <a:pt x="591" y="349"/>
                  </a:lnTo>
                  <a:lnTo>
                    <a:pt x="594" y="349"/>
                  </a:lnTo>
                  <a:lnTo>
                    <a:pt x="592" y="347"/>
                  </a:lnTo>
                  <a:lnTo>
                    <a:pt x="592" y="346"/>
                  </a:lnTo>
                  <a:lnTo>
                    <a:pt x="598" y="346"/>
                  </a:lnTo>
                  <a:lnTo>
                    <a:pt x="598" y="340"/>
                  </a:lnTo>
                  <a:lnTo>
                    <a:pt x="601" y="338"/>
                  </a:lnTo>
                  <a:lnTo>
                    <a:pt x="601" y="344"/>
                  </a:lnTo>
                  <a:lnTo>
                    <a:pt x="604" y="341"/>
                  </a:lnTo>
                  <a:lnTo>
                    <a:pt x="604" y="335"/>
                  </a:lnTo>
                  <a:lnTo>
                    <a:pt x="603" y="335"/>
                  </a:lnTo>
                  <a:lnTo>
                    <a:pt x="603" y="334"/>
                  </a:lnTo>
                  <a:lnTo>
                    <a:pt x="601" y="334"/>
                  </a:lnTo>
                  <a:lnTo>
                    <a:pt x="600" y="332"/>
                  </a:lnTo>
                  <a:lnTo>
                    <a:pt x="600" y="328"/>
                  </a:lnTo>
                  <a:lnTo>
                    <a:pt x="598" y="326"/>
                  </a:lnTo>
                  <a:lnTo>
                    <a:pt x="598" y="325"/>
                  </a:lnTo>
                  <a:lnTo>
                    <a:pt x="601" y="322"/>
                  </a:lnTo>
                  <a:lnTo>
                    <a:pt x="601" y="319"/>
                  </a:lnTo>
                  <a:lnTo>
                    <a:pt x="604" y="316"/>
                  </a:lnTo>
                  <a:lnTo>
                    <a:pt x="604" y="315"/>
                  </a:lnTo>
                  <a:lnTo>
                    <a:pt x="606" y="313"/>
                  </a:lnTo>
                  <a:lnTo>
                    <a:pt x="606" y="310"/>
                  </a:lnTo>
                  <a:lnTo>
                    <a:pt x="609" y="310"/>
                  </a:lnTo>
                  <a:lnTo>
                    <a:pt x="613" y="307"/>
                  </a:lnTo>
                  <a:lnTo>
                    <a:pt x="613" y="306"/>
                  </a:lnTo>
                  <a:lnTo>
                    <a:pt x="616" y="304"/>
                  </a:lnTo>
                  <a:lnTo>
                    <a:pt x="618" y="303"/>
                  </a:lnTo>
                  <a:lnTo>
                    <a:pt x="619" y="300"/>
                  </a:lnTo>
                  <a:lnTo>
                    <a:pt x="630" y="288"/>
                  </a:lnTo>
                  <a:lnTo>
                    <a:pt x="631" y="283"/>
                  </a:lnTo>
                  <a:lnTo>
                    <a:pt x="634" y="276"/>
                  </a:lnTo>
                  <a:lnTo>
                    <a:pt x="634" y="271"/>
                  </a:lnTo>
                  <a:lnTo>
                    <a:pt x="636" y="268"/>
                  </a:lnTo>
                  <a:lnTo>
                    <a:pt x="634" y="268"/>
                  </a:lnTo>
                  <a:lnTo>
                    <a:pt x="634" y="267"/>
                  </a:lnTo>
                  <a:lnTo>
                    <a:pt x="633" y="265"/>
                  </a:lnTo>
                  <a:lnTo>
                    <a:pt x="633" y="259"/>
                  </a:lnTo>
                  <a:lnTo>
                    <a:pt x="631" y="259"/>
                  </a:lnTo>
                  <a:lnTo>
                    <a:pt x="631" y="255"/>
                  </a:lnTo>
                  <a:lnTo>
                    <a:pt x="633" y="253"/>
                  </a:lnTo>
                  <a:lnTo>
                    <a:pt x="633" y="249"/>
                  </a:lnTo>
                  <a:lnTo>
                    <a:pt x="636" y="246"/>
                  </a:lnTo>
                  <a:lnTo>
                    <a:pt x="639" y="244"/>
                  </a:lnTo>
                  <a:lnTo>
                    <a:pt x="643" y="244"/>
                  </a:lnTo>
                  <a:lnTo>
                    <a:pt x="648" y="243"/>
                  </a:lnTo>
                  <a:lnTo>
                    <a:pt x="651" y="240"/>
                  </a:lnTo>
                  <a:lnTo>
                    <a:pt x="657" y="238"/>
                  </a:lnTo>
                  <a:lnTo>
                    <a:pt x="660" y="237"/>
                  </a:lnTo>
                  <a:lnTo>
                    <a:pt x="661" y="238"/>
                  </a:lnTo>
                  <a:lnTo>
                    <a:pt x="661" y="240"/>
                  </a:lnTo>
                  <a:lnTo>
                    <a:pt x="662" y="241"/>
                  </a:lnTo>
                  <a:lnTo>
                    <a:pt x="661" y="243"/>
                  </a:lnTo>
                  <a:lnTo>
                    <a:pt x="657" y="243"/>
                  </a:lnTo>
                  <a:lnTo>
                    <a:pt x="657" y="247"/>
                  </a:lnTo>
                  <a:lnTo>
                    <a:pt x="658" y="247"/>
                  </a:lnTo>
                  <a:lnTo>
                    <a:pt x="658" y="250"/>
                  </a:lnTo>
                  <a:lnTo>
                    <a:pt x="657" y="250"/>
                  </a:lnTo>
                  <a:lnTo>
                    <a:pt x="657" y="252"/>
                  </a:lnTo>
                  <a:lnTo>
                    <a:pt x="655" y="250"/>
                  </a:lnTo>
                  <a:lnTo>
                    <a:pt x="654" y="250"/>
                  </a:lnTo>
                  <a:lnTo>
                    <a:pt x="651" y="252"/>
                  </a:lnTo>
                  <a:lnTo>
                    <a:pt x="651" y="253"/>
                  </a:lnTo>
                  <a:lnTo>
                    <a:pt x="648" y="256"/>
                  </a:lnTo>
                  <a:lnTo>
                    <a:pt x="646" y="256"/>
                  </a:lnTo>
                  <a:lnTo>
                    <a:pt x="646" y="258"/>
                  </a:lnTo>
                  <a:lnTo>
                    <a:pt x="645" y="256"/>
                  </a:lnTo>
                  <a:lnTo>
                    <a:pt x="643" y="256"/>
                  </a:lnTo>
                  <a:lnTo>
                    <a:pt x="643" y="255"/>
                  </a:lnTo>
                  <a:lnTo>
                    <a:pt x="640" y="258"/>
                  </a:lnTo>
                  <a:lnTo>
                    <a:pt x="640" y="262"/>
                  </a:lnTo>
                  <a:lnTo>
                    <a:pt x="639" y="264"/>
                  </a:lnTo>
                  <a:lnTo>
                    <a:pt x="643" y="264"/>
                  </a:lnTo>
                  <a:lnTo>
                    <a:pt x="645" y="265"/>
                  </a:lnTo>
                  <a:lnTo>
                    <a:pt x="646" y="265"/>
                  </a:lnTo>
                  <a:lnTo>
                    <a:pt x="646" y="262"/>
                  </a:lnTo>
                  <a:lnTo>
                    <a:pt x="648" y="262"/>
                  </a:lnTo>
                  <a:lnTo>
                    <a:pt x="648" y="270"/>
                  </a:lnTo>
                  <a:lnTo>
                    <a:pt x="646" y="271"/>
                  </a:lnTo>
                  <a:lnTo>
                    <a:pt x="646" y="273"/>
                  </a:lnTo>
                  <a:lnTo>
                    <a:pt x="645" y="276"/>
                  </a:lnTo>
                  <a:lnTo>
                    <a:pt x="649" y="280"/>
                  </a:lnTo>
                  <a:lnTo>
                    <a:pt x="652" y="280"/>
                  </a:lnTo>
                  <a:lnTo>
                    <a:pt x="652" y="282"/>
                  </a:lnTo>
                  <a:lnTo>
                    <a:pt x="661" y="282"/>
                  </a:lnTo>
                  <a:lnTo>
                    <a:pt x="661" y="280"/>
                  </a:lnTo>
                  <a:lnTo>
                    <a:pt x="664" y="277"/>
                  </a:lnTo>
                  <a:lnTo>
                    <a:pt x="664" y="276"/>
                  </a:lnTo>
                  <a:lnTo>
                    <a:pt x="665" y="274"/>
                  </a:lnTo>
                  <a:lnTo>
                    <a:pt x="664" y="274"/>
                  </a:lnTo>
                  <a:lnTo>
                    <a:pt x="665" y="273"/>
                  </a:lnTo>
                  <a:lnTo>
                    <a:pt x="665" y="271"/>
                  </a:lnTo>
                  <a:lnTo>
                    <a:pt x="668" y="270"/>
                  </a:lnTo>
                  <a:lnTo>
                    <a:pt x="673" y="270"/>
                  </a:lnTo>
                  <a:lnTo>
                    <a:pt x="686" y="265"/>
                  </a:lnTo>
                  <a:lnTo>
                    <a:pt x="691" y="261"/>
                  </a:lnTo>
                  <a:lnTo>
                    <a:pt x="694" y="261"/>
                  </a:lnTo>
                  <a:lnTo>
                    <a:pt x="695" y="259"/>
                  </a:lnTo>
                  <a:lnTo>
                    <a:pt x="695" y="258"/>
                  </a:lnTo>
                  <a:lnTo>
                    <a:pt x="698" y="259"/>
                  </a:lnTo>
                  <a:lnTo>
                    <a:pt x="701" y="258"/>
                  </a:lnTo>
                  <a:lnTo>
                    <a:pt x="703" y="258"/>
                  </a:lnTo>
                  <a:lnTo>
                    <a:pt x="712" y="249"/>
                  </a:lnTo>
                  <a:lnTo>
                    <a:pt x="716" y="246"/>
                  </a:lnTo>
                  <a:lnTo>
                    <a:pt x="719" y="243"/>
                  </a:lnTo>
                  <a:lnTo>
                    <a:pt x="719" y="240"/>
                  </a:lnTo>
                  <a:lnTo>
                    <a:pt x="722" y="238"/>
                  </a:lnTo>
                  <a:lnTo>
                    <a:pt x="724" y="235"/>
                  </a:lnTo>
                  <a:lnTo>
                    <a:pt x="725" y="234"/>
                  </a:lnTo>
                  <a:lnTo>
                    <a:pt x="727" y="231"/>
                  </a:lnTo>
                  <a:lnTo>
                    <a:pt x="728" y="223"/>
                  </a:lnTo>
                  <a:lnTo>
                    <a:pt x="734" y="217"/>
                  </a:lnTo>
                  <a:lnTo>
                    <a:pt x="740" y="213"/>
                  </a:lnTo>
                  <a:lnTo>
                    <a:pt x="743" y="213"/>
                  </a:lnTo>
                  <a:lnTo>
                    <a:pt x="748" y="211"/>
                  </a:lnTo>
                  <a:lnTo>
                    <a:pt x="748" y="210"/>
                  </a:lnTo>
                  <a:lnTo>
                    <a:pt x="751" y="208"/>
                  </a:lnTo>
                  <a:lnTo>
                    <a:pt x="757" y="202"/>
                  </a:lnTo>
                  <a:lnTo>
                    <a:pt x="757" y="201"/>
                  </a:lnTo>
                  <a:lnTo>
                    <a:pt x="758" y="189"/>
                  </a:lnTo>
                  <a:lnTo>
                    <a:pt x="760" y="186"/>
                  </a:lnTo>
                  <a:lnTo>
                    <a:pt x="760" y="184"/>
                  </a:lnTo>
                  <a:lnTo>
                    <a:pt x="761" y="180"/>
                  </a:lnTo>
                  <a:lnTo>
                    <a:pt x="764" y="175"/>
                  </a:lnTo>
                  <a:lnTo>
                    <a:pt x="764" y="172"/>
                  </a:lnTo>
                  <a:lnTo>
                    <a:pt x="772" y="165"/>
                  </a:lnTo>
                  <a:lnTo>
                    <a:pt x="773" y="162"/>
                  </a:lnTo>
                  <a:lnTo>
                    <a:pt x="775" y="154"/>
                  </a:lnTo>
                  <a:lnTo>
                    <a:pt x="776" y="150"/>
                  </a:lnTo>
                  <a:lnTo>
                    <a:pt x="778" y="148"/>
                  </a:lnTo>
                  <a:lnTo>
                    <a:pt x="778" y="144"/>
                  </a:lnTo>
                  <a:lnTo>
                    <a:pt x="779" y="142"/>
                  </a:lnTo>
                  <a:lnTo>
                    <a:pt x="779" y="136"/>
                  </a:lnTo>
                  <a:lnTo>
                    <a:pt x="784" y="132"/>
                  </a:lnTo>
                  <a:lnTo>
                    <a:pt x="784" y="127"/>
                  </a:lnTo>
                  <a:lnTo>
                    <a:pt x="785" y="121"/>
                  </a:lnTo>
                  <a:lnTo>
                    <a:pt x="787" y="111"/>
                  </a:lnTo>
                  <a:lnTo>
                    <a:pt x="787" y="108"/>
                  </a:lnTo>
                  <a:lnTo>
                    <a:pt x="785" y="106"/>
                  </a:lnTo>
                  <a:lnTo>
                    <a:pt x="785" y="103"/>
                  </a:lnTo>
                  <a:lnTo>
                    <a:pt x="784" y="100"/>
                  </a:lnTo>
                  <a:lnTo>
                    <a:pt x="782" y="99"/>
                  </a:lnTo>
                  <a:lnTo>
                    <a:pt x="778" y="99"/>
                  </a:lnTo>
                  <a:lnTo>
                    <a:pt x="776" y="100"/>
                  </a:lnTo>
                  <a:lnTo>
                    <a:pt x="772" y="100"/>
                  </a:lnTo>
                  <a:lnTo>
                    <a:pt x="772" y="99"/>
                  </a:lnTo>
                  <a:lnTo>
                    <a:pt x="770" y="97"/>
                  </a:lnTo>
                  <a:lnTo>
                    <a:pt x="770" y="94"/>
                  </a:lnTo>
                  <a:lnTo>
                    <a:pt x="769" y="93"/>
                  </a:lnTo>
                  <a:lnTo>
                    <a:pt x="770" y="91"/>
                  </a:lnTo>
                  <a:lnTo>
                    <a:pt x="772" y="93"/>
                  </a:lnTo>
                  <a:lnTo>
                    <a:pt x="775" y="94"/>
                  </a:lnTo>
                  <a:lnTo>
                    <a:pt x="778" y="93"/>
                  </a:lnTo>
                  <a:lnTo>
                    <a:pt x="779" y="91"/>
                  </a:lnTo>
                  <a:lnTo>
                    <a:pt x="784" y="82"/>
                  </a:lnTo>
                  <a:lnTo>
                    <a:pt x="782" y="81"/>
                  </a:lnTo>
                  <a:lnTo>
                    <a:pt x="784" y="79"/>
                  </a:lnTo>
                  <a:lnTo>
                    <a:pt x="784" y="69"/>
                  </a:lnTo>
                  <a:lnTo>
                    <a:pt x="782" y="67"/>
                  </a:lnTo>
                  <a:lnTo>
                    <a:pt x="781" y="67"/>
                  </a:lnTo>
                  <a:lnTo>
                    <a:pt x="781" y="59"/>
                  </a:lnTo>
                  <a:lnTo>
                    <a:pt x="779" y="57"/>
                  </a:lnTo>
                  <a:lnTo>
                    <a:pt x="776" y="57"/>
                  </a:lnTo>
                  <a:lnTo>
                    <a:pt x="776" y="56"/>
                  </a:lnTo>
                  <a:lnTo>
                    <a:pt x="778" y="54"/>
                  </a:lnTo>
                  <a:lnTo>
                    <a:pt x="779" y="54"/>
                  </a:lnTo>
                  <a:lnTo>
                    <a:pt x="781" y="53"/>
                  </a:lnTo>
                  <a:lnTo>
                    <a:pt x="781" y="51"/>
                  </a:lnTo>
                  <a:lnTo>
                    <a:pt x="782" y="51"/>
                  </a:lnTo>
                  <a:lnTo>
                    <a:pt x="782" y="50"/>
                  </a:lnTo>
                  <a:lnTo>
                    <a:pt x="785" y="47"/>
                  </a:lnTo>
                  <a:lnTo>
                    <a:pt x="788" y="47"/>
                  </a:lnTo>
                  <a:lnTo>
                    <a:pt x="788" y="48"/>
                  </a:lnTo>
                  <a:lnTo>
                    <a:pt x="790" y="47"/>
                  </a:lnTo>
                  <a:lnTo>
                    <a:pt x="793" y="45"/>
                  </a:lnTo>
                  <a:lnTo>
                    <a:pt x="796" y="45"/>
                  </a:lnTo>
                  <a:lnTo>
                    <a:pt x="796" y="44"/>
                  </a:lnTo>
                  <a:lnTo>
                    <a:pt x="797" y="39"/>
                  </a:lnTo>
                  <a:lnTo>
                    <a:pt x="797" y="33"/>
                  </a:lnTo>
                  <a:lnTo>
                    <a:pt x="799" y="32"/>
                  </a:lnTo>
                  <a:lnTo>
                    <a:pt x="800" y="33"/>
                  </a:lnTo>
                  <a:lnTo>
                    <a:pt x="800" y="30"/>
                  </a:lnTo>
                  <a:lnTo>
                    <a:pt x="799" y="30"/>
                  </a:lnTo>
                  <a:lnTo>
                    <a:pt x="799" y="27"/>
                  </a:lnTo>
                  <a:lnTo>
                    <a:pt x="797" y="26"/>
                  </a:lnTo>
                  <a:lnTo>
                    <a:pt x="796" y="26"/>
                  </a:lnTo>
                  <a:lnTo>
                    <a:pt x="796" y="24"/>
                  </a:lnTo>
                  <a:lnTo>
                    <a:pt x="797" y="24"/>
                  </a:lnTo>
                  <a:lnTo>
                    <a:pt x="799" y="23"/>
                  </a:lnTo>
                  <a:lnTo>
                    <a:pt x="799" y="17"/>
                  </a:lnTo>
                  <a:lnTo>
                    <a:pt x="800" y="17"/>
                  </a:lnTo>
                  <a:lnTo>
                    <a:pt x="805" y="21"/>
                  </a:lnTo>
                  <a:lnTo>
                    <a:pt x="806" y="21"/>
                  </a:lnTo>
                  <a:lnTo>
                    <a:pt x="806" y="20"/>
                  </a:lnTo>
                  <a:lnTo>
                    <a:pt x="808" y="18"/>
                  </a:lnTo>
                  <a:lnTo>
                    <a:pt x="811" y="18"/>
                  </a:lnTo>
                  <a:lnTo>
                    <a:pt x="812" y="20"/>
                  </a:lnTo>
                  <a:lnTo>
                    <a:pt x="812" y="30"/>
                  </a:lnTo>
                  <a:lnTo>
                    <a:pt x="814" y="32"/>
                  </a:lnTo>
                  <a:lnTo>
                    <a:pt x="814" y="39"/>
                  </a:lnTo>
                  <a:lnTo>
                    <a:pt x="815" y="41"/>
                  </a:lnTo>
                  <a:lnTo>
                    <a:pt x="818" y="42"/>
                  </a:lnTo>
                  <a:lnTo>
                    <a:pt x="820" y="42"/>
                  </a:lnTo>
                  <a:lnTo>
                    <a:pt x="822" y="39"/>
                  </a:lnTo>
                  <a:lnTo>
                    <a:pt x="822" y="33"/>
                  </a:lnTo>
                  <a:lnTo>
                    <a:pt x="824" y="32"/>
                  </a:lnTo>
                  <a:lnTo>
                    <a:pt x="825" y="32"/>
                  </a:lnTo>
                  <a:lnTo>
                    <a:pt x="827" y="33"/>
                  </a:lnTo>
                  <a:lnTo>
                    <a:pt x="827" y="35"/>
                  </a:lnTo>
                  <a:lnTo>
                    <a:pt x="828" y="35"/>
                  </a:lnTo>
                  <a:lnTo>
                    <a:pt x="828" y="36"/>
                  </a:lnTo>
                  <a:lnTo>
                    <a:pt x="830" y="36"/>
                  </a:lnTo>
                  <a:lnTo>
                    <a:pt x="830" y="38"/>
                  </a:lnTo>
                  <a:lnTo>
                    <a:pt x="833" y="38"/>
                  </a:lnTo>
                  <a:lnTo>
                    <a:pt x="833" y="39"/>
                  </a:lnTo>
                  <a:lnTo>
                    <a:pt x="836" y="39"/>
                  </a:lnTo>
                  <a:lnTo>
                    <a:pt x="837" y="38"/>
                  </a:lnTo>
                  <a:lnTo>
                    <a:pt x="839" y="33"/>
                  </a:lnTo>
                  <a:lnTo>
                    <a:pt x="840" y="32"/>
                  </a:lnTo>
                  <a:lnTo>
                    <a:pt x="840" y="24"/>
                  </a:lnTo>
                  <a:lnTo>
                    <a:pt x="842" y="24"/>
                  </a:lnTo>
                  <a:lnTo>
                    <a:pt x="842" y="21"/>
                  </a:lnTo>
                  <a:lnTo>
                    <a:pt x="840" y="20"/>
                  </a:lnTo>
                  <a:lnTo>
                    <a:pt x="840" y="18"/>
                  </a:lnTo>
                  <a:lnTo>
                    <a:pt x="837" y="15"/>
                  </a:lnTo>
                  <a:lnTo>
                    <a:pt x="836" y="15"/>
                  </a:lnTo>
                  <a:lnTo>
                    <a:pt x="836" y="18"/>
                  </a:lnTo>
                  <a:lnTo>
                    <a:pt x="834" y="20"/>
                  </a:lnTo>
                  <a:lnTo>
                    <a:pt x="833" y="20"/>
                  </a:lnTo>
                  <a:lnTo>
                    <a:pt x="831" y="21"/>
                  </a:lnTo>
                  <a:lnTo>
                    <a:pt x="830" y="21"/>
                  </a:lnTo>
                  <a:lnTo>
                    <a:pt x="830" y="20"/>
                  </a:lnTo>
                  <a:lnTo>
                    <a:pt x="828" y="20"/>
                  </a:lnTo>
                  <a:lnTo>
                    <a:pt x="827" y="21"/>
                  </a:lnTo>
                  <a:lnTo>
                    <a:pt x="825" y="21"/>
                  </a:lnTo>
                  <a:lnTo>
                    <a:pt x="824" y="23"/>
                  </a:lnTo>
                  <a:lnTo>
                    <a:pt x="821" y="23"/>
                  </a:lnTo>
                  <a:lnTo>
                    <a:pt x="821" y="24"/>
                  </a:lnTo>
                  <a:lnTo>
                    <a:pt x="820" y="24"/>
                  </a:lnTo>
                  <a:lnTo>
                    <a:pt x="818" y="23"/>
                  </a:lnTo>
                  <a:lnTo>
                    <a:pt x="818" y="20"/>
                  </a:lnTo>
                  <a:lnTo>
                    <a:pt x="820" y="20"/>
                  </a:lnTo>
                  <a:lnTo>
                    <a:pt x="820" y="12"/>
                  </a:lnTo>
                  <a:lnTo>
                    <a:pt x="821" y="12"/>
                  </a:lnTo>
                  <a:lnTo>
                    <a:pt x="821" y="6"/>
                  </a:lnTo>
                  <a:lnTo>
                    <a:pt x="822" y="6"/>
                  </a:lnTo>
                  <a:lnTo>
                    <a:pt x="824" y="3"/>
                  </a:lnTo>
                  <a:lnTo>
                    <a:pt x="825" y="2"/>
                  </a:lnTo>
                  <a:lnTo>
                    <a:pt x="825"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8">
              <a:extLst>
                <a:ext uri="{FF2B5EF4-FFF2-40B4-BE49-F238E27FC236}">
                  <a16:creationId xmlns:a16="http://schemas.microsoft.com/office/drawing/2014/main" id="{883D912F-23D9-633A-80D2-8C4A232AC8B5}"/>
                </a:ext>
              </a:extLst>
            </p:cNvPr>
            <p:cNvSpPr>
              <a:spLocks noEditPoints="1"/>
            </p:cNvSpPr>
            <p:nvPr/>
          </p:nvSpPr>
          <p:spPr bwMode="auto">
            <a:xfrm>
              <a:off x="4640122" y="2781664"/>
              <a:ext cx="312752" cy="273920"/>
            </a:xfrm>
            <a:custGeom>
              <a:avLst/>
              <a:gdLst/>
              <a:ahLst/>
              <a:cxnLst>
                <a:cxn ang="0">
                  <a:pos x="73" y="253"/>
                </a:cxn>
                <a:cxn ang="0">
                  <a:pos x="9" y="217"/>
                </a:cxn>
                <a:cxn ang="0">
                  <a:pos x="275" y="127"/>
                </a:cxn>
                <a:cxn ang="0">
                  <a:pos x="210" y="90"/>
                </a:cxn>
                <a:cxn ang="0">
                  <a:pos x="90" y="21"/>
                </a:cxn>
                <a:cxn ang="0">
                  <a:pos x="85" y="27"/>
                </a:cxn>
                <a:cxn ang="0">
                  <a:pos x="75" y="5"/>
                </a:cxn>
                <a:cxn ang="0">
                  <a:pos x="79" y="15"/>
                </a:cxn>
                <a:cxn ang="0">
                  <a:pos x="121" y="2"/>
                </a:cxn>
                <a:cxn ang="0">
                  <a:pos x="133" y="15"/>
                </a:cxn>
                <a:cxn ang="0">
                  <a:pos x="166" y="58"/>
                </a:cxn>
                <a:cxn ang="0">
                  <a:pos x="184" y="73"/>
                </a:cxn>
                <a:cxn ang="0">
                  <a:pos x="202" y="88"/>
                </a:cxn>
                <a:cxn ang="0">
                  <a:pos x="220" y="90"/>
                </a:cxn>
                <a:cxn ang="0">
                  <a:pos x="223" y="96"/>
                </a:cxn>
                <a:cxn ang="0">
                  <a:pos x="229" y="97"/>
                </a:cxn>
                <a:cxn ang="0">
                  <a:pos x="259" y="96"/>
                </a:cxn>
                <a:cxn ang="0">
                  <a:pos x="275" y="78"/>
                </a:cxn>
                <a:cxn ang="0">
                  <a:pos x="274" y="88"/>
                </a:cxn>
                <a:cxn ang="0">
                  <a:pos x="265" y="106"/>
                </a:cxn>
                <a:cxn ang="0">
                  <a:pos x="266" y="118"/>
                </a:cxn>
                <a:cxn ang="0">
                  <a:pos x="275" y="127"/>
                </a:cxn>
                <a:cxn ang="0">
                  <a:pos x="274" y="136"/>
                </a:cxn>
                <a:cxn ang="0">
                  <a:pos x="275" y="142"/>
                </a:cxn>
                <a:cxn ang="0">
                  <a:pos x="283" y="145"/>
                </a:cxn>
                <a:cxn ang="0">
                  <a:pos x="295" y="141"/>
                </a:cxn>
                <a:cxn ang="0">
                  <a:pos x="286" y="148"/>
                </a:cxn>
                <a:cxn ang="0">
                  <a:pos x="274" y="151"/>
                </a:cxn>
                <a:cxn ang="0">
                  <a:pos x="260" y="159"/>
                </a:cxn>
                <a:cxn ang="0">
                  <a:pos x="251" y="159"/>
                </a:cxn>
                <a:cxn ang="0">
                  <a:pos x="238" y="165"/>
                </a:cxn>
                <a:cxn ang="0">
                  <a:pos x="217" y="166"/>
                </a:cxn>
                <a:cxn ang="0">
                  <a:pos x="184" y="217"/>
                </a:cxn>
                <a:cxn ang="0">
                  <a:pos x="177" y="225"/>
                </a:cxn>
                <a:cxn ang="0">
                  <a:pos x="133" y="199"/>
                </a:cxn>
                <a:cxn ang="0">
                  <a:pos x="111" y="186"/>
                </a:cxn>
                <a:cxn ang="0">
                  <a:pos x="81" y="199"/>
                </a:cxn>
                <a:cxn ang="0">
                  <a:pos x="75" y="202"/>
                </a:cxn>
                <a:cxn ang="0">
                  <a:pos x="45" y="199"/>
                </a:cxn>
                <a:cxn ang="0">
                  <a:pos x="56" y="217"/>
                </a:cxn>
                <a:cxn ang="0">
                  <a:pos x="72" y="225"/>
                </a:cxn>
                <a:cxn ang="0">
                  <a:pos x="79" y="241"/>
                </a:cxn>
                <a:cxn ang="0">
                  <a:pos x="65" y="237"/>
                </a:cxn>
                <a:cxn ang="0">
                  <a:pos x="53" y="243"/>
                </a:cxn>
                <a:cxn ang="0">
                  <a:pos x="42" y="259"/>
                </a:cxn>
                <a:cxn ang="0">
                  <a:pos x="35" y="259"/>
                </a:cxn>
                <a:cxn ang="0">
                  <a:pos x="35" y="238"/>
                </a:cxn>
                <a:cxn ang="0">
                  <a:pos x="33" y="217"/>
                </a:cxn>
                <a:cxn ang="0">
                  <a:pos x="23" y="199"/>
                </a:cxn>
                <a:cxn ang="0">
                  <a:pos x="36" y="178"/>
                </a:cxn>
                <a:cxn ang="0">
                  <a:pos x="45" y="177"/>
                </a:cxn>
                <a:cxn ang="0">
                  <a:pos x="54" y="159"/>
                </a:cxn>
                <a:cxn ang="0">
                  <a:pos x="53" y="138"/>
                </a:cxn>
                <a:cxn ang="0">
                  <a:pos x="66" y="148"/>
                </a:cxn>
                <a:cxn ang="0">
                  <a:pos x="81" y="151"/>
                </a:cxn>
                <a:cxn ang="0">
                  <a:pos x="97" y="139"/>
                </a:cxn>
                <a:cxn ang="0">
                  <a:pos x="93" y="118"/>
                </a:cxn>
                <a:cxn ang="0">
                  <a:pos x="108" y="79"/>
                </a:cxn>
                <a:cxn ang="0">
                  <a:pos x="103" y="24"/>
                </a:cxn>
                <a:cxn ang="0">
                  <a:pos x="108" y="8"/>
                </a:cxn>
                <a:cxn ang="0">
                  <a:pos x="120" y="2"/>
                </a:cxn>
              </a:cxnLst>
              <a:rect l="0" t="0" r="r" b="b"/>
              <a:pathLst>
                <a:path w="298" h="261">
                  <a:moveTo>
                    <a:pt x="0" y="253"/>
                  </a:moveTo>
                  <a:lnTo>
                    <a:pt x="3" y="253"/>
                  </a:lnTo>
                  <a:lnTo>
                    <a:pt x="3" y="255"/>
                  </a:lnTo>
                  <a:lnTo>
                    <a:pt x="0" y="255"/>
                  </a:lnTo>
                  <a:lnTo>
                    <a:pt x="0" y="253"/>
                  </a:lnTo>
                  <a:close/>
                  <a:moveTo>
                    <a:pt x="73" y="252"/>
                  </a:moveTo>
                  <a:lnTo>
                    <a:pt x="73" y="253"/>
                  </a:lnTo>
                  <a:lnTo>
                    <a:pt x="72" y="253"/>
                  </a:lnTo>
                  <a:lnTo>
                    <a:pt x="73" y="252"/>
                  </a:lnTo>
                  <a:close/>
                  <a:moveTo>
                    <a:pt x="8" y="210"/>
                  </a:moveTo>
                  <a:lnTo>
                    <a:pt x="11" y="210"/>
                  </a:lnTo>
                  <a:lnTo>
                    <a:pt x="11" y="211"/>
                  </a:lnTo>
                  <a:lnTo>
                    <a:pt x="9" y="213"/>
                  </a:lnTo>
                  <a:lnTo>
                    <a:pt x="9" y="217"/>
                  </a:lnTo>
                  <a:lnTo>
                    <a:pt x="6" y="220"/>
                  </a:lnTo>
                  <a:lnTo>
                    <a:pt x="5" y="220"/>
                  </a:lnTo>
                  <a:lnTo>
                    <a:pt x="5" y="211"/>
                  </a:lnTo>
                  <a:lnTo>
                    <a:pt x="6" y="211"/>
                  </a:lnTo>
                  <a:lnTo>
                    <a:pt x="8" y="210"/>
                  </a:lnTo>
                  <a:close/>
                  <a:moveTo>
                    <a:pt x="274" y="127"/>
                  </a:moveTo>
                  <a:lnTo>
                    <a:pt x="275" y="127"/>
                  </a:lnTo>
                  <a:lnTo>
                    <a:pt x="274" y="129"/>
                  </a:lnTo>
                  <a:lnTo>
                    <a:pt x="274" y="127"/>
                  </a:lnTo>
                  <a:close/>
                  <a:moveTo>
                    <a:pt x="207" y="87"/>
                  </a:moveTo>
                  <a:lnTo>
                    <a:pt x="208" y="88"/>
                  </a:lnTo>
                  <a:lnTo>
                    <a:pt x="213" y="88"/>
                  </a:lnTo>
                  <a:lnTo>
                    <a:pt x="214" y="90"/>
                  </a:lnTo>
                  <a:lnTo>
                    <a:pt x="210" y="90"/>
                  </a:lnTo>
                  <a:lnTo>
                    <a:pt x="207" y="88"/>
                  </a:lnTo>
                  <a:lnTo>
                    <a:pt x="207" y="87"/>
                  </a:lnTo>
                  <a:close/>
                  <a:moveTo>
                    <a:pt x="85" y="18"/>
                  </a:moveTo>
                  <a:lnTo>
                    <a:pt x="87" y="18"/>
                  </a:lnTo>
                  <a:lnTo>
                    <a:pt x="88" y="20"/>
                  </a:lnTo>
                  <a:lnTo>
                    <a:pt x="90" y="20"/>
                  </a:lnTo>
                  <a:lnTo>
                    <a:pt x="90" y="21"/>
                  </a:lnTo>
                  <a:lnTo>
                    <a:pt x="91" y="24"/>
                  </a:lnTo>
                  <a:lnTo>
                    <a:pt x="93" y="24"/>
                  </a:lnTo>
                  <a:lnTo>
                    <a:pt x="91" y="26"/>
                  </a:lnTo>
                  <a:lnTo>
                    <a:pt x="91" y="27"/>
                  </a:lnTo>
                  <a:lnTo>
                    <a:pt x="90" y="29"/>
                  </a:lnTo>
                  <a:lnTo>
                    <a:pt x="88" y="29"/>
                  </a:lnTo>
                  <a:lnTo>
                    <a:pt x="85" y="27"/>
                  </a:lnTo>
                  <a:lnTo>
                    <a:pt x="82" y="24"/>
                  </a:lnTo>
                  <a:lnTo>
                    <a:pt x="84" y="23"/>
                  </a:lnTo>
                  <a:lnTo>
                    <a:pt x="84" y="21"/>
                  </a:lnTo>
                  <a:lnTo>
                    <a:pt x="82" y="21"/>
                  </a:lnTo>
                  <a:lnTo>
                    <a:pt x="85" y="20"/>
                  </a:lnTo>
                  <a:lnTo>
                    <a:pt x="85" y="18"/>
                  </a:lnTo>
                  <a:close/>
                  <a:moveTo>
                    <a:pt x="75" y="5"/>
                  </a:moveTo>
                  <a:lnTo>
                    <a:pt x="76" y="5"/>
                  </a:lnTo>
                  <a:lnTo>
                    <a:pt x="78" y="6"/>
                  </a:lnTo>
                  <a:lnTo>
                    <a:pt x="79" y="5"/>
                  </a:lnTo>
                  <a:lnTo>
                    <a:pt x="81" y="6"/>
                  </a:lnTo>
                  <a:lnTo>
                    <a:pt x="81" y="8"/>
                  </a:lnTo>
                  <a:lnTo>
                    <a:pt x="79" y="14"/>
                  </a:lnTo>
                  <a:lnTo>
                    <a:pt x="79" y="15"/>
                  </a:lnTo>
                  <a:lnTo>
                    <a:pt x="78" y="18"/>
                  </a:lnTo>
                  <a:lnTo>
                    <a:pt x="78" y="14"/>
                  </a:lnTo>
                  <a:lnTo>
                    <a:pt x="76" y="12"/>
                  </a:lnTo>
                  <a:lnTo>
                    <a:pt x="76" y="6"/>
                  </a:lnTo>
                  <a:lnTo>
                    <a:pt x="75" y="5"/>
                  </a:lnTo>
                  <a:close/>
                  <a:moveTo>
                    <a:pt x="120" y="0"/>
                  </a:moveTo>
                  <a:lnTo>
                    <a:pt x="121" y="2"/>
                  </a:lnTo>
                  <a:lnTo>
                    <a:pt x="121" y="3"/>
                  </a:lnTo>
                  <a:lnTo>
                    <a:pt x="123" y="5"/>
                  </a:lnTo>
                  <a:lnTo>
                    <a:pt x="124" y="5"/>
                  </a:lnTo>
                  <a:lnTo>
                    <a:pt x="126" y="9"/>
                  </a:lnTo>
                  <a:lnTo>
                    <a:pt x="127" y="11"/>
                  </a:lnTo>
                  <a:lnTo>
                    <a:pt x="132" y="14"/>
                  </a:lnTo>
                  <a:lnTo>
                    <a:pt x="133" y="15"/>
                  </a:lnTo>
                  <a:lnTo>
                    <a:pt x="148" y="33"/>
                  </a:lnTo>
                  <a:lnTo>
                    <a:pt x="151" y="41"/>
                  </a:lnTo>
                  <a:lnTo>
                    <a:pt x="151" y="42"/>
                  </a:lnTo>
                  <a:lnTo>
                    <a:pt x="154" y="44"/>
                  </a:lnTo>
                  <a:lnTo>
                    <a:pt x="156" y="47"/>
                  </a:lnTo>
                  <a:lnTo>
                    <a:pt x="165" y="57"/>
                  </a:lnTo>
                  <a:lnTo>
                    <a:pt x="166" y="58"/>
                  </a:lnTo>
                  <a:lnTo>
                    <a:pt x="168" y="61"/>
                  </a:lnTo>
                  <a:lnTo>
                    <a:pt x="171" y="63"/>
                  </a:lnTo>
                  <a:lnTo>
                    <a:pt x="174" y="67"/>
                  </a:lnTo>
                  <a:lnTo>
                    <a:pt x="178" y="70"/>
                  </a:lnTo>
                  <a:lnTo>
                    <a:pt x="180" y="70"/>
                  </a:lnTo>
                  <a:lnTo>
                    <a:pt x="181" y="73"/>
                  </a:lnTo>
                  <a:lnTo>
                    <a:pt x="184" y="73"/>
                  </a:lnTo>
                  <a:lnTo>
                    <a:pt x="186" y="75"/>
                  </a:lnTo>
                  <a:lnTo>
                    <a:pt x="186" y="76"/>
                  </a:lnTo>
                  <a:lnTo>
                    <a:pt x="187" y="78"/>
                  </a:lnTo>
                  <a:lnTo>
                    <a:pt x="195" y="82"/>
                  </a:lnTo>
                  <a:lnTo>
                    <a:pt x="205" y="87"/>
                  </a:lnTo>
                  <a:lnTo>
                    <a:pt x="201" y="87"/>
                  </a:lnTo>
                  <a:lnTo>
                    <a:pt x="202" y="88"/>
                  </a:lnTo>
                  <a:lnTo>
                    <a:pt x="202" y="91"/>
                  </a:lnTo>
                  <a:lnTo>
                    <a:pt x="204" y="91"/>
                  </a:lnTo>
                  <a:lnTo>
                    <a:pt x="205" y="93"/>
                  </a:lnTo>
                  <a:lnTo>
                    <a:pt x="213" y="93"/>
                  </a:lnTo>
                  <a:lnTo>
                    <a:pt x="213" y="91"/>
                  </a:lnTo>
                  <a:lnTo>
                    <a:pt x="214" y="90"/>
                  </a:lnTo>
                  <a:lnTo>
                    <a:pt x="220" y="90"/>
                  </a:lnTo>
                  <a:lnTo>
                    <a:pt x="222" y="91"/>
                  </a:lnTo>
                  <a:lnTo>
                    <a:pt x="223" y="91"/>
                  </a:lnTo>
                  <a:lnTo>
                    <a:pt x="223" y="93"/>
                  </a:lnTo>
                  <a:lnTo>
                    <a:pt x="220" y="93"/>
                  </a:lnTo>
                  <a:lnTo>
                    <a:pt x="220" y="97"/>
                  </a:lnTo>
                  <a:lnTo>
                    <a:pt x="223" y="97"/>
                  </a:lnTo>
                  <a:lnTo>
                    <a:pt x="223" y="96"/>
                  </a:lnTo>
                  <a:lnTo>
                    <a:pt x="225" y="94"/>
                  </a:lnTo>
                  <a:lnTo>
                    <a:pt x="225" y="91"/>
                  </a:lnTo>
                  <a:lnTo>
                    <a:pt x="228" y="91"/>
                  </a:lnTo>
                  <a:lnTo>
                    <a:pt x="226" y="94"/>
                  </a:lnTo>
                  <a:lnTo>
                    <a:pt x="228" y="96"/>
                  </a:lnTo>
                  <a:lnTo>
                    <a:pt x="228" y="97"/>
                  </a:lnTo>
                  <a:lnTo>
                    <a:pt x="229" y="97"/>
                  </a:lnTo>
                  <a:lnTo>
                    <a:pt x="229" y="99"/>
                  </a:lnTo>
                  <a:lnTo>
                    <a:pt x="232" y="102"/>
                  </a:lnTo>
                  <a:lnTo>
                    <a:pt x="235" y="102"/>
                  </a:lnTo>
                  <a:lnTo>
                    <a:pt x="241" y="103"/>
                  </a:lnTo>
                  <a:lnTo>
                    <a:pt x="248" y="105"/>
                  </a:lnTo>
                  <a:lnTo>
                    <a:pt x="251" y="103"/>
                  </a:lnTo>
                  <a:lnTo>
                    <a:pt x="259" y="96"/>
                  </a:lnTo>
                  <a:lnTo>
                    <a:pt x="262" y="91"/>
                  </a:lnTo>
                  <a:lnTo>
                    <a:pt x="263" y="91"/>
                  </a:lnTo>
                  <a:lnTo>
                    <a:pt x="268" y="87"/>
                  </a:lnTo>
                  <a:lnTo>
                    <a:pt x="269" y="87"/>
                  </a:lnTo>
                  <a:lnTo>
                    <a:pt x="269" y="85"/>
                  </a:lnTo>
                  <a:lnTo>
                    <a:pt x="272" y="81"/>
                  </a:lnTo>
                  <a:lnTo>
                    <a:pt x="275" y="78"/>
                  </a:lnTo>
                  <a:lnTo>
                    <a:pt x="275" y="76"/>
                  </a:lnTo>
                  <a:lnTo>
                    <a:pt x="277" y="76"/>
                  </a:lnTo>
                  <a:lnTo>
                    <a:pt x="277" y="79"/>
                  </a:lnTo>
                  <a:lnTo>
                    <a:pt x="278" y="79"/>
                  </a:lnTo>
                  <a:lnTo>
                    <a:pt x="278" y="82"/>
                  </a:lnTo>
                  <a:lnTo>
                    <a:pt x="277" y="85"/>
                  </a:lnTo>
                  <a:lnTo>
                    <a:pt x="274" y="88"/>
                  </a:lnTo>
                  <a:lnTo>
                    <a:pt x="274" y="90"/>
                  </a:lnTo>
                  <a:lnTo>
                    <a:pt x="272" y="93"/>
                  </a:lnTo>
                  <a:lnTo>
                    <a:pt x="272" y="94"/>
                  </a:lnTo>
                  <a:lnTo>
                    <a:pt x="268" y="100"/>
                  </a:lnTo>
                  <a:lnTo>
                    <a:pt x="268" y="102"/>
                  </a:lnTo>
                  <a:lnTo>
                    <a:pt x="266" y="103"/>
                  </a:lnTo>
                  <a:lnTo>
                    <a:pt x="265" y="106"/>
                  </a:lnTo>
                  <a:lnTo>
                    <a:pt x="266" y="108"/>
                  </a:lnTo>
                  <a:lnTo>
                    <a:pt x="266" y="109"/>
                  </a:lnTo>
                  <a:lnTo>
                    <a:pt x="265" y="109"/>
                  </a:lnTo>
                  <a:lnTo>
                    <a:pt x="265" y="111"/>
                  </a:lnTo>
                  <a:lnTo>
                    <a:pt x="263" y="112"/>
                  </a:lnTo>
                  <a:lnTo>
                    <a:pt x="263" y="114"/>
                  </a:lnTo>
                  <a:lnTo>
                    <a:pt x="266" y="118"/>
                  </a:lnTo>
                  <a:lnTo>
                    <a:pt x="266" y="120"/>
                  </a:lnTo>
                  <a:lnTo>
                    <a:pt x="269" y="123"/>
                  </a:lnTo>
                  <a:lnTo>
                    <a:pt x="274" y="124"/>
                  </a:lnTo>
                  <a:lnTo>
                    <a:pt x="275" y="124"/>
                  </a:lnTo>
                  <a:lnTo>
                    <a:pt x="277" y="126"/>
                  </a:lnTo>
                  <a:lnTo>
                    <a:pt x="277" y="127"/>
                  </a:lnTo>
                  <a:lnTo>
                    <a:pt x="275" y="127"/>
                  </a:lnTo>
                  <a:lnTo>
                    <a:pt x="275" y="126"/>
                  </a:lnTo>
                  <a:lnTo>
                    <a:pt x="269" y="123"/>
                  </a:lnTo>
                  <a:lnTo>
                    <a:pt x="271" y="124"/>
                  </a:lnTo>
                  <a:lnTo>
                    <a:pt x="271" y="127"/>
                  </a:lnTo>
                  <a:lnTo>
                    <a:pt x="272" y="129"/>
                  </a:lnTo>
                  <a:lnTo>
                    <a:pt x="272" y="130"/>
                  </a:lnTo>
                  <a:lnTo>
                    <a:pt x="274" y="136"/>
                  </a:lnTo>
                  <a:lnTo>
                    <a:pt x="275" y="139"/>
                  </a:lnTo>
                  <a:lnTo>
                    <a:pt x="278" y="142"/>
                  </a:lnTo>
                  <a:lnTo>
                    <a:pt x="277" y="142"/>
                  </a:lnTo>
                  <a:lnTo>
                    <a:pt x="274" y="141"/>
                  </a:lnTo>
                  <a:lnTo>
                    <a:pt x="272" y="141"/>
                  </a:lnTo>
                  <a:lnTo>
                    <a:pt x="272" y="142"/>
                  </a:lnTo>
                  <a:lnTo>
                    <a:pt x="275" y="142"/>
                  </a:lnTo>
                  <a:lnTo>
                    <a:pt x="275" y="144"/>
                  </a:lnTo>
                  <a:lnTo>
                    <a:pt x="277" y="145"/>
                  </a:lnTo>
                  <a:lnTo>
                    <a:pt x="283" y="145"/>
                  </a:lnTo>
                  <a:lnTo>
                    <a:pt x="283" y="147"/>
                  </a:lnTo>
                  <a:lnTo>
                    <a:pt x="284" y="147"/>
                  </a:lnTo>
                  <a:lnTo>
                    <a:pt x="284" y="145"/>
                  </a:lnTo>
                  <a:lnTo>
                    <a:pt x="283" y="145"/>
                  </a:lnTo>
                  <a:lnTo>
                    <a:pt x="289" y="139"/>
                  </a:lnTo>
                  <a:lnTo>
                    <a:pt x="290" y="139"/>
                  </a:lnTo>
                  <a:lnTo>
                    <a:pt x="290" y="138"/>
                  </a:lnTo>
                  <a:lnTo>
                    <a:pt x="298" y="138"/>
                  </a:lnTo>
                  <a:lnTo>
                    <a:pt x="298" y="139"/>
                  </a:lnTo>
                  <a:lnTo>
                    <a:pt x="296" y="139"/>
                  </a:lnTo>
                  <a:lnTo>
                    <a:pt x="295" y="141"/>
                  </a:lnTo>
                  <a:lnTo>
                    <a:pt x="293" y="141"/>
                  </a:lnTo>
                  <a:lnTo>
                    <a:pt x="293" y="142"/>
                  </a:lnTo>
                  <a:lnTo>
                    <a:pt x="289" y="142"/>
                  </a:lnTo>
                  <a:lnTo>
                    <a:pt x="289" y="144"/>
                  </a:lnTo>
                  <a:lnTo>
                    <a:pt x="287" y="145"/>
                  </a:lnTo>
                  <a:lnTo>
                    <a:pt x="287" y="147"/>
                  </a:lnTo>
                  <a:lnTo>
                    <a:pt x="286" y="148"/>
                  </a:lnTo>
                  <a:lnTo>
                    <a:pt x="286" y="150"/>
                  </a:lnTo>
                  <a:lnTo>
                    <a:pt x="284" y="151"/>
                  </a:lnTo>
                  <a:lnTo>
                    <a:pt x="283" y="151"/>
                  </a:lnTo>
                  <a:lnTo>
                    <a:pt x="281" y="150"/>
                  </a:lnTo>
                  <a:lnTo>
                    <a:pt x="280" y="150"/>
                  </a:lnTo>
                  <a:lnTo>
                    <a:pt x="280" y="151"/>
                  </a:lnTo>
                  <a:lnTo>
                    <a:pt x="274" y="151"/>
                  </a:lnTo>
                  <a:lnTo>
                    <a:pt x="272" y="153"/>
                  </a:lnTo>
                  <a:lnTo>
                    <a:pt x="271" y="153"/>
                  </a:lnTo>
                  <a:lnTo>
                    <a:pt x="268" y="154"/>
                  </a:lnTo>
                  <a:lnTo>
                    <a:pt x="266" y="154"/>
                  </a:lnTo>
                  <a:lnTo>
                    <a:pt x="266" y="157"/>
                  </a:lnTo>
                  <a:lnTo>
                    <a:pt x="263" y="160"/>
                  </a:lnTo>
                  <a:lnTo>
                    <a:pt x="260" y="159"/>
                  </a:lnTo>
                  <a:lnTo>
                    <a:pt x="262" y="160"/>
                  </a:lnTo>
                  <a:lnTo>
                    <a:pt x="262" y="162"/>
                  </a:lnTo>
                  <a:lnTo>
                    <a:pt x="260" y="163"/>
                  </a:lnTo>
                  <a:lnTo>
                    <a:pt x="254" y="163"/>
                  </a:lnTo>
                  <a:lnTo>
                    <a:pt x="253" y="162"/>
                  </a:lnTo>
                  <a:lnTo>
                    <a:pt x="253" y="159"/>
                  </a:lnTo>
                  <a:lnTo>
                    <a:pt x="251" y="159"/>
                  </a:lnTo>
                  <a:lnTo>
                    <a:pt x="248" y="162"/>
                  </a:lnTo>
                  <a:lnTo>
                    <a:pt x="248" y="165"/>
                  </a:lnTo>
                  <a:lnTo>
                    <a:pt x="250" y="165"/>
                  </a:lnTo>
                  <a:lnTo>
                    <a:pt x="250" y="166"/>
                  </a:lnTo>
                  <a:lnTo>
                    <a:pt x="248" y="166"/>
                  </a:lnTo>
                  <a:lnTo>
                    <a:pt x="242" y="165"/>
                  </a:lnTo>
                  <a:lnTo>
                    <a:pt x="238" y="165"/>
                  </a:lnTo>
                  <a:lnTo>
                    <a:pt x="238" y="166"/>
                  </a:lnTo>
                  <a:lnTo>
                    <a:pt x="236" y="166"/>
                  </a:lnTo>
                  <a:lnTo>
                    <a:pt x="232" y="165"/>
                  </a:lnTo>
                  <a:lnTo>
                    <a:pt x="232" y="162"/>
                  </a:lnTo>
                  <a:lnTo>
                    <a:pt x="229" y="162"/>
                  </a:lnTo>
                  <a:lnTo>
                    <a:pt x="223" y="163"/>
                  </a:lnTo>
                  <a:lnTo>
                    <a:pt x="217" y="166"/>
                  </a:lnTo>
                  <a:lnTo>
                    <a:pt x="210" y="172"/>
                  </a:lnTo>
                  <a:lnTo>
                    <a:pt x="205" y="177"/>
                  </a:lnTo>
                  <a:lnTo>
                    <a:pt x="198" y="183"/>
                  </a:lnTo>
                  <a:lnTo>
                    <a:pt x="195" y="187"/>
                  </a:lnTo>
                  <a:lnTo>
                    <a:pt x="190" y="196"/>
                  </a:lnTo>
                  <a:lnTo>
                    <a:pt x="184" y="204"/>
                  </a:lnTo>
                  <a:lnTo>
                    <a:pt x="184" y="217"/>
                  </a:lnTo>
                  <a:lnTo>
                    <a:pt x="183" y="222"/>
                  </a:lnTo>
                  <a:lnTo>
                    <a:pt x="183" y="223"/>
                  </a:lnTo>
                  <a:lnTo>
                    <a:pt x="181" y="225"/>
                  </a:lnTo>
                  <a:lnTo>
                    <a:pt x="181" y="228"/>
                  </a:lnTo>
                  <a:lnTo>
                    <a:pt x="178" y="228"/>
                  </a:lnTo>
                  <a:lnTo>
                    <a:pt x="177" y="226"/>
                  </a:lnTo>
                  <a:lnTo>
                    <a:pt x="177" y="225"/>
                  </a:lnTo>
                  <a:lnTo>
                    <a:pt x="174" y="222"/>
                  </a:lnTo>
                  <a:lnTo>
                    <a:pt x="168" y="217"/>
                  </a:lnTo>
                  <a:lnTo>
                    <a:pt x="157" y="214"/>
                  </a:lnTo>
                  <a:lnTo>
                    <a:pt x="148" y="208"/>
                  </a:lnTo>
                  <a:lnTo>
                    <a:pt x="144" y="207"/>
                  </a:lnTo>
                  <a:lnTo>
                    <a:pt x="136" y="201"/>
                  </a:lnTo>
                  <a:lnTo>
                    <a:pt x="133" y="199"/>
                  </a:lnTo>
                  <a:lnTo>
                    <a:pt x="130" y="196"/>
                  </a:lnTo>
                  <a:lnTo>
                    <a:pt x="126" y="195"/>
                  </a:lnTo>
                  <a:lnTo>
                    <a:pt x="121" y="192"/>
                  </a:lnTo>
                  <a:lnTo>
                    <a:pt x="120" y="189"/>
                  </a:lnTo>
                  <a:lnTo>
                    <a:pt x="118" y="189"/>
                  </a:lnTo>
                  <a:lnTo>
                    <a:pt x="114" y="187"/>
                  </a:lnTo>
                  <a:lnTo>
                    <a:pt x="111" y="186"/>
                  </a:lnTo>
                  <a:lnTo>
                    <a:pt x="106" y="186"/>
                  </a:lnTo>
                  <a:lnTo>
                    <a:pt x="97" y="189"/>
                  </a:lnTo>
                  <a:lnTo>
                    <a:pt x="88" y="195"/>
                  </a:lnTo>
                  <a:lnTo>
                    <a:pt x="88" y="196"/>
                  </a:lnTo>
                  <a:lnTo>
                    <a:pt x="85" y="196"/>
                  </a:lnTo>
                  <a:lnTo>
                    <a:pt x="85" y="198"/>
                  </a:lnTo>
                  <a:lnTo>
                    <a:pt x="81" y="199"/>
                  </a:lnTo>
                  <a:lnTo>
                    <a:pt x="81" y="201"/>
                  </a:lnTo>
                  <a:lnTo>
                    <a:pt x="76" y="205"/>
                  </a:lnTo>
                  <a:lnTo>
                    <a:pt x="75" y="205"/>
                  </a:lnTo>
                  <a:lnTo>
                    <a:pt x="73" y="204"/>
                  </a:lnTo>
                  <a:lnTo>
                    <a:pt x="76" y="204"/>
                  </a:lnTo>
                  <a:lnTo>
                    <a:pt x="76" y="202"/>
                  </a:lnTo>
                  <a:lnTo>
                    <a:pt x="75" y="202"/>
                  </a:lnTo>
                  <a:lnTo>
                    <a:pt x="73" y="201"/>
                  </a:lnTo>
                  <a:lnTo>
                    <a:pt x="72" y="198"/>
                  </a:lnTo>
                  <a:lnTo>
                    <a:pt x="65" y="189"/>
                  </a:lnTo>
                  <a:lnTo>
                    <a:pt x="53" y="189"/>
                  </a:lnTo>
                  <a:lnTo>
                    <a:pt x="48" y="193"/>
                  </a:lnTo>
                  <a:lnTo>
                    <a:pt x="47" y="198"/>
                  </a:lnTo>
                  <a:lnTo>
                    <a:pt x="45" y="199"/>
                  </a:lnTo>
                  <a:lnTo>
                    <a:pt x="45" y="202"/>
                  </a:lnTo>
                  <a:lnTo>
                    <a:pt x="44" y="205"/>
                  </a:lnTo>
                  <a:lnTo>
                    <a:pt x="45" y="208"/>
                  </a:lnTo>
                  <a:lnTo>
                    <a:pt x="47" y="210"/>
                  </a:lnTo>
                  <a:lnTo>
                    <a:pt x="51" y="213"/>
                  </a:lnTo>
                  <a:lnTo>
                    <a:pt x="53" y="213"/>
                  </a:lnTo>
                  <a:lnTo>
                    <a:pt x="56" y="217"/>
                  </a:lnTo>
                  <a:lnTo>
                    <a:pt x="59" y="217"/>
                  </a:lnTo>
                  <a:lnTo>
                    <a:pt x="62" y="216"/>
                  </a:lnTo>
                  <a:lnTo>
                    <a:pt x="65" y="216"/>
                  </a:lnTo>
                  <a:lnTo>
                    <a:pt x="68" y="219"/>
                  </a:lnTo>
                  <a:lnTo>
                    <a:pt x="69" y="223"/>
                  </a:lnTo>
                  <a:lnTo>
                    <a:pt x="70" y="223"/>
                  </a:lnTo>
                  <a:lnTo>
                    <a:pt x="72" y="225"/>
                  </a:lnTo>
                  <a:lnTo>
                    <a:pt x="73" y="225"/>
                  </a:lnTo>
                  <a:lnTo>
                    <a:pt x="76" y="229"/>
                  </a:lnTo>
                  <a:lnTo>
                    <a:pt x="76" y="231"/>
                  </a:lnTo>
                  <a:lnTo>
                    <a:pt x="81" y="231"/>
                  </a:lnTo>
                  <a:lnTo>
                    <a:pt x="87" y="237"/>
                  </a:lnTo>
                  <a:lnTo>
                    <a:pt x="84" y="237"/>
                  </a:lnTo>
                  <a:lnTo>
                    <a:pt x="79" y="241"/>
                  </a:lnTo>
                  <a:lnTo>
                    <a:pt x="75" y="241"/>
                  </a:lnTo>
                  <a:lnTo>
                    <a:pt x="72" y="238"/>
                  </a:lnTo>
                  <a:lnTo>
                    <a:pt x="66" y="238"/>
                  </a:lnTo>
                  <a:lnTo>
                    <a:pt x="65" y="240"/>
                  </a:lnTo>
                  <a:lnTo>
                    <a:pt x="63" y="240"/>
                  </a:lnTo>
                  <a:lnTo>
                    <a:pt x="63" y="238"/>
                  </a:lnTo>
                  <a:lnTo>
                    <a:pt x="65" y="237"/>
                  </a:lnTo>
                  <a:lnTo>
                    <a:pt x="65" y="235"/>
                  </a:lnTo>
                  <a:lnTo>
                    <a:pt x="60" y="235"/>
                  </a:lnTo>
                  <a:lnTo>
                    <a:pt x="60" y="240"/>
                  </a:lnTo>
                  <a:lnTo>
                    <a:pt x="59" y="240"/>
                  </a:lnTo>
                  <a:lnTo>
                    <a:pt x="56" y="241"/>
                  </a:lnTo>
                  <a:lnTo>
                    <a:pt x="56" y="243"/>
                  </a:lnTo>
                  <a:lnTo>
                    <a:pt x="53" y="243"/>
                  </a:lnTo>
                  <a:lnTo>
                    <a:pt x="53" y="244"/>
                  </a:lnTo>
                  <a:lnTo>
                    <a:pt x="51" y="246"/>
                  </a:lnTo>
                  <a:lnTo>
                    <a:pt x="51" y="253"/>
                  </a:lnTo>
                  <a:lnTo>
                    <a:pt x="50" y="253"/>
                  </a:lnTo>
                  <a:lnTo>
                    <a:pt x="44" y="256"/>
                  </a:lnTo>
                  <a:lnTo>
                    <a:pt x="42" y="258"/>
                  </a:lnTo>
                  <a:lnTo>
                    <a:pt x="42" y="259"/>
                  </a:lnTo>
                  <a:lnTo>
                    <a:pt x="41" y="259"/>
                  </a:lnTo>
                  <a:lnTo>
                    <a:pt x="41" y="261"/>
                  </a:lnTo>
                  <a:lnTo>
                    <a:pt x="39" y="261"/>
                  </a:lnTo>
                  <a:lnTo>
                    <a:pt x="38" y="259"/>
                  </a:lnTo>
                  <a:lnTo>
                    <a:pt x="36" y="259"/>
                  </a:lnTo>
                  <a:lnTo>
                    <a:pt x="36" y="261"/>
                  </a:lnTo>
                  <a:lnTo>
                    <a:pt x="35" y="259"/>
                  </a:lnTo>
                  <a:lnTo>
                    <a:pt x="33" y="259"/>
                  </a:lnTo>
                  <a:lnTo>
                    <a:pt x="33" y="258"/>
                  </a:lnTo>
                  <a:lnTo>
                    <a:pt x="30" y="252"/>
                  </a:lnTo>
                  <a:lnTo>
                    <a:pt x="30" y="249"/>
                  </a:lnTo>
                  <a:lnTo>
                    <a:pt x="32" y="247"/>
                  </a:lnTo>
                  <a:lnTo>
                    <a:pt x="32" y="243"/>
                  </a:lnTo>
                  <a:lnTo>
                    <a:pt x="35" y="238"/>
                  </a:lnTo>
                  <a:lnTo>
                    <a:pt x="35" y="237"/>
                  </a:lnTo>
                  <a:lnTo>
                    <a:pt x="36" y="237"/>
                  </a:lnTo>
                  <a:lnTo>
                    <a:pt x="38" y="235"/>
                  </a:lnTo>
                  <a:lnTo>
                    <a:pt x="38" y="225"/>
                  </a:lnTo>
                  <a:lnTo>
                    <a:pt x="36" y="223"/>
                  </a:lnTo>
                  <a:lnTo>
                    <a:pt x="35" y="219"/>
                  </a:lnTo>
                  <a:lnTo>
                    <a:pt x="33" y="217"/>
                  </a:lnTo>
                  <a:lnTo>
                    <a:pt x="27" y="216"/>
                  </a:lnTo>
                  <a:lnTo>
                    <a:pt x="27" y="214"/>
                  </a:lnTo>
                  <a:lnTo>
                    <a:pt x="26" y="211"/>
                  </a:lnTo>
                  <a:lnTo>
                    <a:pt x="24" y="211"/>
                  </a:lnTo>
                  <a:lnTo>
                    <a:pt x="21" y="208"/>
                  </a:lnTo>
                  <a:lnTo>
                    <a:pt x="21" y="202"/>
                  </a:lnTo>
                  <a:lnTo>
                    <a:pt x="23" y="199"/>
                  </a:lnTo>
                  <a:lnTo>
                    <a:pt x="24" y="198"/>
                  </a:lnTo>
                  <a:lnTo>
                    <a:pt x="24" y="186"/>
                  </a:lnTo>
                  <a:lnTo>
                    <a:pt x="26" y="183"/>
                  </a:lnTo>
                  <a:lnTo>
                    <a:pt x="27" y="183"/>
                  </a:lnTo>
                  <a:lnTo>
                    <a:pt x="32" y="181"/>
                  </a:lnTo>
                  <a:lnTo>
                    <a:pt x="33" y="181"/>
                  </a:lnTo>
                  <a:lnTo>
                    <a:pt x="36" y="178"/>
                  </a:lnTo>
                  <a:lnTo>
                    <a:pt x="38" y="178"/>
                  </a:lnTo>
                  <a:lnTo>
                    <a:pt x="38" y="177"/>
                  </a:lnTo>
                  <a:lnTo>
                    <a:pt x="39" y="175"/>
                  </a:lnTo>
                  <a:lnTo>
                    <a:pt x="39" y="174"/>
                  </a:lnTo>
                  <a:lnTo>
                    <a:pt x="42" y="174"/>
                  </a:lnTo>
                  <a:lnTo>
                    <a:pt x="42" y="177"/>
                  </a:lnTo>
                  <a:lnTo>
                    <a:pt x="45" y="177"/>
                  </a:lnTo>
                  <a:lnTo>
                    <a:pt x="45" y="174"/>
                  </a:lnTo>
                  <a:lnTo>
                    <a:pt x="48" y="171"/>
                  </a:lnTo>
                  <a:lnTo>
                    <a:pt x="48" y="168"/>
                  </a:lnTo>
                  <a:lnTo>
                    <a:pt x="50" y="168"/>
                  </a:lnTo>
                  <a:lnTo>
                    <a:pt x="56" y="162"/>
                  </a:lnTo>
                  <a:lnTo>
                    <a:pt x="56" y="160"/>
                  </a:lnTo>
                  <a:lnTo>
                    <a:pt x="54" y="159"/>
                  </a:lnTo>
                  <a:lnTo>
                    <a:pt x="54" y="157"/>
                  </a:lnTo>
                  <a:lnTo>
                    <a:pt x="51" y="153"/>
                  </a:lnTo>
                  <a:lnTo>
                    <a:pt x="47" y="148"/>
                  </a:lnTo>
                  <a:lnTo>
                    <a:pt x="47" y="147"/>
                  </a:lnTo>
                  <a:lnTo>
                    <a:pt x="48" y="141"/>
                  </a:lnTo>
                  <a:lnTo>
                    <a:pt x="53" y="141"/>
                  </a:lnTo>
                  <a:lnTo>
                    <a:pt x="53" y="138"/>
                  </a:lnTo>
                  <a:lnTo>
                    <a:pt x="54" y="138"/>
                  </a:lnTo>
                  <a:lnTo>
                    <a:pt x="54" y="139"/>
                  </a:lnTo>
                  <a:lnTo>
                    <a:pt x="56" y="139"/>
                  </a:lnTo>
                  <a:lnTo>
                    <a:pt x="60" y="142"/>
                  </a:lnTo>
                  <a:lnTo>
                    <a:pt x="60" y="144"/>
                  </a:lnTo>
                  <a:lnTo>
                    <a:pt x="63" y="147"/>
                  </a:lnTo>
                  <a:lnTo>
                    <a:pt x="66" y="148"/>
                  </a:lnTo>
                  <a:lnTo>
                    <a:pt x="68" y="150"/>
                  </a:lnTo>
                  <a:lnTo>
                    <a:pt x="69" y="150"/>
                  </a:lnTo>
                  <a:lnTo>
                    <a:pt x="73" y="148"/>
                  </a:lnTo>
                  <a:lnTo>
                    <a:pt x="76" y="148"/>
                  </a:lnTo>
                  <a:lnTo>
                    <a:pt x="78" y="147"/>
                  </a:lnTo>
                  <a:lnTo>
                    <a:pt x="78" y="151"/>
                  </a:lnTo>
                  <a:lnTo>
                    <a:pt x="81" y="151"/>
                  </a:lnTo>
                  <a:lnTo>
                    <a:pt x="82" y="153"/>
                  </a:lnTo>
                  <a:lnTo>
                    <a:pt x="87" y="153"/>
                  </a:lnTo>
                  <a:lnTo>
                    <a:pt x="91" y="150"/>
                  </a:lnTo>
                  <a:lnTo>
                    <a:pt x="94" y="147"/>
                  </a:lnTo>
                  <a:lnTo>
                    <a:pt x="96" y="144"/>
                  </a:lnTo>
                  <a:lnTo>
                    <a:pt x="96" y="142"/>
                  </a:lnTo>
                  <a:lnTo>
                    <a:pt x="97" y="139"/>
                  </a:lnTo>
                  <a:lnTo>
                    <a:pt x="97" y="136"/>
                  </a:lnTo>
                  <a:lnTo>
                    <a:pt x="96" y="135"/>
                  </a:lnTo>
                  <a:lnTo>
                    <a:pt x="94" y="130"/>
                  </a:lnTo>
                  <a:lnTo>
                    <a:pt x="93" y="129"/>
                  </a:lnTo>
                  <a:lnTo>
                    <a:pt x="94" y="127"/>
                  </a:lnTo>
                  <a:lnTo>
                    <a:pt x="94" y="121"/>
                  </a:lnTo>
                  <a:lnTo>
                    <a:pt x="93" y="118"/>
                  </a:lnTo>
                  <a:lnTo>
                    <a:pt x="93" y="114"/>
                  </a:lnTo>
                  <a:lnTo>
                    <a:pt x="97" y="109"/>
                  </a:lnTo>
                  <a:lnTo>
                    <a:pt x="102" y="109"/>
                  </a:lnTo>
                  <a:lnTo>
                    <a:pt x="103" y="106"/>
                  </a:lnTo>
                  <a:lnTo>
                    <a:pt x="106" y="103"/>
                  </a:lnTo>
                  <a:lnTo>
                    <a:pt x="108" y="100"/>
                  </a:lnTo>
                  <a:lnTo>
                    <a:pt x="108" y="79"/>
                  </a:lnTo>
                  <a:lnTo>
                    <a:pt x="111" y="72"/>
                  </a:lnTo>
                  <a:lnTo>
                    <a:pt x="114" y="60"/>
                  </a:lnTo>
                  <a:lnTo>
                    <a:pt x="114" y="57"/>
                  </a:lnTo>
                  <a:lnTo>
                    <a:pt x="112" y="50"/>
                  </a:lnTo>
                  <a:lnTo>
                    <a:pt x="112" y="42"/>
                  </a:lnTo>
                  <a:lnTo>
                    <a:pt x="111" y="38"/>
                  </a:lnTo>
                  <a:lnTo>
                    <a:pt x="103" y="24"/>
                  </a:lnTo>
                  <a:lnTo>
                    <a:pt x="103" y="18"/>
                  </a:lnTo>
                  <a:lnTo>
                    <a:pt x="105" y="17"/>
                  </a:lnTo>
                  <a:lnTo>
                    <a:pt x="105" y="15"/>
                  </a:lnTo>
                  <a:lnTo>
                    <a:pt x="106" y="15"/>
                  </a:lnTo>
                  <a:lnTo>
                    <a:pt x="106" y="6"/>
                  </a:lnTo>
                  <a:lnTo>
                    <a:pt x="108" y="5"/>
                  </a:lnTo>
                  <a:lnTo>
                    <a:pt x="108" y="8"/>
                  </a:lnTo>
                  <a:lnTo>
                    <a:pt x="109" y="9"/>
                  </a:lnTo>
                  <a:lnTo>
                    <a:pt x="111" y="8"/>
                  </a:lnTo>
                  <a:lnTo>
                    <a:pt x="115" y="8"/>
                  </a:lnTo>
                  <a:lnTo>
                    <a:pt x="117" y="6"/>
                  </a:lnTo>
                  <a:lnTo>
                    <a:pt x="117" y="3"/>
                  </a:lnTo>
                  <a:lnTo>
                    <a:pt x="118" y="2"/>
                  </a:lnTo>
                  <a:lnTo>
                    <a:pt x="120" y="2"/>
                  </a:lnTo>
                  <a:lnTo>
                    <a:pt x="12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9">
              <a:extLst>
                <a:ext uri="{FF2B5EF4-FFF2-40B4-BE49-F238E27FC236}">
                  <a16:creationId xmlns:a16="http://schemas.microsoft.com/office/drawing/2014/main" id="{174FAC12-17F6-E257-4994-E3AFD6C671B2}"/>
                </a:ext>
              </a:extLst>
            </p:cNvPr>
            <p:cNvSpPr>
              <a:spLocks noEditPoints="1"/>
            </p:cNvSpPr>
            <p:nvPr/>
          </p:nvSpPr>
          <p:spPr bwMode="auto">
            <a:xfrm>
              <a:off x="2992398" y="5521920"/>
              <a:ext cx="1687603" cy="243485"/>
            </a:xfrm>
            <a:custGeom>
              <a:avLst/>
              <a:gdLst/>
              <a:ahLst/>
              <a:cxnLst>
                <a:cxn ang="0">
                  <a:pos x="829" y="219"/>
                </a:cxn>
                <a:cxn ang="0">
                  <a:pos x="839" y="205"/>
                </a:cxn>
                <a:cxn ang="0">
                  <a:pos x="718" y="187"/>
                </a:cxn>
                <a:cxn ang="0">
                  <a:pos x="670" y="183"/>
                </a:cxn>
                <a:cxn ang="0">
                  <a:pos x="669" y="160"/>
                </a:cxn>
                <a:cxn ang="0">
                  <a:pos x="900" y="186"/>
                </a:cxn>
                <a:cxn ang="0">
                  <a:pos x="851" y="192"/>
                </a:cxn>
                <a:cxn ang="0">
                  <a:pos x="888" y="151"/>
                </a:cxn>
                <a:cxn ang="0">
                  <a:pos x="817" y="121"/>
                </a:cxn>
                <a:cxn ang="0">
                  <a:pos x="655" y="123"/>
                </a:cxn>
                <a:cxn ang="0">
                  <a:pos x="1060" y="108"/>
                </a:cxn>
                <a:cxn ang="0">
                  <a:pos x="800" y="130"/>
                </a:cxn>
                <a:cxn ang="0">
                  <a:pos x="722" y="135"/>
                </a:cxn>
                <a:cxn ang="0">
                  <a:pos x="670" y="130"/>
                </a:cxn>
                <a:cxn ang="0">
                  <a:pos x="703" y="108"/>
                </a:cxn>
                <a:cxn ang="0">
                  <a:pos x="767" y="120"/>
                </a:cxn>
                <a:cxn ang="0">
                  <a:pos x="529" y="109"/>
                </a:cxn>
                <a:cxn ang="0">
                  <a:pos x="503" y="139"/>
                </a:cxn>
                <a:cxn ang="0">
                  <a:pos x="1095" y="108"/>
                </a:cxn>
                <a:cxn ang="0">
                  <a:pos x="863" y="117"/>
                </a:cxn>
                <a:cxn ang="0">
                  <a:pos x="848" y="123"/>
                </a:cxn>
                <a:cxn ang="0">
                  <a:pos x="848" y="111"/>
                </a:cxn>
                <a:cxn ang="0">
                  <a:pos x="888" y="118"/>
                </a:cxn>
                <a:cxn ang="0">
                  <a:pos x="574" y="109"/>
                </a:cxn>
                <a:cxn ang="0">
                  <a:pos x="1193" y="105"/>
                </a:cxn>
                <a:cxn ang="0">
                  <a:pos x="597" y="102"/>
                </a:cxn>
                <a:cxn ang="0">
                  <a:pos x="639" y="123"/>
                </a:cxn>
                <a:cxn ang="0">
                  <a:pos x="610" y="124"/>
                </a:cxn>
                <a:cxn ang="0">
                  <a:pos x="546" y="147"/>
                </a:cxn>
                <a:cxn ang="0">
                  <a:pos x="574" y="121"/>
                </a:cxn>
                <a:cxn ang="0">
                  <a:pos x="580" y="109"/>
                </a:cxn>
                <a:cxn ang="0">
                  <a:pos x="464" y="136"/>
                </a:cxn>
                <a:cxn ang="0">
                  <a:pos x="1015" y="102"/>
                </a:cxn>
                <a:cxn ang="0">
                  <a:pos x="163" y="82"/>
                </a:cxn>
                <a:cxn ang="0">
                  <a:pos x="981" y="94"/>
                </a:cxn>
                <a:cxn ang="0">
                  <a:pos x="980" y="79"/>
                </a:cxn>
                <a:cxn ang="0">
                  <a:pos x="1187" y="73"/>
                </a:cxn>
                <a:cxn ang="0">
                  <a:pos x="491" y="58"/>
                </a:cxn>
                <a:cxn ang="0">
                  <a:pos x="1220" y="57"/>
                </a:cxn>
                <a:cxn ang="0">
                  <a:pos x="1201" y="97"/>
                </a:cxn>
                <a:cxn ang="0">
                  <a:pos x="1210" y="64"/>
                </a:cxn>
                <a:cxn ang="0">
                  <a:pos x="420" y="55"/>
                </a:cxn>
                <a:cxn ang="0">
                  <a:pos x="365" y="45"/>
                </a:cxn>
                <a:cxn ang="0">
                  <a:pos x="368" y="61"/>
                </a:cxn>
                <a:cxn ang="0">
                  <a:pos x="468" y="49"/>
                </a:cxn>
                <a:cxn ang="0">
                  <a:pos x="1213" y="42"/>
                </a:cxn>
                <a:cxn ang="0">
                  <a:pos x="1358" y="32"/>
                </a:cxn>
                <a:cxn ang="0">
                  <a:pos x="1343" y="15"/>
                </a:cxn>
                <a:cxn ang="0">
                  <a:pos x="1337" y="47"/>
                </a:cxn>
                <a:cxn ang="0">
                  <a:pos x="866" y="0"/>
                </a:cxn>
                <a:cxn ang="0">
                  <a:pos x="106" y="8"/>
                </a:cxn>
                <a:cxn ang="0">
                  <a:pos x="174" y="42"/>
                </a:cxn>
                <a:cxn ang="0">
                  <a:pos x="263" y="24"/>
                </a:cxn>
                <a:cxn ang="0">
                  <a:pos x="346" y="54"/>
                </a:cxn>
                <a:cxn ang="0">
                  <a:pos x="383" y="84"/>
                </a:cxn>
                <a:cxn ang="0">
                  <a:pos x="434" y="133"/>
                </a:cxn>
                <a:cxn ang="0">
                  <a:pos x="389" y="117"/>
                </a:cxn>
                <a:cxn ang="0">
                  <a:pos x="311" y="109"/>
                </a:cxn>
                <a:cxn ang="0">
                  <a:pos x="244" y="100"/>
                </a:cxn>
                <a:cxn ang="0">
                  <a:pos x="172" y="79"/>
                </a:cxn>
                <a:cxn ang="0">
                  <a:pos x="60" y="61"/>
                </a:cxn>
                <a:cxn ang="0">
                  <a:pos x="6" y="44"/>
                </a:cxn>
              </a:cxnLst>
              <a:rect l="0" t="0" r="r" b="b"/>
              <a:pathLst>
                <a:path w="1608" h="232">
                  <a:moveTo>
                    <a:pt x="755" y="217"/>
                  </a:moveTo>
                  <a:lnTo>
                    <a:pt x="758" y="217"/>
                  </a:lnTo>
                  <a:lnTo>
                    <a:pt x="758" y="219"/>
                  </a:lnTo>
                  <a:lnTo>
                    <a:pt x="754" y="219"/>
                  </a:lnTo>
                  <a:lnTo>
                    <a:pt x="755" y="217"/>
                  </a:lnTo>
                  <a:close/>
                  <a:moveTo>
                    <a:pt x="839" y="210"/>
                  </a:moveTo>
                  <a:lnTo>
                    <a:pt x="839" y="216"/>
                  </a:lnTo>
                  <a:lnTo>
                    <a:pt x="838" y="216"/>
                  </a:lnTo>
                  <a:lnTo>
                    <a:pt x="838" y="217"/>
                  </a:lnTo>
                  <a:lnTo>
                    <a:pt x="840" y="217"/>
                  </a:lnTo>
                  <a:lnTo>
                    <a:pt x="840" y="222"/>
                  </a:lnTo>
                  <a:lnTo>
                    <a:pt x="836" y="222"/>
                  </a:lnTo>
                  <a:lnTo>
                    <a:pt x="835" y="223"/>
                  </a:lnTo>
                  <a:lnTo>
                    <a:pt x="833" y="223"/>
                  </a:lnTo>
                  <a:lnTo>
                    <a:pt x="832" y="225"/>
                  </a:lnTo>
                  <a:lnTo>
                    <a:pt x="832" y="226"/>
                  </a:lnTo>
                  <a:lnTo>
                    <a:pt x="830" y="228"/>
                  </a:lnTo>
                  <a:lnTo>
                    <a:pt x="827" y="228"/>
                  </a:lnTo>
                  <a:lnTo>
                    <a:pt x="821" y="229"/>
                  </a:lnTo>
                  <a:lnTo>
                    <a:pt x="820" y="231"/>
                  </a:lnTo>
                  <a:lnTo>
                    <a:pt x="820" y="232"/>
                  </a:lnTo>
                  <a:lnTo>
                    <a:pt x="814" y="232"/>
                  </a:lnTo>
                  <a:lnTo>
                    <a:pt x="814" y="231"/>
                  </a:lnTo>
                  <a:lnTo>
                    <a:pt x="812" y="228"/>
                  </a:lnTo>
                  <a:lnTo>
                    <a:pt x="812" y="226"/>
                  </a:lnTo>
                  <a:lnTo>
                    <a:pt x="814" y="226"/>
                  </a:lnTo>
                  <a:lnTo>
                    <a:pt x="815" y="225"/>
                  </a:lnTo>
                  <a:lnTo>
                    <a:pt x="818" y="223"/>
                  </a:lnTo>
                  <a:lnTo>
                    <a:pt x="824" y="223"/>
                  </a:lnTo>
                  <a:lnTo>
                    <a:pt x="826" y="220"/>
                  </a:lnTo>
                  <a:lnTo>
                    <a:pt x="827" y="220"/>
                  </a:lnTo>
                  <a:lnTo>
                    <a:pt x="829" y="219"/>
                  </a:lnTo>
                  <a:lnTo>
                    <a:pt x="830" y="219"/>
                  </a:lnTo>
                  <a:lnTo>
                    <a:pt x="830" y="216"/>
                  </a:lnTo>
                  <a:lnTo>
                    <a:pt x="832" y="216"/>
                  </a:lnTo>
                  <a:lnTo>
                    <a:pt x="832" y="214"/>
                  </a:lnTo>
                  <a:lnTo>
                    <a:pt x="835" y="213"/>
                  </a:lnTo>
                  <a:lnTo>
                    <a:pt x="836" y="213"/>
                  </a:lnTo>
                  <a:lnTo>
                    <a:pt x="839" y="210"/>
                  </a:lnTo>
                  <a:close/>
                  <a:moveTo>
                    <a:pt x="769" y="210"/>
                  </a:moveTo>
                  <a:lnTo>
                    <a:pt x="775" y="210"/>
                  </a:lnTo>
                  <a:lnTo>
                    <a:pt x="776" y="211"/>
                  </a:lnTo>
                  <a:lnTo>
                    <a:pt x="775" y="213"/>
                  </a:lnTo>
                  <a:lnTo>
                    <a:pt x="775" y="214"/>
                  </a:lnTo>
                  <a:lnTo>
                    <a:pt x="773" y="216"/>
                  </a:lnTo>
                  <a:lnTo>
                    <a:pt x="772" y="216"/>
                  </a:lnTo>
                  <a:lnTo>
                    <a:pt x="772" y="217"/>
                  </a:lnTo>
                  <a:lnTo>
                    <a:pt x="761" y="217"/>
                  </a:lnTo>
                  <a:lnTo>
                    <a:pt x="761" y="216"/>
                  </a:lnTo>
                  <a:lnTo>
                    <a:pt x="767" y="213"/>
                  </a:lnTo>
                  <a:lnTo>
                    <a:pt x="769" y="210"/>
                  </a:lnTo>
                  <a:close/>
                  <a:moveTo>
                    <a:pt x="840" y="196"/>
                  </a:moveTo>
                  <a:lnTo>
                    <a:pt x="842" y="196"/>
                  </a:lnTo>
                  <a:lnTo>
                    <a:pt x="843" y="198"/>
                  </a:lnTo>
                  <a:lnTo>
                    <a:pt x="845" y="198"/>
                  </a:lnTo>
                  <a:lnTo>
                    <a:pt x="843" y="199"/>
                  </a:lnTo>
                  <a:lnTo>
                    <a:pt x="842" y="199"/>
                  </a:lnTo>
                  <a:lnTo>
                    <a:pt x="842" y="201"/>
                  </a:lnTo>
                  <a:lnTo>
                    <a:pt x="840" y="201"/>
                  </a:lnTo>
                  <a:lnTo>
                    <a:pt x="840" y="199"/>
                  </a:lnTo>
                  <a:lnTo>
                    <a:pt x="839" y="201"/>
                  </a:lnTo>
                  <a:lnTo>
                    <a:pt x="840" y="202"/>
                  </a:lnTo>
                  <a:lnTo>
                    <a:pt x="840" y="205"/>
                  </a:lnTo>
                  <a:lnTo>
                    <a:pt x="839" y="205"/>
                  </a:lnTo>
                  <a:lnTo>
                    <a:pt x="839" y="204"/>
                  </a:lnTo>
                  <a:lnTo>
                    <a:pt x="838" y="204"/>
                  </a:lnTo>
                  <a:lnTo>
                    <a:pt x="838" y="205"/>
                  </a:lnTo>
                  <a:lnTo>
                    <a:pt x="836" y="205"/>
                  </a:lnTo>
                  <a:lnTo>
                    <a:pt x="836" y="202"/>
                  </a:lnTo>
                  <a:lnTo>
                    <a:pt x="838" y="201"/>
                  </a:lnTo>
                  <a:lnTo>
                    <a:pt x="838" y="199"/>
                  </a:lnTo>
                  <a:lnTo>
                    <a:pt x="840" y="196"/>
                  </a:lnTo>
                  <a:close/>
                  <a:moveTo>
                    <a:pt x="680" y="157"/>
                  </a:moveTo>
                  <a:lnTo>
                    <a:pt x="682" y="157"/>
                  </a:lnTo>
                  <a:lnTo>
                    <a:pt x="682" y="159"/>
                  </a:lnTo>
                  <a:lnTo>
                    <a:pt x="688" y="165"/>
                  </a:lnTo>
                  <a:lnTo>
                    <a:pt x="689" y="165"/>
                  </a:lnTo>
                  <a:lnTo>
                    <a:pt x="691" y="166"/>
                  </a:lnTo>
                  <a:lnTo>
                    <a:pt x="691" y="165"/>
                  </a:lnTo>
                  <a:lnTo>
                    <a:pt x="692" y="165"/>
                  </a:lnTo>
                  <a:lnTo>
                    <a:pt x="694" y="166"/>
                  </a:lnTo>
                  <a:lnTo>
                    <a:pt x="694" y="169"/>
                  </a:lnTo>
                  <a:lnTo>
                    <a:pt x="695" y="169"/>
                  </a:lnTo>
                  <a:lnTo>
                    <a:pt x="695" y="174"/>
                  </a:lnTo>
                  <a:lnTo>
                    <a:pt x="700" y="174"/>
                  </a:lnTo>
                  <a:lnTo>
                    <a:pt x="701" y="172"/>
                  </a:lnTo>
                  <a:lnTo>
                    <a:pt x="704" y="172"/>
                  </a:lnTo>
                  <a:lnTo>
                    <a:pt x="706" y="174"/>
                  </a:lnTo>
                  <a:lnTo>
                    <a:pt x="706" y="175"/>
                  </a:lnTo>
                  <a:lnTo>
                    <a:pt x="707" y="175"/>
                  </a:lnTo>
                  <a:lnTo>
                    <a:pt x="710" y="177"/>
                  </a:lnTo>
                  <a:lnTo>
                    <a:pt x="712" y="178"/>
                  </a:lnTo>
                  <a:lnTo>
                    <a:pt x="713" y="183"/>
                  </a:lnTo>
                  <a:lnTo>
                    <a:pt x="715" y="184"/>
                  </a:lnTo>
                  <a:lnTo>
                    <a:pt x="715" y="186"/>
                  </a:lnTo>
                  <a:lnTo>
                    <a:pt x="718" y="187"/>
                  </a:lnTo>
                  <a:lnTo>
                    <a:pt x="719" y="187"/>
                  </a:lnTo>
                  <a:lnTo>
                    <a:pt x="722" y="190"/>
                  </a:lnTo>
                  <a:lnTo>
                    <a:pt x="722" y="192"/>
                  </a:lnTo>
                  <a:lnTo>
                    <a:pt x="721" y="193"/>
                  </a:lnTo>
                  <a:lnTo>
                    <a:pt x="721" y="195"/>
                  </a:lnTo>
                  <a:lnTo>
                    <a:pt x="719" y="195"/>
                  </a:lnTo>
                  <a:lnTo>
                    <a:pt x="718" y="198"/>
                  </a:lnTo>
                  <a:lnTo>
                    <a:pt x="716" y="199"/>
                  </a:lnTo>
                  <a:lnTo>
                    <a:pt x="713" y="201"/>
                  </a:lnTo>
                  <a:lnTo>
                    <a:pt x="709" y="201"/>
                  </a:lnTo>
                  <a:lnTo>
                    <a:pt x="706" y="202"/>
                  </a:lnTo>
                  <a:lnTo>
                    <a:pt x="706" y="204"/>
                  </a:lnTo>
                  <a:lnTo>
                    <a:pt x="703" y="204"/>
                  </a:lnTo>
                  <a:lnTo>
                    <a:pt x="703" y="202"/>
                  </a:lnTo>
                  <a:lnTo>
                    <a:pt x="701" y="202"/>
                  </a:lnTo>
                  <a:lnTo>
                    <a:pt x="694" y="201"/>
                  </a:lnTo>
                  <a:lnTo>
                    <a:pt x="691" y="199"/>
                  </a:lnTo>
                  <a:lnTo>
                    <a:pt x="689" y="199"/>
                  </a:lnTo>
                  <a:lnTo>
                    <a:pt x="689" y="198"/>
                  </a:lnTo>
                  <a:lnTo>
                    <a:pt x="688" y="198"/>
                  </a:lnTo>
                  <a:lnTo>
                    <a:pt x="686" y="195"/>
                  </a:lnTo>
                  <a:lnTo>
                    <a:pt x="685" y="195"/>
                  </a:lnTo>
                  <a:lnTo>
                    <a:pt x="685" y="193"/>
                  </a:lnTo>
                  <a:lnTo>
                    <a:pt x="683" y="192"/>
                  </a:lnTo>
                  <a:lnTo>
                    <a:pt x="682" y="189"/>
                  </a:lnTo>
                  <a:lnTo>
                    <a:pt x="680" y="189"/>
                  </a:lnTo>
                  <a:lnTo>
                    <a:pt x="679" y="187"/>
                  </a:lnTo>
                  <a:lnTo>
                    <a:pt x="678" y="187"/>
                  </a:lnTo>
                  <a:lnTo>
                    <a:pt x="678" y="186"/>
                  </a:lnTo>
                  <a:lnTo>
                    <a:pt x="675" y="186"/>
                  </a:lnTo>
                  <a:lnTo>
                    <a:pt x="673" y="184"/>
                  </a:lnTo>
                  <a:lnTo>
                    <a:pt x="670" y="183"/>
                  </a:lnTo>
                  <a:lnTo>
                    <a:pt x="669" y="183"/>
                  </a:lnTo>
                  <a:lnTo>
                    <a:pt x="669" y="180"/>
                  </a:lnTo>
                  <a:lnTo>
                    <a:pt x="667" y="180"/>
                  </a:lnTo>
                  <a:lnTo>
                    <a:pt x="667" y="178"/>
                  </a:lnTo>
                  <a:lnTo>
                    <a:pt x="666" y="180"/>
                  </a:lnTo>
                  <a:lnTo>
                    <a:pt x="664" y="180"/>
                  </a:lnTo>
                  <a:lnTo>
                    <a:pt x="663" y="178"/>
                  </a:lnTo>
                  <a:lnTo>
                    <a:pt x="657" y="178"/>
                  </a:lnTo>
                  <a:lnTo>
                    <a:pt x="657" y="180"/>
                  </a:lnTo>
                  <a:lnTo>
                    <a:pt x="655" y="180"/>
                  </a:lnTo>
                  <a:lnTo>
                    <a:pt x="654" y="178"/>
                  </a:lnTo>
                  <a:lnTo>
                    <a:pt x="646" y="178"/>
                  </a:lnTo>
                  <a:lnTo>
                    <a:pt x="645" y="177"/>
                  </a:lnTo>
                  <a:lnTo>
                    <a:pt x="642" y="177"/>
                  </a:lnTo>
                  <a:lnTo>
                    <a:pt x="639" y="175"/>
                  </a:lnTo>
                  <a:lnTo>
                    <a:pt x="639" y="172"/>
                  </a:lnTo>
                  <a:lnTo>
                    <a:pt x="637" y="172"/>
                  </a:lnTo>
                  <a:lnTo>
                    <a:pt x="637" y="171"/>
                  </a:lnTo>
                  <a:lnTo>
                    <a:pt x="636" y="171"/>
                  </a:lnTo>
                  <a:lnTo>
                    <a:pt x="636" y="169"/>
                  </a:lnTo>
                  <a:lnTo>
                    <a:pt x="634" y="169"/>
                  </a:lnTo>
                  <a:lnTo>
                    <a:pt x="636" y="168"/>
                  </a:lnTo>
                  <a:lnTo>
                    <a:pt x="636" y="166"/>
                  </a:lnTo>
                  <a:lnTo>
                    <a:pt x="639" y="163"/>
                  </a:lnTo>
                  <a:lnTo>
                    <a:pt x="642" y="163"/>
                  </a:lnTo>
                  <a:lnTo>
                    <a:pt x="643" y="162"/>
                  </a:lnTo>
                  <a:lnTo>
                    <a:pt x="646" y="162"/>
                  </a:lnTo>
                  <a:lnTo>
                    <a:pt x="648" y="160"/>
                  </a:lnTo>
                  <a:lnTo>
                    <a:pt x="664" y="160"/>
                  </a:lnTo>
                  <a:lnTo>
                    <a:pt x="667" y="159"/>
                  </a:lnTo>
                  <a:lnTo>
                    <a:pt x="669" y="159"/>
                  </a:lnTo>
                  <a:lnTo>
                    <a:pt x="669" y="160"/>
                  </a:lnTo>
                  <a:lnTo>
                    <a:pt x="675" y="162"/>
                  </a:lnTo>
                  <a:lnTo>
                    <a:pt x="676" y="160"/>
                  </a:lnTo>
                  <a:lnTo>
                    <a:pt x="680" y="157"/>
                  </a:lnTo>
                  <a:close/>
                  <a:moveTo>
                    <a:pt x="908" y="142"/>
                  </a:moveTo>
                  <a:lnTo>
                    <a:pt x="909" y="142"/>
                  </a:lnTo>
                  <a:lnTo>
                    <a:pt x="909" y="147"/>
                  </a:lnTo>
                  <a:lnTo>
                    <a:pt x="912" y="147"/>
                  </a:lnTo>
                  <a:lnTo>
                    <a:pt x="914" y="145"/>
                  </a:lnTo>
                  <a:lnTo>
                    <a:pt x="915" y="145"/>
                  </a:lnTo>
                  <a:lnTo>
                    <a:pt x="915" y="144"/>
                  </a:lnTo>
                  <a:lnTo>
                    <a:pt x="920" y="144"/>
                  </a:lnTo>
                  <a:lnTo>
                    <a:pt x="920" y="153"/>
                  </a:lnTo>
                  <a:lnTo>
                    <a:pt x="918" y="151"/>
                  </a:lnTo>
                  <a:lnTo>
                    <a:pt x="918" y="153"/>
                  </a:lnTo>
                  <a:lnTo>
                    <a:pt x="914" y="153"/>
                  </a:lnTo>
                  <a:lnTo>
                    <a:pt x="914" y="151"/>
                  </a:lnTo>
                  <a:lnTo>
                    <a:pt x="912" y="153"/>
                  </a:lnTo>
                  <a:lnTo>
                    <a:pt x="911" y="153"/>
                  </a:lnTo>
                  <a:lnTo>
                    <a:pt x="911" y="157"/>
                  </a:lnTo>
                  <a:lnTo>
                    <a:pt x="912" y="157"/>
                  </a:lnTo>
                  <a:lnTo>
                    <a:pt x="912" y="159"/>
                  </a:lnTo>
                  <a:lnTo>
                    <a:pt x="914" y="159"/>
                  </a:lnTo>
                  <a:lnTo>
                    <a:pt x="914" y="160"/>
                  </a:lnTo>
                  <a:lnTo>
                    <a:pt x="915" y="162"/>
                  </a:lnTo>
                  <a:lnTo>
                    <a:pt x="915" y="166"/>
                  </a:lnTo>
                  <a:lnTo>
                    <a:pt x="914" y="166"/>
                  </a:lnTo>
                  <a:lnTo>
                    <a:pt x="912" y="168"/>
                  </a:lnTo>
                  <a:lnTo>
                    <a:pt x="912" y="174"/>
                  </a:lnTo>
                  <a:lnTo>
                    <a:pt x="908" y="177"/>
                  </a:lnTo>
                  <a:lnTo>
                    <a:pt x="902" y="183"/>
                  </a:lnTo>
                  <a:lnTo>
                    <a:pt x="902" y="184"/>
                  </a:lnTo>
                  <a:lnTo>
                    <a:pt x="900" y="186"/>
                  </a:lnTo>
                  <a:lnTo>
                    <a:pt x="899" y="186"/>
                  </a:lnTo>
                  <a:lnTo>
                    <a:pt x="896" y="187"/>
                  </a:lnTo>
                  <a:lnTo>
                    <a:pt x="891" y="192"/>
                  </a:lnTo>
                  <a:lnTo>
                    <a:pt x="891" y="193"/>
                  </a:lnTo>
                  <a:lnTo>
                    <a:pt x="887" y="198"/>
                  </a:lnTo>
                  <a:lnTo>
                    <a:pt x="872" y="198"/>
                  </a:lnTo>
                  <a:lnTo>
                    <a:pt x="870" y="201"/>
                  </a:lnTo>
                  <a:lnTo>
                    <a:pt x="869" y="201"/>
                  </a:lnTo>
                  <a:lnTo>
                    <a:pt x="869" y="202"/>
                  </a:lnTo>
                  <a:lnTo>
                    <a:pt x="867" y="202"/>
                  </a:lnTo>
                  <a:lnTo>
                    <a:pt x="858" y="207"/>
                  </a:lnTo>
                  <a:lnTo>
                    <a:pt x="852" y="207"/>
                  </a:lnTo>
                  <a:lnTo>
                    <a:pt x="851" y="205"/>
                  </a:lnTo>
                  <a:lnTo>
                    <a:pt x="851" y="207"/>
                  </a:lnTo>
                  <a:lnTo>
                    <a:pt x="849" y="207"/>
                  </a:lnTo>
                  <a:lnTo>
                    <a:pt x="848" y="205"/>
                  </a:lnTo>
                  <a:lnTo>
                    <a:pt x="845" y="205"/>
                  </a:lnTo>
                  <a:lnTo>
                    <a:pt x="843" y="207"/>
                  </a:lnTo>
                  <a:lnTo>
                    <a:pt x="842" y="207"/>
                  </a:lnTo>
                  <a:lnTo>
                    <a:pt x="843" y="205"/>
                  </a:lnTo>
                  <a:lnTo>
                    <a:pt x="843" y="201"/>
                  </a:lnTo>
                  <a:lnTo>
                    <a:pt x="846" y="198"/>
                  </a:lnTo>
                  <a:lnTo>
                    <a:pt x="848" y="198"/>
                  </a:lnTo>
                  <a:lnTo>
                    <a:pt x="849" y="196"/>
                  </a:lnTo>
                  <a:lnTo>
                    <a:pt x="851" y="196"/>
                  </a:lnTo>
                  <a:lnTo>
                    <a:pt x="855" y="195"/>
                  </a:lnTo>
                  <a:lnTo>
                    <a:pt x="857" y="193"/>
                  </a:lnTo>
                  <a:lnTo>
                    <a:pt x="855" y="192"/>
                  </a:lnTo>
                  <a:lnTo>
                    <a:pt x="854" y="192"/>
                  </a:lnTo>
                  <a:lnTo>
                    <a:pt x="852" y="190"/>
                  </a:lnTo>
                  <a:lnTo>
                    <a:pt x="851" y="190"/>
                  </a:lnTo>
                  <a:lnTo>
                    <a:pt x="851" y="192"/>
                  </a:lnTo>
                  <a:lnTo>
                    <a:pt x="848" y="192"/>
                  </a:lnTo>
                  <a:lnTo>
                    <a:pt x="848" y="186"/>
                  </a:lnTo>
                  <a:lnTo>
                    <a:pt x="849" y="186"/>
                  </a:lnTo>
                  <a:lnTo>
                    <a:pt x="851" y="184"/>
                  </a:lnTo>
                  <a:lnTo>
                    <a:pt x="851" y="178"/>
                  </a:lnTo>
                  <a:lnTo>
                    <a:pt x="852" y="178"/>
                  </a:lnTo>
                  <a:lnTo>
                    <a:pt x="852" y="172"/>
                  </a:lnTo>
                  <a:lnTo>
                    <a:pt x="857" y="168"/>
                  </a:lnTo>
                  <a:lnTo>
                    <a:pt x="858" y="168"/>
                  </a:lnTo>
                  <a:lnTo>
                    <a:pt x="858" y="166"/>
                  </a:lnTo>
                  <a:lnTo>
                    <a:pt x="861" y="166"/>
                  </a:lnTo>
                  <a:lnTo>
                    <a:pt x="863" y="163"/>
                  </a:lnTo>
                  <a:lnTo>
                    <a:pt x="866" y="160"/>
                  </a:lnTo>
                  <a:lnTo>
                    <a:pt x="866" y="159"/>
                  </a:lnTo>
                  <a:lnTo>
                    <a:pt x="869" y="159"/>
                  </a:lnTo>
                  <a:lnTo>
                    <a:pt x="870" y="162"/>
                  </a:lnTo>
                  <a:lnTo>
                    <a:pt x="872" y="163"/>
                  </a:lnTo>
                  <a:lnTo>
                    <a:pt x="873" y="163"/>
                  </a:lnTo>
                  <a:lnTo>
                    <a:pt x="873" y="162"/>
                  </a:lnTo>
                  <a:lnTo>
                    <a:pt x="875" y="160"/>
                  </a:lnTo>
                  <a:lnTo>
                    <a:pt x="876" y="160"/>
                  </a:lnTo>
                  <a:lnTo>
                    <a:pt x="878" y="162"/>
                  </a:lnTo>
                  <a:lnTo>
                    <a:pt x="878" y="163"/>
                  </a:lnTo>
                  <a:lnTo>
                    <a:pt x="879" y="163"/>
                  </a:lnTo>
                  <a:lnTo>
                    <a:pt x="879" y="166"/>
                  </a:lnTo>
                  <a:lnTo>
                    <a:pt x="882" y="166"/>
                  </a:lnTo>
                  <a:lnTo>
                    <a:pt x="882" y="160"/>
                  </a:lnTo>
                  <a:lnTo>
                    <a:pt x="884" y="160"/>
                  </a:lnTo>
                  <a:lnTo>
                    <a:pt x="887" y="157"/>
                  </a:lnTo>
                  <a:lnTo>
                    <a:pt x="887" y="156"/>
                  </a:lnTo>
                  <a:lnTo>
                    <a:pt x="888" y="153"/>
                  </a:lnTo>
                  <a:lnTo>
                    <a:pt x="888" y="151"/>
                  </a:lnTo>
                  <a:lnTo>
                    <a:pt x="894" y="151"/>
                  </a:lnTo>
                  <a:lnTo>
                    <a:pt x="899" y="147"/>
                  </a:lnTo>
                  <a:lnTo>
                    <a:pt x="902" y="145"/>
                  </a:lnTo>
                  <a:lnTo>
                    <a:pt x="903" y="144"/>
                  </a:lnTo>
                  <a:lnTo>
                    <a:pt x="906" y="144"/>
                  </a:lnTo>
                  <a:lnTo>
                    <a:pt x="908" y="142"/>
                  </a:lnTo>
                  <a:close/>
                  <a:moveTo>
                    <a:pt x="479" y="127"/>
                  </a:moveTo>
                  <a:lnTo>
                    <a:pt x="480" y="129"/>
                  </a:lnTo>
                  <a:lnTo>
                    <a:pt x="482" y="129"/>
                  </a:lnTo>
                  <a:lnTo>
                    <a:pt x="482" y="132"/>
                  </a:lnTo>
                  <a:lnTo>
                    <a:pt x="483" y="133"/>
                  </a:lnTo>
                  <a:lnTo>
                    <a:pt x="482" y="133"/>
                  </a:lnTo>
                  <a:lnTo>
                    <a:pt x="482" y="135"/>
                  </a:lnTo>
                  <a:lnTo>
                    <a:pt x="480" y="135"/>
                  </a:lnTo>
                  <a:lnTo>
                    <a:pt x="477" y="132"/>
                  </a:lnTo>
                  <a:lnTo>
                    <a:pt x="476" y="132"/>
                  </a:lnTo>
                  <a:lnTo>
                    <a:pt x="476" y="130"/>
                  </a:lnTo>
                  <a:lnTo>
                    <a:pt x="477" y="129"/>
                  </a:lnTo>
                  <a:lnTo>
                    <a:pt x="479" y="129"/>
                  </a:lnTo>
                  <a:lnTo>
                    <a:pt x="479" y="127"/>
                  </a:lnTo>
                  <a:close/>
                  <a:moveTo>
                    <a:pt x="824" y="117"/>
                  </a:moveTo>
                  <a:lnTo>
                    <a:pt x="829" y="117"/>
                  </a:lnTo>
                  <a:lnTo>
                    <a:pt x="830" y="118"/>
                  </a:lnTo>
                  <a:lnTo>
                    <a:pt x="829" y="118"/>
                  </a:lnTo>
                  <a:lnTo>
                    <a:pt x="827" y="120"/>
                  </a:lnTo>
                  <a:lnTo>
                    <a:pt x="823" y="120"/>
                  </a:lnTo>
                  <a:lnTo>
                    <a:pt x="821" y="121"/>
                  </a:lnTo>
                  <a:lnTo>
                    <a:pt x="820" y="124"/>
                  </a:lnTo>
                  <a:lnTo>
                    <a:pt x="818" y="124"/>
                  </a:lnTo>
                  <a:lnTo>
                    <a:pt x="817" y="126"/>
                  </a:lnTo>
                  <a:lnTo>
                    <a:pt x="815" y="124"/>
                  </a:lnTo>
                  <a:lnTo>
                    <a:pt x="817" y="121"/>
                  </a:lnTo>
                  <a:lnTo>
                    <a:pt x="821" y="118"/>
                  </a:lnTo>
                  <a:lnTo>
                    <a:pt x="823" y="118"/>
                  </a:lnTo>
                  <a:lnTo>
                    <a:pt x="824" y="117"/>
                  </a:lnTo>
                  <a:close/>
                  <a:moveTo>
                    <a:pt x="791" y="117"/>
                  </a:moveTo>
                  <a:lnTo>
                    <a:pt x="793" y="117"/>
                  </a:lnTo>
                  <a:lnTo>
                    <a:pt x="794" y="118"/>
                  </a:lnTo>
                  <a:lnTo>
                    <a:pt x="794" y="120"/>
                  </a:lnTo>
                  <a:lnTo>
                    <a:pt x="791" y="120"/>
                  </a:lnTo>
                  <a:lnTo>
                    <a:pt x="791" y="117"/>
                  </a:lnTo>
                  <a:close/>
                  <a:moveTo>
                    <a:pt x="657" y="117"/>
                  </a:moveTo>
                  <a:lnTo>
                    <a:pt x="658" y="117"/>
                  </a:lnTo>
                  <a:lnTo>
                    <a:pt x="660" y="118"/>
                  </a:lnTo>
                  <a:lnTo>
                    <a:pt x="660" y="120"/>
                  </a:lnTo>
                  <a:lnTo>
                    <a:pt x="664" y="120"/>
                  </a:lnTo>
                  <a:lnTo>
                    <a:pt x="664" y="124"/>
                  </a:lnTo>
                  <a:lnTo>
                    <a:pt x="661" y="124"/>
                  </a:lnTo>
                  <a:lnTo>
                    <a:pt x="661" y="123"/>
                  </a:lnTo>
                  <a:lnTo>
                    <a:pt x="660" y="124"/>
                  </a:lnTo>
                  <a:lnTo>
                    <a:pt x="658" y="124"/>
                  </a:lnTo>
                  <a:lnTo>
                    <a:pt x="660" y="126"/>
                  </a:lnTo>
                  <a:lnTo>
                    <a:pt x="660" y="127"/>
                  </a:lnTo>
                  <a:lnTo>
                    <a:pt x="658" y="127"/>
                  </a:lnTo>
                  <a:lnTo>
                    <a:pt x="658" y="130"/>
                  </a:lnTo>
                  <a:lnTo>
                    <a:pt x="660" y="132"/>
                  </a:lnTo>
                  <a:lnTo>
                    <a:pt x="658" y="132"/>
                  </a:lnTo>
                  <a:lnTo>
                    <a:pt x="657" y="130"/>
                  </a:lnTo>
                  <a:lnTo>
                    <a:pt x="655" y="132"/>
                  </a:lnTo>
                  <a:lnTo>
                    <a:pt x="655" y="130"/>
                  </a:lnTo>
                  <a:lnTo>
                    <a:pt x="657" y="129"/>
                  </a:lnTo>
                  <a:lnTo>
                    <a:pt x="657" y="126"/>
                  </a:lnTo>
                  <a:lnTo>
                    <a:pt x="655" y="126"/>
                  </a:lnTo>
                  <a:lnTo>
                    <a:pt x="655" y="123"/>
                  </a:lnTo>
                  <a:lnTo>
                    <a:pt x="657" y="123"/>
                  </a:lnTo>
                  <a:lnTo>
                    <a:pt x="657" y="117"/>
                  </a:lnTo>
                  <a:close/>
                  <a:moveTo>
                    <a:pt x="375" y="117"/>
                  </a:moveTo>
                  <a:lnTo>
                    <a:pt x="378" y="118"/>
                  </a:lnTo>
                  <a:lnTo>
                    <a:pt x="381" y="118"/>
                  </a:lnTo>
                  <a:lnTo>
                    <a:pt x="381" y="120"/>
                  </a:lnTo>
                  <a:lnTo>
                    <a:pt x="375" y="120"/>
                  </a:lnTo>
                  <a:lnTo>
                    <a:pt x="375" y="117"/>
                  </a:lnTo>
                  <a:close/>
                  <a:moveTo>
                    <a:pt x="760" y="111"/>
                  </a:moveTo>
                  <a:lnTo>
                    <a:pt x="764" y="111"/>
                  </a:lnTo>
                  <a:lnTo>
                    <a:pt x="764" y="112"/>
                  </a:lnTo>
                  <a:lnTo>
                    <a:pt x="763" y="114"/>
                  </a:lnTo>
                  <a:lnTo>
                    <a:pt x="761" y="114"/>
                  </a:lnTo>
                  <a:lnTo>
                    <a:pt x="761" y="112"/>
                  </a:lnTo>
                  <a:lnTo>
                    <a:pt x="760" y="111"/>
                  </a:lnTo>
                  <a:close/>
                  <a:moveTo>
                    <a:pt x="829" y="108"/>
                  </a:moveTo>
                  <a:lnTo>
                    <a:pt x="835" y="108"/>
                  </a:lnTo>
                  <a:lnTo>
                    <a:pt x="836" y="109"/>
                  </a:lnTo>
                  <a:lnTo>
                    <a:pt x="838" y="109"/>
                  </a:lnTo>
                  <a:lnTo>
                    <a:pt x="838" y="111"/>
                  </a:lnTo>
                  <a:lnTo>
                    <a:pt x="836" y="111"/>
                  </a:lnTo>
                  <a:lnTo>
                    <a:pt x="836" y="115"/>
                  </a:lnTo>
                  <a:lnTo>
                    <a:pt x="826" y="115"/>
                  </a:lnTo>
                  <a:lnTo>
                    <a:pt x="823" y="117"/>
                  </a:lnTo>
                  <a:lnTo>
                    <a:pt x="823" y="112"/>
                  </a:lnTo>
                  <a:lnTo>
                    <a:pt x="827" y="109"/>
                  </a:lnTo>
                  <a:lnTo>
                    <a:pt x="829" y="108"/>
                  </a:lnTo>
                  <a:close/>
                  <a:moveTo>
                    <a:pt x="1056" y="106"/>
                  </a:moveTo>
                  <a:lnTo>
                    <a:pt x="1057" y="108"/>
                  </a:lnTo>
                  <a:lnTo>
                    <a:pt x="1059" y="106"/>
                  </a:lnTo>
                  <a:lnTo>
                    <a:pt x="1060" y="106"/>
                  </a:lnTo>
                  <a:lnTo>
                    <a:pt x="1060" y="108"/>
                  </a:lnTo>
                  <a:lnTo>
                    <a:pt x="1062" y="109"/>
                  </a:lnTo>
                  <a:lnTo>
                    <a:pt x="1060" y="109"/>
                  </a:lnTo>
                  <a:lnTo>
                    <a:pt x="1060" y="111"/>
                  </a:lnTo>
                  <a:lnTo>
                    <a:pt x="1056" y="111"/>
                  </a:lnTo>
                  <a:lnTo>
                    <a:pt x="1056" y="109"/>
                  </a:lnTo>
                  <a:lnTo>
                    <a:pt x="1054" y="109"/>
                  </a:lnTo>
                  <a:lnTo>
                    <a:pt x="1054" y="108"/>
                  </a:lnTo>
                  <a:lnTo>
                    <a:pt x="1056" y="108"/>
                  </a:lnTo>
                  <a:lnTo>
                    <a:pt x="1056" y="106"/>
                  </a:lnTo>
                  <a:close/>
                  <a:moveTo>
                    <a:pt x="820" y="106"/>
                  </a:moveTo>
                  <a:lnTo>
                    <a:pt x="821" y="109"/>
                  </a:lnTo>
                  <a:lnTo>
                    <a:pt x="823" y="109"/>
                  </a:lnTo>
                  <a:lnTo>
                    <a:pt x="823" y="112"/>
                  </a:lnTo>
                  <a:lnTo>
                    <a:pt x="818" y="112"/>
                  </a:lnTo>
                  <a:lnTo>
                    <a:pt x="818" y="114"/>
                  </a:lnTo>
                  <a:lnTo>
                    <a:pt x="817" y="114"/>
                  </a:lnTo>
                  <a:lnTo>
                    <a:pt x="817" y="118"/>
                  </a:lnTo>
                  <a:lnTo>
                    <a:pt x="814" y="118"/>
                  </a:lnTo>
                  <a:lnTo>
                    <a:pt x="814" y="117"/>
                  </a:lnTo>
                  <a:lnTo>
                    <a:pt x="812" y="117"/>
                  </a:lnTo>
                  <a:lnTo>
                    <a:pt x="812" y="120"/>
                  </a:lnTo>
                  <a:lnTo>
                    <a:pt x="814" y="123"/>
                  </a:lnTo>
                  <a:lnTo>
                    <a:pt x="814" y="124"/>
                  </a:lnTo>
                  <a:lnTo>
                    <a:pt x="812" y="126"/>
                  </a:lnTo>
                  <a:lnTo>
                    <a:pt x="809" y="126"/>
                  </a:lnTo>
                  <a:lnTo>
                    <a:pt x="809" y="127"/>
                  </a:lnTo>
                  <a:lnTo>
                    <a:pt x="806" y="126"/>
                  </a:lnTo>
                  <a:lnTo>
                    <a:pt x="806" y="127"/>
                  </a:lnTo>
                  <a:lnTo>
                    <a:pt x="805" y="127"/>
                  </a:lnTo>
                  <a:lnTo>
                    <a:pt x="802" y="129"/>
                  </a:lnTo>
                  <a:lnTo>
                    <a:pt x="800" y="129"/>
                  </a:lnTo>
                  <a:lnTo>
                    <a:pt x="800" y="130"/>
                  </a:lnTo>
                  <a:lnTo>
                    <a:pt x="799" y="130"/>
                  </a:lnTo>
                  <a:lnTo>
                    <a:pt x="796" y="132"/>
                  </a:lnTo>
                  <a:lnTo>
                    <a:pt x="785" y="132"/>
                  </a:lnTo>
                  <a:lnTo>
                    <a:pt x="782" y="130"/>
                  </a:lnTo>
                  <a:lnTo>
                    <a:pt x="781" y="130"/>
                  </a:lnTo>
                  <a:lnTo>
                    <a:pt x="776" y="135"/>
                  </a:lnTo>
                  <a:lnTo>
                    <a:pt x="770" y="136"/>
                  </a:lnTo>
                  <a:lnTo>
                    <a:pt x="767" y="136"/>
                  </a:lnTo>
                  <a:lnTo>
                    <a:pt x="766" y="138"/>
                  </a:lnTo>
                  <a:lnTo>
                    <a:pt x="763" y="138"/>
                  </a:lnTo>
                  <a:lnTo>
                    <a:pt x="761" y="136"/>
                  </a:lnTo>
                  <a:lnTo>
                    <a:pt x="760" y="136"/>
                  </a:lnTo>
                  <a:lnTo>
                    <a:pt x="760" y="139"/>
                  </a:lnTo>
                  <a:lnTo>
                    <a:pt x="758" y="139"/>
                  </a:lnTo>
                  <a:lnTo>
                    <a:pt x="758" y="136"/>
                  </a:lnTo>
                  <a:lnTo>
                    <a:pt x="757" y="135"/>
                  </a:lnTo>
                  <a:lnTo>
                    <a:pt x="751" y="135"/>
                  </a:lnTo>
                  <a:lnTo>
                    <a:pt x="749" y="133"/>
                  </a:lnTo>
                  <a:lnTo>
                    <a:pt x="748" y="133"/>
                  </a:lnTo>
                  <a:lnTo>
                    <a:pt x="746" y="135"/>
                  </a:lnTo>
                  <a:lnTo>
                    <a:pt x="746" y="138"/>
                  </a:lnTo>
                  <a:lnTo>
                    <a:pt x="745" y="139"/>
                  </a:lnTo>
                  <a:lnTo>
                    <a:pt x="743" y="139"/>
                  </a:lnTo>
                  <a:lnTo>
                    <a:pt x="739" y="138"/>
                  </a:lnTo>
                  <a:lnTo>
                    <a:pt x="737" y="138"/>
                  </a:lnTo>
                  <a:lnTo>
                    <a:pt x="736" y="139"/>
                  </a:lnTo>
                  <a:lnTo>
                    <a:pt x="733" y="141"/>
                  </a:lnTo>
                  <a:lnTo>
                    <a:pt x="728" y="141"/>
                  </a:lnTo>
                  <a:lnTo>
                    <a:pt x="727" y="139"/>
                  </a:lnTo>
                  <a:lnTo>
                    <a:pt x="725" y="139"/>
                  </a:lnTo>
                  <a:lnTo>
                    <a:pt x="722" y="138"/>
                  </a:lnTo>
                  <a:lnTo>
                    <a:pt x="722" y="135"/>
                  </a:lnTo>
                  <a:lnTo>
                    <a:pt x="719" y="135"/>
                  </a:lnTo>
                  <a:lnTo>
                    <a:pt x="719" y="136"/>
                  </a:lnTo>
                  <a:lnTo>
                    <a:pt x="718" y="138"/>
                  </a:lnTo>
                  <a:lnTo>
                    <a:pt x="716" y="138"/>
                  </a:lnTo>
                  <a:lnTo>
                    <a:pt x="716" y="136"/>
                  </a:lnTo>
                  <a:lnTo>
                    <a:pt x="713" y="136"/>
                  </a:lnTo>
                  <a:lnTo>
                    <a:pt x="712" y="135"/>
                  </a:lnTo>
                  <a:lnTo>
                    <a:pt x="710" y="135"/>
                  </a:lnTo>
                  <a:lnTo>
                    <a:pt x="710" y="133"/>
                  </a:lnTo>
                  <a:lnTo>
                    <a:pt x="707" y="133"/>
                  </a:lnTo>
                  <a:lnTo>
                    <a:pt x="706" y="135"/>
                  </a:lnTo>
                  <a:lnTo>
                    <a:pt x="704" y="135"/>
                  </a:lnTo>
                  <a:lnTo>
                    <a:pt x="703" y="133"/>
                  </a:lnTo>
                  <a:lnTo>
                    <a:pt x="701" y="135"/>
                  </a:lnTo>
                  <a:lnTo>
                    <a:pt x="701" y="133"/>
                  </a:lnTo>
                  <a:lnTo>
                    <a:pt x="698" y="135"/>
                  </a:lnTo>
                  <a:lnTo>
                    <a:pt x="694" y="135"/>
                  </a:lnTo>
                  <a:lnTo>
                    <a:pt x="692" y="133"/>
                  </a:lnTo>
                  <a:lnTo>
                    <a:pt x="688" y="133"/>
                  </a:lnTo>
                  <a:lnTo>
                    <a:pt x="686" y="135"/>
                  </a:lnTo>
                  <a:lnTo>
                    <a:pt x="682" y="135"/>
                  </a:lnTo>
                  <a:lnTo>
                    <a:pt x="680" y="136"/>
                  </a:lnTo>
                  <a:lnTo>
                    <a:pt x="680" y="138"/>
                  </a:lnTo>
                  <a:lnTo>
                    <a:pt x="679" y="138"/>
                  </a:lnTo>
                  <a:lnTo>
                    <a:pt x="679" y="135"/>
                  </a:lnTo>
                  <a:lnTo>
                    <a:pt x="678" y="135"/>
                  </a:lnTo>
                  <a:lnTo>
                    <a:pt x="675" y="132"/>
                  </a:lnTo>
                  <a:lnTo>
                    <a:pt x="675" y="127"/>
                  </a:lnTo>
                  <a:lnTo>
                    <a:pt x="673" y="127"/>
                  </a:lnTo>
                  <a:lnTo>
                    <a:pt x="672" y="129"/>
                  </a:lnTo>
                  <a:lnTo>
                    <a:pt x="670" y="129"/>
                  </a:lnTo>
                  <a:lnTo>
                    <a:pt x="670" y="130"/>
                  </a:lnTo>
                  <a:lnTo>
                    <a:pt x="672" y="132"/>
                  </a:lnTo>
                  <a:lnTo>
                    <a:pt x="670" y="133"/>
                  </a:lnTo>
                  <a:lnTo>
                    <a:pt x="670" y="135"/>
                  </a:lnTo>
                  <a:lnTo>
                    <a:pt x="669" y="135"/>
                  </a:lnTo>
                  <a:lnTo>
                    <a:pt x="669" y="133"/>
                  </a:lnTo>
                  <a:lnTo>
                    <a:pt x="666" y="133"/>
                  </a:lnTo>
                  <a:lnTo>
                    <a:pt x="666" y="130"/>
                  </a:lnTo>
                  <a:lnTo>
                    <a:pt x="667" y="130"/>
                  </a:lnTo>
                  <a:lnTo>
                    <a:pt x="667" y="126"/>
                  </a:lnTo>
                  <a:lnTo>
                    <a:pt x="669" y="126"/>
                  </a:lnTo>
                  <a:lnTo>
                    <a:pt x="669" y="127"/>
                  </a:lnTo>
                  <a:lnTo>
                    <a:pt x="670" y="127"/>
                  </a:lnTo>
                  <a:lnTo>
                    <a:pt x="672" y="126"/>
                  </a:lnTo>
                  <a:lnTo>
                    <a:pt x="675" y="126"/>
                  </a:lnTo>
                  <a:lnTo>
                    <a:pt x="675" y="123"/>
                  </a:lnTo>
                  <a:lnTo>
                    <a:pt x="676" y="123"/>
                  </a:lnTo>
                  <a:lnTo>
                    <a:pt x="678" y="120"/>
                  </a:lnTo>
                  <a:lnTo>
                    <a:pt x="678" y="117"/>
                  </a:lnTo>
                  <a:lnTo>
                    <a:pt x="679" y="118"/>
                  </a:lnTo>
                  <a:lnTo>
                    <a:pt x="680" y="118"/>
                  </a:lnTo>
                  <a:lnTo>
                    <a:pt x="682" y="117"/>
                  </a:lnTo>
                  <a:lnTo>
                    <a:pt x="683" y="117"/>
                  </a:lnTo>
                  <a:lnTo>
                    <a:pt x="683" y="115"/>
                  </a:lnTo>
                  <a:lnTo>
                    <a:pt x="689" y="115"/>
                  </a:lnTo>
                  <a:lnTo>
                    <a:pt x="689" y="114"/>
                  </a:lnTo>
                  <a:lnTo>
                    <a:pt x="691" y="114"/>
                  </a:lnTo>
                  <a:lnTo>
                    <a:pt x="692" y="112"/>
                  </a:lnTo>
                  <a:lnTo>
                    <a:pt x="692" y="111"/>
                  </a:lnTo>
                  <a:lnTo>
                    <a:pt x="694" y="111"/>
                  </a:lnTo>
                  <a:lnTo>
                    <a:pt x="697" y="109"/>
                  </a:lnTo>
                  <a:lnTo>
                    <a:pt x="701" y="109"/>
                  </a:lnTo>
                  <a:lnTo>
                    <a:pt x="703" y="108"/>
                  </a:lnTo>
                  <a:lnTo>
                    <a:pt x="704" y="108"/>
                  </a:lnTo>
                  <a:lnTo>
                    <a:pt x="704" y="109"/>
                  </a:lnTo>
                  <a:lnTo>
                    <a:pt x="709" y="109"/>
                  </a:lnTo>
                  <a:lnTo>
                    <a:pt x="709" y="111"/>
                  </a:lnTo>
                  <a:lnTo>
                    <a:pt x="710" y="111"/>
                  </a:lnTo>
                  <a:lnTo>
                    <a:pt x="710" y="108"/>
                  </a:lnTo>
                  <a:lnTo>
                    <a:pt x="713" y="109"/>
                  </a:lnTo>
                  <a:lnTo>
                    <a:pt x="716" y="112"/>
                  </a:lnTo>
                  <a:lnTo>
                    <a:pt x="728" y="112"/>
                  </a:lnTo>
                  <a:lnTo>
                    <a:pt x="730" y="114"/>
                  </a:lnTo>
                  <a:lnTo>
                    <a:pt x="730" y="115"/>
                  </a:lnTo>
                  <a:lnTo>
                    <a:pt x="731" y="115"/>
                  </a:lnTo>
                  <a:lnTo>
                    <a:pt x="734" y="117"/>
                  </a:lnTo>
                  <a:lnTo>
                    <a:pt x="739" y="117"/>
                  </a:lnTo>
                  <a:lnTo>
                    <a:pt x="739" y="118"/>
                  </a:lnTo>
                  <a:lnTo>
                    <a:pt x="742" y="118"/>
                  </a:lnTo>
                  <a:lnTo>
                    <a:pt x="743" y="120"/>
                  </a:lnTo>
                  <a:lnTo>
                    <a:pt x="743" y="121"/>
                  </a:lnTo>
                  <a:lnTo>
                    <a:pt x="745" y="121"/>
                  </a:lnTo>
                  <a:lnTo>
                    <a:pt x="746" y="124"/>
                  </a:lnTo>
                  <a:lnTo>
                    <a:pt x="749" y="124"/>
                  </a:lnTo>
                  <a:lnTo>
                    <a:pt x="751" y="123"/>
                  </a:lnTo>
                  <a:lnTo>
                    <a:pt x="752" y="124"/>
                  </a:lnTo>
                  <a:lnTo>
                    <a:pt x="754" y="124"/>
                  </a:lnTo>
                  <a:lnTo>
                    <a:pt x="755" y="123"/>
                  </a:lnTo>
                  <a:lnTo>
                    <a:pt x="755" y="121"/>
                  </a:lnTo>
                  <a:lnTo>
                    <a:pt x="757" y="121"/>
                  </a:lnTo>
                  <a:lnTo>
                    <a:pt x="757" y="120"/>
                  </a:lnTo>
                  <a:lnTo>
                    <a:pt x="758" y="118"/>
                  </a:lnTo>
                  <a:lnTo>
                    <a:pt x="761" y="121"/>
                  </a:lnTo>
                  <a:lnTo>
                    <a:pt x="764" y="120"/>
                  </a:lnTo>
                  <a:lnTo>
                    <a:pt x="767" y="120"/>
                  </a:lnTo>
                  <a:lnTo>
                    <a:pt x="767" y="118"/>
                  </a:lnTo>
                  <a:lnTo>
                    <a:pt x="769" y="120"/>
                  </a:lnTo>
                  <a:lnTo>
                    <a:pt x="770" y="120"/>
                  </a:lnTo>
                  <a:lnTo>
                    <a:pt x="772" y="118"/>
                  </a:lnTo>
                  <a:lnTo>
                    <a:pt x="775" y="118"/>
                  </a:lnTo>
                  <a:lnTo>
                    <a:pt x="775" y="117"/>
                  </a:lnTo>
                  <a:lnTo>
                    <a:pt x="778" y="117"/>
                  </a:lnTo>
                  <a:lnTo>
                    <a:pt x="778" y="118"/>
                  </a:lnTo>
                  <a:lnTo>
                    <a:pt x="776" y="118"/>
                  </a:lnTo>
                  <a:lnTo>
                    <a:pt x="776" y="120"/>
                  </a:lnTo>
                  <a:lnTo>
                    <a:pt x="778" y="121"/>
                  </a:lnTo>
                  <a:lnTo>
                    <a:pt x="781" y="121"/>
                  </a:lnTo>
                  <a:lnTo>
                    <a:pt x="785" y="126"/>
                  </a:lnTo>
                  <a:lnTo>
                    <a:pt x="788" y="126"/>
                  </a:lnTo>
                  <a:lnTo>
                    <a:pt x="796" y="124"/>
                  </a:lnTo>
                  <a:lnTo>
                    <a:pt x="799" y="124"/>
                  </a:lnTo>
                  <a:lnTo>
                    <a:pt x="799" y="121"/>
                  </a:lnTo>
                  <a:lnTo>
                    <a:pt x="797" y="121"/>
                  </a:lnTo>
                  <a:lnTo>
                    <a:pt x="797" y="120"/>
                  </a:lnTo>
                  <a:lnTo>
                    <a:pt x="799" y="120"/>
                  </a:lnTo>
                  <a:lnTo>
                    <a:pt x="803" y="115"/>
                  </a:lnTo>
                  <a:lnTo>
                    <a:pt x="808" y="115"/>
                  </a:lnTo>
                  <a:lnTo>
                    <a:pt x="808" y="114"/>
                  </a:lnTo>
                  <a:lnTo>
                    <a:pt x="811" y="114"/>
                  </a:lnTo>
                  <a:lnTo>
                    <a:pt x="814" y="111"/>
                  </a:lnTo>
                  <a:lnTo>
                    <a:pt x="815" y="111"/>
                  </a:lnTo>
                  <a:lnTo>
                    <a:pt x="820" y="106"/>
                  </a:lnTo>
                  <a:close/>
                  <a:moveTo>
                    <a:pt x="517" y="106"/>
                  </a:moveTo>
                  <a:lnTo>
                    <a:pt x="519" y="108"/>
                  </a:lnTo>
                  <a:lnTo>
                    <a:pt x="525" y="108"/>
                  </a:lnTo>
                  <a:lnTo>
                    <a:pt x="525" y="109"/>
                  </a:lnTo>
                  <a:lnTo>
                    <a:pt x="529" y="109"/>
                  </a:lnTo>
                  <a:lnTo>
                    <a:pt x="534" y="114"/>
                  </a:lnTo>
                  <a:lnTo>
                    <a:pt x="534" y="115"/>
                  </a:lnTo>
                  <a:lnTo>
                    <a:pt x="532" y="118"/>
                  </a:lnTo>
                  <a:lnTo>
                    <a:pt x="531" y="118"/>
                  </a:lnTo>
                  <a:lnTo>
                    <a:pt x="531" y="124"/>
                  </a:lnTo>
                  <a:lnTo>
                    <a:pt x="529" y="126"/>
                  </a:lnTo>
                  <a:lnTo>
                    <a:pt x="528" y="126"/>
                  </a:lnTo>
                  <a:lnTo>
                    <a:pt x="528" y="127"/>
                  </a:lnTo>
                  <a:lnTo>
                    <a:pt x="526" y="129"/>
                  </a:lnTo>
                  <a:lnTo>
                    <a:pt x="525" y="132"/>
                  </a:lnTo>
                  <a:lnTo>
                    <a:pt x="523" y="133"/>
                  </a:lnTo>
                  <a:lnTo>
                    <a:pt x="523" y="136"/>
                  </a:lnTo>
                  <a:lnTo>
                    <a:pt x="526" y="136"/>
                  </a:lnTo>
                  <a:lnTo>
                    <a:pt x="526" y="138"/>
                  </a:lnTo>
                  <a:lnTo>
                    <a:pt x="523" y="139"/>
                  </a:lnTo>
                  <a:lnTo>
                    <a:pt x="520" y="139"/>
                  </a:lnTo>
                  <a:lnTo>
                    <a:pt x="520" y="138"/>
                  </a:lnTo>
                  <a:lnTo>
                    <a:pt x="522" y="136"/>
                  </a:lnTo>
                  <a:lnTo>
                    <a:pt x="517" y="136"/>
                  </a:lnTo>
                  <a:lnTo>
                    <a:pt x="517" y="138"/>
                  </a:lnTo>
                  <a:lnTo>
                    <a:pt x="519" y="139"/>
                  </a:lnTo>
                  <a:lnTo>
                    <a:pt x="519" y="141"/>
                  </a:lnTo>
                  <a:lnTo>
                    <a:pt x="517" y="141"/>
                  </a:lnTo>
                  <a:lnTo>
                    <a:pt x="517" y="139"/>
                  </a:lnTo>
                  <a:lnTo>
                    <a:pt x="509" y="139"/>
                  </a:lnTo>
                  <a:lnTo>
                    <a:pt x="509" y="138"/>
                  </a:lnTo>
                  <a:lnTo>
                    <a:pt x="504" y="138"/>
                  </a:lnTo>
                  <a:lnTo>
                    <a:pt x="504" y="136"/>
                  </a:lnTo>
                  <a:lnTo>
                    <a:pt x="503" y="136"/>
                  </a:lnTo>
                  <a:lnTo>
                    <a:pt x="503" y="138"/>
                  </a:lnTo>
                  <a:lnTo>
                    <a:pt x="501" y="138"/>
                  </a:lnTo>
                  <a:lnTo>
                    <a:pt x="503" y="139"/>
                  </a:lnTo>
                  <a:lnTo>
                    <a:pt x="500" y="139"/>
                  </a:lnTo>
                  <a:lnTo>
                    <a:pt x="500" y="136"/>
                  </a:lnTo>
                  <a:lnTo>
                    <a:pt x="497" y="136"/>
                  </a:lnTo>
                  <a:lnTo>
                    <a:pt x="494" y="135"/>
                  </a:lnTo>
                  <a:lnTo>
                    <a:pt x="492" y="135"/>
                  </a:lnTo>
                  <a:lnTo>
                    <a:pt x="492" y="132"/>
                  </a:lnTo>
                  <a:lnTo>
                    <a:pt x="494" y="130"/>
                  </a:lnTo>
                  <a:lnTo>
                    <a:pt x="495" y="130"/>
                  </a:lnTo>
                  <a:lnTo>
                    <a:pt x="495" y="132"/>
                  </a:lnTo>
                  <a:lnTo>
                    <a:pt x="504" y="132"/>
                  </a:lnTo>
                  <a:lnTo>
                    <a:pt x="504" y="130"/>
                  </a:lnTo>
                  <a:lnTo>
                    <a:pt x="503" y="130"/>
                  </a:lnTo>
                  <a:lnTo>
                    <a:pt x="503" y="127"/>
                  </a:lnTo>
                  <a:lnTo>
                    <a:pt x="504" y="124"/>
                  </a:lnTo>
                  <a:lnTo>
                    <a:pt x="503" y="121"/>
                  </a:lnTo>
                  <a:lnTo>
                    <a:pt x="501" y="120"/>
                  </a:lnTo>
                  <a:lnTo>
                    <a:pt x="501" y="118"/>
                  </a:lnTo>
                  <a:lnTo>
                    <a:pt x="503" y="117"/>
                  </a:lnTo>
                  <a:lnTo>
                    <a:pt x="503" y="115"/>
                  </a:lnTo>
                  <a:lnTo>
                    <a:pt x="506" y="115"/>
                  </a:lnTo>
                  <a:lnTo>
                    <a:pt x="506" y="114"/>
                  </a:lnTo>
                  <a:lnTo>
                    <a:pt x="507" y="114"/>
                  </a:lnTo>
                  <a:lnTo>
                    <a:pt x="509" y="112"/>
                  </a:lnTo>
                  <a:lnTo>
                    <a:pt x="513" y="109"/>
                  </a:lnTo>
                  <a:lnTo>
                    <a:pt x="513" y="108"/>
                  </a:lnTo>
                  <a:lnTo>
                    <a:pt x="517" y="106"/>
                  </a:lnTo>
                  <a:close/>
                  <a:moveTo>
                    <a:pt x="1092" y="105"/>
                  </a:moveTo>
                  <a:lnTo>
                    <a:pt x="1096" y="106"/>
                  </a:lnTo>
                  <a:lnTo>
                    <a:pt x="1098" y="106"/>
                  </a:lnTo>
                  <a:lnTo>
                    <a:pt x="1098" y="109"/>
                  </a:lnTo>
                  <a:lnTo>
                    <a:pt x="1096" y="109"/>
                  </a:lnTo>
                  <a:lnTo>
                    <a:pt x="1095" y="108"/>
                  </a:lnTo>
                  <a:lnTo>
                    <a:pt x="1093" y="108"/>
                  </a:lnTo>
                  <a:lnTo>
                    <a:pt x="1093" y="109"/>
                  </a:lnTo>
                  <a:lnTo>
                    <a:pt x="1092" y="108"/>
                  </a:lnTo>
                  <a:lnTo>
                    <a:pt x="1090" y="108"/>
                  </a:lnTo>
                  <a:lnTo>
                    <a:pt x="1089" y="106"/>
                  </a:lnTo>
                  <a:lnTo>
                    <a:pt x="1090" y="106"/>
                  </a:lnTo>
                  <a:lnTo>
                    <a:pt x="1092" y="105"/>
                  </a:lnTo>
                  <a:close/>
                  <a:moveTo>
                    <a:pt x="1036" y="105"/>
                  </a:moveTo>
                  <a:lnTo>
                    <a:pt x="1039" y="105"/>
                  </a:lnTo>
                  <a:lnTo>
                    <a:pt x="1039" y="108"/>
                  </a:lnTo>
                  <a:lnTo>
                    <a:pt x="1035" y="108"/>
                  </a:lnTo>
                  <a:lnTo>
                    <a:pt x="1033" y="106"/>
                  </a:lnTo>
                  <a:lnTo>
                    <a:pt x="1032" y="106"/>
                  </a:lnTo>
                  <a:lnTo>
                    <a:pt x="1036" y="105"/>
                  </a:lnTo>
                  <a:close/>
                  <a:moveTo>
                    <a:pt x="879" y="105"/>
                  </a:moveTo>
                  <a:lnTo>
                    <a:pt x="879" y="106"/>
                  </a:lnTo>
                  <a:lnTo>
                    <a:pt x="881" y="106"/>
                  </a:lnTo>
                  <a:lnTo>
                    <a:pt x="881" y="112"/>
                  </a:lnTo>
                  <a:lnTo>
                    <a:pt x="879" y="112"/>
                  </a:lnTo>
                  <a:lnTo>
                    <a:pt x="878" y="114"/>
                  </a:lnTo>
                  <a:lnTo>
                    <a:pt x="878" y="115"/>
                  </a:lnTo>
                  <a:lnTo>
                    <a:pt x="876" y="115"/>
                  </a:lnTo>
                  <a:lnTo>
                    <a:pt x="876" y="120"/>
                  </a:lnTo>
                  <a:lnTo>
                    <a:pt x="873" y="123"/>
                  </a:lnTo>
                  <a:lnTo>
                    <a:pt x="870" y="123"/>
                  </a:lnTo>
                  <a:lnTo>
                    <a:pt x="869" y="121"/>
                  </a:lnTo>
                  <a:lnTo>
                    <a:pt x="869" y="118"/>
                  </a:lnTo>
                  <a:lnTo>
                    <a:pt x="867" y="117"/>
                  </a:lnTo>
                  <a:lnTo>
                    <a:pt x="866" y="117"/>
                  </a:lnTo>
                  <a:lnTo>
                    <a:pt x="864" y="118"/>
                  </a:lnTo>
                  <a:lnTo>
                    <a:pt x="863" y="118"/>
                  </a:lnTo>
                  <a:lnTo>
                    <a:pt x="863" y="117"/>
                  </a:lnTo>
                  <a:lnTo>
                    <a:pt x="864" y="117"/>
                  </a:lnTo>
                  <a:lnTo>
                    <a:pt x="866" y="114"/>
                  </a:lnTo>
                  <a:lnTo>
                    <a:pt x="866" y="112"/>
                  </a:lnTo>
                  <a:lnTo>
                    <a:pt x="867" y="112"/>
                  </a:lnTo>
                  <a:lnTo>
                    <a:pt x="869" y="111"/>
                  </a:lnTo>
                  <a:lnTo>
                    <a:pt x="870" y="111"/>
                  </a:lnTo>
                  <a:lnTo>
                    <a:pt x="870" y="114"/>
                  </a:lnTo>
                  <a:lnTo>
                    <a:pt x="872" y="115"/>
                  </a:lnTo>
                  <a:lnTo>
                    <a:pt x="872" y="114"/>
                  </a:lnTo>
                  <a:lnTo>
                    <a:pt x="873" y="112"/>
                  </a:lnTo>
                  <a:lnTo>
                    <a:pt x="875" y="109"/>
                  </a:lnTo>
                  <a:lnTo>
                    <a:pt x="876" y="109"/>
                  </a:lnTo>
                  <a:lnTo>
                    <a:pt x="878" y="106"/>
                  </a:lnTo>
                  <a:lnTo>
                    <a:pt x="879" y="105"/>
                  </a:lnTo>
                  <a:close/>
                  <a:moveTo>
                    <a:pt x="858" y="105"/>
                  </a:moveTo>
                  <a:lnTo>
                    <a:pt x="858" y="106"/>
                  </a:lnTo>
                  <a:lnTo>
                    <a:pt x="860" y="106"/>
                  </a:lnTo>
                  <a:lnTo>
                    <a:pt x="861" y="108"/>
                  </a:lnTo>
                  <a:lnTo>
                    <a:pt x="864" y="108"/>
                  </a:lnTo>
                  <a:lnTo>
                    <a:pt x="864" y="109"/>
                  </a:lnTo>
                  <a:lnTo>
                    <a:pt x="863" y="109"/>
                  </a:lnTo>
                  <a:lnTo>
                    <a:pt x="861" y="111"/>
                  </a:lnTo>
                  <a:lnTo>
                    <a:pt x="857" y="111"/>
                  </a:lnTo>
                  <a:lnTo>
                    <a:pt x="857" y="112"/>
                  </a:lnTo>
                  <a:lnTo>
                    <a:pt x="852" y="117"/>
                  </a:lnTo>
                  <a:lnTo>
                    <a:pt x="849" y="117"/>
                  </a:lnTo>
                  <a:lnTo>
                    <a:pt x="849" y="118"/>
                  </a:lnTo>
                  <a:lnTo>
                    <a:pt x="848" y="118"/>
                  </a:lnTo>
                  <a:lnTo>
                    <a:pt x="846" y="120"/>
                  </a:lnTo>
                  <a:lnTo>
                    <a:pt x="848" y="120"/>
                  </a:lnTo>
                  <a:lnTo>
                    <a:pt x="849" y="121"/>
                  </a:lnTo>
                  <a:lnTo>
                    <a:pt x="848" y="123"/>
                  </a:lnTo>
                  <a:lnTo>
                    <a:pt x="845" y="123"/>
                  </a:lnTo>
                  <a:lnTo>
                    <a:pt x="845" y="121"/>
                  </a:lnTo>
                  <a:lnTo>
                    <a:pt x="843" y="121"/>
                  </a:lnTo>
                  <a:lnTo>
                    <a:pt x="842" y="123"/>
                  </a:lnTo>
                  <a:lnTo>
                    <a:pt x="842" y="124"/>
                  </a:lnTo>
                  <a:lnTo>
                    <a:pt x="839" y="124"/>
                  </a:lnTo>
                  <a:lnTo>
                    <a:pt x="839" y="123"/>
                  </a:lnTo>
                  <a:lnTo>
                    <a:pt x="838" y="123"/>
                  </a:lnTo>
                  <a:lnTo>
                    <a:pt x="836" y="121"/>
                  </a:lnTo>
                  <a:lnTo>
                    <a:pt x="836" y="123"/>
                  </a:lnTo>
                  <a:lnTo>
                    <a:pt x="832" y="123"/>
                  </a:lnTo>
                  <a:lnTo>
                    <a:pt x="832" y="121"/>
                  </a:lnTo>
                  <a:lnTo>
                    <a:pt x="833" y="120"/>
                  </a:lnTo>
                  <a:lnTo>
                    <a:pt x="836" y="118"/>
                  </a:lnTo>
                  <a:lnTo>
                    <a:pt x="839" y="115"/>
                  </a:lnTo>
                  <a:lnTo>
                    <a:pt x="842" y="114"/>
                  </a:lnTo>
                  <a:lnTo>
                    <a:pt x="843" y="114"/>
                  </a:lnTo>
                  <a:lnTo>
                    <a:pt x="843" y="112"/>
                  </a:lnTo>
                  <a:lnTo>
                    <a:pt x="838" y="112"/>
                  </a:lnTo>
                  <a:lnTo>
                    <a:pt x="838" y="111"/>
                  </a:lnTo>
                  <a:lnTo>
                    <a:pt x="839" y="111"/>
                  </a:lnTo>
                  <a:lnTo>
                    <a:pt x="839" y="109"/>
                  </a:lnTo>
                  <a:lnTo>
                    <a:pt x="843" y="109"/>
                  </a:lnTo>
                  <a:lnTo>
                    <a:pt x="843" y="108"/>
                  </a:lnTo>
                  <a:lnTo>
                    <a:pt x="846" y="108"/>
                  </a:lnTo>
                  <a:lnTo>
                    <a:pt x="846" y="111"/>
                  </a:lnTo>
                  <a:lnTo>
                    <a:pt x="845" y="112"/>
                  </a:lnTo>
                  <a:lnTo>
                    <a:pt x="845" y="114"/>
                  </a:lnTo>
                  <a:lnTo>
                    <a:pt x="849" y="114"/>
                  </a:lnTo>
                  <a:lnTo>
                    <a:pt x="849" y="112"/>
                  </a:lnTo>
                  <a:lnTo>
                    <a:pt x="848" y="112"/>
                  </a:lnTo>
                  <a:lnTo>
                    <a:pt x="848" y="111"/>
                  </a:lnTo>
                  <a:lnTo>
                    <a:pt x="851" y="111"/>
                  </a:lnTo>
                  <a:lnTo>
                    <a:pt x="851" y="109"/>
                  </a:lnTo>
                  <a:lnTo>
                    <a:pt x="849" y="109"/>
                  </a:lnTo>
                  <a:lnTo>
                    <a:pt x="849" y="108"/>
                  </a:lnTo>
                  <a:lnTo>
                    <a:pt x="852" y="108"/>
                  </a:lnTo>
                  <a:lnTo>
                    <a:pt x="852" y="109"/>
                  </a:lnTo>
                  <a:lnTo>
                    <a:pt x="854" y="109"/>
                  </a:lnTo>
                  <a:lnTo>
                    <a:pt x="854" y="108"/>
                  </a:lnTo>
                  <a:lnTo>
                    <a:pt x="855" y="106"/>
                  </a:lnTo>
                  <a:lnTo>
                    <a:pt x="857" y="106"/>
                  </a:lnTo>
                  <a:lnTo>
                    <a:pt x="858" y="105"/>
                  </a:lnTo>
                  <a:close/>
                  <a:moveTo>
                    <a:pt x="888" y="103"/>
                  </a:moveTo>
                  <a:lnTo>
                    <a:pt x="894" y="103"/>
                  </a:lnTo>
                  <a:lnTo>
                    <a:pt x="894" y="106"/>
                  </a:lnTo>
                  <a:lnTo>
                    <a:pt x="896" y="105"/>
                  </a:lnTo>
                  <a:lnTo>
                    <a:pt x="918" y="105"/>
                  </a:lnTo>
                  <a:lnTo>
                    <a:pt x="918" y="106"/>
                  </a:lnTo>
                  <a:lnTo>
                    <a:pt x="920" y="108"/>
                  </a:lnTo>
                  <a:lnTo>
                    <a:pt x="920" y="112"/>
                  </a:lnTo>
                  <a:lnTo>
                    <a:pt x="918" y="114"/>
                  </a:lnTo>
                  <a:lnTo>
                    <a:pt x="914" y="114"/>
                  </a:lnTo>
                  <a:lnTo>
                    <a:pt x="909" y="115"/>
                  </a:lnTo>
                  <a:lnTo>
                    <a:pt x="902" y="115"/>
                  </a:lnTo>
                  <a:lnTo>
                    <a:pt x="900" y="117"/>
                  </a:lnTo>
                  <a:lnTo>
                    <a:pt x="897" y="115"/>
                  </a:lnTo>
                  <a:lnTo>
                    <a:pt x="896" y="117"/>
                  </a:lnTo>
                  <a:lnTo>
                    <a:pt x="893" y="117"/>
                  </a:lnTo>
                  <a:lnTo>
                    <a:pt x="893" y="118"/>
                  </a:lnTo>
                  <a:lnTo>
                    <a:pt x="891" y="118"/>
                  </a:lnTo>
                  <a:lnTo>
                    <a:pt x="891" y="117"/>
                  </a:lnTo>
                  <a:lnTo>
                    <a:pt x="890" y="117"/>
                  </a:lnTo>
                  <a:lnTo>
                    <a:pt x="888" y="118"/>
                  </a:lnTo>
                  <a:lnTo>
                    <a:pt x="884" y="118"/>
                  </a:lnTo>
                  <a:lnTo>
                    <a:pt x="882" y="117"/>
                  </a:lnTo>
                  <a:lnTo>
                    <a:pt x="882" y="115"/>
                  </a:lnTo>
                  <a:lnTo>
                    <a:pt x="884" y="114"/>
                  </a:lnTo>
                  <a:lnTo>
                    <a:pt x="885" y="114"/>
                  </a:lnTo>
                  <a:lnTo>
                    <a:pt x="885" y="111"/>
                  </a:lnTo>
                  <a:lnTo>
                    <a:pt x="888" y="109"/>
                  </a:lnTo>
                  <a:lnTo>
                    <a:pt x="891" y="109"/>
                  </a:lnTo>
                  <a:lnTo>
                    <a:pt x="891" y="108"/>
                  </a:lnTo>
                  <a:lnTo>
                    <a:pt x="890" y="108"/>
                  </a:lnTo>
                  <a:lnTo>
                    <a:pt x="887" y="109"/>
                  </a:lnTo>
                  <a:lnTo>
                    <a:pt x="885" y="109"/>
                  </a:lnTo>
                  <a:lnTo>
                    <a:pt x="885" y="106"/>
                  </a:lnTo>
                  <a:lnTo>
                    <a:pt x="887" y="106"/>
                  </a:lnTo>
                  <a:lnTo>
                    <a:pt x="887" y="105"/>
                  </a:lnTo>
                  <a:lnTo>
                    <a:pt x="888" y="103"/>
                  </a:lnTo>
                  <a:close/>
                  <a:moveTo>
                    <a:pt x="640" y="103"/>
                  </a:moveTo>
                  <a:lnTo>
                    <a:pt x="643" y="103"/>
                  </a:lnTo>
                  <a:lnTo>
                    <a:pt x="643" y="105"/>
                  </a:lnTo>
                  <a:lnTo>
                    <a:pt x="645" y="106"/>
                  </a:lnTo>
                  <a:lnTo>
                    <a:pt x="642" y="109"/>
                  </a:lnTo>
                  <a:lnTo>
                    <a:pt x="640" y="109"/>
                  </a:lnTo>
                  <a:lnTo>
                    <a:pt x="639" y="108"/>
                  </a:lnTo>
                  <a:lnTo>
                    <a:pt x="639" y="106"/>
                  </a:lnTo>
                  <a:lnTo>
                    <a:pt x="640" y="103"/>
                  </a:lnTo>
                  <a:close/>
                  <a:moveTo>
                    <a:pt x="571" y="103"/>
                  </a:moveTo>
                  <a:lnTo>
                    <a:pt x="576" y="103"/>
                  </a:lnTo>
                  <a:lnTo>
                    <a:pt x="577" y="105"/>
                  </a:lnTo>
                  <a:lnTo>
                    <a:pt x="577" y="106"/>
                  </a:lnTo>
                  <a:lnTo>
                    <a:pt x="576" y="106"/>
                  </a:lnTo>
                  <a:lnTo>
                    <a:pt x="576" y="108"/>
                  </a:lnTo>
                  <a:lnTo>
                    <a:pt x="574" y="109"/>
                  </a:lnTo>
                  <a:lnTo>
                    <a:pt x="571" y="114"/>
                  </a:lnTo>
                  <a:lnTo>
                    <a:pt x="571" y="115"/>
                  </a:lnTo>
                  <a:lnTo>
                    <a:pt x="570" y="115"/>
                  </a:lnTo>
                  <a:lnTo>
                    <a:pt x="568" y="114"/>
                  </a:lnTo>
                  <a:lnTo>
                    <a:pt x="568" y="112"/>
                  </a:lnTo>
                  <a:lnTo>
                    <a:pt x="570" y="111"/>
                  </a:lnTo>
                  <a:lnTo>
                    <a:pt x="568" y="109"/>
                  </a:lnTo>
                  <a:lnTo>
                    <a:pt x="568" y="105"/>
                  </a:lnTo>
                  <a:lnTo>
                    <a:pt x="571" y="103"/>
                  </a:lnTo>
                  <a:close/>
                  <a:moveTo>
                    <a:pt x="1039" y="102"/>
                  </a:moveTo>
                  <a:lnTo>
                    <a:pt x="1044" y="102"/>
                  </a:lnTo>
                  <a:lnTo>
                    <a:pt x="1048" y="103"/>
                  </a:lnTo>
                  <a:lnTo>
                    <a:pt x="1054" y="103"/>
                  </a:lnTo>
                  <a:lnTo>
                    <a:pt x="1056" y="105"/>
                  </a:lnTo>
                  <a:lnTo>
                    <a:pt x="1054" y="108"/>
                  </a:lnTo>
                  <a:lnTo>
                    <a:pt x="1053" y="108"/>
                  </a:lnTo>
                  <a:lnTo>
                    <a:pt x="1053" y="109"/>
                  </a:lnTo>
                  <a:lnTo>
                    <a:pt x="1050" y="109"/>
                  </a:lnTo>
                  <a:lnTo>
                    <a:pt x="1048" y="108"/>
                  </a:lnTo>
                  <a:lnTo>
                    <a:pt x="1047" y="108"/>
                  </a:lnTo>
                  <a:lnTo>
                    <a:pt x="1044" y="106"/>
                  </a:lnTo>
                  <a:lnTo>
                    <a:pt x="1042" y="106"/>
                  </a:lnTo>
                  <a:lnTo>
                    <a:pt x="1041" y="105"/>
                  </a:lnTo>
                  <a:lnTo>
                    <a:pt x="1041" y="103"/>
                  </a:lnTo>
                  <a:lnTo>
                    <a:pt x="1039" y="103"/>
                  </a:lnTo>
                  <a:lnTo>
                    <a:pt x="1039" y="102"/>
                  </a:lnTo>
                  <a:close/>
                  <a:moveTo>
                    <a:pt x="1190" y="100"/>
                  </a:moveTo>
                  <a:lnTo>
                    <a:pt x="1190" y="102"/>
                  </a:lnTo>
                  <a:lnTo>
                    <a:pt x="1192" y="103"/>
                  </a:lnTo>
                  <a:lnTo>
                    <a:pt x="1196" y="103"/>
                  </a:lnTo>
                  <a:lnTo>
                    <a:pt x="1195" y="105"/>
                  </a:lnTo>
                  <a:lnTo>
                    <a:pt x="1193" y="105"/>
                  </a:lnTo>
                  <a:lnTo>
                    <a:pt x="1187" y="108"/>
                  </a:lnTo>
                  <a:lnTo>
                    <a:pt x="1186" y="108"/>
                  </a:lnTo>
                  <a:lnTo>
                    <a:pt x="1184" y="109"/>
                  </a:lnTo>
                  <a:lnTo>
                    <a:pt x="1183" y="109"/>
                  </a:lnTo>
                  <a:lnTo>
                    <a:pt x="1183" y="111"/>
                  </a:lnTo>
                  <a:lnTo>
                    <a:pt x="1180" y="112"/>
                  </a:lnTo>
                  <a:lnTo>
                    <a:pt x="1180" y="114"/>
                  </a:lnTo>
                  <a:lnTo>
                    <a:pt x="1177" y="114"/>
                  </a:lnTo>
                  <a:lnTo>
                    <a:pt x="1181" y="109"/>
                  </a:lnTo>
                  <a:lnTo>
                    <a:pt x="1181" y="108"/>
                  </a:lnTo>
                  <a:lnTo>
                    <a:pt x="1184" y="108"/>
                  </a:lnTo>
                  <a:lnTo>
                    <a:pt x="1184" y="103"/>
                  </a:lnTo>
                  <a:lnTo>
                    <a:pt x="1187" y="103"/>
                  </a:lnTo>
                  <a:lnTo>
                    <a:pt x="1190" y="100"/>
                  </a:lnTo>
                  <a:close/>
                  <a:moveTo>
                    <a:pt x="815" y="100"/>
                  </a:moveTo>
                  <a:lnTo>
                    <a:pt x="817" y="100"/>
                  </a:lnTo>
                  <a:lnTo>
                    <a:pt x="817" y="102"/>
                  </a:lnTo>
                  <a:lnTo>
                    <a:pt x="818" y="102"/>
                  </a:lnTo>
                  <a:lnTo>
                    <a:pt x="821" y="105"/>
                  </a:lnTo>
                  <a:lnTo>
                    <a:pt x="820" y="106"/>
                  </a:lnTo>
                  <a:lnTo>
                    <a:pt x="814" y="106"/>
                  </a:lnTo>
                  <a:lnTo>
                    <a:pt x="812" y="108"/>
                  </a:lnTo>
                  <a:lnTo>
                    <a:pt x="809" y="108"/>
                  </a:lnTo>
                  <a:lnTo>
                    <a:pt x="809" y="106"/>
                  </a:lnTo>
                  <a:lnTo>
                    <a:pt x="811" y="105"/>
                  </a:lnTo>
                  <a:lnTo>
                    <a:pt x="811" y="103"/>
                  </a:lnTo>
                  <a:lnTo>
                    <a:pt x="812" y="102"/>
                  </a:lnTo>
                  <a:lnTo>
                    <a:pt x="814" y="102"/>
                  </a:lnTo>
                  <a:lnTo>
                    <a:pt x="815" y="100"/>
                  </a:lnTo>
                  <a:close/>
                  <a:moveTo>
                    <a:pt x="589" y="100"/>
                  </a:moveTo>
                  <a:lnTo>
                    <a:pt x="591" y="102"/>
                  </a:lnTo>
                  <a:lnTo>
                    <a:pt x="597" y="102"/>
                  </a:lnTo>
                  <a:lnTo>
                    <a:pt x="600" y="105"/>
                  </a:lnTo>
                  <a:lnTo>
                    <a:pt x="600" y="109"/>
                  </a:lnTo>
                  <a:lnTo>
                    <a:pt x="603" y="112"/>
                  </a:lnTo>
                  <a:lnTo>
                    <a:pt x="604" y="112"/>
                  </a:lnTo>
                  <a:lnTo>
                    <a:pt x="606" y="114"/>
                  </a:lnTo>
                  <a:lnTo>
                    <a:pt x="609" y="114"/>
                  </a:lnTo>
                  <a:lnTo>
                    <a:pt x="610" y="112"/>
                  </a:lnTo>
                  <a:lnTo>
                    <a:pt x="610" y="111"/>
                  </a:lnTo>
                  <a:lnTo>
                    <a:pt x="612" y="111"/>
                  </a:lnTo>
                  <a:lnTo>
                    <a:pt x="612" y="109"/>
                  </a:lnTo>
                  <a:lnTo>
                    <a:pt x="613" y="109"/>
                  </a:lnTo>
                  <a:lnTo>
                    <a:pt x="615" y="108"/>
                  </a:lnTo>
                  <a:lnTo>
                    <a:pt x="615" y="109"/>
                  </a:lnTo>
                  <a:lnTo>
                    <a:pt x="619" y="109"/>
                  </a:lnTo>
                  <a:lnTo>
                    <a:pt x="619" y="111"/>
                  </a:lnTo>
                  <a:lnTo>
                    <a:pt x="622" y="111"/>
                  </a:lnTo>
                  <a:lnTo>
                    <a:pt x="624" y="114"/>
                  </a:lnTo>
                  <a:lnTo>
                    <a:pt x="624" y="118"/>
                  </a:lnTo>
                  <a:lnTo>
                    <a:pt x="622" y="121"/>
                  </a:lnTo>
                  <a:lnTo>
                    <a:pt x="622" y="123"/>
                  </a:lnTo>
                  <a:lnTo>
                    <a:pt x="624" y="121"/>
                  </a:lnTo>
                  <a:lnTo>
                    <a:pt x="624" y="120"/>
                  </a:lnTo>
                  <a:lnTo>
                    <a:pt x="625" y="118"/>
                  </a:lnTo>
                  <a:lnTo>
                    <a:pt x="625" y="114"/>
                  </a:lnTo>
                  <a:lnTo>
                    <a:pt x="628" y="111"/>
                  </a:lnTo>
                  <a:lnTo>
                    <a:pt x="637" y="111"/>
                  </a:lnTo>
                  <a:lnTo>
                    <a:pt x="637" y="112"/>
                  </a:lnTo>
                  <a:lnTo>
                    <a:pt x="639" y="114"/>
                  </a:lnTo>
                  <a:lnTo>
                    <a:pt x="639" y="117"/>
                  </a:lnTo>
                  <a:lnTo>
                    <a:pt x="640" y="118"/>
                  </a:lnTo>
                  <a:lnTo>
                    <a:pt x="640" y="121"/>
                  </a:lnTo>
                  <a:lnTo>
                    <a:pt x="639" y="123"/>
                  </a:lnTo>
                  <a:lnTo>
                    <a:pt x="640" y="124"/>
                  </a:lnTo>
                  <a:lnTo>
                    <a:pt x="640" y="127"/>
                  </a:lnTo>
                  <a:lnTo>
                    <a:pt x="643" y="127"/>
                  </a:lnTo>
                  <a:lnTo>
                    <a:pt x="643" y="124"/>
                  </a:lnTo>
                  <a:lnTo>
                    <a:pt x="645" y="124"/>
                  </a:lnTo>
                  <a:lnTo>
                    <a:pt x="645" y="123"/>
                  </a:lnTo>
                  <a:lnTo>
                    <a:pt x="648" y="126"/>
                  </a:lnTo>
                  <a:lnTo>
                    <a:pt x="646" y="126"/>
                  </a:lnTo>
                  <a:lnTo>
                    <a:pt x="646" y="130"/>
                  </a:lnTo>
                  <a:lnTo>
                    <a:pt x="645" y="130"/>
                  </a:lnTo>
                  <a:lnTo>
                    <a:pt x="645" y="132"/>
                  </a:lnTo>
                  <a:lnTo>
                    <a:pt x="636" y="132"/>
                  </a:lnTo>
                  <a:lnTo>
                    <a:pt x="636" y="130"/>
                  </a:lnTo>
                  <a:lnTo>
                    <a:pt x="634" y="129"/>
                  </a:lnTo>
                  <a:lnTo>
                    <a:pt x="633" y="129"/>
                  </a:lnTo>
                  <a:lnTo>
                    <a:pt x="633" y="130"/>
                  </a:lnTo>
                  <a:lnTo>
                    <a:pt x="625" y="130"/>
                  </a:lnTo>
                  <a:lnTo>
                    <a:pt x="624" y="132"/>
                  </a:lnTo>
                  <a:lnTo>
                    <a:pt x="625" y="133"/>
                  </a:lnTo>
                  <a:lnTo>
                    <a:pt x="634" y="133"/>
                  </a:lnTo>
                  <a:lnTo>
                    <a:pt x="634" y="135"/>
                  </a:lnTo>
                  <a:lnTo>
                    <a:pt x="636" y="135"/>
                  </a:lnTo>
                  <a:lnTo>
                    <a:pt x="636" y="136"/>
                  </a:lnTo>
                  <a:lnTo>
                    <a:pt x="630" y="136"/>
                  </a:lnTo>
                  <a:lnTo>
                    <a:pt x="627" y="135"/>
                  </a:lnTo>
                  <a:lnTo>
                    <a:pt x="622" y="135"/>
                  </a:lnTo>
                  <a:lnTo>
                    <a:pt x="613" y="138"/>
                  </a:lnTo>
                  <a:lnTo>
                    <a:pt x="610" y="136"/>
                  </a:lnTo>
                  <a:lnTo>
                    <a:pt x="610" y="132"/>
                  </a:lnTo>
                  <a:lnTo>
                    <a:pt x="612" y="130"/>
                  </a:lnTo>
                  <a:lnTo>
                    <a:pt x="612" y="126"/>
                  </a:lnTo>
                  <a:lnTo>
                    <a:pt x="610" y="124"/>
                  </a:lnTo>
                  <a:lnTo>
                    <a:pt x="610" y="129"/>
                  </a:lnTo>
                  <a:lnTo>
                    <a:pt x="607" y="129"/>
                  </a:lnTo>
                  <a:lnTo>
                    <a:pt x="606" y="130"/>
                  </a:lnTo>
                  <a:lnTo>
                    <a:pt x="606" y="132"/>
                  </a:lnTo>
                  <a:lnTo>
                    <a:pt x="604" y="133"/>
                  </a:lnTo>
                  <a:lnTo>
                    <a:pt x="598" y="138"/>
                  </a:lnTo>
                  <a:lnTo>
                    <a:pt x="597" y="136"/>
                  </a:lnTo>
                  <a:lnTo>
                    <a:pt x="592" y="136"/>
                  </a:lnTo>
                  <a:lnTo>
                    <a:pt x="592" y="138"/>
                  </a:lnTo>
                  <a:lnTo>
                    <a:pt x="586" y="141"/>
                  </a:lnTo>
                  <a:lnTo>
                    <a:pt x="585" y="141"/>
                  </a:lnTo>
                  <a:lnTo>
                    <a:pt x="585" y="139"/>
                  </a:lnTo>
                  <a:lnTo>
                    <a:pt x="583" y="139"/>
                  </a:lnTo>
                  <a:lnTo>
                    <a:pt x="582" y="141"/>
                  </a:lnTo>
                  <a:lnTo>
                    <a:pt x="580" y="139"/>
                  </a:lnTo>
                  <a:lnTo>
                    <a:pt x="579" y="139"/>
                  </a:lnTo>
                  <a:lnTo>
                    <a:pt x="576" y="141"/>
                  </a:lnTo>
                  <a:lnTo>
                    <a:pt x="571" y="144"/>
                  </a:lnTo>
                  <a:lnTo>
                    <a:pt x="570" y="144"/>
                  </a:lnTo>
                  <a:lnTo>
                    <a:pt x="567" y="145"/>
                  </a:lnTo>
                  <a:lnTo>
                    <a:pt x="564" y="145"/>
                  </a:lnTo>
                  <a:lnTo>
                    <a:pt x="561" y="147"/>
                  </a:lnTo>
                  <a:lnTo>
                    <a:pt x="559" y="145"/>
                  </a:lnTo>
                  <a:lnTo>
                    <a:pt x="558" y="145"/>
                  </a:lnTo>
                  <a:lnTo>
                    <a:pt x="556" y="144"/>
                  </a:lnTo>
                  <a:lnTo>
                    <a:pt x="555" y="144"/>
                  </a:lnTo>
                  <a:lnTo>
                    <a:pt x="553" y="145"/>
                  </a:lnTo>
                  <a:lnTo>
                    <a:pt x="553" y="147"/>
                  </a:lnTo>
                  <a:lnTo>
                    <a:pt x="552" y="147"/>
                  </a:lnTo>
                  <a:lnTo>
                    <a:pt x="552" y="148"/>
                  </a:lnTo>
                  <a:lnTo>
                    <a:pt x="546" y="148"/>
                  </a:lnTo>
                  <a:lnTo>
                    <a:pt x="546" y="147"/>
                  </a:lnTo>
                  <a:lnTo>
                    <a:pt x="541" y="147"/>
                  </a:lnTo>
                  <a:lnTo>
                    <a:pt x="538" y="145"/>
                  </a:lnTo>
                  <a:lnTo>
                    <a:pt x="537" y="145"/>
                  </a:lnTo>
                  <a:lnTo>
                    <a:pt x="534" y="142"/>
                  </a:lnTo>
                  <a:lnTo>
                    <a:pt x="534" y="138"/>
                  </a:lnTo>
                  <a:lnTo>
                    <a:pt x="535" y="136"/>
                  </a:lnTo>
                  <a:lnTo>
                    <a:pt x="535" y="135"/>
                  </a:lnTo>
                  <a:lnTo>
                    <a:pt x="538" y="135"/>
                  </a:lnTo>
                  <a:lnTo>
                    <a:pt x="537" y="133"/>
                  </a:lnTo>
                  <a:lnTo>
                    <a:pt x="537" y="132"/>
                  </a:lnTo>
                  <a:lnTo>
                    <a:pt x="535" y="132"/>
                  </a:lnTo>
                  <a:lnTo>
                    <a:pt x="535" y="129"/>
                  </a:lnTo>
                  <a:lnTo>
                    <a:pt x="534" y="127"/>
                  </a:lnTo>
                  <a:lnTo>
                    <a:pt x="537" y="124"/>
                  </a:lnTo>
                  <a:lnTo>
                    <a:pt x="538" y="124"/>
                  </a:lnTo>
                  <a:lnTo>
                    <a:pt x="538" y="121"/>
                  </a:lnTo>
                  <a:lnTo>
                    <a:pt x="541" y="121"/>
                  </a:lnTo>
                  <a:lnTo>
                    <a:pt x="550" y="117"/>
                  </a:lnTo>
                  <a:lnTo>
                    <a:pt x="552" y="115"/>
                  </a:lnTo>
                  <a:lnTo>
                    <a:pt x="552" y="114"/>
                  </a:lnTo>
                  <a:lnTo>
                    <a:pt x="555" y="114"/>
                  </a:lnTo>
                  <a:lnTo>
                    <a:pt x="556" y="115"/>
                  </a:lnTo>
                  <a:lnTo>
                    <a:pt x="559" y="115"/>
                  </a:lnTo>
                  <a:lnTo>
                    <a:pt x="562" y="118"/>
                  </a:lnTo>
                  <a:lnTo>
                    <a:pt x="565" y="120"/>
                  </a:lnTo>
                  <a:lnTo>
                    <a:pt x="565" y="118"/>
                  </a:lnTo>
                  <a:lnTo>
                    <a:pt x="567" y="117"/>
                  </a:lnTo>
                  <a:lnTo>
                    <a:pt x="571" y="117"/>
                  </a:lnTo>
                  <a:lnTo>
                    <a:pt x="573" y="120"/>
                  </a:lnTo>
                  <a:lnTo>
                    <a:pt x="573" y="118"/>
                  </a:lnTo>
                  <a:lnTo>
                    <a:pt x="574" y="117"/>
                  </a:lnTo>
                  <a:lnTo>
                    <a:pt x="574" y="121"/>
                  </a:lnTo>
                  <a:lnTo>
                    <a:pt x="577" y="124"/>
                  </a:lnTo>
                  <a:lnTo>
                    <a:pt x="579" y="124"/>
                  </a:lnTo>
                  <a:lnTo>
                    <a:pt x="579" y="123"/>
                  </a:lnTo>
                  <a:lnTo>
                    <a:pt x="580" y="123"/>
                  </a:lnTo>
                  <a:lnTo>
                    <a:pt x="580" y="124"/>
                  </a:lnTo>
                  <a:lnTo>
                    <a:pt x="582" y="124"/>
                  </a:lnTo>
                  <a:lnTo>
                    <a:pt x="582" y="127"/>
                  </a:lnTo>
                  <a:lnTo>
                    <a:pt x="580" y="127"/>
                  </a:lnTo>
                  <a:lnTo>
                    <a:pt x="582" y="129"/>
                  </a:lnTo>
                  <a:lnTo>
                    <a:pt x="582" y="130"/>
                  </a:lnTo>
                  <a:lnTo>
                    <a:pt x="583" y="130"/>
                  </a:lnTo>
                  <a:lnTo>
                    <a:pt x="586" y="129"/>
                  </a:lnTo>
                  <a:lnTo>
                    <a:pt x="588" y="130"/>
                  </a:lnTo>
                  <a:lnTo>
                    <a:pt x="589" y="130"/>
                  </a:lnTo>
                  <a:lnTo>
                    <a:pt x="589" y="132"/>
                  </a:lnTo>
                  <a:lnTo>
                    <a:pt x="591" y="132"/>
                  </a:lnTo>
                  <a:lnTo>
                    <a:pt x="591" y="130"/>
                  </a:lnTo>
                  <a:lnTo>
                    <a:pt x="594" y="129"/>
                  </a:lnTo>
                  <a:lnTo>
                    <a:pt x="595" y="127"/>
                  </a:lnTo>
                  <a:lnTo>
                    <a:pt x="604" y="127"/>
                  </a:lnTo>
                  <a:lnTo>
                    <a:pt x="606" y="126"/>
                  </a:lnTo>
                  <a:lnTo>
                    <a:pt x="603" y="123"/>
                  </a:lnTo>
                  <a:lnTo>
                    <a:pt x="601" y="123"/>
                  </a:lnTo>
                  <a:lnTo>
                    <a:pt x="598" y="121"/>
                  </a:lnTo>
                  <a:lnTo>
                    <a:pt x="598" y="120"/>
                  </a:lnTo>
                  <a:lnTo>
                    <a:pt x="597" y="120"/>
                  </a:lnTo>
                  <a:lnTo>
                    <a:pt x="595" y="118"/>
                  </a:lnTo>
                  <a:lnTo>
                    <a:pt x="589" y="118"/>
                  </a:lnTo>
                  <a:lnTo>
                    <a:pt x="589" y="117"/>
                  </a:lnTo>
                  <a:lnTo>
                    <a:pt x="583" y="114"/>
                  </a:lnTo>
                  <a:lnTo>
                    <a:pt x="583" y="112"/>
                  </a:lnTo>
                  <a:lnTo>
                    <a:pt x="580" y="109"/>
                  </a:lnTo>
                  <a:lnTo>
                    <a:pt x="579" y="109"/>
                  </a:lnTo>
                  <a:lnTo>
                    <a:pt x="579" y="105"/>
                  </a:lnTo>
                  <a:lnTo>
                    <a:pt x="580" y="103"/>
                  </a:lnTo>
                  <a:lnTo>
                    <a:pt x="583" y="103"/>
                  </a:lnTo>
                  <a:lnTo>
                    <a:pt x="586" y="102"/>
                  </a:lnTo>
                  <a:lnTo>
                    <a:pt x="588" y="102"/>
                  </a:lnTo>
                  <a:lnTo>
                    <a:pt x="589" y="100"/>
                  </a:lnTo>
                  <a:close/>
                  <a:moveTo>
                    <a:pt x="461" y="100"/>
                  </a:moveTo>
                  <a:lnTo>
                    <a:pt x="465" y="100"/>
                  </a:lnTo>
                  <a:lnTo>
                    <a:pt x="467" y="102"/>
                  </a:lnTo>
                  <a:lnTo>
                    <a:pt x="470" y="102"/>
                  </a:lnTo>
                  <a:lnTo>
                    <a:pt x="477" y="105"/>
                  </a:lnTo>
                  <a:lnTo>
                    <a:pt x="485" y="112"/>
                  </a:lnTo>
                  <a:lnTo>
                    <a:pt x="486" y="112"/>
                  </a:lnTo>
                  <a:lnTo>
                    <a:pt x="488" y="114"/>
                  </a:lnTo>
                  <a:lnTo>
                    <a:pt x="486" y="117"/>
                  </a:lnTo>
                  <a:lnTo>
                    <a:pt x="485" y="118"/>
                  </a:lnTo>
                  <a:lnTo>
                    <a:pt x="483" y="118"/>
                  </a:lnTo>
                  <a:lnTo>
                    <a:pt x="482" y="120"/>
                  </a:lnTo>
                  <a:lnTo>
                    <a:pt x="479" y="120"/>
                  </a:lnTo>
                  <a:lnTo>
                    <a:pt x="479" y="121"/>
                  </a:lnTo>
                  <a:lnTo>
                    <a:pt x="477" y="121"/>
                  </a:lnTo>
                  <a:lnTo>
                    <a:pt x="477" y="123"/>
                  </a:lnTo>
                  <a:lnTo>
                    <a:pt x="471" y="124"/>
                  </a:lnTo>
                  <a:lnTo>
                    <a:pt x="468" y="126"/>
                  </a:lnTo>
                  <a:lnTo>
                    <a:pt x="468" y="127"/>
                  </a:lnTo>
                  <a:lnTo>
                    <a:pt x="465" y="130"/>
                  </a:lnTo>
                  <a:lnTo>
                    <a:pt x="464" y="130"/>
                  </a:lnTo>
                  <a:lnTo>
                    <a:pt x="464" y="132"/>
                  </a:lnTo>
                  <a:lnTo>
                    <a:pt x="465" y="132"/>
                  </a:lnTo>
                  <a:lnTo>
                    <a:pt x="465" y="135"/>
                  </a:lnTo>
                  <a:lnTo>
                    <a:pt x="464" y="136"/>
                  </a:lnTo>
                  <a:lnTo>
                    <a:pt x="458" y="136"/>
                  </a:lnTo>
                  <a:lnTo>
                    <a:pt x="458" y="135"/>
                  </a:lnTo>
                  <a:lnTo>
                    <a:pt x="459" y="135"/>
                  </a:lnTo>
                  <a:lnTo>
                    <a:pt x="461" y="133"/>
                  </a:lnTo>
                  <a:lnTo>
                    <a:pt x="462" y="133"/>
                  </a:lnTo>
                  <a:lnTo>
                    <a:pt x="462" y="129"/>
                  </a:lnTo>
                  <a:lnTo>
                    <a:pt x="459" y="126"/>
                  </a:lnTo>
                  <a:lnTo>
                    <a:pt x="458" y="126"/>
                  </a:lnTo>
                  <a:lnTo>
                    <a:pt x="458" y="124"/>
                  </a:lnTo>
                  <a:lnTo>
                    <a:pt x="456" y="123"/>
                  </a:lnTo>
                  <a:lnTo>
                    <a:pt x="455" y="123"/>
                  </a:lnTo>
                  <a:lnTo>
                    <a:pt x="450" y="118"/>
                  </a:lnTo>
                  <a:lnTo>
                    <a:pt x="444" y="115"/>
                  </a:lnTo>
                  <a:lnTo>
                    <a:pt x="435" y="115"/>
                  </a:lnTo>
                  <a:lnTo>
                    <a:pt x="435" y="114"/>
                  </a:lnTo>
                  <a:lnTo>
                    <a:pt x="429" y="108"/>
                  </a:lnTo>
                  <a:lnTo>
                    <a:pt x="429" y="102"/>
                  </a:lnTo>
                  <a:lnTo>
                    <a:pt x="432" y="102"/>
                  </a:lnTo>
                  <a:lnTo>
                    <a:pt x="432" y="103"/>
                  </a:lnTo>
                  <a:lnTo>
                    <a:pt x="434" y="103"/>
                  </a:lnTo>
                  <a:lnTo>
                    <a:pt x="435" y="102"/>
                  </a:lnTo>
                  <a:lnTo>
                    <a:pt x="437" y="103"/>
                  </a:lnTo>
                  <a:lnTo>
                    <a:pt x="440" y="103"/>
                  </a:lnTo>
                  <a:lnTo>
                    <a:pt x="447" y="106"/>
                  </a:lnTo>
                  <a:lnTo>
                    <a:pt x="449" y="105"/>
                  </a:lnTo>
                  <a:lnTo>
                    <a:pt x="455" y="105"/>
                  </a:lnTo>
                  <a:lnTo>
                    <a:pt x="458" y="103"/>
                  </a:lnTo>
                  <a:lnTo>
                    <a:pt x="461" y="100"/>
                  </a:lnTo>
                  <a:close/>
                  <a:moveTo>
                    <a:pt x="1014" y="97"/>
                  </a:moveTo>
                  <a:lnTo>
                    <a:pt x="1014" y="99"/>
                  </a:lnTo>
                  <a:lnTo>
                    <a:pt x="1015" y="99"/>
                  </a:lnTo>
                  <a:lnTo>
                    <a:pt x="1015" y="102"/>
                  </a:lnTo>
                  <a:lnTo>
                    <a:pt x="1011" y="102"/>
                  </a:lnTo>
                  <a:lnTo>
                    <a:pt x="1012" y="100"/>
                  </a:lnTo>
                  <a:lnTo>
                    <a:pt x="1012" y="99"/>
                  </a:lnTo>
                  <a:lnTo>
                    <a:pt x="1014" y="97"/>
                  </a:lnTo>
                  <a:close/>
                  <a:moveTo>
                    <a:pt x="1605" y="93"/>
                  </a:moveTo>
                  <a:lnTo>
                    <a:pt x="1605" y="94"/>
                  </a:lnTo>
                  <a:lnTo>
                    <a:pt x="1603" y="94"/>
                  </a:lnTo>
                  <a:lnTo>
                    <a:pt x="1603" y="96"/>
                  </a:lnTo>
                  <a:lnTo>
                    <a:pt x="1605" y="94"/>
                  </a:lnTo>
                  <a:lnTo>
                    <a:pt x="1608" y="94"/>
                  </a:lnTo>
                  <a:lnTo>
                    <a:pt x="1608" y="93"/>
                  </a:lnTo>
                  <a:lnTo>
                    <a:pt x="1605" y="93"/>
                  </a:lnTo>
                  <a:close/>
                  <a:moveTo>
                    <a:pt x="1125" y="88"/>
                  </a:moveTo>
                  <a:lnTo>
                    <a:pt x="1135" y="88"/>
                  </a:lnTo>
                  <a:lnTo>
                    <a:pt x="1135" y="91"/>
                  </a:lnTo>
                  <a:lnTo>
                    <a:pt x="1137" y="93"/>
                  </a:lnTo>
                  <a:lnTo>
                    <a:pt x="1137" y="94"/>
                  </a:lnTo>
                  <a:lnTo>
                    <a:pt x="1135" y="94"/>
                  </a:lnTo>
                  <a:lnTo>
                    <a:pt x="1134" y="96"/>
                  </a:lnTo>
                  <a:lnTo>
                    <a:pt x="1132" y="99"/>
                  </a:lnTo>
                  <a:lnTo>
                    <a:pt x="1132" y="100"/>
                  </a:lnTo>
                  <a:lnTo>
                    <a:pt x="1131" y="100"/>
                  </a:lnTo>
                  <a:lnTo>
                    <a:pt x="1128" y="99"/>
                  </a:lnTo>
                  <a:lnTo>
                    <a:pt x="1123" y="94"/>
                  </a:lnTo>
                  <a:lnTo>
                    <a:pt x="1123" y="90"/>
                  </a:lnTo>
                  <a:lnTo>
                    <a:pt x="1125" y="88"/>
                  </a:lnTo>
                  <a:close/>
                  <a:moveTo>
                    <a:pt x="1141" y="84"/>
                  </a:moveTo>
                  <a:lnTo>
                    <a:pt x="1143" y="84"/>
                  </a:lnTo>
                  <a:lnTo>
                    <a:pt x="1143" y="85"/>
                  </a:lnTo>
                  <a:lnTo>
                    <a:pt x="1141" y="85"/>
                  </a:lnTo>
                  <a:lnTo>
                    <a:pt x="1141" y="84"/>
                  </a:lnTo>
                  <a:close/>
                  <a:moveTo>
                    <a:pt x="163" y="82"/>
                  </a:moveTo>
                  <a:lnTo>
                    <a:pt x="165" y="84"/>
                  </a:lnTo>
                  <a:lnTo>
                    <a:pt x="163" y="84"/>
                  </a:lnTo>
                  <a:lnTo>
                    <a:pt x="163" y="82"/>
                  </a:lnTo>
                  <a:close/>
                  <a:moveTo>
                    <a:pt x="1193" y="79"/>
                  </a:moveTo>
                  <a:lnTo>
                    <a:pt x="1195" y="79"/>
                  </a:lnTo>
                  <a:lnTo>
                    <a:pt x="1193" y="82"/>
                  </a:lnTo>
                  <a:lnTo>
                    <a:pt x="1190" y="82"/>
                  </a:lnTo>
                  <a:lnTo>
                    <a:pt x="1190" y="84"/>
                  </a:lnTo>
                  <a:lnTo>
                    <a:pt x="1187" y="84"/>
                  </a:lnTo>
                  <a:lnTo>
                    <a:pt x="1187" y="82"/>
                  </a:lnTo>
                  <a:lnTo>
                    <a:pt x="1189" y="81"/>
                  </a:lnTo>
                  <a:lnTo>
                    <a:pt x="1192" y="81"/>
                  </a:lnTo>
                  <a:lnTo>
                    <a:pt x="1193" y="79"/>
                  </a:lnTo>
                  <a:close/>
                  <a:moveTo>
                    <a:pt x="981" y="78"/>
                  </a:moveTo>
                  <a:lnTo>
                    <a:pt x="987" y="78"/>
                  </a:lnTo>
                  <a:lnTo>
                    <a:pt x="987" y="79"/>
                  </a:lnTo>
                  <a:lnTo>
                    <a:pt x="989" y="79"/>
                  </a:lnTo>
                  <a:lnTo>
                    <a:pt x="990" y="81"/>
                  </a:lnTo>
                  <a:lnTo>
                    <a:pt x="992" y="81"/>
                  </a:lnTo>
                  <a:lnTo>
                    <a:pt x="992" y="82"/>
                  </a:lnTo>
                  <a:lnTo>
                    <a:pt x="996" y="82"/>
                  </a:lnTo>
                  <a:lnTo>
                    <a:pt x="998" y="84"/>
                  </a:lnTo>
                  <a:lnTo>
                    <a:pt x="998" y="85"/>
                  </a:lnTo>
                  <a:lnTo>
                    <a:pt x="996" y="87"/>
                  </a:lnTo>
                  <a:lnTo>
                    <a:pt x="996" y="85"/>
                  </a:lnTo>
                  <a:lnTo>
                    <a:pt x="992" y="85"/>
                  </a:lnTo>
                  <a:lnTo>
                    <a:pt x="987" y="87"/>
                  </a:lnTo>
                  <a:lnTo>
                    <a:pt x="986" y="88"/>
                  </a:lnTo>
                  <a:lnTo>
                    <a:pt x="984" y="88"/>
                  </a:lnTo>
                  <a:lnTo>
                    <a:pt x="983" y="91"/>
                  </a:lnTo>
                  <a:lnTo>
                    <a:pt x="983" y="93"/>
                  </a:lnTo>
                  <a:lnTo>
                    <a:pt x="981" y="94"/>
                  </a:lnTo>
                  <a:lnTo>
                    <a:pt x="981" y="96"/>
                  </a:lnTo>
                  <a:lnTo>
                    <a:pt x="980" y="96"/>
                  </a:lnTo>
                  <a:lnTo>
                    <a:pt x="978" y="94"/>
                  </a:lnTo>
                  <a:lnTo>
                    <a:pt x="975" y="94"/>
                  </a:lnTo>
                  <a:lnTo>
                    <a:pt x="972" y="93"/>
                  </a:lnTo>
                  <a:lnTo>
                    <a:pt x="968" y="94"/>
                  </a:lnTo>
                  <a:lnTo>
                    <a:pt x="965" y="91"/>
                  </a:lnTo>
                  <a:lnTo>
                    <a:pt x="963" y="93"/>
                  </a:lnTo>
                  <a:lnTo>
                    <a:pt x="962" y="91"/>
                  </a:lnTo>
                  <a:lnTo>
                    <a:pt x="959" y="93"/>
                  </a:lnTo>
                  <a:lnTo>
                    <a:pt x="956" y="93"/>
                  </a:lnTo>
                  <a:lnTo>
                    <a:pt x="956" y="94"/>
                  </a:lnTo>
                  <a:lnTo>
                    <a:pt x="954" y="94"/>
                  </a:lnTo>
                  <a:lnTo>
                    <a:pt x="950" y="97"/>
                  </a:lnTo>
                  <a:lnTo>
                    <a:pt x="948" y="97"/>
                  </a:lnTo>
                  <a:lnTo>
                    <a:pt x="950" y="96"/>
                  </a:lnTo>
                  <a:lnTo>
                    <a:pt x="950" y="90"/>
                  </a:lnTo>
                  <a:lnTo>
                    <a:pt x="951" y="90"/>
                  </a:lnTo>
                  <a:lnTo>
                    <a:pt x="953" y="88"/>
                  </a:lnTo>
                  <a:lnTo>
                    <a:pt x="953" y="87"/>
                  </a:lnTo>
                  <a:lnTo>
                    <a:pt x="957" y="82"/>
                  </a:lnTo>
                  <a:lnTo>
                    <a:pt x="957" y="81"/>
                  </a:lnTo>
                  <a:lnTo>
                    <a:pt x="959" y="81"/>
                  </a:lnTo>
                  <a:lnTo>
                    <a:pt x="960" y="82"/>
                  </a:lnTo>
                  <a:lnTo>
                    <a:pt x="962" y="82"/>
                  </a:lnTo>
                  <a:lnTo>
                    <a:pt x="968" y="84"/>
                  </a:lnTo>
                  <a:lnTo>
                    <a:pt x="969" y="84"/>
                  </a:lnTo>
                  <a:lnTo>
                    <a:pt x="971" y="82"/>
                  </a:lnTo>
                  <a:lnTo>
                    <a:pt x="972" y="82"/>
                  </a:lnTo>
                  <a:lnTo>
                    <a:pt x="974" y="84"/>
                  </a:lnTo>
                  <a:lnTo>
                    <a:pt x="977" y="81"/>
                  </a:lnTo>
                  <a:lnTo>
                    <a:pt x="980" y="79"/>
                  </a:lnTo>
                  <a:lnTo>
                    <a:pt x="981" y="78"/>
                  </a:lnTo>
                  <a:close/>
                  <a:moveTo>
                    <a:pt x="1126" y="76"/>
                  </a:moveTo>
                  <a:lnTo>
                    <a:pt x="1129" y="76"/>
                  </a:lnTo>
                  <a:lnTo>
                    <a:pt x="1129" y="78"/>
                  </a:lnTo>
                  <a:lnTo>
                    <a:pt x="1128" y="78"/>
                  </a:lnTo>
                  <a:lnTo>
                    <a:pt x="1126" y="76"/>
                  </a:lnTo>
                  <a:close/>
                  <a:moveTo>
                    <a:pt x="1021" y="75"/>
                  </a:moveTo>
                  <a:lnTo>
                    <a:pt x="1026" y="75"/>
                  </a:lnTo>
                  <a:lnTo>
                    <a:pt x="1027" y="76"/>
                  </a:lnTo>
                  <a:lnTo>
                    <a:pt x="1027" y="78"/>
                  </a:lnTo>
                  <a:lnTo>
                    <a:pt x="1026" y="79"/>
                  </a:lnTo>
                  <a:lnTo>
                    <a:pt x="1023" y="79"/>
                  </a:lnTo>
                  <a:lnTo>
                    <a:pt x="1023" y="81"/>
                  </a:lnTo>
                  <a:lnTo>
                    <a:pt x="1021" y="81"/>
                  </a:lnTo>
                  <a:lnTo>
                    <a:pt x="1020" y="79"/>
                  </a:lnTo>
                  <a:lnTo>
                    <a:pt x="1021" y="79"/>
                  </a:lnTo>
                  <a:lnTo>
                    <a:pt x="1021" y="75"/>
                  </a:lnTo>
                  <a:close/>
                  <a:moveTo>
                    <a:pt x="1181" y="73"/>
                  </a:moveTo>
                  <a:lnTo>
                    <a:pt x="1183" y="75"/>
                  </a:lnTo>
                  <a:lnTo>
                    <a:pt x="1187" y="75"/>
                  </a:lnTo>
                  <a:lnTo>
                    <a:pt x="1187" y="76"/>
                  </a:lnTo>
                  <a:lnTo>
                    <a:pt x="1181" y="76"/>
                  </a:lnTo>
                  <a:lnTo>
                    <a:pt x="1181" y="73"/>
                  </a:lnTo>
                  <a:close/>
                  <a:moveTo>
                    <a:pt x="1196" y="69"/>
                  </a:moveTo>
                  <a:lnTo>
                    <a:pt x="1196" y="70"/>
                  </a:lnTo>
                  <a:lnTo>
                    <a:pt x="1193" y="72"/>
                  </a:lnTo>
                  <a:lnTo>
                    <a:pt x="1193" y="73"/>
                  </a:lnTo>
                  <a:lnTo>
                    <a:pt x="1192" y="73"/>
                  </a:lnTo>
                  <a:lnTo>
                    <a:pt x="1192" y="75"/>
                  </a:lnTo>
                  <a:lnTo>
                    <a:pt x="1190" y="75"/>
                  </a:lnTo>
                  <a:lnTo>
                    <a:pt x="1190" y="73"/>
                  </a:lnTo>
                  <a:lnTo>
                    <a:pt x="1187" y="73"/>
                  </a:lnTo>
                  <a:lnTo>
                    <a:pt x="1187" y="72"/>
                  </a:lnTo>
                  <a:lnTo>
                    <a:pt x="1189" y="70"/>
                  </a:lnTo>
                  <a:lnTo>
                    <a:pt x="1195" y="70"/>
                  </a:lnTo>
                  <a:lnTo>
                    <a:pt x="1196" y="69"/>
                  </a:lnTo>
                  <a:close/>
                  <a:moveTo>
                    <a:pt x="767" y="66"/>
                  </a:moveTo>
                  <a:lnTo>
                    <a:pt x="767" y="70"/>
                  </a:lnTo>
                  <a:lnTo>
                    <a:pt x="764" y="70"/>
                  </a:lnTo>
                  <a:lnTo>
                    <a:pt x="764" y="67"/>
                  </a:lnTo>
                  <a:lnTo>
                    <a:pt x="766" y="67"/>
                  </a:lnTo>
                  <a:lnTo>
                    <a:pt x="767" y="66"/>
                  </a:lnTo>
                  <a:close/>
                  <a:moveTo>
                    <a:pt x="1199" y="64"/>
                  </a:moveTo>
                  <a:lnTo>
                    <a:pt x="1201" y="64"/>
                  </a:lnTo>
                  <a:lnTo>
                    <a:pt x="1201" y="66"/>
                  </a:lnTo>
                  <a:lnTo>
                    <a:pt x="1202" y="66"/>
                  </a:lnTo>
                  <a:lnTo>
                    <a:pt x="1202" y="67"/>
                  </a:lnTo>
                  <a:lnTo>
                    <a:pt x="1201" y="67"/>
                  </a:lnTo>
                  <a:lnTo>
                    <a:pt x="1201" y="69"/>
                  </a:lnTo>
                  <a:lnTo>
                    <a:pt x="1199" y="67"/>
                  </a:lnTo>
                  <a:lnTo>
                    <a:pt x="1199" y="64"/>
                  </a:lnTo>
                  <a:close/>
                  <a:moveTo>
                    <a:pt x="725" y="64"/>
                  </a:moveTo>
                  <a:lnTo>
                    <a:pt x="733" y="64"/>
                  </a:lnTo>
                  <a:lnTo>
                    <a:pt x="731" y="66"/>
                  </a:lnTo>
                  <a:lnTo>
                    <a:pt x="728" y="66"/>
                  </a:lnTo>
                  <a:lnTo>
                    <a:pt x="725" y="64"/>
                  </a:lnTo>
                  <a:close/>
                  <a:moveTo>
                    <a:pt x="719" y="63"/>
                  </a:moveTo>
                  <a:lnTo>
                    <a:pt x="722" y="63"/>
                  </a:lnTo>
                  <a:lnTo>
                    <a:pt x="724" y="64"/>
                  </a:lnTo>
                  <a:lnTo>
                    <a:pt x="719" y="64"/>
                  </a:lnTo>
                  <a:lnTo>
                    <a:pt x="719" y="63"/>
                  </a:lnTo>
                  <a:close/>
                  <a:moveTo>
                    <a:pt x="489" y="57"/>
                  </a:moveTo>
                  <a:lnTo>
                    <a:pt x="491" y="57"/>
                  </a:lnTo>
                  <a:lnTo>
                    <a:pt x="491" y="58"/>
                  </a:lnTo>
                  <a:lnTo>
                    <a:pt x="494" y="58"/>
                  </a:lnTo>
                  <a:lnTo>
                    <a:pt x="494" y="57"/>
                  </a:lnTo>
                  <a:lnTo>
                    <a:pt x="495" y="57"/>
                  </a:lnTo>
                  <a:lnTo>
                    <a:pt x="495" y="58"/>
                  </a:lnTo>
                  <a:lnTo>
                    <a:pt x="494" y="60"/>
                  </a:lnTo>
                  <a:lnTo>
                    <a:pt x="491" y="60"/>
                  </a:lnTo>
                  <a:lnTo>
                    <a:pt x="489" y="58"/>
                  </a:lnTo>
                  <a:lnTo>
                    <a:pt x="488" y="58"/>
                  </a:lnTo>
                  <a:lnTo>
                    <a:pt x="489" y="57"/>
                  </a:lnTo>
                  <a:close/>
                  <a:moveTo>
                    <a:pt x="431" y="57"/>
                  </a:moveTo>
                  <a:lnTo>
                    <a:pt x="437" y="57"/>
                  </a:lnTo>
                  <a:lnTo>
                    <a:pt x="437" y="58"/>
                  </a:lnTo>
                  <a:lnTo>
                    <a:pt x="431" y="58"/>
                  </a:lnTo>
                  <a:lnTo>
                    <a:pt x="431" y="57"/>
                  </a:lnTo>
                  <a:close/>
                  <a:moveTo>
                    <a:pt x="1228" y="55"/>
                  </a:moveTo>
                  <a:lnTo>
                    <a:pt x="1229" y="57"/>
                  </a:lnTo>
                  <a:lnTo>
                    <a:pt x="1231" y="55"/>
                  </a:lnTo>
                  <a:lnTo>
                    <a:pt x="1231" y="57"/>
                  </a:lnTo>
                  <a:lnTo>
                    <a:pt x="1232" y="57"/>
                  </a:lnTo>
                  <a:lnTo>
                    <a:pt x="1232" y="58"/>
                  </a:lnTo>
                  <a:lnTo>
                    <a:pt x="1234" y="58"/>
                  </a:lnTo>
                  <a:lnTo>
                    <a:pt x="1234" y="63"/>
                  </a:lnTo>
                  <a:lnTo>
                    <a:pt x="1232" y="63"/>
                  </a:lnTo>
                  <a:lnTo>
                    <a:pt x="1228" y="58"/>
                  </a:lnTo>
                  <a:lnTo>
                    <a:pt x="1222" y="58"/>
                  </a:lnTo>
                  <a:lnTo>
                    <a:pt x="1222" y="57"/>
                  </a:lnTo>
                  <a:lnTo>
                    <a:pt x="1223" y="57"/>
                  </a:lnTo>
                  <a:lnTo>
                    <a:pt x="1228" y="55"/>
                  </a:lnTo>
                  <a:close/>
                  <a:moveTo>
                    <a:pt x="1217" y="55"/>
                  </a:moveTo>
                  <a:lnTo>
                    <a:pt x="1219" y="57"/>
                  </a:lnTo>
                  <a:lnTo>
                    <a:pt x="1219" y="58"/>
                  </a:lnTo>
                  <a:lnTo>
                    <a:pt x="1220" y="57"/>
                  </a:lnTo>
                  <a:lnTo>
                    <a:pt x="1220" y="58"/>
                  </a:lnTo>
                  <a:lnTo>
                    <a:pt x="1222" y="60"/>
                  </a:lnTo>
                  <a:lnTo>
                    <a:pt x="1222" y="61"/>
                  </a:lnTo>
                  <a:lnTo>
                    <a:pt x="1219" y="61"/>
                  </a:lnTo>
                  <a:lnTo>
                    <a:pt x="1217" y="63"/>
                  </a:lnTo>
                  <a:lnTo>
                    <a:pt x="1217" y="66"/>
                  </a:lnTo>
                  <a:lnTo>
                    <a:pt x="1219" y="67"/>
                  </a:lnTo>
                  <a:lnTo>
                    <a:pt x="1219" y="69"/>
                  </a:lnTo>
                  <a:lnTo>
                    <a:pt x="1220" y="70"/>
                  </a:lnTo>
                  <a:lnTo>
                    <a:pt x="1220" y="72"/>
                  </a:lnTo>
                  <a:lnTo>
                    <a:pt x="1219" y="73"/>
                  </a:lnTo>
                  <a:lnTo>
                    <a:pt x="1219" y="76"/>
                  </a:lnTo>
                  <a:lnTo>
                    <a:pt x="1217" y="79"/>
                  </a:lnTo>
                  <a:lnTo>
                    <a:pt x="1217" y="81"/>
                  </a:lnTo>
                  <a:lnTo>
                    <a:pt x="1216" y="81"/>
                  </a:lnTo>
                  <a:lnTo>
                    <a:pt x="1214" y="82"/>
                  </a:lnTo>
                  <a:lnTo>
                    <a:pt x="1214" y="84"/>
                  </a:lnTo>
                  <a:lnTo>
                    <a:pt x="1211" y="84"/>
                  </a:lnTo>
                  <a:lnTo>
                    <a:pt x="1211" y="87"/>
                  </a:lnTo>
                  <a:lnTo>
                    <a:pt x="1210" y="87"/>
                  </a:lnTo>
                  <a:lnTo>
                    <a:pt x="1210" y="88"/>
                  </a:lnTo>
                  <a:lnTo>
                    <a:pt x="1208" y="88"/>
                  </a:lnTo>
                  <a:lnTo>
                    <a:pt x="1205" y="91"/>
                  </a:lnTo>
                  <a:lnTo>
                    <a:pt x="1205" y="93"/>
                  </a:lnTo>
                  <a:lnTo>
                    <a:pt x="1204" y="93"/>
                  </a:lnTo>
                  <a:lnTo>
                    <a:pt x="1204" y="94"/>
                  </a:lnTo>
                  <a:lnTo>
                    <a:pt x="1205" y="94"/>
                  </a:lnTo>
                  <a:lnTo>
                    <a:pt x="1204" y="96"/>
                  </a:lnTo>
                  <a:lnTo>
                    <a:pt x="1204" y="97"/>
                  </a:lnTo>
                  <a:lnTo>
                    <a:pt x="1202" y="97"/>
                  </a:lnTo>
                  <a:lnTo>
                    <a:pt x="1202" y="99"/>
                  </a:lnTo>
                  <a:lnTo>
                    <a:pt x="1201" y="97"/>
                  </a:lnTo>
                  <a:lnTo>
                    <a:pt x="1202" y="96"/>
                  </a:lnTo>
                  <a:lnTo>
                    <a:pt x="1202" y="94"/>
                  </a:lnTo>
                  <a:lnTo>
                    <a:pt x="1201" y="94"/>
                  </a:lnTo>
                  <a:lnTo>
                    <a:pt x="1201" y="96"/>
                  </a:lnTo>
                  <a:lnTo>
                    <a:pt x="1199" y="96"/>
                  </a:lnTo>
                  <a:lnTo>
                    <a:pt x="1199" y="97"/>
                  </a:lnTo>
                  <a:lnTo>
                    <a:pt x="1193" y="97"/>
                  </a:lnTo>
                  <a:lnTo>
                    <a:pt x="1193" y="91"/>
                  </a:lnTo>
                  <a:lnTo>
                    <a:pt x="1192" y="93"/>
                  </a:lnTo>
                  <a:lnTo>
                    <a:pt x="1192" y="90"/>
                  </a:lnTo>
                  <a:lnTo>
                    <a:pt x="1193" y="90"/>
                  </a:lnTo>
                  <a:lnTo>
                    <a:pt x="1193" y="88"/>
                  </a:lnTo>
                  <a:lnTo>
                    <a:pt x="1195" y="88"/>
                  </a:lnTo>
                  <a:lnTo>
                    <a:pt x="1195" y="84"/>
                  </a:lnTo>
                  <a:lnTo>
                    <a:pt x="1193" y="84"/>
                  </a:lnTo>
                  <a:lnTo>
                    <a:pt x="1193" y="82"/>
                  </a:lnTo>
                  <a:lnTo>
                    <a:pt x="1195" y="82"/>
                  </a:lnTo>
                  <a:lnTo>
                    <a:pt x="1198" y="84"/>
                  </a:lnTo>
                  <a:lnTo>
                    <a:pt x="1198" y="82"/>
                  </a:lnTo>
                  <a:lnTo>
                    <a:pt x="1196" y="81"/>
                  </a:lnTo>
                  <a:lnTo>
                    <a:pt x="1198" y="78"/>
                  </a:lnTo>
                  <a:lnTo>
                    <a:pt x="1198" y="76"/>
                  </a:lnTo>
                  <a:lnTo>
                    <a:pt x="1199" y="75"/>
                  </a:lnTo>
                  <a:lnTo>
                    <a:pt x="1199" y="73"/>
                  </a:lnTo>
                  <a:lnTo>
                    <a:pt x="1202" y="70"/>
                  </a:lnTo>
                  <a:lnTo>
                    <a:pt x="1204" y="70"/>
                  </a:lnTo>
                  <a:lnTo>
                    <a:pt x="1204" y="72"/>
                  </a:lnTo>
                  <a:lnTo>
                    <a:pt x="1205" y="70"/>
                  </a:lnTo>
                  <a:lnTo>
                    <a:pt x="1205" y="69"/>
                  </a:lnTo>
                  <a:lnTo>
                    <a:pt x="1207" y="69"/>
                  </a:lnTo>
                  <a:lnTo>
                    <a:pt x="1207" y="67"/>
                  </a:lnTo>
                  <a:lnTo>
                    <a:pt x="1210" y="64"/>
                  </a:lnTo>
                  <a:lnTo>
                    <a:pt x="1210" y="63"/>
                  </a:lnTo>
                  <a:lnTo>
                    <a:pt x="1211" y="61"/>
                  </a:lnTo>
                  <a:lnTo>
                    <a:pt x="1213" y="61"/>
                  </a:lnTo>
                  <a:lnTo>
                    <a:pt x="1213" y="58"/>
                  </a:lnTo>
                  <a:lnTo>
                    <a:pt x="1214" y="57"/>
                  </a:lnTo>
                  <a:lnTo>
                    <a:pt x="1216" y="57"/>
                  </a:lnTo>
                  <a:lnTo>
                    <a:pt x="1217" y="55"/>
                  </a:lnTo>
                  <a:close/>
                  <a:moveTo>
                    <a:pt x="1078" y="54"/>
                  </a:moveTo>
                  <a:lnTo>
                    <a:pt x="1080" y="54"/>
                  </a:lnTo>
                  <a:lnTo>
                    <a:pt x="1080" y="55"/>
                  </a:lnTo>
                  <a:lnTo>
                    <a:pt x="1083" y="55"/>
                  </a:lnTo>
                  <a:lnTo>
                    <a:pt x="1083" y="57"/>
                  </a:lnTo>
                  <a:lnTo>
                    <a:pt x="1081" y="57"/>
                  </a:lnTo>
                  <a:lnTo>
                    <a:pt x="1081" y="60"/>
                  </a:lnTo>
                  <a:lnTo>
                    <a:pt x="1080" y="61"/>
                  </a:lnTo>
                  <a:lnTo>
                    <a:pt x="1077" y="60"/>
                  </a:lnTo>
                  <a:lnTo>
                    <a:pt x="1075" y="58"/>
                  </a:lnTo>
                  <a:lnTo>
                    <a:pt x="1075" y="57"/>
                  </a:lnTo>
                  <a:lnTo>
                    <a:pt x="1078" y="54"/>
                  </a:lnTo>
                  <a:close/>
                  <a:moveTo>
                    <a:pt x="709" y="54"/>
                  </a:moveTo>
                  <a:lnTo>
                    <a:pt x="710" y="55"/>
                  </a:lnTo>
                  <a:lnTo>
                    <a:pt x="709" y="55"/>
                  </a:lnTo>
                  <a:lnTo>
                    <a:pt x="709" y="54"/>
                  </a:lnTo>
                  <a:close/>
                  <a:moveTo>
                    <a:pt x="422" y="54"/>
                  </a:moveTo>
                  <a:lnTo>
                    <a:pt x="425" y="54"/>
                  </a:lnTo>
                  <a:lnTo>
                    <a:pt x="425" y="55"/>
                  </a:lnTo>
                  <a:lnTo>
                    <a:pt x="426" y="57"/>
                  </a:lnTo>
                  <a:lnTo>
                    <a:pt x="426" y="60"/>
                  </a:lnTo>
                  <a:lnTo>
                    <a:pt x="425" y="58"/>
                  </a:lnTo>
                  <a:lnTo>
                    <a:pt x="422" y="58"/>
                  </a:lnTo>
                  <a:lnTo>
                    <a:pt x="422" y="57"/>
                  </a:lnTo>
                  <a:lnTo>
                    <a:pt x="420" y="55"/>
                  </a:lnTo>
                  <a:lnTo>
                    <a:pt x="422" y="54"/>
                  </a:lnTo>
                  <a:close/>
                  <a:moveTo>
                    <a:pt x="346" y="52"/>
                  </a:moveTo>
                  <a:lnTo>
                    <a:pt x="347" y="52"/>
                  </a:lnTo>
                  <a:lnTo>
                    <a:pt x="347" y="54"/>
                  </a:lnTo>
                  <a:lnTo>
                    <a:pt x="346" y="54"/>
                  </a:lnTo>
                  <a:lnTo>
                    <a:pt x="346" y="52"/>
                  </a:lnTo>
                  <a:close/>
                  <a:moveTo>
                    <a:pt x="712" y="51"/>
                  </a:moveTo>
                  <a:lnTo>
                    <a:pt x="713" y="51"/>
                  </a:lnTo>
                  <a:lnTo>
                    <a:pt x="716" y="54"/>
                  </a:lnTo>
                  <a:lnTo>
                    <a:pt x="719" y="54"/>
                  </a:lnTo>
                  <a:lnTo>
                    <a:pt x="719" y="57"/>
                  </a:lnTo>
                  <a:lnTo>
                    <a:pt x="715" y="57"/>
                  </a:lnTo>
                  <a:lnTo>
                    <a:pt x="715" y="58"/>
                  </a:lnTo>
                  <a:lnTo>
                    <a:pt x="712" y="57"/>
                  </a:lnTo>
                  <a:lnTo>
                    <a:pt x="712" y="55"/>
                  </a:lnTo>
                  <a:lnTo>
                    <a:pt x="710" y="55"/>
                  </a:lnTo>
                  <a:lnTo>
                    <a:pt x="712" y="54"/>
                  </a:lnTo>
                  <a:lnTo>
                    <a:pt x="712" y="51"/>
                  </a:lnTo>
                  <a:close/>
                  <a:moveTo>
                    <a:pt x="1102" y="49"/>
                  </a:moveTo>
                  <a:lnTo>
                    <a:pt x="1104" y="49"/>
                  </a:lnTo>
                  <a:lnTo>
                    <a:pt x="1104" y="51"/>
                  </a:lnTo>
                  <a:lnTo>
                    <a:pt x="1102" y="51"/>
                  </a:lnTo>
                  <a:lnTo>
                    <a:pt x="1102" y="49"/>
                  </a:lnTo>
                  <a:close/>
                  <a:moveTo>
                    <a:pt x="1557" y="47"/>
                  </a:moveTo>
                  <a:lnTo>
                    <a:pt x="1557" y="48"/>
                  </a:lnTo>
                  <a:lnTo>
                    <a:pt x="1558" y="48"/>
                  </a:lnTo>
                  <a:lnTo>
                    <a:pt x="1558" y="49"/>
                  </a:lnTo>
                  <a:lnTo>
                    <a:pt x="1561" y="49"/>
                  </a:lnTo>
                  <a:lnTo>
                    <a:pt x="1561" y="48"/>
                  </a:lnTo>
                  <a:lnTo>
                    <a:pt x="1558" y="48"/>
                  </a:lnTo>
                  <a:lnTo>
                    <a:pt x="1557" y="47"/>
                  </a:lnTo>
                  <a:close/>
                  <a:moveTo>
                    <a:pt x="365" y="45"/>
                  </a:moveTo>
                  <a:lnTo>
                    <a:pt x="369" y="47"/>
                  </a:lnTo>
                  <a:lnTo>
                    <a:pt x="386" y="47"/>
                  </a:lnTo>
                  <a:lnTo>
                    <a:pt x="393" y="45"/>
                  </a:lnTo>
                  <a:lnTo>
                    <a:pt x="399" y="47"/>
                  </a:lnTo>
                  <a:lnTo>
                    <a:pt x="405" y="45"/>
                  </a:lnTo>
                  <a:lnTo>
                    <a:pt x="408" y="45"/>
                  </a:lnTo>
                  <a:lnTo>
                    <a:pt x="408" y="47"/>
                  </a:lnTo>
                  <a:lnTo>
                    <a:pt x="410" y="47"/>
                  </a:lnTo>
                  <a:lnTo>
                    <a:pt x="410" y="48"/>
                  </a:lnTo>
                  <a:lnTo>
                    <a:pt x="413" y="48"/>
                  </a:lnTo>
                  <a:lnTo>
                    <a:pt x="413" y="49"/>
                  </a:lnTo>
                  <a:lnTo>
                    <a:pt x="414" y="51"/>
                  </a:lnTo>
                  <a:lnTo>
                    <a:pt x="410" y="51"/>
                  </a:lnTo>
                  <a:lnTo>
                    <a:pt x="407" y="52"/>
                  </a:lnTo>
                  <a:lnTo>
                    <a:pt x="407" y="54"/>
                  </a:lnTo>
                  <a:lnTo>
                    <a:pt x="404" y="54"/>
                  </a:lnTo>
                  <a:lnTo>
                    <a:pt x="402" y="55"/>
                  </a:lnTo>
                  <a:lnTo>
                    <a:pt x="404" y="57"/>
                  </a:lnTo>
                  <a:lnTo>
                    <a:pt x="389" y="57"/>
                  </a:lnTo>
                  <a:lnTo>
                    <a:pt x="389" y="60"/>
                  </a:lnTo>
                  <a:lnTo>
                    <a:pt x="387" y="61"/>
                  </a:lnTo>
                  <a:lnTo>
                    <a:pt x="387" y="63"/>
                  </a:lnTo>
                  <a:lnTo>
                    <a:pt x="386" y="63"/>
                  </a:lnTo>
                  <a:lnTo>
                    <a:pt x="384" y="61"/>
                  </a:lnTo>
                  <a:lnTo>
                    <a:pt x="369" y="61"/>
                  </a:lnTo>
                  <a:lnTo>
                    <a:pt x="369" y="58"/>
                  </a:lnTo>
                  <a:lnTo>
                    <a:pt x="368" y="57"/>
                  </a:lnTo>
                  <a:lnTo>
                    <a:pt x="368" y="58"/>
                  </a:lnTo>
                  <a:lnTo>
                    <a:pt x="366" y="60"/>
                  </a:lnTo>
                  <a:lnTo>
                    <a:pt x="368" y="60"/>
                  </a:lnTo>
                  <a:lnTo>
                    <a:pt x="369" y="61"/>
                  </a:lnTo>
                  <a:lnTo>
                    <a:pt x="368" y="61"/>
                  </a:lnTo>
                  <a:lnTo>
                    <a:pt x="355" y="58"/>
                  </a:lnTo>
                  <a:lnTo>
                    <a:pt x="350" y="58"/>
                  </a:lnTo>
                  <a:lnTo>
                    <a:pt x="350" y="55"/>
                  </a:lnTo>
                  <a:lnTo>
                    <a:pt x="349" y="55"/>
                  </a:lnTo>
                  <a:lnTo>
                    <a:pt x="349" y="52"/>
                  </a:lnTo>
                  <a:lnTo>
                    <a:pt x="350" y="52"/>
                  </a:lnTo>
                  <a:lnTo>
                    <a:pt x="352" y="51"/>
                  </a:lnTo>
                  <a:lnTo>
                    <a:pt x="353" y="51"/>
                  </a:lnTo>
                  <a:lnTo>
                    <a:pt x="355" y="48"/>
                  </a:lnTo>
                  <a:lnTo>
                    <a:pt x="355" y="47"/>
                  </a:lnTo>
                  <a:lnTo>
                    <a:pt x="362" y="47"/>
                  </a:lnTo>
                  <a:lnTo>
                    <a:pt x="365" y="45"/>
                  </a:lnTo>
                  <a:close/>
                  <a:moveTo>
                    <a:pt x="1552" y="44"/>
                  </a:moveTo>
                  <a:lnTo>
                    <a:pt x="1554" y="45"/>
                  </a:lnTo>
                  <a:lnTo>
                    <a:pt x="1555" y="45"/>
                  </a:lnTo>
                  <a:lnTo>
                    <a:pt x="1554" y="44"/>
                  </a:lnTo>
                  <a:lnTo>
                    <a:pt x="1552" y="44"/>
                  </a:lnTo>
                  <a:close/>
                  <a:moveTo>
                    <a:pt x="465" y="44"/>
                  </a:moveTo>
                  <a:lnTo>
                    <a:pt x="476" y="44"/>
                  </a:lnTo>
                  <a:lnTo>
                    <a:pt x="476" y="45"/>
                  </a:lnTo>
                  <a:lnTo>
                    <a:pt x="480" y="47"/>
                  </a:lnTo>
                  <a:lnTo>
                    <a:pt x="480" y="48"/>
                  </a:lnTo>
                  <a:lnTo>
                    <a:pt x="473" y="48"/>
                  </a:lnTo>
                  <a:lnTo>
                    <a:pt x="473" y="47"/>
                  </a:lnTo>
                  <a:lnTo>
                    <a:pt x="471" y="47"/>
                  </a:lnTo>
                  <a:lnTo>
                    <a:pt x="470" y="48"/>
                  </a:lnTo>
                  <a:lnTo>
                    <a:pt x="471" y="48"/>
                  </a:lnTo>
                  <a:lnTo>
                    <a:pt x="471" y="49"/>
                  </a:lnTo>
                  <a:lnTo>
                    <a:pt x="473" y="49"/>
                  </a:lnTo>
                  <a:lnTo>
                    <a:pt x="471" y="51"/>
                  </a:lnTo>
                  <a:lnTo>
                    <a:pt x="470" y="51"/>
                  </a:lnTo>
                  <a:lnTo>
                    <a:pt x="468" y="49"/>
                  </a:lnTo>
                  <a:lnTo>
                    <a:pt x="468" y="51"/>
                  </a:lnTo>
                  <a:lnTo>
                    <a:pt x="467" y="51"/>
                  </a:lnTo>
                  <a:lnTo>
                    <a:pt x="467" y="48"/>
                  </a:lnTo>
                  <a:lnTo>
                    <a:pt x="464" y="48"/>
                  </a:lnTo>
                  <a:lnTo>
                    <a:pt x="464" y="47"/>
                  </a:lnTo>
                  <a:lnTo>
                    <a:pt x="465" y="47"/>
                  </a:lnTo>
                  <a:lnTo>
                    <a:pt x="465" y="44"/>
                  </a:lnTo>
                  <a:close/>
                  <a:moveTo>
                    <a:pt x="1537" y="39"/>
                  </a:moveTo>
                  <a:lnTo>
                    <a:pt x="1540" y="39"/>
                  </a:lnTo>
                  <a:lnTo>
                    <a:pt x="1540" y="41"/>
                  </a:lnTo>
                  <a:lnTo>
                    <a:pt x="1543" y="41"/>
                  </a:lnTo>
                  <a:lnTo>
                    <a:pt x="1546" y="44"/>
                  </a:lnTo>
                  <a:lnTo>
                    <a:pt x="1545" y="44"/>
                  </a:lnTo>
                  <a:lnTo>
                    <a:pt x="1545" y="45"/>
                  </a:lnTo>
                  <a:lnTo>
                    <a:pt x="1542" y="45"/>
                  </a:lnTo>
                  <a:lnTo>
                    <a:pt x="1540" y="44"/>
                  </a:lnTo>
                  <a:lnTo>
                    <a:pt x="1540" y="42"/>
                  </a:lnTo>
                  <a:lnTo>
                    <a:pt x="1539" y="42"/>
                  </a:lnTo>
                  <a:lnTo>
                    <a:pt x="1537" y="41"/>
                  </a:lnTo>
                  <a:lnTo>
                    <a:pt x="1537" y="39"/>
                  </a:lnTo>
                  <a:close/>
                  <a:moveTo>
                    <a:pt x="1119" y="39"/>
                  </a:moveTo>
                  <a:lnTo>
                    <a:pt x="1120" y="39"/>
                  </a:lnTo>
                  <a:lnTo>
                    <a:pt x="1120" y="41"/>
                  </a:lnTo>
                  <a:lnTo>
                    <a:pt x="1119" y="41"/>
                  </a:lnTo>
                  <a:lnTo>
                    <a:pt x="1119" y="39"/>
                  </a:lnTo>
                  <a:close/>
                  <a:moveTo>
                    <a:pt x="1216" y="36"/>
                  </a:moveTo>
                  <a:lnTo>
                    <a:pt x="1217" y="36"/>
                  </a:lnTo>
                  <a:lnTo>
                    <a:pt x="1217" y="38"/>
                  </a:lnTo>
                  <a:lnTo>
                    <a:pt x="1216" y="39"/>
                  </a:lnTo>
                  <a:lnTo>
                    <a:pt x="1214" y="39"/>
                  </a:lnTo>
                  <a:lnTo>
                    <a:pt x="1214" y="42"/>
                  </a:lnTo>
                  <a:lnTo>
                    <a:pt x="1213" y="42"/>
                  </a:lnTo>
                  <a:lnTo>
                    <a:pt x="1213" y="39"/>
                  </a:lnTo>
                  <a:lnTo>
                    <a:pt x="1216" y="36"/>
                  </a:lnTo>
                  <a:close/>
                  <a:moveTo>
                    <a:pt x="1356" y="33"/>
                  </a:moveTo>
                  <a:lnTo>
                    <a:pt x="1359" y="33"/>
                  </a:lnTo>
                  <a:lnTo>
                    <a:pt x="1359" y="36"/>
                  </a:lnTo>
                  <a:lnTo>
                    <a:pt x="1356" y="39"/>
                  </a:lnTo>
                  <a:lnTo>
                    <a:pt x="1356" y="41"/>
                  </a:lnTo>
                  <a:lnTo>
                    <a:pt x="1355" y="39"/>
                  </a:lnTo>
                  <a:lnTo>
                    <a:pt x="1355" y="38"/>
                  </a:lnTo>
                  <a:lnTo>
                    <a:pt x="1356" y="35"/>
                  </a:lnTo>
                  <a:lnTo>
                    <a:pt x="1356" y="33"/>
                  </a:lnTo>
                  <a:close/>
                  <a:moveTo>
                    <a:pt x="5" y="30"/>
                  </a:moveTo>
                  <a:lnTo>
                    <a:pt x="8" y="30"/>
                  </a:lnTo>
                  <a:lnTo>
                    <a:pt x="8" y="35"/>
                  </a:lnTo>
                  <a:lnTo>
                    <a:pt x="6" y="35"/>
                  </a:lnTo>
                  <a:lnTo>
                    <a:pt x="5" y="36"/>
                  </a:lnTo>
                  <a:lnTo>
                    <a:pt x="3" y="36"/>
                  </a:lnTo>
                  <a:lnTo>
                    <a:pt x="5" y="35"/>
                  </a:lnTo>
                  <a:lnTo>
                    <a:pt x="5" y="33"/>
                  </a:lnTo>
                  <a:lnTo>
                    <a:pt x="3" y="33"/>
                  </a:lnTo>
                  <a:lnTo>
                    <a:pt x="3" y="32"/>
                  </a:lnTo>
                  <a:lnTo>
                    <a:pt x="2" y="35"/>
                  </a:lnTo>
                  <a:lnTo>
                    <a:pt x="0" y="35"/>
                  </a:lnTo>
                  <a:lnTo>
                    <a:pt x="0" y="33"/>
                  </a:lnTo>
                  <a:lnTo>
                    <a:pt x="2" y="32"/>
                  </a:lnTo>
                  <a:lnTo>
                    <a:pt x="5" y="30"/>
                  </a:lnTo>
                  <a:close/>
                  <a:moveTo>
                    <a:pt x="1356" y="26"/>
                  </a:moveTo>
                  <a:lnTo>
                    <a:pt x="1358" y="27"/>
                  </a:lnTo>
                  <a:lnTo>
                    <a:pt x="1359" y="27"/>
                  </a:lnTo>
                  <a:lnTo>
                    <a:pt x="1359" y="30"/>
                  </a:lnTo>
                  <a:lnTo>
                    <a:pt x="1358" y="30"/>
                  </a:lnTo>
                  <a:lnTo>
                    <a:pt x="1358" y="32"/>
                  </a:lnTo>
                  <a:lnTo>
                    <a:pt x="1356" y="32"/>
                  </a:lnTo>
                  <a:lnTo>
                    <a:pt x="1355" y="30"/>
                  </a:lnTo>
                  <a:lnTo>
                    <a:pt x="1355" y="27"/>
                  </a:lnTo>
                  <a:lnTo>
                    <a:pt x="1356" y="26"/>
                  </a:lnTo>
                  <a:close/>
                  <a:moveTo>
                    <a:pt x="1143" y="20"/>
                  </a:moveTo>
                  <a:lnTo>
                    <a:pt x="1144" y="20"/>
                  </a:lnTo>
                  <a:lnTo>
                    <a:pt x="1143" y="21"/>
                  </a:lnTo>
                  <a:lnTo>
                    <a:pt x="1143" y="20"/>
                  </a:lnTo>
                  <a:close/>
                  <a:moveTo>
                    <a:pt x="1364" y="18"/>
                  </a:moveTo>
                  <a:lnTo>
                    <a:pt x="1365" y="18"/>
                  </a:lnTo>
                  <a:lnTo>
                    <a:pt x="1367" y="20"/>
                  </a:lnTo>
                  <a:lnTo>
                    <a:pt x="1367" y="21"/>
                  </a:lnTo>
                  <a:lnTo>
                    <a:pt x="1365" y="23"/>
                  </a:lnTo>
                  <a:lnTo>
                    <a:pt x="1364" y="27"/>
                  </a:lnTo>
                  <a:lnTo>
                    <a:pt x="1362" y="26"/>
                  </a:lnTo>
                  <a:lnTo>
                    <a:pt x="1362" y="23"/>
                  </a:lnTo>
                  <a:lnTo>
                    <a:pt x="1364" y="21"/>
                  </a:lnTo>
                  <a:lnTo>
                    <a:pt x="1364" y="18"/>
                  </a:lnTo>
                  <a:close/>
                  <a:moveTo>
                    <a:pt x="1341" y="15"/>
                  </a:moveTo>
                  <a:lnTo>
                    <a:pt x="1341" y="17"/>
                  </a:lnTo>
                  <a:lnTo>
                    <a:pt x="1343" y="17"/>
                  </a:lnTo>
                  <a:lnTo>
                    <a:pt x="1344" y="18"/>
                  </a:lnTo>
                  <a:lnTo>
                    <a:pt x="1343" y="20"/>
                  </a:lnTo>
                  <a:lnTo>
                    <a:pt x="1344" y="20"/>
                  </a:lnTo>
                  <a:lnTo>
                    <a:pt x="1344" y="18"/>
                  </a:lnTo>
                  <a:lnTo>
                    <a:pt x="1346" y="18"/>
                  </a:lnTo>
                  <a:lnTo>
                    <a:pt x="1347" y="20"/>
                  </a:lnTo>
                  <a:lnTo>
                    <a:pt x="1349" y="20"/>
                  </a:lnTo>
                  <a:lnTo>
                    <a:pt x="1347" y="18"/>
                  </a:lnTo>
                  <a:lnTo>
                    <a:pt x="1346" y="18"/>
                  </a:lnTo>
                  <a:lnTo>
                    <a:pt x="1343" y="17"/>
                  </a:lnTo>
                  <a:lnTo>
                    <a:pt x="1343" y="15"/>
                  </a:lnTo>
                  <a:lnTo>
                    <a:pt x="1341" y="15"/>
                  </a:lnTo>
                  <a:close/>
                  <a:moveTo>
                    <a:pt x="1331" y="14"/>
                  </a:moveTo>
                  <a:lnTo>
                    <a:pt x="1332" y="14"/>
                  </a:lnTo>
                  <a:lnTo>
                    <a:pt x="1332" y="15"/>
                  </a:lnTo>
                  <a:lnTo>
                    <a:pt x="1335" y="15"/>
                  </a:lnTo>
                  <a:lnTo>
                    <a:pt x="1335" y="17"/>
                  </a:lnTo>
                  <a:lnTo>
                    <a:pt x="1337" y="18"/>
                  </a:lnTo>
                  <a:lnTo>
                    <a:pt x="1338" y="18"/>
                  </a:lnTo>
                  <a:lnTo>
                    <a:pt x="1340" y="20"/>
                  </a:lnTo>
                  <a:lnTo>
                    <a:pt x="1338" y="21"/>
                  </a:lnTo>
                  <a:lnTo>
                    <a:pt x="1340" y="23"/>
                  </a:lnTo>
                  <a:lnTo>
                    <a:pt x="1341" y="23"/>
                  </a:lnTo>
                  <a:lnTo>
                    <a:pt x="1341" y="24"/>
                  </a:lnTo>
                  <a:lnTo>
                    <a:pt x="1344" y="24"/>
                  </a:lnTo>
                  <a:lnTo>
                    <a:pt x="1346" y="26"/>
                  </a:lnTo>
                  <a:lnTo>
                    <a:pt x="1347" y="26"/>
                  </a:lnTo>
                  <a:lnTo>
                    <a:pt x="1347" y="32"/>
                  </a:lnTo>
                  <a:lnTo>
                    <a:pt x="1350" y="32"/>
                  </a:lnTo>
                  <a:lnTo>
                    <a:pt x="1349" y="33"/>
                  </a:lnTo>
                  <a:lnTo>
                    <a:pt x="1349" y="35"/>
                  </a:lnTo>
                  <a:lnTo>
                    <a:pt x="1347" y="36"/>
                  </a:lnTo>
                  <a:lnTo>
                    <a:pt x="1346" y="36"/>
                  </a:lnTo>
                  <a:lnTo>
                    <a:pt x="1346" y="35"/>
                  </a:lnTo>
                  <a:lnTo>
                    <a:pt x="1344" y="36"/>
                  </a:lnTo>
                  <a:lnTo>
                    <a:pt x="1346" y="36"/>
                  </a:lnTo>
                  <a:lnTo>
                    <a:pt x="1346" y="38"/>
                  </a:lnTo>
                  <a:lnTo>
                    <a:pt x="1344" y="38"/>
                  </a:lnTo>
                  <a:lnTo>
                    <a:pt x="1344" y="39"/>
                  </a:lnTo>
                  <a:lnTo>
                    <a:pt x="1341" y="42"/>
                  </a:lnTo>
                  <a:lnTo>
                    <a:pt x="1343" y="42"/>
                  </a:lnTo>
                  <a:lnTo>
                    <a:pt x="1343" y="44"/>
                  </a:lnTo>
                  <a:lnTo>
                    <a:pt x="1337" y="47"/>
                  </a:lnTo>
                  <a:lnTo>
                    <a:pt x="1335" y="47"/>
                  </a:lnTo>
                  <a:lnTo>
                    <a:pt x="1334" y="48"/>
                  </a:lnTo>
                  <a:lnTo>
                    <a:pt x="1332" y="45"/>
                  </a:lnTo>
                  <a:lnTo>
                    <a:pt x="1329" y="44"/>
                  </a:lnTo>
                  <a:lnTo>
                    <a:pt x="1329" y="42"/>
                  </a:lnTo>
                  <a:lnTo>
                    <a:pt x="1328" y="41"/>
                  </a:lnTo>
                  <a:lnTo>
                    <a:pt x="1329" y="39"/>
                  </a:lnTo>
                  <a:lnTo>
                    <a:pt x="1329" y="35"/>
                  </a:lnTo>
                  <a:lnTo>
                    <a:pt x="1331" y="27"/>
                  </a:lnTo>
                  <a:lnTo>
                    <a:pt x="1334" y="27"/>
                  </a:lnTo>
                  <a:lnTo>
                    <a:pt x="1335" y="29"/>
                  </a:lnTo>
                  <a:lnTo>
                    <a:pt x="1335" y="27"/>
                  </a:lnTo>
                  <a:lnTo>
                    <a:pt x="1334" y="27"/>
                  </a:lnTo>
                  <a:lnTo>
                    <a:pt x="1334" y="26"/>
                  </a:lnTo>
                  <a:lnTo>
                    <a:pt x="1332" y="26"/>
                  </a:lnTo>
                  <a:lnTo>
                    <a:pt x="1331" y="24"/>
                  </a:lnTo>
                  <a:lnTo>
                    <a:pt x="1332" y="20"/>
                  </a:lnTo>
                  <a:lnTo>
                    <a:pt x="1331" y="18"/>
                  </a:lnTo>
                  <a:lnTo>
                    <a:pt x="1331" y="14"/>
                  </a:lnTo>
                  <a:close/>
                  <a:moveTo>
                    <a:pt x="1338" y="8"/>
                  </a:moveTo>
                  <a:lnTo>
                    <a:pt x="1338" y="9"/>
                  </a:lnTo>
                  <a:lnTo>
                    <a:pt x="1337" y="9"/>
                  </a:lnTo>
                  <a:lnTo>
                    <a:pt x="1338" y="8"/>
                  </a:lnTo>
                  <a:close/>
                  <a:moveTo>
                    <a:pt x="866" y="0"/>
                  </a:moveTo>
                  <a:lnTo>
                    <a:pt x="869" y="2"/>
                  </a:lnTo>
                  <a:lnTo>
                    <a:pt x="870" y="3"/>
                  </a:lnTo>
                  <a:lnTo>
                    <a:pt x="870" y="6"/>
                  </a:lnTo>
                  <a:lnTo>
                    <a:pt x="869" y="6"/>
                  </a:lnTo>
                  <a:lnTo>
                    <a:pt x="869" y="5"/>
                  </a:lnTo>
                  <a:lnTo>
                    <a:pt x="867" y="3"/>
                  </a:lnTo>
                  <a:lnTo>
                    <a:pt x="866" y="3"/>
                  </a:lnTo>
                  <a:lnTo>
                    <a:pt x="866" y="0"/>
                  </a:lnTo>
                  <a:close/>
                  <a:moveTo>
                    <a:pt x="42" y="0"/>
                  </a:moveTo>
                  <a:lnTo>
                    <a:pt x="45" y="0"/>
                  </a:lnTo>
                  <a:lnTo>
                    <a:pt x="46" y="2"/>
                  </a:lnTo>
                  <a:lnTo>
                    <a:pt x="46" y="5"/>
                  </a:lnTo>
                  <a:lnTo>
                    <a:pt x="48" y="6"/>
                  </a:lnTo>
                  <a:lnTo>
                    <a:pt x="49" y="6"/>
                  </a:lnTo>
                  <a:lnTo>
                    <a:pt x="52" y="3"/>
                  </a:lnTo>
                  <a:lnTo>
                    <a:pt x="55" y="3"/>
                  </a:lnTo>
                  <a:lnTo>
                    <a:pt x="57" y="5"/>
                  </a:lnTo>
                  <a:lnTo>
                    <a:pt x="58" y="5"/>
                  </a:lnTo>
                  <a:lnTo>
                    <a:pt x="60" y="6"/>
                  </a:lnTo>
                  <a:lnTo>
                    <a:pt x="63" y="8"/>
                  </a:lnTo>
                  <a:lnTo>
                    <a:pt x="64" y="8"/>
                  </a:lnTo>
                  <a:lnTo>
                    <a:pt x="64" y="6"/>
                  </a:lnTo>
                  <a:lnTo>
                    <a:pt x="75" y="6"/>
                  </a:lnTo>
                  <a:lnTo>
                    <a:pt x="75" y="9"/>
                  </a:lnTo>
                  <a:lnTo>
                    <a:pt x="78" y="11"/>
                  </a:lnTo>
                  <a:lnTo>
                    <a:pt x="79" y="11"/>
                  </a:lnTo>
                  <a:lnTo>
                    <a:pt x="87" y="9"/>
                  </a:lnTo>
                  <a:lnTo>
                    <a:pt x="87" y="8"/>
                  </a:lnTo>
                  <a:lnTo>
                    <a:pt x="88" y="8"/>
                  </a:lnTo>
                  <a:lnTo>
                    <a:pt x="88" y="6"/>
                  </a:lnTo>
                  <a:lnTo>
                    <a:pt x="87" y="6"/>
                  </a:lnTo>
                  <a:lnTo>
                    <a:pt x="87" y="5"/>
                  </a:lnTo>
                  <a:lnTo>
                    <a:pt x="88" y="3"/>
                  </a:lnTo>
                  <a:lnTo>
                    <a:pt x="88" y="2"/>
                  </a:lnTo>
                  <a:lnTo>
                    <a:pt x="91" y="2"/>
                  </a:lnTo>
                  <a:lnTo>
                    <a:pt x="94" y="5"/>
                  </a:lnTo>
                  <a:lnTo>
                    <a:pt x="96" y="5"/>
                  </a:lnTo>
                  <a:lnTo>
                    <a:pt x="100" y="3"/>
                  </a:lnTo>
                  <a:lnTo>
                    <a:pt x="102" y="3"/>
                  </a:lnTo>
                  <a:lnTo>
                    <a:pt x="106" y="8"/>
                  </a:lnTo>
                  <a:lnTo>
                    <a:pt x="108" y="11"/>
                  </a:lnTo>
                  <a:lnTo>
                    <a:pt x="111" y="14"/>
                  </a:lnTo>
                  <a:lnTo>
                    <a:pt x="115" y="14"/>
                  </a:lnTo>
                  <a:lnTo>
                    <a:pt x="118" y="17"/>
                  </a:lnTo>
                  <a:lnTo>
                    <a:pt x="120" y="15"/>
                  </a:lnTo>
                  <a:lnTo>
                    <a:pt x="120" y="17"/>
                  </a:lnTo>
                  <a:lnTo>
                    <a:pt x="121" y="17"/>
                  </a:lnTo>
                  <a:lnTo>
                    <a:pt x="121" y="15"/>
                  </a:lnTo>
                  <a:lnTo>
                    <a:pt x="124" y="15"/>
                  </a:lnTo>
                  <a:lnTo>
                    <a:pt x="124" y="14"/>
                  </a:lnTo>
                  <a:lnTo>
                    <a:pt x="126" y="14"/>
                  </a:lnTo>
                  <a:lnTo>
                    <a:pt x="126" y="15"/>
                  </a:lnTo>
                  <a:lnTo>
                    <a:pt x="127" y="15"/>
                  </a:lnTo>
                  <a:lnTo>
                    <a:pt x="127" y="14"/>
                  </a:lnTo>
                  <a:lnTo>
                    <a:pt x="129" y="15"/>
                  </a:lnTo>
                  <a:lnTo>
                    <a:pt x="129" y="17"/>
                  </a:lnTo>
                  <a:lnTo>
                    <a:pt x="130" y="18"/>
                  </a:lnTo>
                  <a:lnTo>
                    <a:pt x="132" y="18"/>
                  </a:lnTo>
                  <a:lnTo>
                    <a:pt x="135" y="20"/>
                  </a:lnTo>
                  <a:lnTo>
                    <a:pt x="141" y="20"/>
                  </a:lnTo>
                  <a:lnTo>
                    <a:pt x="142" y="18"/>
                  </a:lnTo>
                  <a:lnTo>
                    <a:pt x="142" y="17"/>
                  </a:lnTo>
                  <a:lnTo>
                    <a:pt x="150" y="17"/>
                  </a:lnTo>
                  <a:lnTo>
                    <a:pt x="150" y="21"/>
                  </a:lnTo>
                  <a:lnTo>
                    <a:pt x="154" y="26"/>
                  </a:lnTo>
                  <a:lnTo>
                    <a:pt x="156" y="26"/>
                  </a:lnTo>
                  <a:lnTo>
                    <a:pt x="157" y="27"/>
                  </a:lnTo>
                  <a:lnTo>
                    <a:pt x="159" y="36"/>
                  </a:lnTo>
                  <a:lnTo>
                    <a:pt x="160" y="41"/>
                  </a:lnTo>
                  <a:lnTo>
                    <a:pt x="163" y="41"/>
                  </a:lnTo>
                  <a:lnTo>
                    <a:pt x="165" y="42"/>
                  </a:lnTo>
                  <a:lnTo>
                    <a:pt x="174" y="42"/>
                  </a:lnTo>
                  <a:lnTo>
                    <a:pt x="177" y="45"/>
                  </a:lnTo>
                  <a:lnTo>
                    <a:pt x="178" y="44"/>
                  </a:lnTo>
                  <a:lnTo>
                    <a:pt x="178" y="42"/>
                  </a:lnTo>
                  <a:lnTo>
                    <a:pt x="181" y="42"/>
                  </a:lnTo>
                  <a:lnTo>
                    <a:pt x="183" y="44"/>
                  </a:lnTo>
                  <a:lnTo>
                    <a:pt x="184" y="44"/>
                  </a:lnTo>
                  <a:lnTo>
                    <a:pt x="186" y="45"/>
                  </a:lnTo>
                  <a:lnTo>
                    <a:pt x="199" y="45"/>
                  </a:lnTo>
                  <a:lnTo>
                    <a:pt x="202" y="42"/>
                  </a:lnTo>
                  <a:lnTo>
                    <a:pt x="203" y="44"/>
                  </a:lnTo>
                  <a:lnTo>
                    <a:pt x="212" y="45"/>
                  </a:lnTo>
                  <a:lnTo>
                    <a:pt x="220" y="48"/>
                  </a:lnTo>
                  <a:lnTo>
                    <a:pt x="224" y="48"/>
                  </a:lnTo>
                  <a:lnTo>
                    <a:pt x="230" y="47"/>
                  </a:lnTo>
                  <a:lnTo>
                    <a:pt x="232" y="47"/>
                  </a:lnTo>
                  <a:lnTo>
                    <a:pt x="232" y="45"/>
                  </a:lnTo>
                  <a:lnTo>
                    <a:pt x="233" y="45"/>
                  </a:lnTo>
                  <a:lnTo>
                    <a:pt x="233" y="47"/>
                  </a:lnTo>
                  <a:lnTo>
                    <a:pt x="235" y="47"/>
                  </a:lnTo>
                  <a:lnTo>
                    <a:pt x="236" y="48"/>
                  </a:lnTo>
                  <a:lnTo>
                    <a:pt x="238" y="48"/>
                  </a:lnTo>
                  <a:lnTo>
                    <a:pt x="239" y="49"/>
                  </a:lnTo>
                  <a:lnTo>
                    <a:pt x="247" y="49"/>
                  </a:lnTo>
                  <a:lnTo>
                    <a:pt x="247" y="48"/>
                  </a:lnTo>
                  <a:lnTo>
                    <a:pt x="251" y="44"/>
                  </a:lnTo>
                  <a:lnTo>
                    <a:pt x="254" y="38"/>
                  </a:lnTo>
                  <a:lnTo>
                    <a:pt x="254" y="35"/>
                  </a:lnTo>
                  <a:lnTo>
                    <a:pt x="256" y="33"/>
                  </a:lnTo>
                  <a:lnTo>
                    <a:pt x="256" y="29"/>
                  </a:lnTo>
                  <a:lnTo>
                    <a:pt x="259" y="26"/>
                  </a:lnTo>
                  <a:lnTo>
                    <a:pt x="262" y="26"/>
                  </a:lnTo>
                  <a:lnTo>
                    <a:pt x="263" y="24"/>
                  </a:lnTo>
                  <a:lnTo>
                    <a:pt x="268" y="24"/>
                  </a:lnTo>
                  <a:lnTo>
                    <a:pt x="269" y="26"/>
                  </a:lnTo>
                  <a:lnTo>
                    <a:pt x="272" y="26"/>
                  </a:lnTo>
                  <a:lnTo>
                    <a:pt x="274" y="27"/>
                  </a:lnTo>
                  <a:lnTo>
                    <a:pt x="274" y="30"/>
                  </a:lnTo>
                  <a:lnTo>
                    <a:pt x="277" y="35"/>
                  </a:lnTo>
                  <a:lnTo>
                    <a:pt x="277" y="38"/>
                  </a:lnTo>
                  <a:lnTo>
                    <a:pt x="290" y="38"/>
                  </a:lnTo>
                  <a:lnTo>
                    <a:pt x="293" y="35"/>
                  </a:lnTo>
                  <a:lnTo>
                    <a:pt x="298" y="35"/>
                  </a:lnTo>
                  <a:lnTo>
                    <a:pt x="301" y="38"/>
                  </a:lnTo>
                  <a:lnTo>
                    <a:pt x="301" y="39"/>
                  </a:lnTo>
                  <a:lnTo>
                    <a:pt x="302" y="41"/>
                  </a:lnTo>
                  <a:lnTo>
                    <a:pt x="305" y="41"/>
                  </a:lnTo>
                  <a:lnTo>
                    <a:pt x="308" y="42"/>
                  </a:lnTo>
                  <a:lnTo>
                    <a:pt x="314" y="42"/>
                  </a:lnTo>
                  <a:lnTo>
                    <a:pt x="314" y="41"/>
                  </a:lnTo>
                  <a:lnTo>
                    <a:pt x="320" y="47"/>
                  </a:lnTo>
                  <a:lnTo>
                    <a:pt x="331" y="47"/>
                  </a:lnTo>
                  <a:lnTo>
                    <a:pt x="332" y="45"/>
                  </a:lnTo>
                  <a:lnTo>
                    <a:pt x="337" y="45"/>
                  </a:lnTo>
                  <a:lnTo>
                    <a:pt x="338" y="47"/>
                  </a:lnTo>
                  <a:lnTo>
                    <a:pt x="340" y="47"/>
                  </a:lnTo>
                  <a:lnTo>
                    <a:pt x="341" y="48"/>
                  </a:lnTo>
                  <a:lnTo>
                    <a:pt x="343" y="47"/>
                  </a:lnTo>
                  <a:lnTo>
                    <a:pt x="343" y="45"/>
                  </a:lnTo>
                  <a:lnTo>
                    <a:pt x="344" y="45"/>
                  </a:lnTo>
                  <a:lnTo>
                    <a:pt x="344" y="49"/>
                  </a:lnTo>
                  <a:lnTo>
                    <a:pt x="343" y="51"/>
                  </a:lnTo>
                  <a:lnTo>
                    <a:pt x="344" y="51"/>
                  </a:lnTo>
                  <a:lnTo>
                    <a:pt x="344" y="52"/>
                  </a:lnTo>
                  <a:lnTo>
                    <a:pt x="346" y="54"/>
                  </a:lnTo>
                  <a:lnTo>
                    <a:pt x="344" y="54"/>
                  </a:lnTo>
                  <a:lnTo>
                    <a:pt x="344" y="55"/>
                  </a:lnTo>
                  <a:lnTo>
                    <a:pt x="346" y="55"/>
                  </a:lnTo>
                  <a:lnTo>
                    <a:pt x="346" y="57"/>
                  </a:lnTo>
                  <a:lnTo>
                    <a:pt x="347" y="57"/>
                  </a:lnTo>
                  <a:lnTo>
                    <a:pt x="347" y="58"/>
                  </a:lnTo>
                  <a:lnTo>
                    <a:pt x="349" y="60"/>
                  </a:lnTo>
                  <a:lnTo>
                    <a:pt x="344" y="60"/>
                  </a:lnTo>
                  <a:lnTo>
                    <a:pt x="346" y="61"/>
                  </a:lnTo>
                  <a:lnTo>
                    <a:pt x="349" y="63"/>
                  </a:lnTo>
                  <a:lnTo>
                    <a:pt x="350" y="61"/>
                  </a:lnTo>
                  <a:lnTo>
                    <a:pt x="350" y="60"/>
                  </a:lnTo>
                  <a:lnTo>
                    <a:pt x="353" y="60"/>
                  </a:lnTo>
                  <a:lnTo>
                    <a:pt x="353" y="61"/>
                  </a:lnTo>
                  <a:lnTo>
                    <a:pt x="355" y="63"/>
                  </a:lnTo>
                  <a:lnTo>
                    <a:pt x="355" y="69"/>
                  </a:lnTo>
                  <a:lnTo>
                    <a:pt x="353" y="70"/>
                  </a:lnTo>
                  <a:lnTo>
                    <a:pt x="352" y="70"/>
                  </a:lnTo>
                  <a:lnTo>
                    <a:pt x="352" y="75"/>
                  </a:lnTo>
                  <a:lnTo>
                    <a:pt x="355" y="78"/>
                  </a:lnTo>
                  <a:lnTo>
                    <a:pt x="360" y="81"/>
                  </a:lnTo>
                  <a:lnTo>
                    <a:pt x="363" y="81"/>
                  </a:lnTo>
                  <a:lnTo>
                    <a:pt x="365" y="82"/>
                  </a:lnTo>
                  <a:lnTo>
                    <a:pt x="366" y="82"/>
                  </a:lnTo>
                  <a:lnTo>
                    <a:pt x="368" y="84"/>
                  </a:lnTo>
                  <a:lnTo>
                    <a:pt x="368" y="85"/>
                  </a:lnTo>
                  <a:lnTo>
                    <a:pt x="374" y="85"/>
                  </a:lnTo>
                  <a:lnTo>
                    <a:pt x="375" y="87"/>
                  </a:lnTo>
                  <a:lnTo>
                    <a:pt x="378" y="87"/>
                  </a:lnTo>
                  <a:lnTo>
                    <a:pt x="380" y="85"/>
                  </a:lnTo>
                  <a:lnTo>
                    <a:pt x="383" y="85"/>
                  </a:lnTo>
                  <a:lnTo>
                    <a:pt x="383" y="84"/>
                  </a:lnTo>
                  <a:lnTo>
                    <a:pt x="399" y="84"/>
                  </a:lnTo>
                  <a:lnTo>
                    <a:pt x="401" y="82"/>
                  </a:lnTo>
                  <a:lnTo>
                    <a:pt x="405" y="82"/>
                  </a:lnTo>
                  <a:lnTo>
                    <a:pt x="408" y="79"/>
                  </a:lnTo>
                  <a:lnTo>
                    <a:pt x="410" y="79"/>
                  </a:lnTo>
                  <a:lnTo>
                    <a:pt x="414" y="84"/>
                  </a:lnTo>
                  <a:lnTo>
                    <a:pt x="420" y="84"/>
                  </a:lnTo>
                  <a:lnTo>
                    <a:pt x="422" y="85"/>
                  </a:lnTo>
                  <a:lnTo>
                    <a:pt x="426" y="85"/>
                  </a:lnTo>
                  <a:lnTo>
                    <a:pt x="426" y="87"/>
                  </a:lnTo>
                  <a:lnTo>
                    <a:pt x="429" y="88"/>
                  </a:lnTo>
                  <a:lnTo>
                    <a:pt x="429" y="93"/>
                  </a:lnTo>
                  <a:lnTo>
                    <a:pt x="428" y="94"/>
                  </a:lnTo>
                  <a:lnTo>
                    <a:pt x="429" y="96"/>
                  </a:lnTo>
                  <a:lnTo>
                    <a:pt x="429" y="97"/>
                  </a:lnTo>
                  <a:lnTo>
                    <a:pt x="426" y="105"/>
                  </a:lnTo>
                  <a:lnTo>
                    <a:pt x="425" y="114"/>
                  </a:lnTo>
                  <a:lnTo>
                    <a:pt x="425" y="121"/>
                  </a:lnTo>
                  <a:lnTo>
                    <a:pt x="426" y="121"/>
                  </a:lnTo>
                  <a:lnTo>
                    <a:pt x="426" y="118"/>
                  </a:lnTo>
                  <a:lnTo>
                    <a:pt x="428" y="118"/>
                  </a:lnTo>
                  <a:lnTo>
                    <a:pt x="428" y="124"/>
                  </a:lnTo>
                  <a:lnTo>
                    <a:pt x="429" y="124"/>
                  </a:lnTo>
                  <a:lnTo>
                    <a:pt x="429" y="126"/>
                  </a:lnTo>
                  <a:lnTo>
                    <a:pt x="432" y="126"/>
                  </a:lnTo>
                  <a:lnTo>
                    <a:pt x="432" y="127"/>
                  </a:lnTo>
                  <a:lnTo>
                    <a:pt x="435" y="127"/>
                  </a:lnTo>
                  <a:lnTo>
                    <a:pt x="435" y="129"/>
                  </a:lnTo>
                  <a:lnTo>
                    <a:pt x="437" y="129"/>
                  </a:lnTo>
                  <a:lnTo>
                    <a:pt x="437" y="132"/>
                  </a:lnTo>
                  <a:lnTo>
                    <a:pt x="435" y="133"/>
                  </a:lnTo>
                  <a:lnTo>
                    <a:pt x="434" y="133"/>
                  </a:lnTo>
                  <a:lnTo>
                    <a:pt x="429" y="132"/>
                  </a:lnTo>
                  <a:lnTo>
                    <a:pt x="425" y="132"/>
                  </a:lnTo>
                  <a:lnTo>
                    <a:pt x="425" y="130"/>
                  </a:lnTo>
                  <a:lnTo>
                    <a:pt x="426" y="129"/>
                  </a:lnTo>
                  <a:lnTo>
                    <a:pt x="426" y="127"/>
                  </a:lnTo>
                  <a:lnTo>
                    <a:pt x="425" y="126"/>
                  </a:lnTo>
                  <a:lnTo>
                    <a:pt x="420" y="126"/>
                  </a:lnTo>
                  <a:lnTo>
                    <a:pt x="419" y="127"/>
                  </a:lnTo>
                  <a:lnTo>
                    <a:pt x="417" y="127"/>
                  </a:lnTo>
                  <a:lnTo>
                    <a:pt x="417" y="126"/>
                  </a:lnTo>
                  <a:lnTo>
                    <a:pt x="414" y="126"/>
                  </a:lnTo>
                  <a:lnTo>
                    <a:pt x="413" y="127"/>
                  </a:lnTo>
                  <a:lnTo>
                    <a:pt x="411" y="126"/>
                  </a:lnTo>
                  <a:lnTo>
                    <a:pt x="410" y="126"/>
                  </a:lnTo>
                  <a:lnTo>
                    <a:pt x="410" y="124"/>
                  </a:lnTo>
                  <a:lnTo>
                    <a:pt x="408" y="126"/>
                  </a:lnTo>
                  <a:lnTo>
                    <a:pt x="407" y="126"/>
                  </a:lnTo>
                  <a:lnTo>
                    <a:pt x="407" y="123"/>
                  </a:lnTo>
                  <a:lnTo>
                    <a:pt x="405" y="123"/>
                  </a:lnTo>
                  <a:lnTo>
                    <a:pt x="405" y="124"/>
                  </a:lnTo>
                  <a:lnTo>
                    <a:pt x="404" y="124"/>
                  </a:lnTo>
                  <a:lnTo>
                    <a:pt x="402" y="123"/>
                  </a:lnTo>
                  <a:lnTo>
                    <a:pt x="399" y="123"/>
                  </a:lnTo>
                  <a:lnTo>
                    <a:pt x="399" y="120"/>
                  </a:lnTo>
                  <a:lnTo>
                    <a:pt x="398" y="120"/>
                  </a:lnTo>
                  <a:lnTo>
                    <a:pt x="398" y="121"/>
                  </a:lnTo>
                  <a:lnTo>
                    <a:pt x="395" y="121"/>
                  </a:lnTo>
                  <a:lnTo>
                    <a:pt x="395" y="120"/>
                  </a:lnTo>
                  <a:lnTo>
                    <a:pt x="392" y="120"/>
                  </a:lnTo>
                  <a:lnTo>
                    <a:pt x="392" y="118"/>
                  </a:lnTo>
                  <a:lnTo>
                    <a:pt x="389" y="118"/>
                  </a:lnTo>
                  <a:lnTo>
                    <a:pt x="389" y="117"/>
                  </a:lnTo>
                  <a:lnTo>
                    <a:pt x="386" y="117"/>
                  </a:lnTo>
                  <a:lnTo>
                    <a:pt x="383" y="114"/>
                  </a:lnTo>
                  <a:lnTo>
                    <a:pt x="381" y="115"/>
                  </a:lnTo>
                  <a:lnTo>
                    <a:pt x="380" y="115"/>
                  </a:lnTo>
                  <a:lnTo>
                    <a:pt x="378" y="112"/>
                  </a:lnTo>
                  <a:lnTo>
                    <a:pt x="377" y="111"/>
                  </a:lnTo>
                  <a:lnTo>
                    <a:pt x="374" y="111"/>
                  </a:lnTo>
                  <a:lnTo>
                    <a:pt x="371" y="109"/>
                  </a:lnTo>
                  <a:lnTo>
                    <a:pt x="365" y="111"/>
                  </a:lnTo>
                  <a:lnTo>
                    <a:pt x="363" y="111"/>
                  </a:lnTo>
                  <a:lnTo>
                    <a:pt x="359" y="115"/>
                  </a:lnTo>
                  <a:lnTo>
                    <a:pt x="356" y="115"/>
                  </a:lnTo>
                  <a:lnTo>
                    <a:pt x="355" y="114"/>
                  </a:lnTo>
                  <a:lnTo>
                    <a:pt x="355" y="115"/>
                  </a:lnTo>
                  <a:lnTo>
                    <a:pt x="352" y="115"/>
                  </a:lnTo>
                  <a:lnTo>
                    <a:pt x="350" y="117"/>
                  </a:lnTo>
                  <a:lnTo>
                    <a:pt x="349" y="117"/>
                  </a:lnTo>
                  <a:lnTo>
                    <a:pt x="347" y="118"/>
                  </a:lnTo>
                  <a:lnTo>
                    <a:pt x="347" y="117"/>
                  </a:lnTo>
                  <a:lnTo>
                    <a:pt x="343" y="117"/>
                  </a:lnTo>
                  <a:lnTo>
                    <a:pt x="341" y="115"/>
                  </a:lnTo>
                  <a:lnTo>
                    <a:pt x="335" y="115"/>
                  </a:lnTo>
                  <a:lnTo>
                    <a:pt x="335" y="114"/>
                  </a:lnTo>
                  <a:lnTo>
                    <a:pt x="334" y="114"/>
                  </a:lnTo>
                  <a:lnTo>
                    <a:pt x="334" y="112"/>
                  </a:lnTo>
                  <a:lnTo>
                    <a:pt x="326" y="112"/>
                  </a:lnTo>
                  <a:lnTo>
                    <a:pt x="317" y="111"/>
                  </a:lnTo>
                  <a:lnTo>
                    <a:pt x="316" y="109"/>
                  </a:lnTo>
                  <a:lnTo>
                    <a:pt x="314" y="109"/>
                  </a:lnTo>
                  <a:lnTo>
                    <a:pt x="314" y="111"/>
                  </a:lnTo>
                  <a:lnTo>
                    <a:pt x="311" y="111"/>
                  </a:lnTo>
                  <a:lnTo>
                    <a:pt x="311" y="109"/>
                  </a:lnTo>
                  <a:lnTo>
                    <a:pt x="307" y="109"/>
                  </a:lnTo>
                  <a:lnTo>
                    <a:pt x="307" y="111"/>
                  </a:lnTo>
                  <a:lnTo>
                    <a:pt x="305" y="112"/>
                  </a:lnTo>
                  <a:lnTo>
                    <a:pt x="305" y="111"/>
                  </a:lnTo>
                  <a:lnTo>
                    <a:pt x="304" y="111"/>
                  </a:lnTo>
                  <a:lnTo>
                    <a:pt x="304" y="112"/>
                  </a:lnTo>
                  <a:lnTo>
                    <a:pt x="302" y="112"/>
                  </a:lnTo>
                  <a:lnTo>
                    <a:pt x="302" y="114"/>
                  </a:lnTo>
                  <a:lnTo>
                    <a:pt x="301" y="114"/>
                  </a:lnTo>
                  <a:lnTo>
                    <a:pt x="299" y="112"/>
                  </a:lnTo>
                  <a:lnTo>
                    <a:pt x="292" y="112"/>
                  </a:lnTo>
                  <a:lnTo>
                    <a:pt x="290" y="111"/>
                  </a:lnTo>
                  <a:lnTo>
                    <a:pt x="290" y="109"/>
                  </a:lnTo>
                  <a:lnTo>
                    <a:pt x="283" y="109"/>
                  </a:lnTo>
                  <a:lnTo>
                    <a:pt x="278" y="111"/>
                  </a:lnTo>
                  <a:lnTo>
                    <a:pt x="278" y="109"/>
                  </a:lnTo>
                  <a:lnTo>
                    <a:pt x="277" y="109"/>
                  </a:lnTo>
                  <a:lnTo>
                    <a:pt x="275" y="108"/>
                  </a:lnTo>
                  <a:lnTo>
                    <a:pt x="274" y="108"/>
                  </a:lnTo>
                  <a:lnTo>
                    <a:pt x="274" y="109"/>
                  </a:lnTo>
                  <a:lnTo>
                    <a:pt x="271" y="109"/>
                  </a:lnTo>
                  <a:lnTo>
                    <a:pt x="268" y="108"/>
                  </a:lnTo>
                  <a:lnTo>
                    <a:pt x="263" y="106"/>
                  </a:lnTo>
                  <a:lnTo>
                    <a:pt x="257" y="106"/>
                  </a:lnTo>
                  <a:lnTo>
                    <a:pt x="256" y="105"/>
                  </a:lnTo>
                  <a:lnTo>
                    <a:pt x="254" y="105"/>
                  </a:lnTo>
                  <a:lnTo>
                    <a:pt x="253" y="103"/>
                  </a:lnTo>
                  <a:lnTo>
                    <a:pt x="253" y="105"/>
                  </a:lnTo>
                  <a:lnTo>
                    <a:pt x="250" y="103"/>
                  </a:lnTo>
                  <a:lnTo>
                    <a:pt x="247" y="103"/>
                  </a:lnTo>
                  <a:lnTo>
                    <a:pt x="247" y="102"/>
                  </a:lnTo>
                  <a:lnTo>
                    <a:pt x="244" y="100"/>
                  </a:lnTo>
                  <a:lnTo>
                    <a:pt x="242" y="100"/>
                  </a:lnTo>
                  <a:lnTo>
                    <a:pt x="241" y="99"/>
                  </a:lnTo>
                  <a:lnTo>
                    <a:pt x="239" y="99"/>
                  </a:lnTo>
                  <a:lnTo>
                    <a:pt x="239" y="97"/>
                  </a:lnTo>
                  <a:lnTo>
                    <a:pt x="238" y="97"/>
                  </a:lnTo>
                  <a:lnTo>
                    <a:pt x="226" y="91"/>
                  </a:lnTo>
                  <a:lnTo>
                    <a:pt x="221" y="90"/>
                  </a:lnTo>
                  <a:lnTo>
                    <a:pt x="217" y="90"/>
                  </a:lnTo>
                  <a:lnTo>
                    <a:pt x="215" y="88"/>
                  </a:lnTo>
                  <a:lnTo>
                    <a:pt x="214" y="88"/>
                  </a:lnTo>
                  <a:lnTo>
                    <a:pt x="209" y="87"/>
                  </a:lnTo>
                  <a:lnTo>
                    <a:pt x="197" y="87"/>
                  </a:lnTo>
                  <a:lnTo>
                    <a:pt x="197" y="84"/>
                  </a:lnTo>
                  <a:lnTo>
                    <a:pt x="189" y="84"/>
                  </a:lnTo>
                  <a:lnTo>
                    <a:pt x="183" y="82"/>
                  </a:lnTo>
                  <a:lnTo>
                    <a:pt x="181" y="84"/>
                  </a:lnTo>
                  <a:lnTo>
                    <a:pt x="180" y="84"/>
                  </a:lnTo>
                  <a:lnTo>
                    <a:pt x="180" y="85"/>
                  </a:lnTo>
                  <a:lnTo>
                    <a:pt x="178" y="84"/>
                  </a:lnTo>
                  <a:lnTo>
                    <a:pt x="177" y="84"/>
                  </a:lnTo>
                  <a:lnTo>
                    <a:pt x="180" y="85"/>
                  </a:lnTo>
                  <a:lnTo>
                    <a:pt x="180" y="87"/>
                  </a:lnTo>
                  <a:lnTo>
                    <a:pt x="178" y="87"/>
                  </a:lnTo>
                  <a:lnTo>
                    <a:pt x="177" y="85"/>
                  </a:lnTo>
                  <a:lnTo>
                    <a:pt x="169" y="85"/>
                  </a:lnTo>
                  <a:lnTo>
                    <a:pt x="169" y="84"/>
                  </a:lnTo>
                  <a:lnTo>
                    <a:pt x="171" y="82"/>
                  </a:lnTo>
                  <a:lnTo>
                    <a:pt x="174" y="84"/>
                  </a:lnTo>
                  <a:lnTo>
                    <a:pt x="175" y="84"/>
                  </a:lnTo>
                  <a:lnTo>
                    <a:pt x="174" y="82"/>
                  </a:lnTo>
                  <a:lnTo>
                    <a:pt x="174" y="79"/>
                  </a:lnTo>
                  <a:lnTo>
                    <a:pt x="172" y="79"/>
                  </a:lnTo>
                  <a:lnTo>
                    <a:pt x="169" y="82"/>
                  </a:lnTo>
                  <a:lnTo>
                    <a:pt x="157" y="82"/>
                  </a:lnTo>
                  <a:lnTo>
                    <a:pt x="156" y="84"/>
                  </a:lnTo>
                  <a:lnTo>
                    <a:pt x="156" y="88"/>
                  </a:lnTo>
                  <a:lnTo>
                    <a:pt x="148" y="88"/>
                  </a:lnTo>
                  <a:lnTo>
                    <a:pt x="130" y="85"/>
                  </a:lnTo>
                  <a:lnTo>
                    <a:pt x="126" y="85"/>
                  </a:lnTo>
                  <a:lnTo>
                    <a:pt x="126" y="84"/>
                  </a:lnTo>
                  <a:lnTo>
                    <a:pt x="124" y="82"/>
                  </a:lnTo>
                  <a:lnTo>
                    <a:pt x="120" y="82"/>
                  </a:lnTo>
                  <a:lnTo>
                    <a:pt x="117" y="79"/>
                  </a:lnTo>
                  <a:lnTo>
                    <a:pt x="115" y="79"/>
                  </a:lnTo>
                  <a:lnTo>
                    <a:pt x="112" y="76"/>
                  </a:lnTo>
                  <a:lnTo>
                    <a:pt x="109" y="76"/>
                  </a:lnTo>
                  <a:lnTo>
                    <a:pt x="109" y="75"/>
                  </a:lnTo>
                  <a:lnTo>
                    <a:pt x="106" y="75"/>
                  </a:lnTo>
                  <a:lnTo>
                    <a:pt x="106" y="73"/>
                  </a:lnTo>
                  <a:lnTo>
                    <a:pt x="103" y="75"/>
                  </a:lnTo>
                  <a:lnTo>
                    <a:pt x="100" y="73"/>
                  </a:lnTo>
                  <a:lnTo>
                    <a:pt x="96" y="73"/>
                  </a:lnTo>
                  <a:lnTo>
                    <a:pt x="94" y="72"/>
                  </a:lnTo>
                  <a:lnTo>
                    <a:pt x="78" y="72"/>
                  </a:lnTo>
                  <a:lnTo>
                    <a:pt x="69" y="70"/>
                  </a:lnTo>
                  <a:lnTo>
                    <a:pt x="64" y="70"/>
                  </a:lnTo>
                  <a:lnTo>
                    <a:pt x="63" y="69"/>
                  </a:lnTo>
                  <a:lnTo>
                    <a:pt x="63" y="67"/>
                  </a:lnTo>
                  <a:lnTo>
                    <a:pt x="61" y="67"/>
                  </a:lnTo>
                  <a:lnTo>
                    <a:pt x="60" y="69"/>
                  </a:lnTo>
                  <a:lnTo>
                    <a:pt x="60" y="66"/>
                  </a:lnTo>
                  <a:lnTo>
                    <a:pt x="58" y="66"/>
                  </a:lnTo>
                  <a:lnTo>
                    <a:pt x="58" y="61"/>
                  </a:lnTo>
                  <a:lnTo>
                    <a:pt x="60" y="61"/>
                  </a:lnTo>
                  <a:lnTo>
                    <a:pt x="60" y="60"/>
                  </a:lnTo>
                  <a:lnTo>
                    <a:pt x="63" y="60"/>
                  </a:lnTo>
                  <a:lnTo>
                    <a:pt x="63" y="58"/>
                  </a:lnTo>
                  <a:lnTo>
                    <a:pt x="61" y="58"/>
                  </a:lnTo>
                  <a:lnTo>
                    <a:pt x="66" y="54"/>
                  </a:lnTo>
                  <a:lnTo>
                    <a:pt x="66" y="51"/>
                  </a:lnTo>
                  <a:lnTo>
                    <a:pt x="64" y="49"/>
                  </a:lnTo>
                  <a:lnTo>
                    <a:pt x="60" y="49"/>
                  </a:lnTo>
                  <a:lnTo>
                    <a:pt x="60" y="51"/>
                  </a:lnTo>
                  <a:lnTo>
                    <a:pt x="54" y="51"/>
                  </a:lnTo>
                  <a:lnTo>
                    <a:pt x="54" y="49"/>
                  </a:lnTo>
                  <a:lnTo>
                    <a:pt x="52" y="49"/>
                  </a:lnTo>
                  <a:lnTo>
                    <a:pt x="52" y="48"/>
                  </a:lnTo>
                  <a:lnTo>
                    <a:pt x="51" y="47"/>
                  </a:lnTo>
                  <a:lnTo>
                    <a:pt x="49" y="48"/>
                  </a:lnTo>
                  <a:lnTo>
                    <a:pt x="46" y="47"/>
                  </a:lnTo>
                  <a:lnTo>
                    <a:pt x="43" y="44"/>
                  </a:lnTo>
                  <a:lnTo>
                    <a:pt x="32" y="44"/>
                  </a:lnTo>
                  <a:lnTo>
                    <a:pt x="32" y="45"/>
                  </a:lnTo>
                  <a:lnTo>
                    <a:pt x="30" y="44"/>
                  </a:lnTo>
                  <a:lnTo>
                    <a:pt x="27" y="44"/>
                  </a:lnTo>
                  <a:lnTo>
                    <a:pt x="23" y="45"/>
                  </a:lnTo>
                  <a:lnTo>
                    <a:pt x="17" y="45"/>
                  </a:lnTo>
                  <a:lnTo>
                    <a:pt x="17" y="44"/>
                  </a:lnTo>
                  <a:lnTo>
                    <a:pt x="15" y="44"/>
                  </a:lnTo>
                  <a:lnTo>
                    <a:pt x="15" y="45"/>
                  </a:lnTo>
                  <a:lnTo>
                    <a:pt x="14" y="45"/>
                  </a:lnTo>
                  <a:lnTo>
                    <a:pt x="14" y="44"/>
                  </a:lnTo>
                  <a:lnTo>
                    <a:pt x="12" y="42"/>
                  </a:lnTo>
                  <a:lnTo>
                    <a:pt x="9" y="42"/>
                  </a:lnTo>
                  <a:lnTo>
                    <a:pt x="9" y="44"/>
                  </a:lnTo>
                  <a:lnTo>
                    <a:pt x="6" y="44"/>
                  </a:lnTo>
                  <a:lnTo>
                    <a:pt x="6" y="41"/>
                  </a:lnTo>
                  <a:lnTo>
                    <a:pt x="8" y="41"/>
                  </a:lnTo>
                  <a:lnTo>
                    <a:pt x="9" y="39"/>
                  </a:lnTo>
                  <a:lnTo>
                    <a:pt x="11" y="39"/>
                  </a:lnTo>
                  <a:lnTo>
                    <a:pt x="11" y="36"/>
                  </a:lnTo>
                  <a:lnTo>
                    <a:pt x="14" y="36"/>
                  </a:lnTo>
                  <a:lnTo>
                    <a:pt x="14" y="39"/>
                  </a:lnTo>
                  <a:lnTo>
                    <a:pt x="15" y="41"/>
                  </a:lnTo>
                  <a:lnTo>
                    <a:pt x="15" y="42"/>
                  </a:lnTo>
                  <a:lnTo>
                    <a:pt x="18" y="42"/>
                  </a:lnTo>
                  <a:lnTo>
                    <a:pt x="20" y="39"/>
                  </a:lnTo>
                  <a:lnTo>
                    <a:pt x="23" y="35"/>
                  </a:lnTo>
                  <a:lnTo>
                    <a:pt x="24" y="35"/>
                  </a:lnTo>
                  <a:lnTo>
                    <a:pt x="24" y="27"/>
                  </a:lnTo>
                  <a:lnTo>
                    <a:pt x="27" y="27"/>
                  </a:lnTo>
                  <a:lnTo>
                    <a:pt x="27" y="29"/>
                  </a:lnTo>
                  <a:lnTo>
                    <a:pt x="29" y="30"/>
                  </a:lnTo>
                  <a:lnTo>
                    <a:pt x="32" y="29"/>
                  </a:lnTo>
                  <a:lnTo>
                    <a:pt x="33" y="27"/>
                  </a:lnTo>
                  <a:lnTo>
                    <a:pt x="33" y="15"/>
                  </a:lnTo>
                  <a:lnTo>
                    <a:pt x="35" y="14"/>
                  </a:lnTo>
                  <a:lnTo>
                    <a:pt x="35" y="11"/>
                  </a:lnTo>
                  <a:lnTo>
                    <a:pt x="36" y="9"/>
                  </a:lnTo>
                  <a:lnTo>
                    <a:pt x="39" y="5"/>
                  </a:lnTo>
                  <a:lnTo>
                    <a:pt x="40" y="5"/>
                  </a:lnTo>
                  <a:lnTo>
                    <a:pt x="40" y="2"/>
                  </a:lnTo>
                  <a:lnTo>
                    <a:pt x="42"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30">
              <a:extLst>
                <a:ext uri="{FF2B5EF4-FFF2-40B4-BE49-F238E27FC236}">
                  <a16:creationId xmlns:a16="http://schemas.microsoft.com/office/drawing/2014/main" id="{CE7F5296-9FAB-D417-CFF6-5EFC88F0C5F3}"/>
                </a:ext>
              </a:extLst>
            </p:cNvPr>
            <p:cNvSpPr>
              <a:spLocks noEditPoints="1"/>
            </p:cNvSpPr>
            <p:nvPr/>
          </p:nvSpPr>
          <p:spPr bwMode="auto">
            <a:xfrm>
              <a:off x="2678597" y="5256397"/>
              <a:ext cx="2041287" cy="420851"/>
            </a:xfrm>
            <a:custGeom>
              <a:avLst/>
              <a:gdLst/>
              <a:ahLst/>
              <a:cxnLst>
                <a:cxn ang="0">
                  <a:pos x="284" y="249"/>
                </a:cxn>
                <a:cxn ang="0">
                  <a:pos x="1569" y="244"/>
                </a:cxn>
                <a:cxn ang="0">
                  <a:pos x="1655" y="258"/>
                </a:cxn>
                <a:cxn ang="0">
                  <a:pos x="1630" y="264"/>
                </a:cxn>
                <a:cxn ang="0">
                  <a:pos x="1585" y="237"/>
                </a:cxn>
                <a:cxn ang="0">
                  <a:pos x="1145" y="229"/>
                </a:cxn>
                <a:cxn ang="0">
                  <a:pos x="1102" y="220"/>
                </a:cxn>
                <a:cxn ang="0">
                  <a:pos x="1439" y="190"/>
                </a:cxn>
                <a:cxn ang="0">
                  <a:pos x="1119" y="219"/>
                </a:cxn>
                <a:cxn ang="0">
                  <a:pos x="1111" y="223"/>
                </a:cxn>
                <a:cxn ang="0">
                  <a:pos x="1497" y="166"/>
                </a:cxn>
                <a:cxn ang="0">
                  <a:pos x="1311" y="159"/>
                </a:cxn>
                <a:cxn ang="0">
                  <a:pos x="1367" y="150"/>
                </a:cxn>
                <a:cxn ang="0">
                  <a:pos x="1561" y="139"/>
                </a:cxn>
                <a:cxn ang="0">
                  <a:pos x="814" y="144"/>
                </a:cxn>
                <a:cxn ang="0">
                  <a:pos x="88" y="126"/>
                </a:cxn>
                <a:cxn ang="0">
                  <a:pos x="1262" y="142"/>
                </a:cxn>
                <a:cxn ang="0">
                  <a:pos x="381" y="121"/>
                </a:cxn>
                <a:cxn ang="0">
                  <a:pos x="1433" y="117"/>
                </a:cxn>
                <a:cxn ang="0">
                  <a:pos x="1421" y="135"/>
                </a:cxn>
                <a:cxn ang="0">
                  <a:pos x="1349" y="139"/>
                </a:cxn>
                <a:cxn ang="0">
                  <a:pos x="78" y="112"/>
                </a:cxn>
                <a:cxn ang="0">
                  <a:pos x="432" y="102"/>
                </a:cxn>
                <a:cxn ang="0">
                  <a:pos x="411" y="115"/>
                </a:cxn>
                <a:cxn ang="0">
                  <a:pos x="1619" y="91"/>
                </a:cxn>
                <a:cxn ang="0">
                  <a:pos x="1255" y="73"/>
                </a:cxn>
                <a:cxn ang="0">
                  <a:pos x="1246" y="66"/>
                </a:cxn>
                <a:cxn ang="0">
                  <a:pos x="1457" y="60"/>
                </a:cxn>
                <a:cxn ang="0">
                  <a:pos x="31" y="60"/>
                </a:cxn>
                <a:cxn ang="0">
                  <a:pos x="1184" y="73"/>
                </a:cxn>
                <a:cxn ang="0">
                  <a:pos x="1693" y="58"/>
                </a:cxn>
                <a:cxn ang="0">
                  <a:pos x="368" y="118"/>
                </a:cxn>
                <a:cxn ang="0">
                  <a:pos x="301" y="79"/>
                </a:cxn>
                <a:cxn ang="0">
                  <a:pos x="1144" y="51"/>
                </a:cxn>
                <a:cxn ang="0">
                  <a:pos x="1323" y="48"/>
                </a:cxn>
                <a:cxn ang="0">
                  <a:pos x="1129" y="36"/>
                </a:cxn>
                <a:cxn ang="0">
                  <a:pos x="1122" y="49"/>
                </a:cxn>
                <a:cxn ang="0">
                  <a:pos x="1667" y="33"/>
                </a:cxn>
                <a:cxn ang="0">
                  <a:pos x="25" y="51"/>
                </a:cxn>
                <a:cxn ang="0">
                  <a:pos x="1467" y="23"/>
                </a:cxn>
                <a:cxn ang="0">
                  <a:pos x="1723" y="40"/>
                </a:cxn>
                <a:cxn ang="0">
                  <a:pos x="1464" y="6"/>
                </a:cxn>
                <a:cxn ang="0">
                  <a:pos x="1594" y="14"/>
                </a:cxn>
                <a:cxn ang="0">
                  <a:pos x="1631" y="82"/>
                </a:cxn>
                <a:cxn ang="0">
                  <a:pos x="1669" y="132"/>
                </a:cxn>
                <a:cxn ang="0">
                  <a:pos x="1744" y="87"/>
                </a:cxn>
                <a:cxn ang="0">
                  <a:pos x="1886" y="88"/>
                </a:cxn>
                <a:cxn ang="0">
                  <a:pos x="1944" y="300"/>
                </a:cxn>
                <a:cxn ang="0">
                  <a:pos x="1848" y="359"/>
                </a:cxn>
                <a:cxn ang="0">
                  <a:pos x="1803" y="341"/>
                </a:cxn>
                <a:cxn ang="0">
                  <a:pos x="1844" y="316"/>
                </a:cxn>
                <a:cxn ang="0">
                  <a:pos x="1838" y="283"/>
                </a:cxn>
                <a:cxn ang="0">
                  <a:pos x="1794" y="222"/>
                </a:cxn>
                <a:cxn ang="0">
                  <a:pos x="1717" y="193"/>
                </a:cxn>
                <a:cxn ang="0">
                  <a:pos x="1633" y="165"/>
                </a:cxn>
                <a:cxn ang="0">
                  <a:pos x="1619" y="123"/>
                </a:cxn>
                <a:cxn ang="0">
                  <a:pos x="1570" y="165"/>
                </a:cxn>
                <a:cxn ang="0">
                  <a:pos x="1534" y="115"/>
                </a:cxn>
                <a:cxn ang="0">
                  <a:pos x="1605" y="100"/>
                </a:cxn>
                <a:cxn ang="0">
                  <a:pos x="1622" y="81"/>
                </a:cxn>
                <a:cxn ang="0">
                  <a:pos x="1531" y="70"/>
                </a:cxn>
                <a:cxn ang="0">
                  <a:pos x="1495" y="52"/>
                </a:cxn>
                <a:cxn ang="0">
                  <a:pos x="1498" y="30"/>
                </a:cxn>
              </a:cxnLst>
              <a:rect l="0" t="0" r="r" b="b"/>
              <a:pathLst>
                <a:path w="1945" h="401">
                  <a:moveTo>
                    <a:pt x="1826" y="250"/>
                  </a:moveTo>
                  <a:lnTo>
                    <a:pt x="1824" y="252"/>
                  </a:lnTo>
                  <a:lnTo>
                    <a:pt x="1826" y="252"/>
                  </a:lnTo>
                  <a:lnTo>
                    <a:pt x="1827" y="250"/>
                  </a:lnTo>
                  <a:lnTo>
                    <a:pt x="1826" y="250"/>
                  </a:lnTo>
                  <a:close/>
                  <a:moveTo>
                    <a:pt x="543" y="250"/>
                  </a:moveTo>
                  <a:lnTo>
                    <a:pt x="544" y="250"/>
                  </a:lnTo>
                  <a:lnTo>
                    <a:pt x="544" y="253"/>
                  </a:lnTo>
                  <a:lnTo>
                    <a:pt x="543" y="253"/>
                  </a:lnTo>
                  <a:lnTo>
                    <a:pt x="543" y="250"/>
                  </a:lnTo>
                  <a:close/>
                  <a:moveTo>
                    <a:pt x="1576" y="249"/>
                  </a:moveTo>
                  <a:lnTo>
                    <a:pt x="1576" y="250"/>
                  </a:lnTo>
                  <a:lnTo>
                    <a:pt x="1578" y="252"/>
                  </a:lnTo>
                  <a:lnTo>
                    <a:pt x="1576" y="253"/>
                  </a:lnTo>
                  <a:lnTo>
                    <a:pt x="1573" y="258"/>
                  </a:lnTo>
                  <a:lnTo>
                    <a:pt x="1572" y="258"/>
                  </a:lnTo>
                  <a:lnTo>
                    <a:pt x="1575" y="250"/>
                  </a:lnTo>
                  <a:lnTo>
                    <a:pt x="1576" y="249"/>
                  </a:lnTo>
                  <a:close/>
                  <a:moveTo>
                    <a:pt x="1633" y="247"/>
                  </a:moveTo>
                  <a:lnTo>
                    <a:pt x="1636" y="247"/>
                  </a:lnTo>
                  <a:lnTo>
                    <a:pt x="1636" y="249"/>
                  </a:lnTo>
                  <a:lnTo>
                    <a:pt x="1634" y="250"/>
                  </a:lnTo>
                  <a:lnTo>
                    <a:pt x="1633" y="250"/>
                  </a:lnTo>
                  <a:lnTo>
                    <a:pt x="1633" y="247"/>
                  </a:lnTo>
                  <a:close/>
                  <a:moveTo>
                    <a:pt x="1003" y="247"/>
                  </a:moveTo>
                  <a:lnTo>
                    <a:pt x="1005" y="247"/>
                  </a:lnTo>
                  <a:lnTo>
                    <a:pt x="1005" y="250"/>
                  </a:lnTo>
                  <a:lnTo>
                    <a:pt x="1006" y="250"/>
                  </a:lnTo>
                  <a:lnTo>
                    <a:pt x="1006" y="253"/>
                  </a:lnTo>
                  <a:lnTo>
                    <a:pt x="1008" y="256"/>
                  </a:lnTo>
                  <a:lnTo>
                    <a:pt x="1008" y="264"/>
                  </a:lnTo>
                  <a:lnTo>
                    <a:pt x="1006" y="267"/>
                  </a:lnTo>
                  <a:lnTo>
                    <a:pt x="1006" y="274"/>
                  </a:lnTo>
                  <a:lnTo>
                    <a:pt x="1005" y="276"/>
                  </a:lnTo>
                  <a:lnTo>
                    <a:pt x="1006" y="279"/>
                  </a:lnTo>
                  <a:lnTo>
                    <a:pt x="1005" y="279"/>
                  </a:lnTo>
                  <a:lnTo>
                    <a:pt x="1003" y="277"/>
                  </a:lnTo>
                  <a:lnTo>
                    <a:pt x="1003" y="268"/>
                  </a:lnTo>
                  <a:lnTo>
                    <a:pt x="1002" y="267"/>
                  </a:lnTo>
                  <a:lnTo>
                    <a:pt x="1003" y="265"/>
                  </a:lnTo>
                  <a:lnTo>
                    <a:pt x="1003" y="247"/>
                  </a:lnTo>
                  <a:close/>
                  <a:moveTo>
                    <a:pt x="284" y="247"/>
                  </a:moveTo>
                  <a:lnTo>
                    <a:pt x="287" y="247"/>
                  </a:lnTo>
                  <a:lnTo>
                    <a:pt x="287" y="250"/>
                  </a:lnTo>
                  <a:lnTo>
                    <a:pt x="286" y="250"/>
                  </a:lnTo>
                  <a:lnTo>
                    <a:pt x="284" y="249"/>
                  </a:lnTo>
                  <a:lnTo>
                    <a:pt x="284" y="247"/>
                  </a:lnTo>
                  <a:close/>
                  <a:moveTo>
                    <a:pt x="645" y="246"/>
                  </a:moveTo>
                  <a:lnTo>
                    <a:pt x="648" y="246"/>
                  </a:lnTo>
                  <a:lnTo>
                    <a:pt x="649" y="247"/>
                  </a:lnTo>
                  <a:lnTo>
                    <a:pt x="649" y="252"/>
                  </a:lnTo>
                  <a:lnTo>
                    <a:pt x="646" y="252"/>
                  </a:lnTo>
                  <a:lnTo>
                    <a:pt x="646" y="250"/>
                  </a:lnTo>
                  <a:lnTo>
                    <a:pt x="645" y="252"/>
                  </a:lnTo>
                  <a:lnTo>
                    <a:pt x="643" y="252"/>
                  </a:lnTo>
                  <a:lnTo>
                    <a:pt x="643" y="250"/>
                  </a:lnTo>
                  <a:lnTo>
                    <a:pt x="642" y="249"/>
                  </a:lnTo>
                  <a:lnTo>
                    <a:pt x="643" y="249"/>
                  </a:lnTo>
                  <a:lnTo>
                    <a:pt x="643" y="247"/>
                  </a:lnTo>
                  <a:lnTo>
                    <a:pt x="645" y="247"/>
                  </a:lnTo>
                  <a:lnTo>
                    <a:pt x="645" y="246"/>
                  </a:lnTo>
                  <a:close/>
                  <a:moveTo>
                    <a:pt x="1563" y="241"/>
                  </a:moveTo>
                  <a:lnTo>
                    <a:pt x="1564" y="241"/>
                  </a:lnTo>
                  <a:lnTo>
                    <a:pt x="1564" y="243"/>
                  </a:lnTo>
                  <a:lnTo>
                    <a:pt x="1567" y="243"/>
                  </a:lnTo>
                  <a:lnTo>
                    <a:pt x="1567" y="246"/>
                  </a:lnTo>
                  <a:lnTo>
                    <a:pt x="1569" y="246"/>
                  </a:lnTo>
                  <a:lnTo>
                    <a:pt x="1569" y="249"/>
                  </a:lnTo>
                  <a:lnTo>
                    <a:pt x="1570" y="249"/>
                  </a:lnTo>
                  <a:lnTo>
                    <a:pt x="1570" y="253"/>
                  </a:lnTo>
                  <a:lnTo>
                    <a:pt x="1569" y="255"/>
                  </a:lnTo>
                  <a:lnTo>
                    <a:pt x="1569" y="256"/>
                  </a:lnTo>
                  <a:lnTo>
                    <a:pt x="1567" y="256"/>
                  </a:lnTo>
                  <a:lnTo>
                    <a:pt x="1567" y="255"/>
                  </a:lnTo>
                  <a:lnTo>
                    <a:pt x="1564" y="255"/>
                  </a:lnTo>
                  <a:lnTo>
                    <a:pt x="1564" y="246"/>
                  </a:lnTo>
                  <a:lnTo>
                    <a:pt x="1563" y="246"/>
                  </a:lnTo>
                  <a:lnTo>
                    <a:pt x="1563" y="241"/>
                  </a:lnTo>
                  <a:close/>
                  <a:moveTo>
                    <a:pt x="1564" y="240"/>
                  </a:moveTo>
                  <a:lnTo>
                    <a:pt x="1566" y="240"/>
                  </a:lnTo>
                  <a:lnTo>
                    <a:pt x="1566" y="241"/>
                  </a:lnTo>
                  <a:lnTo>
                    <a:pt x="1564" y="241"/>
                  </a:lnTo>
                  <a:lnTo>
                    <a:pt x="1564" y="240"/>
                  </a:lnTo>
                  <a:close/>
                  <a:moveTo>
                    <a:pt x="1561" y="240"/>
                  </a:moveTo>
                  <a:lnTo>
                    <a:pt x="1563" y="241"/>
                  </a:lnTo>
                  <a:lnTo>
                    <a:pt x="1561" y="241"/>
                  </a:lnTo>
                  <a:lnTo>
                    <a:pt x="1561" y="240"/>
                  </a:lnTo>
                  <a:close/>
                  <a:moveTo>
                    <a:pt x="1569" y="237"/>
                  </a:moveTo>
                  <a:lnTo>
                    <a:pt x="1570" y="238"/>
                  </a:lnTo>
                  <a:lnTo>
                    <a:pt x="1570" y="243"/>
                  </a:lnTo>
                  <a:lnTo>
                    <a:pt x="1569" y="243"/>
                  </a:lnTo>
                  <a:lnTo>
                    <a:pt x="1569" y="244"/>
                  </a:lnTo>
                  <a:lnTo>
                    <a:pt x="1567" y="243"/>
                  </a:lnTo>
                  <a:lnTo>
                    <a:pt x="1567" y="238"/>
                  </a:lnTo>
                  <a:lnTo>
                    <a:pt x="1569" y="238"/>
                  </a:lnTo>
                  <a:lnTo>
                    <a:pt x="1569" y="237"/>
                  </a:lnTo>
                  <a:close/>
                  <a:moveTo>
                    <a:pt x="1548" y="237"/>
                  </a:moveTo>
                  <a:lnTo>
                    <a:pt x="1551" y="237"/>
                  </a:lnTo>
                  <a:lnTo>
                    <a:pt x="1551" y="238"/>
                  </a:lnTo>
                  <a:lnTo>
                    <a:pt x="1548" y="238"/>
                  </a:lnTo>
                  <a:lnTo>
                    <a:pt x="1548" y="237"/>
                  </a:lnTo>
                  <a:close/>
                  <a:moveTo>
                    <a:pt x="1151" y="234"/>
                  </a:moveTo>
                  <a:lnTo>
                    <a:pt x="1154" y="234"/>
                  </a:lnTo>
                  <a:lnTo>
                    <a:pt x="1154" y="235"/>
                  </a:lnTo>
                  <a:lnTo>
                    <a:pt x="1156" y="237"/>
                  </a:lnTo>
                  <a:lnTo>
                    <a:pt x="1157" y="237"/>
                  </a:lnTo>
                  <a:lnTo>
                    <a:pt x="1157" y="240"/>
                  </a:lnTo>
                  <a:lnTo>
                    <a:pt x="1156" y="240"/>
                  </a:lnTo>
                  <a:lnTo>
                    <a:pt x="1156" y="238"/>
                  </a:lnTo>
                  <a:lnTo>
                    <a:pt x="1151" y="234"/>
                  </a:lnTo>
                  <a:close/>
                  <a:moveTo>
                    <a:pt x="1648" y="232"/>
                  </a:moveTo>
                  <a:lnTo>
                    <a:pt x="1654" y="232"/>
                  </a:lnTo>
                  <a:lnTo>
                    <a:pt x="1654" y="235"/>
                  </a:lnTo>
                  <a:lnTo>
                    <a:pt x="1655" y="235"/>
                  </a:lnTo>
                  <a:lnTo>
                    <a:pt x="1657" y="237"/>
                  </a:lnTo>
                  <a:lnTo>
                    <a:pt x="1654" y="240"/>
                  </a:lnTo>
                  <a:lnTo>
                    <a:pt x="1657" y="240"/>
                  </a:lnTo>
                  <a:lnTo>
                    <a:pt x="1660" y="243"/>
                  </a:lnTo>
                  <a:lnTo>
                    <a:pt x="1658" y="244"/>
                  </a:lnTo>
                  <a:lnTo>
                    <a:pt x="1658" y="249"/>
                  </a:lnTo>
                  <a:lnTo>
                    <a:pt x="1657" y="250"/>
                  </a:lnTo>
                  <a:lnTo>
                    <a:pt x="1658" y="250"/>
                  </a:lnTo>
                  <a:lnTo>
                    <a:pt x="1658" y="252"/>
                  </a:lnTo>
                  <a:lnTo>
                    <a:pt x="1660" y="252"/>
                  </a:lnTo>
                  <a:lnTo>
                    <a:pt x="1660" y="253"/>
                  </a:lnTo>
                  <a:lnTo>
                    <a:pt x="1658" y="255"/>
                  </a:lnTo>
                  <a:lnTo>
                    <a:pt x="1658" y="253"/>
                  </a:lnTo>
                  <a:lnTo>
                    <a:pt x="1657" y="253"/>
                  </a:lnTo>
                  <a:lnTo>
                    <a:pt x="1657" y="255"/>
                  </a:lnTo>
                  <a:lnTo>
                    <a:pt x="1658" y="256"/>
                  </a:lnTo>
                  <a:lnTo>
                    <a:pt x="1658" y="258"/>
                  </a:lnTo>
                  <a:lnTo>
                    <a:pt x="1657" y="256"/>
                  </a:lnTo>
                  <a:lnTo>
                    <a:pt x="1655" y="256"/>
                  </a:lnTo>
                  <a:lnTo>
                    <a:pt x="1655" y="255"/>
                  </a:lnTo>
                  <a:lnTo>
                    <a:pt x="1654" y="255"/>
                  </a:lnTo>
                  <a:lnTo>
                    <a:pt x="1652" y="256"/>
                  </a:lnTo>
                  <a:lnTo>
                    <a:pt x="1655" y="256"/>
                  </a:lnTo>
                  <a:lnTo>
                    <a:pt x="1655" y="258"/>
                  </a:lnTo>
                  <a:lnTo>
                    <a:pt x="1657" y="259"/>
                  </a:lnTo>
                  <a:lnTo>
                    <a:pt x="1658" y="259"/>
                  </a:lnTo>
                  <a:lnTo>
                    <a:pt x="1660" y="262"/>
                  </a:lnTo>
                  <a:lnTo>
                    <a:pt x="1660" y="265"/>
                  </a:lnTo>
                  <a:lnTo>
                    <a:pt x="1658" y="265"/>
                  </a:lnTo>
                  <a:lnTo>
                    <a:pt x="1658" y="267"/>
                  </a:lnTo>
                  <a:lnTo>
                    <a:pt x="1657" y="265"/>
                  </a:lnTo>
                  <a:lnTo>
                    <a:pt x="1657" y="267"/>
                  </a:lnTo>
                  <a:lnTo>
                    <a:pt x="1658" y="267"/>
                  </a:lnTo>
                  <a:lnTo>
                    <a:pt x="1660" y="265"/>
                  </a:lnTo>
                  <a:lnTo>
                    <a:pt x="1660" y="267"/>
                  </a:lnTo>
                  <a:lnTo>
                    <a:pt x="1658" y="268"/>
                  </a:lnTo>
                  <a:lnTo>
                    <a:pt x="1660" y="268"/>
                  </a:lnTo>
                  <a:lnTo>
                    <a:pt x="1660" y="270"/>
                  </a:lnTo>
                  <a:lnTo>
                    <a:pt x="1658" y="270"/>
                  </a:lnTo>
                  <a:lnTo>
                    <a:pt x="1658" y="273"/>
                  </a:lnTo>
                  <a:lnTo>
                    <a:pt x="1657" y="273"/>
                  </a:lnTo>
                  <a:lnTo>
                    <a:pt x="1654" y="274"/>
                  </a:lnTo>
                  <a:lnTo>
                    <a:pt x="1652" y="276"/>
                  </a:lnTo>
                  <a:lnTo>
                    <a:pt x="1652" y="274"/>
                  </a:lnTo>
                  <a:lnTo>
                    <a:pt x="1649" y="274"/>
                  </a:lnTo>
                  <a:lnTo>
                    <a:pt x="1649" y="276"/>
                  </a:lnTo>
                  <a:lnTo>
                    <a:pt x="1652" y="276"/>
                  </a:lnTo>
                  <a:lnTo>
                    <a:pt x="1652" y="279"/>
                  </a:lnTo>
                  <a:lnTo>
                    <a:pt x="1651" y="280"/>
                  </a:lnTo>
                  <a:lnTo>
                    <a:pt x="1651" y="282"/>
                  </a:lnTo>
                  <a:lnTo>
                    <a:pt x="1649" y="283"/>
                  </a:lnTo>
                  <a:lnTo>
                    <a:pt x="1648" y="282"/>
                  </a:lnTo>
                  <a:lnTo>
                    <a:pt x="1648" y="279"/>
                  </a:lnTo>
                  <a:lnTo>
                    <a:pt x="1646" y="277"/>
                  </a:lnTo>
                  <a:lnTo>
                    <a:pt x="1643" y="277"/>
                  </a:lnTo>
                  <a:lnTo>
                    <a:pt x="1642" y="276"/>
                  </a:lnTo>
                  <a:lnTo>
                    <a:pt x="1640" y="276"/>
                  </a:lnTo>
                  <a:lnTo>
                    <a:pt x="1640" y="274"/>
                  </a:lnTo>
                  <a:lnTo>
                    <a:pt x="1642" y="274"/>
                  </a:lnTo>
                  <a:lnTo>
                    <a:pt x="1642" y="273"/>
                  </a:lnTo>
                  <a:lnTo>
                    <a:pt x="1640" y="274"/>
                  </a:lnTo>
                  <a:lnTo>
                    <a:pt x="1640" y="273"/>
                  </a:lnTo>
                  <a:lnTo>
                    <a:pt x="1639" y="271"/>
                  </a:lnTo>
                  <a:lnTo>
                    <a:pt x="1637" y="271"/>
                  </a:lnTo>
                  <a:lnTo>
                    <a:pt x="1634" y="268"/>
                  </a:lnTo>
                  <a:lnTo>
                    <a:pt x="1634" y="267"/>
                  </a:lnTo>
                  <a:lnTo>
                    <a:pt x="1633" y="268"/>
                  </a:lnTo>
                  <a:lnTo>
                    <a:pt x="1633" y="265"/>
                  </a:lnTo>
                  <a:lnTo>
                    <a:pt x="1631" y="265"/>
                  </a:lnTo>
                  <a:lnTo>
                    <a:pt x="1630" y="264"/>
                  </a:lnTo>
                  <a:lnTo>
                    <a:pt x="1630" y="261"/>
                  </a:lnTo>
                  <a:lnTo>
                    <a:pt x="1631" y="259"/>
                  </a:lnTo>
                  <a:lnTo>
                    <a:pt x="1631" y="261"/>
                  </a:lnTo>
                  <a:lnTo>
                    <a:pt x="1633" y="261"/>
                  </a:lnTo>
                  <a:lnTo>
                    <a:pt x="1634" y="259"/>
                  </a:lnTo>
                  <a:lnTo>
                    <a:pt x="1636" y="259"/>
                  </a:lnTo>
                  <a:lnTo>
                    <a:pt x="1636" y="265"/>
                  </a:lnTo>
                  <a:lnTo>
                    <a:pt x="1637" y="267"/>
                  </a:lnTo>
                  <a:lnTo>
                    <a:pt x="1639" y="267"/>
                  </a:lnTo>
                  <a:lnTo>
                    <a:pt x="1639" y="265"/>
                  </a:lnTo>
                  <a:lnTo>
                    <a:pt x="1637" y="264"/>
                  </a:lnTo>
                  <a:lnTo>
                    <a:pt x="1637" y="262"/>
                  </a:lnTo>
                  <a:lnTo>
                    <a:pt x="1639" y="261"/>
                  </a:lnTo>
                  <a:lnTo>
                    <a:pt x="1642" y="261"/>
                  </a:lnTo>
                  <a:lnTo>
                    <a:pt x="1642" y="259"/>
                  </a:lnTo>
                  <a:lnTo>
                    <a:pt x="1639" y="259"/>
                  </a:lnTo>
                  <a:lnTo>
                    <a:pt x="1639" y="256"/>
                  </a:lnTo>
                  <a:lnTo>
                    <a:pt x="1637" y="255"/>
                  </a:lnTo>
                  <a:lnTo>
                    <a:pt x="1639" y="255"/>
                  </a:lnTo>
                  <a:lnTo>
                    <a:pt x="1639" y="253"/>
                  </a:lnTo>
                  <a:lnTo>
                    <a:pt x="1640" y="252"/>
                  </a:lnTo>
                  <a:lnTo>
                    <a:pt x="1642" y="252"/>
                  </a:lnTo>
                  <a:lnTo>
                    <a:pt x="1640" y="250"/>
                  </a:lnTo>
                  <a:lnTo>
                    <a:pt x="1642" y="250"/>
                  </a:lnTo>
                  <a:lnTo>
                    <a:pt x="1642" y="249"/>
                  </a:lnTo>
                  <a:lnTo>
                    <a:pt x="1640" y="249"/>
                  </a:lnTo>
                  <a:lnTo>
                    <a:pt x="1639" y="247"/>
                  </a:lnTo>
                  <a:lnTo>
                    <a:pt x="1636" y="247"/>
                  </a:lnTo>
                  <a:lnTo>
                    <a:pt x="1634" y="246"/>
                  </a:lnTo>
                  <a:lnTo>
                    <a:pt x="1634" y="244"/>
                  </a:lnTo>
                  <a:lnTo>
                    <a:pt x="1637" y="244"/>
                  </a:lnTo>
                  <a:lnTo>
                    <a:pt x="1639" y="246"/>
                  </a:lnTo>
                  <a:lnTo>
                    <a:pt x="1640" y="246"/>
                  </a:lnTo>
                  <a:lnTo>
                    <a:pt x="1642" y="244"/>
                  </a:lnTo>
                  <a:lnTo>
                    <a:pt x="1642" y="243"/>
                  </a:lnTo>
                  <a:lnTo>
                    <a:pt x="1643" y="243"/>
                  </a:lnTo>
                  <a:lnTo>
                    <a:pt x="1643" y="241"/>
                  </a:lnTo>
                  <a:lnTo>
                    <a:pt x="1646" y="237"/>
                  </a:lnTo>
                  <a:lnTo>
                    <a:pt x="1646" y="238"/>
                  </a:lnTo>
                  <a:lnTo>
                    <a:pt x="1648" y="237"/>
                  </a:lnTo>
                  <a:lnTo>
                    <a:pt x="1648" y="232"/>
                  </a:lnTo>
                  <a:close/>
                  <a:moveTo>
                    <a:pt x="1584" y="226"/>
                  </a:moveTo>
                  <a:lnTo>
                    <a:pt x="1588" y="226"/>
                  </a:lnTo>
                  <a:lnTo>
                    <a:pt x="1588" y="229"/>
                  </a:lnTo>
                  <a:lnTo>
                    <a:pt x="1587" y="229"/>
                  </a:lnTo>
                  <a:lnTo>
                    <a:pt x="1585" y="237"/>
                  </a:lnTo>
                  <a:lnTo>
                    <a:pt x="1584" y="240"/>
                  </a:lnTo>
                  <a:lnTo>
                    <a:pt x="1578" y="246"/>
                  </a:lnTo>
                  <a:lnTo>
                    <a:pt x="1578" y="247"/>
                  </a:lnTo>
                  <a:lnTo>
                    <a:pt x="1576" y="249"/>
                  </a:lnTo>
                  <a:lnTo>
                    <a:pt x="1576" y="244"/>
                  </a:lnTo>
                  <a:lnTo>
                    <a:pt x="1578" y="241"/>
                  </a:lnTo>
                  <a:lnTo>
                    <a:pt x="1578" y="243"/>
                  </a:lnTo>
                  <a:lnTo>
                    <a:pt x="1579" y="243"/>
                  </a:lnTo>
                  <a:lnTo>
                    <a:pt x="1579" y="238"/>
                  </a:lnTo>
                  <a:lnTo>
                    <a:pt x="1581" y="238"/>
                  </a:lnTo>
                  <a:lnTo>
                    <a:pt x="1581" y="237"/>
                  </a:lnTo>
                  <a:lnTo>
                    <a:pt x="1582" y="231"/>
                  </a:lnTo>
                  <a:lnTo>
                    <a:pt x="1584" y="229"/>
                  </a:lnTo>
                  <a:lnTo>
                    <a:pt x="1584" y="226"/>
                  </a:lnTo>
                  <a:close/>
                  <a:moveTo>
                    <a:pt x="1533" y="226"/>
                  </a:moveTo>
                  <a:lnTo>
                    <a:pt x="1534" y="228"/>
                  </a:lnTo>
                  <a:lnTo>
                    <a:pt x="1531" y="231"/>
                  </a:lnTo>
                  <a:lnTo>
                    <a:pt x="1531" y="228"/>
                  </a:lnTo>
                  <a:lnTo>
                    <a:pt x="1533" y="228"/>
                  </a:lnTo>
                  <a:lnTo>
                    <a:pt x="1533" y="226"/>
                  </a:lnTo>
                  <a:close/>
                  <a:moveTo>
                    <a:pt x="165" y="225"/>
                  </a:moveTo>
                  <a:lnTo>
                    <a:pt x="166" y="226"/>
                  </a:lnTo>
                  <a:lnTo>
                    <a:pt x="169" y="226"/>
                  </a:lnTo>
                  <a:lnTo>
                    <a:pt x="169" y="228"/>
                  </a:lnTo>
                  <a:lnTo>
                    <a:pt x="171" y="228"/>
                  </a:lnTo>
                  <a:lnTo>
                    <a:pt x="174" y="229"/>
                  </a:lnTo>
                  <a:lnTo>
                    <a:pt x="175" y="229"/>
                  </a:lnTo>
                  <a:lnTo>
                    <a:pt x="175" y="232"/>
                  </a:lnTo>
                  <a:lnTo>
                    <a:pt x="174" y="232"/>
                  </a:lnTo>
                  <a:lnTo>
                    <a:pt x="174" y="234"/>
                  </a:lnTo>
                  <a:lnTo>
                    <a:pt x="175" y="234"/>
                  </a:lnTo>
                  <a:lnTo>
                    <a:pt x="174" y="235"/>
                  </a:lnTo>
                  <a:lnTo>
                    <a:pt x="172" y="234"/>
                  </a:lnTo>
                  <a:lnTo>
                    <a:pt x="171" y="234"/>
                  </a:lnTo>
                  <a:lnTo>
                    <a:pt x="169" y="235"/>
                  </a:lnTo>
                  <a:lnTo>
                    <a:pt x="169" y="234"/>
                  </a:lnTo>
                  <a:lnTo>
                    <a:pt x="168" y="232"/>
                  </a:lnTo>
                  <a:lnTo>
                    <a:pt x="163" y="229"/>
                  </a:lnTo>
                  <a:lnTo>
                    <a:pt x="162" y="228"/>
                  </a:lnTo>
                  <a:lnTo>
                    <a:pt x="165" y="225"/>
                  </a:lnTo>
                  <a:close/>
                  <a:moveTo>
                    <a:pt x="1145" y="223"/>
                  </a:moveTo>
                  <a:lnTo>
                    <a:pt x="1145" y="225"/>
                  </a:lnTo>
                  <a:lnTo>
                    <a:pt x="1148" y="225"/>
                  </a:lnTo>
                  <a:lnTo>
                    <a:pt x="1150" y="226"/>
                  </a:lnTo>
                  <a:lnTo>
                    <a:pt x="1150" y="229"/>
                  </a:lnTo>
                  <a:lnTo>
                    <a:pt x="1145" y="229"/>
                  </a:lnTo>
                  <a:lnTo>
                    <a:pt x="1144" y="225"/>
                  </a:lnTo>
                  <a:lnTo>
                    <a:pt x="1145" y="223"/>
                  </a:lnTo>
                  <a:close/>
                  <a:moveTo>
                    <a:pt x="1068" y="216"/>
                  </a:moveTo>
                  <a:lnTo>
                    <a:pt x="1071" y="216"/>
                  </a:lnTo>
                  <a:lnTo>
                    <a:pt x="1071" y="217"/>
                  </a:lnTo>
                  <a:lnTo>
                    <a:pt x="1072" y="217"/>
                  </a:lnTo>
                  <a:lnTo>
                    <a:pt x="1072" y="216"/>
                  </a:lnTo>
                  <a:lnTo>
                    <a:pt x="1074" y="216"/>
                  </a:lnTo>
                  <a:lnTo>
                    <a:pt x="1074" y="219"/>
                  </a:lnTo>
                  <a:lnTo>
                    <a:pt x="1075" y="220"/>
                  </a:lnTo>
                  <a:lnTo>
                    <a:pt x="1075" y="219"/>
                  </a:lnTo>
                  <a:lnTo>
                    <a:pt x="1077" y="220"/>
                  </a:lnTo>
                  <a:lnTo>
                    <a:pt x="1077" y="234"/>
                  </a:lnTo>
                  <a:lnTo>
                    <a:pt x="1072" y="234"/>
                  </a:lnTo>
                  <a:lnTo>
                    <a:pt x="1072" y="232"/>
                  </a:lnTo>
                  <a:lnTo>
                    <a:pt x="1071" y="231"/>
                  </a:lnTo>
                  <a:lnTo>
                    <a:pt x="1069" y="231"/>
                  </a:lnTo>
                  <a:lnTo>
                    <a:pt x="1068" y="229"/>
                  </a:lnTo>
                  <a:lnTo>
                    <a:pt x="1066" y="226"/>
                  </a:lnTo>
                  <a:lnTo>
                    <a:pt x="1065" y="225"/>
                  </a:lnTo>
                  <a:lnTo>
                    <a:pt x="1066" y="223"/>
                  </a:lnTo>
                  <a:lnTo>
                    <a:pt x="1066" y="220"/>
                  </a:lnTo>
                  <a:lnTo>
                    <a:pt x="1068" y="220"/>
                  </a:lnTo>
                  <a:lnTo>
                    <a:pt x="1068" y="216"/>
                  </a:lnTo>
                  <a:close/>
                  <a:moveTo>
                    <a:pt x="793" y="201"/>
                  </a:moveTo>
                  <a:lnTo>
                    <a:pt x="793" y="202"/>
                  </a:lnTo>
                  <a:lnTo>
                    <a:pt x="790" y="204"/>
                  </a:lnTo>
                  <a:lnTo>
                    <a:pt x="790" y="205"/>
                  </a:lnTo>
                  <a:lnTo>
                    <a:pt x="788" y="204"/>
                  </a:lnTo>
                  <a:lnTo>
                    <a:pt x="790" y="202"/>
                  </a:lnTo>
                  <a:lnTo>
                    <a:pt x="793" y="201"/>
                  </a:lnTo>
                  <a:close/>
                  <a:moveTo>
                    <a:pt x="1521" y="198"/>
                  </a:moveTo>
                  <a:lnTo>
                    <a:pt x="1522" y="199"/>
                  </a:lnTo>
                  <a:lnTo>
                    <a:pt x="1522" y="201"/>
                  </a:lnTo>
                  <a:lnTo>
                    <a:pt x="1521" y="202"/>
                  </a:lnTo>
                  <a:lnTo>
                    <a:pt x="1521" y="198"/>
                  </a:lnTo>
                  <a:close/>
                  <a:moveTo>
                    <a:pt x="1105" y="195"/>
                  </a:moveTo>
                  <a:lnTo>
                    <a:pt x="1108" y="195"/>
                  </a:lnTo>
                  <a:lnTo>
                    <a:pt x="1108" y="205"/>
                  </a:lnTo>
                  <a:lnTo>
                    <a:pt x="1110" y="205"/>
                  </a:lnTo>
                  <a:lnTo>
                    <a:pt x="1110" y="210"/>
                  </a:lnTo>
                  <a:lnTo>
                    <a:pt x="1108" y="210"/>
                  </a:lnTo>
                  <a:lnTo>
                    <a:pt x="1108" y="213"/>
                  </a:lnTo>
                  <a:lnTo>
                    <a:pt x="1105" y="216"/>
                  </a:lnTo>
                  <a:lnTo>
                    <a:pt x="1104" y="216"/>
                  </a:lnTo>
                  <a:lnTo>
                    <a:pt x="1102" y="220"/>
                  </a:lnTo>
                  <a:lnTo>
                    <a:pt x="1102" y="222"/>
                  </a:lnTo>
                  <a:lnTo>
                    <a:pt x="1104" y="222"/>
                  </a:lnTo>
                  <a:lnTo>
                    <a:pt x="1102" y="223"/>
                  </a:lnTo>
                  <a:lnTo>
                    <a:pt x="1104" y="223"/>
                  </a:lnTo>
                  <a:lnTo>
                    <a:pt x="1104" y="225"/>
                  </a:lnTo>
                  <a:lnTo>
                    <a:pt x="1105" y="225"/>
                  </a:lnTo>
                  <a:lnTo>
                    <a:pt x="1105" y="226"/>
                  </a:lnTo>
                  <a:lnTo>
                    <a:pt x="1102" y="229"/>
                  </a:lnTo>
                  <a:lnTo>
                    <a:pt x="1102" y="232"/>
                  </a:lnTo>
                  <a:lnTo>
                    <a:pt x="1099" y="232"/>
                  </a:lnTo>
                  <a:lnTo>
                    <a:pt x="1099" y="226"/>
                  </a:lnTo>
                  <a:lnTo>
                    <a:pt x="1098" y="226"/>
                  </a:lnTo>
                  <a:lnTo>
                    <a:pt x="1098" y="229"/>
                  </a:lnTo>
                  <a:lnTo>
                    <a:pt x="1096" y="231"/>
                  </a:lnTo>
                  <a:lnTo>
                    <a:pt x="1095" y="231"/>
                  </a:lnTo>
                  <a:lnTo>
                    <a:pt x="1093" y="229"/>
                  </a:lnTo>
                  <a:lnTo>
                    <a:pt x="1093" y="228"/>
                  </a:lnTo>
                  <a:lnTo>
                    <a:pt x="1095" y="228"/>
                  </a:lnTo>
                  <a:lnTo>
                    <a:pt x="1095" y="226"/>
                  </a:lnTo>
                  <a:lnTo>
                    <a:pt x="1093" y="226"/>
                  </a:lnTo>
                  <a:lnTo>
                    <a:pt x="1093" y="228"/>
                  </a:lnTo>
                  <a:lnTo>
                    <a:pt x="1092" y="228"/>
                  </a:lnTo>
                  <a:lnTo>
                    <a:pt x="1092" y="231"/>
                  </a:lnTo>
                  <a:lnTo>
                    <a:pt x="1089" y="231"/>
                  </a:lnTo>
                  <a:lnTo>
                    <a:pt x="1087" y="229"/>
                  </a:lnTo>
                  <a:lnTo>
                    <a:pt x="1087" y="226"/>
                  </a:lnTo>
                  <a:lnTo>
                    <a:pt x="1089" y="225"/>
                  </a:lnTo>
                  <a:lnTo>
                    <a:pt x="1089" y="219"/>
                  </a:lnTo>
                  <a:lnTo>
                    <a:pt x="1090" y="219"/>
                  </a:lnTo>
                  <a:lnTo>
                    <a:pt x="1090" y="217"/>
                  </a:lnTo>
                  <a:lnTo>
                    <a:pt x="1092" y="217"/>
                  </a:lnTo>
                  <a:lnTo>
                    <a:pt x="1093" y="216"/>
                  </a:lnTo>
                  <a:lnTo>
                    <a:pt x="1093" y="214"/>
                  </a:lnTo>
                  <a:lnTo>
                    <a:pt x="1092" y="214"/>
                  </a:lnTo>
                  <a:lnTo>
                    <a:pt x="1092" y="208"/>
                  </a:lnTo>
                  <a:lnTo>
                    <a:pt x="1090" y="207"/>
                  </a:lnTo>
                  <a:lnTo>
                    <a:pt x="1090" y="205"/>
                  </a:lnTo>
                  <a:lnTo>
                    <a:pt x="1089" y="205"/>
                  </a:lnTo>
                  <a:lnTo>
                    <a:pt x="1092" y="202"/>
                  </a:lnTo>
                  <a:lnTo>
                    <a:pt x="1092" y="201"/>
                  </a:lnTo>
                  <a:lnTo>
                    <a:pt x="1096" y="201"/>
                  </a:lnTo>
                  <a:lnTo>
                    <a:pt x="1098" y="199"/>
                  </a:lnTo>
                  <a:lnTo>
                    <a:pt x="1099" y="199"/>
                  </a:lnTo>
                  <a:lnTo>
                    <a:pt x="1102" y="196"/>
                  </a:lnTo>
                  <a:lnTo>
                    <a:pt x="1105" y="195"/>
                  </a:lnTo>
                  <a:close/>
                  <a:moveTo>
                    <a:pt x="1439" y="190"/>
                  </a:moveTo>
                  <a:lnTo>
                    <a:pt x="1439" y="192"/>
                  </a:lnTo>
                  <a:lnTo>
                    <a:pt x="1437" y="193"/>
                  </a:lnTo>
                  <a:lnTo>
                    <a:pt x="1437" y="192"/>
                  </a:lnTo>
                  <a:lnTo>
                    <a:pt x="1439" y="190"/>
                  </a:lnTo>
                  <a:close/>
                  <a:moveTo>
                    <a:pt x="1430" y="190"/>
                  </a:moveTo>
                  <a:lnTo>
                    <a:pt x="1431" y="190"/>
                  </a:lnTo>
                  <a:lnTo>
                    <a:pt x="1431" y="192"/>
                  </a:lnTo>
                  <a:lnTo>
                    <a:pt x="1430" y="190"/>
                  </a:lnTo>
                  <a:close/>
                  <a:moveTo>
                    <a:pt x="1515" y="186"/>
                  </a:moveTo>
                  <a:lnTo>
                    <a:pt x="1516" y="186"/>
                  </a:lnTo>
                  <a:lnTo>
                    <a:pt x="1516" y="187"/>
                  </a:lnTo>
                  <a:lnTo>
                    <a:pt x="1518" y="189"/>
                  </a:lnTo>
                  <a:lnTo>
                    <a:pt x="1518" y="190"/>
                  </a:lnTo>
                  <a:lnTo>
                    <a:pt x="1515" y="187"/>
                  </a:lnTo>
                  <a:lnTo>
                    <a:pt x="1515" y="186"/>
                  </a:lnTo>
                  <a:close/>
                  <a:moveTo>
                    <a:pt x="1122" y="184"/>
                  </a:moveTo>
                  <a:lnTo>
                    <a:pt x="1125" y="184"/>
                  </a:lnTo>
                  <a:lnTo>
                    <a:pt x="1123" y="186"/>
                  </a:lnTo>
                  <a:lnTo>
                    <a:pt x="1123" y="187"/>
                  </a:lnTo>
                  <a:lnTo>
                    <a:pt x="1125" y="187"/>
                  </a:lnTo>
                  <a:lnTo>
                    <a:pt x="1128" y="190"/>
                  </a:lnTo>
                  <a:lnTo>
                    <a:pt x="1129" y="193"/>
                  </a:lnTo>
                  <a:lnTo>
                    <a:pt x="1129" y="198"/>
                  </a:lnTo>
                  <a:lnTo>
                    <a:pt x="1131" y="198"/>
                  </a:lnTo>
                  <a:lnTo>
                    <a:pt x="1131" y="205"/>
                  </a:lnTo>
                  <a:lnTo>
                    <a:pt x="1129" y="205"/>
                  </a:lnTo>
                  <a:lnTo>
                    <a:pt x="1129" y="202"/>
                  </a:lnTo>
                  <a:lnTo>
                    <a:pt x="1128" y="201"/>
                  </a:lnTo>
                  <a:lnTo>
                    <a:pt x="1128" y="199"/>
                  </a:lnTo>
                  <a:lnTo>
                    <a:pt x="1126" y="199"/>
                  </a:lnTo>
                  <a:lnTo>
                    <a:pt x="1125" y="202"/>
                  </a:lnTo>
                  <a:lnTo>
                    <a:pt x="1125" y="201"/>
                  </a:lnTo>
                  <a:lnTo>
                    <a:pt x="1122" y="201"/>
                  </a:lnTo>
                  <a:lnTo>
                    <a:pt x="1123" y="204"/>
                  </a:lnTo>
                  <a:lnTo>
                    <a:pt x="1122" y="204"/>
                  </a:lnTo>
                  <a:lnTo>
                    <a:pt x="1120" y="205"/>
                  </a:lnTo>
                  <a:lnTo>
                    <a:pt x="1120" y="207"/>
                  </a:lnTo>
                  <a:lnTo>
                    <a:pt x="1122" y="208"/>
                  </a:lnTo>
                  <a:lnTo>
                    <a:pt x="1122" y="210"/>
                  </a:lnTo>
                  <a:lnTo>
                    <a:pt x="1120" y="210"/>
                  </a:lnTo>
                  <a:lnTo>
                    <a:pt x="1119" y="211"/>
                  </a:lnTo>
                  <a:lnTo>
                    <a:pt x="1119" y="214"/>
                  </a:lnTo>
                  <a:lnTo>
                    <a:pt x="1120" y="214"/>
                  </a:lnTo>
                  <a:lnTo>
                    <a:pt x="1120" y="217"/>
                  </a:lnTo>
                  <a:lnTo>
                    <a:pt x="1119" y="217"/>
                  </a:lnTo>
                  <a:lnTo>
                    <a:pt x="1119" y="219"/>
                  </a:lnTo>
                  <a:lnTo>
                    <a:pt x="1117" y="220"/>
                  </a:lnTo>
                  <a:lnTo>
                    <a:pt x="1119" y="222"/>
                  </a:lnTo>
                  <a:lnTo>
                    <a:pt x="1120" y="222"/>
                  </a:lnTo>
                  <a:lnTo>
                    <a:pt x="1120" y="220"/>
                  </a:lnTo>
                  <a:lnTo>
                    <a:pt x="1122" y="219"/>
                  </a:lnTo>
                  <a:lnTo>
                    <a:pt x="1123" y="219"/>
                  </a:lnTo>
                  <a:lnTo>
                    <a:pt x="1123" y="220"/>
                  </a:lnTo>
                  <a:lnTo>
                    <a:pt x="1125" y="220"/>
                  </a:lnTo>
                  <a:lnTo>
                    <a:pt x="1125" y="222"/>
                  </a:lnTo>
                  <a:lnTo>
                    <a:pt x="1126" y="222"/>
                  </a:lnTo>
                  <a:lnTo>
                    <a:pt x="1128" y="223"/>
                  </a:lnTo>
                  <a:lnTo>
                    <a:pt x="1129" y="223"/>
                  </a:lnTo>
                  <a:lnTo>
                    <a:pt x="1129" y="225"/>
                  </a:lnTo>
                  <a:lnTo>
                    <a:pt x="1131" y="226"/>
                  </a:lnTo>
                  <a:lnTo>
                    <a:pt x="1128" y="229"/>
                  </a:lnTo>
                  <a:lnTo>
                    <a:pt x="1128" y="231"/>
                  </a:lnTo>
                  <a:lnTo>
                    <a:pt x="1125" y="231"/>
                  </a:lnTo>
                  <a:lnTo>
                    <a:pt x="1123" y="232"/>
                  </a:lnTo>
                  <a:lnTo>
                    <a:pt x="1122" y="232"/>
                  </a:lnTo>
                  <a:lnTo>
                    <a:pt x="1120" y="231"/>
                  </a:lnTo>
                  <a:lnTo>
                    <a:pt x="1119" y="231"/>
                  </a:lnTo>
                  <a:lnTo>
                    <a:pt x="1116" y="232"/>
                  </a:lnTo>
                  <a:lnTo>
                    <a:pt x="1114" y="234"/>
                  </a:lnTo>
                  <a:lnTo>
                    <a:pt x="1114" y="235"/>
                  </a:lnTo>
                  <a:lnTo>
                    <a:pt x="1116" y="235"/>
                  </a:lnTo>
                  <a:lnTo>
                    <a:pt x="1117" y="237"/>
                  </a:lnTo>
                  <a:lnTo>
                    <a:pt x="1113" y="241"/>
                  </a:lnTo>
                  <a:lnTo>
                    <a:pt x="1113" y="244"/>
                  </a:lnTo>
                  <a:lnTo>
                    <a:pt x="1111" y="244"/>
                  </a:lnTo>
                  <a:lnTo>
                    <a:pt x="1111" y="243"/>
                  </a:lnTo>
                  <a:lnTo>
                    <a:pt x="1110" y="243"/>
                  </a:lnTo>
                  <a:lnTo>
                    <a:pt x="1108" y="244"/>
                  </a:lnTo>
                  <a:lnTo>
                    <a:pt x="1108" y="241"/>
                  </a:lnTo>
                  <a:lnTo>
                    <a:pt x="1105" y="244"/>
                  </a:lnTo>
                  <a:lnTo>
                    <a:pt x="1104" y="244"/>
                  </a:lnTo>
                  <a:lnTo>
                    <a:pt x="1104" y="243"/>
                  </a:lnTo>
                  <a:lnTo>
                    <a:pt x="1101" y="235"/>
                  </a:lnTo>
                  <a:lnTo>
                    <a:pt x="1104" y="232"/>
                  </a:lnTo>
                  <a:lnTo>
                    <a:pt x="1104" y="231"/>
                  </a:lnTo>
                  <a:lnTo>
                    <a:pt x="1105" y="229"/>
                  </a:lnTo>
                  <a:lnTo>
                    <a:pt x="1105" y="228"/>
                  </a:lnTo>
                  <a:lnTo>
                    <a:pt x="1107" y="228"/>
                  </a:lnTo>
                  <a:lnTo>
                    <a:pt x="1107" y="226"/>
                  </a:lnTo>
                  <a:lnTo>
                    <a:pt x="1108" y="225"/>
                  </a:lnTo>
                  <a:lnTo>
                    <a:pt x="1108" y="223"/>
                  </a:lnTo>
                  <a:lnTo>
                    <a:pt x="1111" y="223"/>
                  </a:lnTo>
                  <a:lnTo>
                    <a:pt x="1111" y="222"/>
                  </a:lnTo>
                  <a:lnTo>
                    <a:pt x="1110" y="222"/>
                  </a:lnTo>
                  <a:lnTo>
                    <a:pt x="1110" y="217"/>
                  </a:lnTo>
                  <a:lnTo>
                    <a:pt x="1111" y="216"/>
                  </a:lnTo>
                  <a:lnTo>
                    <a:pt x="1111" y="213"/>
                  </a:lnTo>
                  <a:lnTo>
                    <a:pt x="1110" y="214"/>
                  </a:lnTo>
                  <a:lnTo>
                    <a:pt x="1108" y="214"/>
                  </a:lnTo>
                  <a:lnTo>
                    <a:pt x="1113" y="210"/>
                  </a:lnTo>
                  <a:lnTo>
                    <a:pt x="1113" y="205"/>
                  </a:lnTo>
                  <a:lnTo>
                    <a:pt x="1114" y="204"/>
                  </a:lnTo>
                  <a:lnTo>
                    <a:pt x="1113" y="196"/>
                  </a:lnTo>
                  <a:lnTo>
                    <a:pt x="1114" y="195"/>
                  </a:lnTo>
                  <a:lnTo>
                    <a:pt x="1114" y="193"/>
                  </a:lnTo>
                  <a:lnTo>
                    <a:pt x="1116" y="190"/>
                  </a:lnTo>
                  <a:lnTo>
                    <a:pt x="1116" y="189"/>
                  </a:lnTo>
                  <a:lnTo>
                    <a:pt x="1117" y="187"/>
                  </a:lnTo>
                  <a:lnTo>
                    <a:pt x="1122" y="184"/>
                  </a:lnTo>
                  <a:close/>
                  <a:moveTo>
                    <a:pt x="1594" y="172"/>
                  </a:moveTo>
                  <a:lnTo>
                    <a:pt x="1597" y="174"/>
                  </a:lnTo>
                  <a:lnTo>
                    <a:pt x="1599" y="174"/>
                  </a:lnTo>
                  <a:lnTo>
                    <a:pt x="1599" y="175"/>
                  </a:lnTo>
                  <a:lnTo>
                    <a:pt x="1600" y="175"/>
                  </a:lnTo>
                  <a:lnTo>
                    <a:pt x="1600" y="177"/>
                  </a:lnTo>
                  <a:lnTo>
                    <a:pt x="1605" y="177"/>
                  </a:lnTo>
                  <a:lnTo>
                    <a:pt x="1608" y="180"/>
                  </a:lnTo>
                  <a:lnTo>
                    <a:pt x="1606" y="180"/>
                  </a:lnTo>
                  <a:lnTo>
                    <a:pt x="1605" y="178"/>
                  </a:lnTo>
                  <a:lnTo>
                    <a:pt x="1600" y="178"/>
                  </a:lnTo>
                  <a:lnTo>
                    <a:pt x="1599" y="177"/>
                  </a:lnTo>
                  <a:lnTo>
                    <a:pt x="1597" y="177"/>
                  </a:lnTo>
                  <a:lnTo>
                    <a:pt x="1594" y="174"/>
                  </a:lnTo>
                  <a:lnTo>
                    <a:pt x="1594" y="172"/>
                  </a:lnTo>
                  <a:close/>
                  <a:moveTo>
                    <a:pt x="1500" y="169"/>
                  </a:moveTo>
                  <a:lnTo>
                    <a:pt x="1501" y="169"/>
                  </a:lnTo>
                  <a:lnTo>
                    <a:pt x="1501" y="171"/>
                  </a:lnTo>
                  <a:lnTo>
                    <a:pt x="1504" y="172"/>
                  </a:lnTo>
                  <a:lnTo>
                    <a:pt x="1504" y="174"/>
                  </a:lnTo>
                  <a:lnTo>
                    <a:pt x="1503" y="172"/>
                  </a:lnTo>
                  <a:lnTo>
                    <a:pt x="1501" y="172"/>
                  </a:lnTo>
                  <a:lnTo>
                    <a:pt x="1500" y="171"/>
                  </a:lnTo>
                  <a:lnTo>
                    <a:pt x="1500" y="169"/>
                  </a:lnTo>
                  <a:close/>
                  <a:moveTo>
                    <a:pt x="1497" y="166"/>
                  </a:moveTo>
                  <a:lnTo>
                    <a:pt x="1498" y="166"/>
                  </a:lnTo>
                  <a:lnTo>
                    <a:pt x="1498" y="169"/>
                  </a:lnTo>
                  <a:lnTo>
                    <a:pt x="1497" y="168"/>
                  </a:lnTo>
                  <a:lnTo>
                    <a:pt x="1497" y="166"/>
                  </a:lnTo>
                  <a:close/>
                  <a:moveTo>
                    <a:pt x="1504" y="165"/>
                  </a:moveTo>
                  <a:lnTo>
                    <a:pt x="1506" y="165"/>
                  </a:lnTo>
                  <a:lnTo>
                    <a:pt x="1507" y="166"/>
                  </a:lnTo>
                  <a:lnTo>
                    <a:pt x="1507" y="169"/>
                  </a:lnTo>
                  <a:lnTo>
                    <a:pt x="1506" y="169"/>
                  </a:lnTo>
                  <a:lnTo>
                    <a:pt x="1506" y="168"/>
                  </a:lnTo>
                  <a:lnTo>
                    <a:pt x="1504" y="166"/>
                  </a:lnTo>
                  <a:lnTo>
                    <a:pt x="1504" y="165"/>
                  </a:lnTo>
                  <a:close/>
                  <a:moveTo>
                    <a:pt x="1122" y="165"/>
                  </a:moveTo>
                  <a:lnTo>
                    <a:pt x="1123" y="166"/>
                  </a:lnTo>
                  <a:lnTo>
                    <a:pt x="1125" y="166"/>
                  </a:lnTo>
                  <a:lnTo>
                    <a:pt x="1125" y="168"/>
                  </a:lnTo>
                  <a:lnTo>
                    <a:pt x="1126" y="168"/>
                  </a:lnTo>
                  <a:lnTo>
                    <a:pt x="1126" y="166"/>
                  </a:lnTo>
                  <a:lnTo>
                    <a:pt x="1129" y="166"/>
                  </a:lnTo>
                  <a:lnTo>
                    <a:pt x="1132" y="169"/>
                  </a:lnTo>
                  <a:lnTo>
                    <a:pt x="1132" y="171"/>
                  </a:lnTo>
                  <a:lnTo>
                    <a:pt x="1131" y="172"/>
                  </a:lnTo>
                  <a:lnTo>
                    <a:pt x="1129" y="175"/>
                  </a:lnTo>
                  <a:lnTo>
                    <a:pt x="1126" y="178"/>
                  </a:lnTo>
                  <a:lnTo>
                    <a:pt x="1125" y="177"/>
                  </a:lnTo>
                  <a:lnTo>
                    <a:pt x="1122" y="177"/>
                  </a:lnTo>
                  <a:lnTo>
                    <a:pt x="1120" y="175"/>
                  </a:lnTo>
                  <a:lnTo>
                    <a:pt x="1119" y="172"/>
                  </a:lnTo>
                  <a:lnTo>
                    <a:pt x="1119" y="168"/>
                  </a:lnTo>
                  <a:lnTo>
                    <a:pt x="1120" y="168"/>
                  </a:lnTo>
                  <a:lnTo>
                    <a:pt x="1120" y="166"/>
                  </a:lnTo>
                  <a:lnTo>
                    <a:pt x="1122" y="166"/>
                  </a:lnTo>
                  <a:lnTo>
                    <a:pt x="1122" y="165"/>
                  </a:lnTo>
                  <a:close/>
                  <a:moveTo>
                    <a:pt x="1658" y="163"/>
                  </a:moveTo>
                  <a:lnTo>
                    <a:pt x="1661" y="165"/>
                  </a:lnTo>
                  <a:lnTo>
                    <a:pt x="1666" y="165"/>
                  </a:lnTo>
                  <a:lnTo>
                    <a:pt x="1666" y="166"/>
                  </a:lnTo>
                  <a:lnTo>
                    <a:pt x="1667" y="166"/>
                  </a:lnTo>
                  <a:lnTo>
                    <a:pt x="1667" y="163"/>
                  </a:lnTo>
                  <a:lnTo>
                    <a:pt x="1658" y="163"/>
                  </a:lnTo>
                  <a:close/>
                  <a:moveTo>
                    <a:pt x="1311" y="157"/>
                  </a:moveTo>
                  <a:lnTo>
                    <a:pt x="1313" y="157"/>
                  </a:lnTo>
                  <a:lnTo>
                    <a:pt x="1316" y="160"/>
                  </a:lnTo>
                  <a:lnTo>
                    <a:pt x="1314" y="162"/>
                  </a:lnTo>
                  <a:lnTo>
                    <a:pt x="1314" y="163"/>
                  </a:lnTo>
                  <a:lnTo>
                    <a:pt x="1311" y="163"/>
                  </a:lnTo>
                  <a:lnTo>
                    <a:pt x="1311" y="162"/>
                  </a:lnTo>
                  <a:lnTo>
                    <a:pt x="1310" y="162"/>
                  </a:lnTo>
                  <a:lnTo>
                    <a:pt x="1310" y="160"/>
                  </a:lnTo>
                  <a:lnTo>
                    <a:pt x="1311" y="159"/>
                  </a:lnTo>
                  <a:lnTo>
                    <a:pt x="1311" y="157"/>
                  </a:lnTo>
                  <a:close/>
                  <a:moveTo>
                    <a:pt x="1356" y="154"/>
                  </a:moveTo>
                  <a:lnTo>
                    <a:pt x="1356" y="156"/>
                  </a:lnTo>
                  <a:lnTo>
                    <a:pt x="1355" y="156"/>
                  </a:lnTo>
                  <a:lnTo>
                    <a:pt x="1356" y="154"/>
                  </a:lnTo>
                  <a:close/>
                  <a:moveTo>
                    <a:pt x="1385" y="150"/>
                  </a:moveTo>
                  <a:lnTo>
                    <a:pt x="1386" y="150"/>
                  </a:lnTo>
                  <a:lnTo>
                    <a:pt x="1386" y="153"/>
                  </a:lnTo>
                  <a:lnTo>
                    <a:pt x="1383" y="153"/>
                  </a:lnTo>
                  <a:lnTo>
                    <a:pt x="1383" y="151"/>
                  </a:lnTo>
                  <a:lnTo>
                    <a:pt x="1385" y="150"/>
                  </a:lnTo>
                  <a:close/>
                  <a:moveTo>
                    <a:pt x="1126" y="145"/>
                  </a:moveTo>
                  <a:lnTo>
                    <a:pt x="1128" y="145"/>
                  </a:lnTo>
                  <a:lnTo>
                    <a:pt x="1128" y="147"/>
                  </a:lnTo>
                  <a:lnTo>
                    <a:pt x="1129" y="147"/>
                  </a:lnTo>
                  <a:lnTo>
                    <a:pt x="1129" y="148"/>
                  </a:lnTo>
                  <a:lnTo>
                    <a:pt x="1126" y="148"/>
                  </a:lnTo>
                  <a:lnTo>
                    <a:pt x="1126" y="150"/>
                  </a:lnTo>
                  <a:lnTo>
                    <a:pt x="1125" y="150"/>
                  </a:lnTo>
                  <a:lnTo>
                    <a:pt x="1123" y="148"/>
                  </a:lnTo>
                  <a:lnTo>
                    <a:pt x="1123" y="147"/>
                  </a:lnTo>
                  <a:lnTo>
                    <a:pt x="1125" y="147"/>
                  </a:lnTo>
                  <a:lnTo>
                    <a:pt x="1126" y="145"/>
                  </a:lnTo>
                  <a:close/>
                  <a:moveTo>
                    <a:pt x="1376" y="144"/>
                  </a:moveTo>
                  <a:lnTo>
                    <a:pt x="1379" y="144"/>
                  </a:lnTo>
                  <a:lnTo>
                    <a:pt x="1379" y="145"/>
                  </a:lnTo>
                  <a:lnTo>
                    <a:pt x="1380" y="145"/>
                  </a:lnTo>
                  <a:lnTo>
                    <a:pt x="1382" y="144"/>
                  </a:lnTo>
                  <a:lnTo>
                    <a:pt x="1383" y="145"/>
                  </a:lnTo>
                  <a:lnTo>
                    <a:pt x="1383" y="150"/>
                  </a:lnTo>
                  <a:lnTo>
                    <a:pt x="1380" y="147"/>
                  </a:lnTo>
                  <a:lnTo>
                    <a:pt x="1379" y="148"/>
                  </a:lnTo>
                  <a:lnTo>
                    <a:pt x="1380" y="148"/>
                  </a:lnTo>
                  <a:lnTo>
                    <a:pt x="1379" y="150"/>
                  </a:lnTo>
                  <a:lnTo>
                    <a:pt x="1377" y="148"/>
                  </a:lnTo>
                  <a:lnTo>
                    <a:pt x="1377" y="147"/>
                  </a:lnTo>
                  <a:lnTo>
                    <a:pt x="1376" y="147"/>
                  </a:lnTo>
                  <a:lnTo>
                    <a:pt x="1376" y="144"/>
                  </a:lnTo>
                  <a:close/>
                  <a:moveTo>
                    <a:pt x="1371" y="144"/>
                  </a:moveTo>
                  <a:lnTo>
                    <a:pt x="1371" y="145"/>
                  </a:lnTo>
                  <a:lnTo>
                    <a:pt x="1374" y="145"/>
                  </a:lnTo>
                  <a:lnTo>
                    <a:pt x="1376" y="147"/>
                  </a:lnTo>
                  <a:lnTo>
                    <a:pt x="1376" y="148"/>
                  </a:lnTo>
                  <a:lnTo>
                    <a:pt x="1374" y="148"/>
                  </a:lnTo>
                  <a:lnTo>
                    <a:pt x="1373" y="150"/>
                  </a:lnTo>
                  <a:lnTo>
                    <a:pt x="1367" y="150"/>
                  </a:lnTo>
                  <a:lnTo>
                    <a:pt x="1368" y="148"/>
                  </a:lnTo>
                  <a:lnTo>
                    <a:pt x="1368" y="145"/>
                  </a:lnTo>
                  <a:lnTo>
                    <a:pt x="1370" y="145"/>
                  </a:lnTo>
                  <a:lnTo>
                    <a:pt x="1371" y="144"/>
                  </a:lnTo>
                  <a:close/>
                  <a:moveTo>
                    <a:pt x="1362" y="144"/>
                  </a:moveTo>
                  <a:lnTo>
                    <a:pt x="1365" y="144"/>
                  </a:lnTo>
                  <a:lnTo>
                    <a:pt x="1365" y="147"/>
                  </a:lnTo>
                  <a:lnTo>
                    <a:pt x="1364" y="147"/>
                  </a:lnTo>
                  <a:lnTo>
                    <a:pt x="1365" y="148"/>
                  </a:lnTo>
                  <a:lnTo>
                    <a:pt x="1365" y="150"/>
                  </a:lnTo>
                  <a:lnTo>
                    <a:pt x="1361" y="150"/>
                  </a:lnTo>
                  <a:lnTo>
                    <a:pt x="1362" y="151"/>
                  </a:lnTo>
                  <a:lnTo>
                    <a:pt x="1362" y="153"/>
                  </a:lnTo>
                  <a:lnTo>
                    <a:pt x="1361" y="153"/>
                  </a:lnTo>
                  <a:lnTo>
                    <a:pt x="1361" y="154"/>
                  </a:lnTo>
                  <a:lnTo>
                    <a:pt x="1356" y="154"/>
                  </a:lnTo>
                  <a:lnTo>
                    <a:pt x="1356" y="153"/>
                  </a:lnTo>
                  <a:lnTo>
                    <a:pt x="1359" y="151"/>
                  </a:lnTo>
                  <a:lnTo>
                    <a:pt x="1359" y="150"/>
                  </a:lnTo>
                  <a:lnTo>
                    <a:pt x="1358" y="150"/>
                  </a:lnTo>
                  <a:lnTo>
                    <a:pt x="1355" y="153"/>
                  </a:lnTo>
                  <a:lnTo>
                    <a:pt x="1353" y="153"/>
                  </a:lnTo>
                  <a:lnTo>
                    <a:pt x="1352" y="154"/>
                  </a:lnTo>
                  <a:lnTo>
                    <a:pt x="1350" y="154"/>
                  </a:lnTo>
                  <a:lnTo>
                    <a:pt x="1350" y="156"/>
                  </a:lnTo>
                  <a:lnTo>
                    <a:pt x="1346" y="156"/>
                  </a:lnTo>
                  <a:lnTo>
                    <a:pt x="1346" y="153"/>
                  </a:lnTo>
                  <a:lnTo>
                    <a:pt x="1347" y="150"/>
                  </a:lnTo>
                  <a:lnTo>
                    <a:pt x="1349" y="150"/>
                  </a:lnTo>
                  <a:lnTo>
                    <a:pt x="1352" y="148"/>
                  </a:lnTo>
                  <a:lnTo>
                    <a:pt x="1356" y="148"/>
                  </a:lnTo>
                  <a:lnTo>
                    <a:pt x="1361" y="145"/>
                  </a:lnTo>
                  <a:lnTo>
                    <a:pt x="1362" y="144"/>
                  </a:lnTo>
                  <a:close/>
                  <a:moveTo>
                    <a:pt x="1089" y="144"/>
                  </a:moveTo>
                  <a:lnTo>
                    <a:pt x="1090" y="145"/>
                  </a:lnTo>
                  <a:lnTo>
                    <a:pt x="1090" y="147"/>
                  </a:lnTo>
                  <a:lnTo>
                    <a:pt x="1087" y="147"/>
                  </a:lnTo>
                  <a:lnTo>
                    <a:pt x="1087" y="145"/>
                  </a:lnTo>
                  <a:lnTo>
                    <a:pt x="1089" y="145"/>
                  </a:lnTo>
                  <a:lnTo>
                    <a:pt x="1089" y="144"/>
                  </a:lnTo>
                  <a:close/>
                  <a:moveTo>
                    <a:pt x="1564" y="141"/>
                  </a:moveTo>
                  <a:lnTo>
                    <a:pt x="1566" y="142"/>
                  </a:lnTo>
                  <a:lnTo>
                    <a:pt x="1566" y="145"/>
                  </a:lnTo>
                  <a:lnTo>
                    <a:pt x="1564" y="144"/>
                  </a:lnTo>
                  <a:lnTo>
                    <a:pt x="1564" y="141"/>
                  </a:lnTo>
                  <a:close/>
                  <a:moveTo>
                    <a:pt x="1561" y="139"/>
                  </a:moveTo>
                  <a:lnTo>
                    <a:pt x="1564" y="139"/>
                  </a:lnTo>
                  <a:lnTo>
                    <a:pt x="1564" y="141"/>
                  </a:lnTo>
                  <a:lnTo>
                    <a:pt x="1563" y="142"/>
                  </a:lnTo>
                  <a:lnTo>
                    <a:pt x="1563" y="141"/>
                  </a:lnTo>
                  <a:lnTo>
                    <a:pt x="1561" y="141"/>
                  </a:lnTo>
                  <a:lnTo>
                    <a:pt x="1561" y="139"/>
                  </a:lnTo>
                  <a:close/>
                  <a:moveTo>
                    <a:pt x="1093" y="139"/>
                  </a:moveTo>
                  <a:lnTo>
                    <a:pt x="1095" y="139"/>
                  </a:lnTo>
                  <a:lnTo>
                    <a:pt x="1095" y="141"/>
                  </a:lnTo>
                  <a:lnTo>
                    <a:pt x="1096" y="141"/>
                  </a:lnTo>
                  <a:lnTo>
                    <a:pt x="1096" y="142"/>
                  </a:lnTo>
                  <a:lnTo>
                    <a:pt x="1095" y="142"/>
                  </a:lnTo>
                  <a:lnTo>
                    <a:pt x="1095" y="144"/>
                  </a:lnTo>
                  <a:lnTo>
                    <a:pt x="1093" y="142"/>
                  </a:lnTo>
                  <a:lnTo>
                    <a:pt x="1093" y="139"/>
                  </a:lnTo>
                  <a:close/>
                  <a:moveTo>
                    <a:pt x="818" y="138"/>
                  </a:moveTo>
                  <a:lnTo>
                    <a:pt x="819" y="139"/>
                  </a:lnTo>
                  <a:lnTo>
                    <a:pt x="819" y="141"/>
                  </a:lnTo>
                  <a:lnTo>
                    <a:pt x="818" y="145"/>
                  </a:lnTo>
                  <a:lnTo>
                    <a:pt x="818" y="147"/>
                  </a:lnTo>
                  <a:lnTo>
                    <a:pt x="816" y="148"/>
                  </a:lnTo>
                  <a:lnTo>
                    <a:pt x="816" y="150"/>
                  </a:lnTo>
                  <a:lnTo>
                    <a:pt x="814" y="147"/>
                  </a:lnTo>
                  <a:lnTo>
                    <a:pt x="814" y="144"/>
                  </a:lnTo>
                  <a:lnTo>
                    <a:pt x="815" y="142"/>
                  </a:lnTo>
                  <a:lnTo>
                    <a:pt x="815" y="141"/>
                  </a:lnTo>
                  <a:lnTo>
                    <a:pt x="816" y="139"/>
                  </a:lnTo>
                  <a:lnTo>
                    <a:pt x="818" y="139"/>
                  </a:lnTo>
                  <a:lnTo>
                    <a:pt x="818" y="138"/>
                  </a:lnTo>
                  <a:close/>
                  <a:moveTo>
                    <a:pt x="1326" y="133"/>
                  </a:moveTo>
                  <a:lnTo>
                    <a:pt x="1331" y="133"/>
                  </a:lnTo>
                  <a:lnTo>
                    <a:pt x="1332" y="135"/>
                  </a:lnTo>
                  <a:lnTo>
                    <a:pt x="1332" y="136"/>
                  </a:lnTo>
                  <a:lnTo>
                    <a:pt x="1334" y="138"/>
                  </a:lnTo>
                  <a:lnTo>
                    <a:pt x="1331" y="138"/>
                  </a:lnTo>
                  <a:lnTo>
                    <a:pt x="1329" y="136"/>
                  </a:lnTo>
                  <a:lnTo>
                    <a:pt x="1328" y="136"/>
                  </a:lnTo>
                  <a:lnTo>
                    <a:pt x="1326" y="135"/>
                  </a:lnTo>
                  <a:lnTo>
                    <a:pt x="1326" y="133"/>
                  </a:lnTo>
                  <a:close/>
                  <a:moveTo>
                    <a:pt x="811" y="130"/>
                  </a:moveTo>
                  <a:lnTo>
                    <a:pt x="812" y="132"/>
                  </a:lnTo>
                  <a:lnTo>
                    <a:pt x="812" y="133"/>
                  </a:lnTo>
                  <a:lnTo>
                    <a:pt x="811" y="138"/>
                  </a:lnTo>
                  <a:lnTo>
                    <a:pt x="811" y="139"/>
                  </a:lnTo>
                  <a:lnTo>
                    <a:pt x="814" y="142"/>
                  </a:lnTo>
                  <a:lnTo>
                    <a:pt x="814" y="144"/>
                  </a:lnTo>
                  <a:lnTo>
                    <a:pt x="812" y="144"/>
                  </a:lnTo>
                  <a:lnTo>
                    <a:pt x="812" y="150"/>
                  </a:lnTo>
                  <a:lnTo>
                    <a:pt x="814" y="151"/>
                  </a:lnTo>
                  <a:lnTo>
                    <a:pt x="814" y="157"/>
                  </a:lnTo>
                  <a:lnTo>
                    <a:pt x="812" y="157"/>
                  </a:lnTo>
                  <a:lnTo>
                    <a:pt x="812" y="160"/>
                  </a:lnTo>
                  <a:lnTo>
                    <a:pt x="814" y="162"/>
                  </a:lnTo>
                  <a:lnTo>
                    <a:pt x="812" y="162"/>
                  </a:lnTo>
                  <a:lnTo>
                    <a:pt x="812" y="163"/>
                  </a:lnTo>
                  <a:lnTo>
                    <a:pt x="809" y="163"/>
                  </a:lnTo>
                  <a:lnTo>
                    <a:pt x="809" y="166"/>
                  </a:lnTo>
                  <a:lnTo>
                    <a:pt x="806" y="166"/>
                  </a:lnTo>
                  <a:lnTo>
                    <a:pt x="806" y="168"/>
                  </a:lnTo>
                  <a:lnTo>
                    <a:pt x="805" y="168"/>
                  </a:lnTo>
                  <a:lnTo>
                    <a:pt x="803" y="169"/>
                  </a:lnTo>
                  <a:lnTo>
                    <a:pt x="803" y="168"/>
                  </a:lnTo>
                  <a:lnTo>
                    <a:pt x="802" y="168"/>
                  </a:lnTo>
                  <a:lnTo>
                    <a:pt x="802" y="165"/>
                  </a:lnTo>
                  <a:lnTo>
                    <a:pt x="803" y="165"/>
                  </a:lnTo>
                  <a:lnTo>
                    <a:pt x="803" y="163"/>
                  </a:lnTo>
                  <a:lnTo>
                    <a:pt x="802" y="162"/>
                  </a:lnTo>
                  <a:lnTo>
                    <a:pt x="803" y="159"/>
                  </a:lnTo>
                  <a:lnTo>
                    <a:pt x="803" y="157"/>
                  </a:lnTo>
                  <a:lnTo>
                    <a:pt x="802" y="157"/>
                  </a:lnTo>
                  <a:lnTo>
                    <a:pt x="802" y="156"/>
                  </a:lnTo>
                  <a:lnTo>
                    <a:pt x="800" y="154"/>
                  </a:lnTo>
                  <a:lnTo>
                    <a:pt x="800" y="150"/>
                  </a:lnTo>
                  <a:lnTo>
                    <a:pt x="802" y="147"/>
                  </a:lnTo>
                  <a:lnTo>
                    <a:pt x="802" y="142"/>
                  </a:lnTo>
                  <a:lnTo>
                    <a:pt x="805" y="136"/>
                  </a:lnTo>
                  <a:lnTo>
                    <a:pt x="805" y="135"/>
                  </a:lnTo>
                  <a:lnTo>
                    <a:pt x="808" y="135"/>
                  </a:lnTo>
                  <a:lnTo>
                    <a:pt x="809" y="132"/>
                  </a:lnTo>
                  <a:lnTo>
                    <a:pt x="811" y="132"/>
                  </a:lnTo>
                  <a:lnTo>
                    <a:pt x="811" y="130"/>
                  </a:lnTo>
                  <a:close/>
                  <a:moveTo>
                    <a:pt x="1335" y="129"/>
                  </a:moveTo>
                  <a:lnTo>
                    <a:pt x="1340" y="129"/>
                  </a:lnTo>
                  <a:lnTo>
                    <a:pt x="1340" y="132"/>
                  </a:lnTo>
                  <a:lnTo>
                    <a:pt x="1334" y="132"/>
                  </a:lnTo>
                  <a:lnTo>
                    <a:pt x="1334" y="130"/>
                  </a:lnTo>
                  <a:lnTo>
                    <a:pt x="1335" y="129"/>
                  </a:lnTo>
                  <a:close/>
                  <a:moveTo>
                    <a:pt x="1096" y="127"/>
                  </a:moveTo>
                  <a:lnTo>
                    <a:pt x="1096" y="129"/>
                  </a:lnTo>
                  <a:lnTo>
                    <a:pt x="1095" y="129"/>
                  </a:lnTo>
                  <a:lnTo>
                    <a:pt x="1096" y="127"/>
                  </a:lnTo>
                  <a:close/>
                  <a:moveTo>
                    <a:pt x="88" y="126"/>
                  </a:moveTo>
                  <a:lnTo>
                    <a:pt x="88" y="127"/>
                  </a:lnTo>
                  <a:lnTo>
                    <a:pt x="90" y="129"/>
                  </a:lnTo>
                  <a:lnTo>
                    <a:pt x="87" y="129"/>
                  </a:lnTo>
                  <a:lnTo>
                    <a:pt x="87" y="127"/>
                  </a:lnTo>
                  <a:lnTo>
                    <a:pt x="88" y="126"/>
                  </a:lnTo>
                  <a:close/>
                  <a:moveTo>
                    <a:pt x="1277" y="124"/>
                  </a:moveTo>
                  <a:lnTo>
                    <a:pt x="1297" y="124"/>
                  </a:lnTo>
                  <a:lnTo>
                    <a:pt x="1299" y="127"/>
                  </a:lnTo>
                  <a:lnTo>
                    <a:pt x="1299" y="126"/>
                  </a:lnTo>
                  <a:lnTo>
                    <a:pt x="1301" y="127"/>
                  </a:lnTo>
                  <a:lnTo>
                    <a:pt x="1304" y="127"/>
                  </a:lnTo>
                  <a:lnTo>
                    <a:pt x="1307" y="130"/>
                  </a:lnTo>
                  <a:lnTo>
                    <a:pt x="1308" y="130"/>
                  </a:lnTo>
                  <a:lnTo>
                    <a:pt x="1308" y="133"/>
                  </a:lnTo>
                  <a:lnTo>
                    <a:pt x="1305" y="133"/>
                  </a:lnTo>
                  <a:lnTo>
                    <a:pt x="1305" y="136"/>
                  </a:lnTo>
                  <a:lnTo>
                    <a:pt x="1307" y="136"/>
                  </a:lnTo>
                  <a:lnTo>
                    <a:pt x="1308" y="138"/>
                  </a:lnTo>
                  <a:lnTo>
                    <a:pt x="1310" y="138"/>
                  </a:lnTo>
                  <a:lnTo>
                    <a:pt x="1310" y="136"/>
                  </a:lnTo>
                  <a:lnTo>
                    <a:pt x="1311" y="136"/>
                  </a:lnTo>
                  <a:lnTo>
                    <a:pt x="1313" y="138"/>
                  </a:lnTo>
                  <a:lnTo>
                    <a:pt x="1316" y="138"/>
                  </a:lnTo>
                  <a:lnTo>
                    <a:pt x="1316" y="139"/>
                  </a:lnTo>
                  <a:lnTo>
                    <a:pt x="1314" y="141"/>
                  </a:lnTo>
                  <a:lnTo>
                    <a:pt x="1314" y="150"/>
                  </a:lnTo>
                  <a:lnTo>
                    <a:pt x="1313" y="151"/>
                  </a:lnTo>
                  <a:lnTo>
                    <a:pt x="1310" y="151"/>
                  </a:lnTo>
                  <a:lnTo>
                    <a:pt x="1304" y="154"/>
                  </a:lnTo>
                  <a:lnTo>
                    <a:pt x="1302" y="154"/>
                  </a:lnTo>
                  <a:lnTo>
                    <a:pt x="1299" y="157"/>
                  </a:lnTo>
                  <a:lnTo>
                    <a:pt x="1295" y="157"/>
                  </a:lnTo>
                  <a:lnTo>
                    <a:pt x="1292" y="160"/>
                  </a:lnTo>
                  <a:lnTo>
                    <a:pt x="1289" y="160"/>
                  </a:lnTo>
                  <a:lnTo>
                    <a:pt x="1289" y="159"/>
                  </a:lnTo>
                  <a:lnTo>
                    <a:pt x="1285" y="159"/>
                  </a:lnTo>
                  <a:lnTo>
                    <a:pt x="1283" y="157"/>
                  </a:lnTo>
                  <a:lnTo>
                    <a:pt x="1282" y="157"/>
                  </a:lnTo>
                  <a:lnTo>
                    <a:pt x="1279" y="156"/>
                  </a:lnTo>
                  <a:lnTo>
                    <a:pt x="1276" y="153"/>
                  </a:lnTo>
                  <a:lnTo>
                    <a:pt x="1273" y="153"/>
                  </a:lnTo>
                  <a:lnTo>
                    <a:pt x="1270" y="150"/>
                  </a:lnTo>
                  <a:lnTo>
                    <a:pt x="1267" y="150"/>
                  </a:lnTo>
                  <a:lnTo>
                    <a:pt x="1265" y="148"/>
                  </a:lnTo>
                  <a:lnTo>
                    <a:pt x="1265" y="145"/>
                  </a:lnTo>
                  <a:lnTo>
                    <a:pt x="1262" y="142"/>
                  </a:lnTo>
                  <a:lnTo>
                    <a:pt x="1261" y="142"/>
                  </a:lnTo>
                  <a:lnTo>
                    <a:pt x="1261" y="141"/>
                  </a:lnTo>
                  <a:lnTo>
                    <a:pt x="1259" y="141"/>
                  </a:lnTo>
                  <a:lnTo>
                    <a:pt x="1259" y="139"/>
                  </a:lnTo>
                  <a:lnTo>
                    <a:pt x="1258" y="138"/>
                  </a:lnTo>
                  <a:lnTo>
                    <a:pt x="1258" y="132"/>
                  </a:lnTo>
                  <a:lnTo>
                    <a:pt x="1259" y="129"/>
                  </a:lnTo>
                  <a:lnTo>
                    <a:pt x="1259" y="127"/>
                  </a:lnTo>
                  <a:lnTo>
                    <a:pt x="1261" y="127"/>
                  </a:lnTo>
                  <a:lnTo>
                    <a:pt x="1262" y="126"/>
                  </a:lnTo>
                  <a:lnTo>
                    <a:pt x="1264" y="126"/>
                  </a:lnTo>
                  <a:lnTo>
                    <a:pt x="1264" y="129"/>
                  </a:lnTo>
                  <a:lnTo>
                    <a:pt x="1268" y="129"/>
                  </a:lnTo>
                  <a:lnTo>
                    <a:pt x="1268" y="127"/>
                  </a:lnTo>
                  <a:lnTo>
                    <a:pt x="1270" y="126"/>
                  </a:lnTo>
                  <a:lnTo>
                    <a:pt x="1271" y="126"/>
                  </a:lnTo>
                  <a:lnTo>
                    <a:pt x="1277" y="124"/>
                  </a:lnTo>
                  <a:close/>
                  <a:moveTo>
                    <a:pt x="1533" y="117"/>
                  </a:moveTo>
                  <a:lnTo>
                    <a:pt x="1533" y="118"/>
                  </a:lnTo>
                  <a:lnTo>
                    <a:pt x="1531" y="118"/>
                  </a:lnTo>
                  <a:lnTo>
                    <a:pt x="1533" y="117"/>
                  </a:lnTo>
                  <a:close/>
                  <a:moveTo>
                    <a:pt x="1346" y="117"/>
                  </a:moveTo>
                  <a:lnTo>
                    <a:pt x="1349" y="117"/>
                  </a:lnTo>
                  <a:lnTo>
                    <a:pt x="1349" y="120"/>
                  </a:lnTo>
                  <a:lnTo>
                    <a:pt x="1347" y="120"/>
                  </a:lnTo>
                  <a:lnTo>
                    <a:pt x="1347" y="121"/>
                  </a:lnTo>
                  <a:lnTo>
                    <a:pt x="1346" y="123"/>
                  </a:lnTo>
                  <a:lnTo>
                    <a:pt x="1341" y="123"/>
                  </a:lnTo>
                  <a:lnTo>
                    <a:pt x="1341" y="121"/>
                  </a:lnTo>
                  <a:lnTo>
                    <a:pt x="1343" y="120"/>
                  </a:lnTo>
                  <a:lnTo>
                    <a:pt x="1346" y="120"/>
                  </a:lnTo>
                  <a:lnTo>
                    <a:pt x="1346" y="117"/>
                  </a:lnTo>
                  <a:close/>
                  <a:moveTo>
                    <a:pt x="567" y="115"/>
                  </a:moveTo>
                  <a:lnTo>
                    <a:pt x="565" y="117"/>
                  </a:lnTo>
                  <a:lnTo>
                    <a:pt x="564" y="117"/>
                  </a:lnTo>
                  <a:lnTo>
                    <a:pt x="562" y="118"/>
                  </a:lnTo>
                  <a:lnTo>
                    <a:pt x="564" y="118"/>
                  </a:lnTo>
                  <a:lnTo>
                    <a:pt x="567" y="117"/>
                  </a:lnTo>
                  <a:lnTo>
                    <a:pt x="568" y="117"/>
                  </a:lnTo>
                  <a:lnTo>
                    <a:pt x="567" y="115"/>
                  </a:lnTo>
                  <a:close/>
                  <a:moveTo>
                    <a:pt x="377" y="115"/>
                  </a:moveTo>
                  <a:lnTo>
                    <a:pt x="378" y="117"/>
                  </a:lnTo>
                  <a:lnTo>
                    <a:pt x="381" y="117"/>
                  </a:lnTo>
                  <a:lnTo>
                    <a:pt x="381" y="118"/>
                  </a:lnTo>
                  <a:lnTo>
                    <a:pt x="383" y="118"/>
                  </a:lnTo>
                  <a:lnTo>
                    <a:pt x="381" y="121"/>
                  </a:lnTo>
                  <a:lnTo>
                    <a:pt x="380" y="123"/>
                  </a:lnTo>
                  <a:lnTo>
                    <a:pt x="377" y="121"/>
                  </a:lnTo>
                  <a:lnTo>
                    <a:pt x="375" y="120"/>
                  </a:lnTo>
                  <a:lnTo>
                    <a:pt x="374" y="120"/>
                  </a:lnTo>
                  <a:lnTo>
                    <a:pt x="374" y="117"/>
                  </a:lnTo>
                  <a:lnTo>
                    <a:pt x="377" y="117"/>
                  </a:lnTo>
                  <a:lnTo>
                    <a:pt x="377" y="115"/>
                  </a:lnTo>
                  <a:close/>
                  <a:moveTo>
                    <a:pt x="1027" y="112"/>
                  </a:moveTo>
                  <a:lnTo>
                    <a:pt x="1029" y="112"/>
                  </a:lnTo>
                  <a:lnTo>
                    <a:pt x="1029" y="114"/>
                  </a:lnTo>
                  <a:lnTo>
                    <a:pt x="1027" y="114"/>
                  </a:lnTo>
                  <a:lnTo>
                    <a:pt x="1027" y="112"/>
                  </a:lnTo>
                  <a:close/>
                  <a:moveTo>
                    <a:pt x="805" y="112"/>
                  </a:moveTo>
                  <a:lnTo>
                    <a:pt x="805" y="114"/>
                  </a:lnTo>
                  <a:lnTo>
                    <a:pt x="806" y="114"/>
                  </a:lnTo>
                  <a:lnTo>
                    <a:pt x="806" y="112"/>
                  </a:lnTo>
                  <a:lnTo>
                    <a:pt x="805" y="112"/>
                  </a:lnTo>
                  <a:close/>
                  <a:moveTo>
                    <a:pt x="407" y="112"/>
                  </a:moveTo>
                  <a:lnTo>
                    <a:pt x="408" y="112"/>
                  </a:lnTo>
                  <a:lnTo>
                    <a:pt x="408" y="114"/>
                  </a:lnTo>
                  <a:lnTo>
                    <a:pt x="410" y="114"/>
                  </a:lnTo>
                  <a:lnTo>
                    <a:pt x="408" y="115"/>
                  </a:lnTo>
                  <a:lnTo>
                    <a:pt x="408" y="117"/>
                  </a:lnTo>
                  <a:lnTo>
                    <a:pt x="405" y="117"/>
                  </a:lnTo>
                  <a:lnTo>
                    <a:pt x="405" y="118"/>
                  </a:lnTo>
                  <a:lnTo>
                    <a:pt x="404" y="118"/>
                  </a:lnTo>
                  <a:lnTo>
                    <a:pt x="402" y="117"/>
                  </a:lnTo>
                  <a:lnTo>
                    <a:pt x="402" y="115"/>
                  </a:lnTo>
                  <a:lnTo>
                    <a:pt x="404" y="115"/>
                  </a:lnTo>
                  <a:lnTo>
                    <a:pt x="404" y="114"/>
                  </a:lnTo>
                  <a:lnTo>
                    <a:pt x="405" y="114"/>
                  </a:lnTo>
                  <a:lnTo>
                    <a:pt x="407" y="112"/>
                  </a:lnTo>
                  <a:close/>
                  <a:moveTo>
                    <a:pt x="389" y="112"/>
                  </a:moveTo>
                  <a:lnTo>
                    <a:pt x="390" y="114"/>
                  </a:lnTo>
                  <a:lnTo>
                    <a:pt x="390" y="117"/>
                  </a:lnTo>
                  <a:lnTo>
                    <a:pt x="387" y="117"/>
                  </a:lnTo>
                  <a:lnTo>
                    <a:pt x="387" y="114"/>
                  </a:lnTo>
                  <a:lnTo>
                    <a:pt x="389" y="114"/>
                  </a:lnTo>
                  <a:lnTo>
                    <a:pt x="389" y="112"/>
                  </a:lnTo>
                  <a:close/>
                  <a:moveTo>
                    <a:pt x="1413" y="111"/>
                  </a:moveTo>
                  <a:lnTo>
                    <a:pt x="1421" y="111"/>
                  </a:lnTo>
                  <a:lnTo>
                    <a:pt x="1421" y="112"/>
                  </a:lnTo>
                  <a:lnTo>
                    <a:pt x="1424" y="112"/>
                  </a:lnTo>
                  <a:lnTo>
                    <a:pt x="1430" y="115"/>
                  </a:lnTo>
                  <a:lnTo>
                    <a:pt x="1431" y="115"/>
                  </a:lnTo>
                  <a:lnTo>
                    <a:pt x="1433" y="117"/>
                  </a:lnTo>
                  <a:lnTo>
                    <a:pt x="1436" y="117"/>
                  </a:lnTo>
                  <a:lnTo>
                    <a:pt x="1436" y="118"/>
                  </a:lnTo>
                  <a:lnTo>
                    <a:pt x="1437" y="117"/>
                  </a:lnTo>
                  <a:lnTo>
                    <a:pt x="1437" y="118"/>
                  </a:lnTo>
                  <a:lnTo>
                    <a:pt x="1439" y="118"/>
                  </a:lnTo>
                  <a:lnTo>
                    <a:pt x="1439" y="120"/>
                  </a:lnTo>
                  <a:lnTo>
                    <a:pt x="1457" y="120"/>
                  </a:lnTo>
                  <a:lnTo>
                    <a:pt x="1459" y="121"/>
                  </a:lnTo>
                  <a:lnTo>
                    <a:pt x="1464" y="124"/>
                  </a:lnTo>
                  <a:lnTo>
                    <a:pt x="1464" y="126"/>
                  </a:lnTo>
                  <a:lnTo>
                    <a:pt x="1468" y="126"/>
                  </a:lnTo>
                  <a:lnTo>
                    <a:pt x="1468" y="129"/>
                  </a:lnTo>
                  <a:lnTo>
                    <a:pt x="1470" y="130"/>
                  </a:lnTo>
                  <a:lnTo>
                    <a:pt x="1470" y="138"/>
                  </a:lnTo>
                  <a:lnTo>
                    <a:pt x="1471" y="138"/>
                  </a:lnTo>
                  <a:lnTo>
                    <a:pt x="1471" y="139"/>
                  </a:lnTo>
                  <a:lnTo>
                    <a:pt x="1477" y="139"/>
                  </a:lnTo>
                  <a:lnTo>
                    <a:pt x="1479" y="141"/>
                  </a:lnTo>
                  <a:lnTo>
                    <a:pt x="1479" y="145"/>
                  </a:lnTo>
                  <a:lnTo>
                    <a:pt x="1480" y="147"/>
                  </a:lnTo>
                  <a:lnTo>
                    <a:pt x="1482" y="147"/>
                  </a:lnTo>
                  <a:lnTo>
                    <a:pt x="1482" y="150"/>
                  </a:lnTo>
                  <a:lnTo>
                    <a:pt x="1480" y="150"/>
                  </a:lnTo>
                  <a:lnTo>
                    <a:pt x="1480" y="151"/>
                  </a:lnTo>
                  <a:lnTo>
                    <a:pt x="1479" y="153"/>
                  </a:lnTo>
                  <a:lnTo>
                    <a:pt x="1479" y="159"/>
                  </a:lnTo>
                  <a:lnTo>
                    <a:pt x="1480" y="160"/>
                  </a:lnTo>
                  <a:lnTo>
                    <a:pt x="1477" y="160"/>
                  </a:lnTo>
                  <a:lnTo>
                    <a:pt x="1476" y="159"/>
                  </a:lnTo>
                  <a:lnTo>
                    <a:pt x="1474" y="159"/>
                  </a:lnTo>
                  <a:lnTo>
                    <a:pt x="1470" y="157"/>
                  </a:lnTo>
                  <a:lnTo>
                    <a:pt x="1465" y="153"/>
                  </a:lnTo>
                  <a:lnTo>
                    <a:pt x="1462" y="153"/>
                  </a:lnTo>
                  <a:lnTo>
                    <a:pt x="1462" y="151"/>
                  </a:lnTo>
                  <a:lnTo>
                    <a:pt x="1461" y="150"/>
                  </a:lnTo>
                  <a:lnTo>
                    <a:pt x="1458" y="150"/>
                  </a:lnTo>
                  <a:lnTo>
                    <a:pt x="1455" y="148"/>
                  </a:lnTo>
                  <a:lnTo>
                    <a:pt x="1448" y="145"/>
                  </a:lnTo>
                  <a:lnTo>
                    <a:pt x="1446" y="144"/>
                  </a:lnTo>
                  <a:lnTo>
                    <a:pt x="1443" y="144"/>
                  </a:lnTo>
                  <a:lnTo>
                    <a:pt x="1442" y="142"/>
                  </a:lnTo>
                  <a:lnTo>
                    <a:pt x="1440" y="142"/>
                  </a:lnTo>
                  <a:lnTo>
                    <a:pt x="1440" y="138"/>
                  </a:lnTo>
                  <a:lnTo>
                    <a:pt x="1439" y="136"/>
                  </a:lnTo>
                  <a:lnTo>
                    <a:pt x="1436" y="136"/>
                  </a:lnTo>
                  <a:lnTo>
                    <a:pt x="1421" y="135"/>
                  </a:lnTo>
                  <a:lnTo>
                    <a:pt x="1419" y="135"/>
                  </a:lnTo>
                  <a:lnTo>
                    <a:pt x="1419" y="136"/>
                  </a:lnTo>
                  <a:lnTo>
                    <a:pt x="1421" y="139"/>
                  </a:lnTo>
                  <a:lnTo>
                    <a:pt x="1421" y="141"/>
                  </a:lnTo>
                  <a:lnTo>
                    <a:pt x="1419" y="142"/>
                  </a:lnTo>
                  <a:lnTo>
                    <a:pt x="1418" y="142"/>
                  </a:lnTo>
                  <a:lnTo>
                    <a:pt x="1413" y="141"/>
                  </a:lnTo>
                  <a:lnTo>
                    <a:pt x="1412" y="139"/>
                  </a:lnTo>
                  <a:lnTo>
                    <a:pt x="1404" y="139"/>
                  </a:lnTo>
                  <a:lnTo>
                    <a:pt x="1401" y="136"/>
                  </a:lnTo>
                  <a:lnTo>
                    <a:pt x="1395" y="136"/>
                  </a:lnTo>
                  <a:lnTo>
                    <a:pt x="1394" y="138"/>
                  </a:lnTo>
                  <a:lnTo>
                    <a:pt x="1392" y="136"/>
                  </a:lnTo>
                  <a:lnTo>
                    <a:pt x="1394" y="135"/>
                  </a:lnTo>
                  <a:lnTo>
                    <a:pt x="1395" y="132"/>
                  </a:lnTo>
                  <a:lnTo>
                    <a:pt x="1394" y="132"/>
                  </a:lnTo>
                  <a:lnTo>
                    <a:pt x="1394" y="130"/>
                  </a:lnTo>
                  <a:lnTo>
                    <a:pt x="1389" y="130"/>
                  </a:lnTo>
                  <a:lnTo>
                    <a:pt x="1389" y="132"/>
                  </a:lnTo>
                  <a:lnTo>
                    <a:pt x="1386" y="133"/>
                  </a:lnTo>
                  <a:lnTo>
                    <a:pt x="1385" y="133"/>
                  </a:lnTo>
                  <a:lnTo>
                    <a:pt x="1382" y="136"/>
                  </a:lnTo>
                  <a:lnTo>
                    <a:pt x="1382" y="138"/>
                  </a:lnTo>
                  <a:lnTo>
                    <a:pt x="1380" y="138"/>
                  </a:lnTo>
                  <a:lnTo>
                    <a:pt x="1380" y="139"/>
                  </a:lnTo>
                  <a:lnTo>
                    <a:pt x="1382" y="139"/>
                  </a:lnTo>
                  <a:lnTo>
                    <a:pt x="1380" y="141"/>
                  </a:lnTo>
                  <a:lnTo>
                    <a:pt x="1374" y="141"/>
                  </a:lnTo>
                  <a:lnTo>
                    <a:pt x="1373" y="142"/>
                  </a:lnTo>
                  <a:lnTo>
                    <a:pt x="1371" y="142"/>
                  </a:lnTo>
                  <a:lnTo>
                    <a:pt x="1370" y="141"/>
                  </a:lnTo>
                  <a:lnTo>
                    <a:pt x="1368" y="141"/>
                  </a:lnTo>
                  <a:lnTo>
                    <a:pt x="1368" y="139"/>
                  </a:lnTo>
                  <a:lnTo>
                    <a:pt x="1362" y="130"/>
                  </a:lnTo>
                  <a:lnTo>
                    <a:pt x="1358" y="130"/>
                  </a:lnTo>
                  <a:lnTo>
                    <a:pt x="1358" y="127"/>
                  </a:lnTo>
                  <a:lnTo>
                    <a:pt x="1359" y="126"/>
                  </a:lnTo>
                  <a:lnTo>
                    <a:pt x="1358" y="124"/>
                  </a:lnTo>
                  <a:lnTo>
                    <a:pt x="1356" y="124"/>
                  </a:lnTo>
                  <a:lnTo>
                    <a:pt x="1353" y="127"/>
                  </a:lnTo>
                  <a:lnTo>
                    <a:pt x="1353" y="130"/>
                  </a:lnTo>
                  <a:lnTo>
                    <a:pt x="1352" y="135"/>
                  </a:lnTo>
                  <a:lnTo>
                    <a:pt x="1352" y="136"/>
                  </a:lnTo>
                  <a:lnTo>
                    <a:pt x="1350" y="138"/>
                  </a:lnTo>
                  <a:lnTo>
                    <a:pt x="1349" y="138"/>
                  </a:lnTo>
                  <a:lnTo>
                    <a:pt x="1349" y="139"/>
                  </a:lnTo>
                  <a:lnTo>
                    <a:pt x="1347" y="141"/>
                  </a:lnTo>
                  <a:lnTo>
                    <a:pt x="1347" y="145"/>
                  </a:lnTo>
                  <a:lnTo>
                    <a:pt x="1346" y="145"/>
                  </a:lnTo>
                  <a:lnTo>
                    <a:pt x="1346" y="147"/>
                  </a:lnTo>
                  <a:lnTo>
                    <a:pt x="1344" y="145"/>
                  </a:lnTo>
                  <a:lnTo>
                    <a:pt x="1346" y="142"/>
                  </a:lnTo>
                  <a:lnTo>
                    <a:pt x="1346" y="135"/>
                  </a:lnTo>
                  <a:lnTo>
                    <a:pt x="1344" y="133"/>
                  </a:lnTo>
                  <a:lnTo>
                    <a:pt x="1344" y="130"/>
                  </a:lnTo>
                  <a:lnTo>
                    <a:pt x="1343" y="130"/>
                  </a:lnTo>
                  <a:lnTo>
                    <a:pt x="1343" y="129"/>
                  </a:lnTo>
                  <a:lnTo>
                    <a:pt x="1344" y="127"/>
                  </a:lnTo>
                  <a:lnTo>
                    <a:pt x="1346" y="127"/>
                  </a:lnTo>
                  <a:lnTo>
                    <a:pt x="1349" y="124"/>
                  </a:lnTo>
                  <a:lnTo>
                    <a:pt x="1355" y="124"/>
                  </a:lnTo>
                  <a:lnTo>
                    <a:pt x="1353" y="123"/>
                  </a:lnTo>
                  <a:lnTo>
                    <a:pt x="1353" y="121"/>
                  </a:lnTo>
                  <a:lnTo>
                    <a:pt x="1355" y="121"/>
                  </a:lnTo>
                  <a:lnTo>
                    <a:pt x="1355" y="120"/>
                  </a:lnTo>
                  <a:lnTo>
                    <a:pt x="1353" y="120"/>
                  </a:lnTo>
                  <a:lnTo>
                    <a:pt x="1353" y="118"/>
                  </a:lnTo>
                  <a:lnTo>
                    <a:pt x="1355" y="118"/>
                  </a:lnTo>
                  <a:lnTo>
                    <a:pt x="1356" y="117"/>
                  </a:lnTo>
                  <a:lnTo>
                    <a:pt x="1356" y="115"/>
                  </a:lnTo>
                  <a:lnTo>
                    <a:pt x="1358" y="115"/>
                  </a:lnTo>
                  <a:lnTo>
                    <a:pt x="1358" y="114"/>
                  </a:lnTo>
                  <a:lnTo>
                    <a:pt x="1386" y="114"/>
                  </a:lnTo>
                  <a:lnTo>
                    <a:pt x="1388" y="115"/>
                  </a:lnTo>
                  <a:lnTo>
                    <a:pt x="1389" y="115"/>
                  </a:lnTo>
                  <a:lnTo>
                    <a:pt x="1391" y="114"/>
                  </a:lnTo>
                  <a:lnTo>
                    <a:pt x="1394" y="114"/>
                  </a:lnTo>
                  <a:lnTo>
                    <a:pt x="1397" y="112"/>
                  </a:lnTo>
                  <a:lnTo>
                    <a:pt x="1398" y="112"/>
                  </a:lnTo>
                  <a:lnTo>
                    <a:pt x="1398" y="117"/>
                  </a:lnTo>
                  <a:lnTo>
                    <a:pt x="1400" y="117"/>
                  </a:lnTo>
                  <a:lnTo>
                    <a:pt x="1400" y="118"/>
                  </a:lnTo>
                  <a:lnTo>
                    <a:pt x="1406" y="118"/>
                  </a:lnTo>
                  <a:lnTo>
                    <a:pt x="1406" y="117"/>
                  </a:lnTo>
                  <a:lnTo>
                    <a:pt x="1409" y="117"/>
                  </a:lnTo>
                  <a:lnTo>
                    <a:pt x="1412" y="114"/>
                  </a:lnTo>
                  <a:lnTo>
                    <a:pt x="1412" y="112"/>
                  </a:lnTo>
                  <a:lnTo>
                    <a:pt x="1413" y="112"/>
                  </a:lnTo>
                  <a:lnTo>
                    <a:pt x="1413" y="111"/>
                  </a:lnTo>
                  <a:close/>
                  <a:moveTo>
                    <a:pt x="73" y="111"/>
                  </a:moveTo>
                  <a:lnTo>
                    <a:pt x="75" y="111"/>
                  </a:lnTo>
                  <a:lnTo>
                    <a:pt x="78" y="112"/>
                  </a:lnTo>
                  <a:lnTo>
                    <a:pt x="78" y="114"/>
                  </a:lnTo>
                  <a:lnTo>
                    <a:pt x="81" y="117"/>
                  </a:lnTo>
                  <a:lnTo>
                    <a:pt x="82" y="117"/>
                  </a:lnTo>
                  <a:lnTo>
                    <a:pt x="84" y="120"/>
                  </a:lnTo>
                  <a:lnTo>
                    <a:pt x="87" y="121"/>
                  </a:lnTo>
                  <a:lnTo>
                    <a:pt x="87" y="127"/>
                  </a:lnTo>
                  <a:lnTo>
                    <a:pt x="82" y="127"/>
                  </a:lnTo>
                  <a:lnTo>
                    <a:pt x="82" y="129"/>
                  </a:lnTo>
                  <a:lnTo>
                    <a:pt x="84" y="129"/>
                  </a:lnTo>
                  <a:lnTo>
                    <a:pt x="84" y="132"/>
                  </a:lnTo>
                  <a:lnTo>
                    <a:pt x="87" y="133"/>
                  </a:lnTo>
                  <a:lnTo>
                    <a:pt x="87" y="135"/>
                  </a:lnTo>
                  <a:lnTo>
                    <a:pt x="85" y="136"/>
                  </a:lnTo>
                  <a:lnTo>
                    <a:pt x="84" y="135"/>
                  </a:lnTo>
                  <a:lnTo>
                    <a:pt x="84" y="133"/>
                  </a:lnTo>
                  <a:lnTo>
                    <a:pt x="82" y="133"/>
                  </a:lnTo>
                  <a:lnTo>
                    <a:pt x="82" y="132"/>
                  </a:lnTo>
                  <a:lnTo>
                    <a:pt x="81" y="132"/>
                  </a:lnTo>
                  <a:lnTo>
                    <a:pt x="79" y="130"/>
                  </a:lnTo>
                  <a:lnTo>
                    <a:pt x="81" y="130"/>
                  </a:lnTo>
                  <a:lnTo>
                    <a:pt x="81" y="127"/>
                  </a:lnTo>
                  <a:lnTo>
                    <a:pt x="78" y="124"/>
                  </a:lnTo>
                  <a:lnTo>
                    <a:pt x="75" y="124"/>
                  </a:lnTo>
                  <a:lnTo>
                    <a:pt x="75" y="120"/>
                  </a:lnTo>
                  <a:lnTo>
                    <a:pt x="73" y="120"/>
                  </a:lnTo>
                  <a:lnTo>
                    <a:pt x="73" y="111"/>
                  </a:lnTo>
                  <a:close/>
                  <a:moveTo>
                    <a:pt x="603" y="109"/>
                  </a:moveTo>
                  <a:lnTo>
                    <a:pt x="603" y="111"/>
                  </a:lnTo>
                  <a:lnTo>
                    <a:pt x="604" y="109"/>
                  </a:lnTo>
                  <a:lnTo>
                    <a:pt x="603" y="109"/>
                  </a:lnTo>
                  <a:close/>
                  <a:moveTo>
                    <a:pt x="1516" y="103"/>
                  </a:moveTo>
                  <a:lnTo>
                    <a:pt x="1516" y="105"/>
                  </a:lnTo>
                  <a:lnTo>
                    <a:pt x="1515" y="105"/>
                  </a:lnTo>
                  <a:lnTo>
                    <a:pt x="1516" y="103"/>
                  </a:lnTo>
                  <a:close/>
                  <a:moveTo>
                    <a:pt x="1600" y="100"/>
                  </a:moveTo>
                  <a:lnTo>
                    <a:pt x="1600" y="103"/>
                  </a:lnTo>
                  <a:lnTo>
                    <a:pt x="1602" y="102"/>
                  </a:lnTo>
                  <a:lnTo>
                    <a:pt x="1600" y="100"/>
                  </a:lnTo>
                  <a:close/>
                  <a:moveTo>
                    <a:pt x="423" y="99"/>
                  </a:moveTo>
                  <a:lnTo>
                    <a:pt x="425" y="99"/>
                  </a:lnTo>
                  <a:lnTo>
                    <a:pt x="425" y="100"/>
                  </a:lnTo>
                  <a:lnTo>
                    <a:pt x="426" y="100"/>
                  </a:lnTo>
                  <a:lnTo>
                    <a:pt x="428" y="102"/>
                  </a:lnTo>
                  <a:lnTo>
                    <a:pt x="429" y="100"/>
                  </a:lnTo>
                  <a:lnTo>
                    <a:pt x="431" y="102"/>
                  </a:lnTo>
                  <a:lnTo>
                    <a:pt x="432" y="102"/>
                  </a:lnTo>
                  <a:lnTo>
                    <a:pt x="434" y="105"/>
                  </a:lnTo>
                  <a:lnTo>
                    <a:pt x="434" y="103"/>
                  </a:lnTo>
                  <a:lnTo>
                    <a:pt x="435" y="102"/>
                  </a:lnTo>
                  <a:lnTo>
                    <a:pt x="437" y="103"/>
                  </a:lnTo>
                  <a:lnTo>
                    <a:pt x="437" y="105"/>
                  </a:lnTo>
                  <a:lnTo>
                    <a:pt x="438" y="105"/>
                  </a:lnTo>
                  <a:lnTo>
                    <a:pt x="440" y="106"/>
                  </a:lnTo>
                  <a:lnTo>
                    <a:pt x="441" y="106"/>
                  </a:lnTo>
                  <a:lnTo>
                    <a:pt x="444" y="109"/>
                  </a:lnTo>
                  <a:lnTo>
                    <a:pt x="444" y="111"/>
                  </a:lnTo>
                  <a:lnTo>
                    <a:pt x="446" y="112"/>
                  </a:lnTo>
                  <a:lnTo>
                    <a:pt x="446" y="115"/>
                  </a:lnTo>
                  <a:lnTo>
                    <a:pt x="444" y="115"/>
                  </a:lnTo>
                  <a:lnTo>
                    <a:pt x="444" y="117"/>
                  </a:lnTo>
                  <a:lnTo>
                    <a:pt x="441" y="120"/>
                  </a:lnTo>
                  <a:lnTo>
                    <a:pt x="441" y="127"/>
                  </a:lnTo>
                  <a:lnTo>
                    <a:pt x="438" y="127"/>
                  </a:lnTo>
                  <a:lnTo>
                    <a:pt x="438" y="129"/>
                  </a:lnTo>
                  <a:lnTo>
                    <a:pt x="435" y="129"/>
                  </a:lnTo>
                  <a:lnTo>
                    <a:pt x="435" y="132"/>
                  </a:lnTo>
                  <a:lnTo>
                    <a:pt x="431" y="132"/>
                  </a:lnTo>
                  <a:lnTo>
                    <a:pt x="431" y="127"/>
                  </a:lnTo>
                  <a:lnTo>
                    <a:pt x="429" y="127"/>
                  </a:lnTo>
                  <a:lnTo>
                    <a:pt x="426" y="124"/>
                  </a:lnTo>
                  <a:lnTo>
                    <a:pt x="426" y="123"/>
                  </a:lnTo>
                  <a:lnTo>
                    <a:pt x="425" y="123"/>
                  </a:lnTo>
                  <a:lnTo>
                    <a:pt x="425" y="124"/>
                  </a:lnTo>
                  <a:lnTo>
                    <a:pt x="423" y="124"/>
                  </a:lnTo>
                  <a:lnTo>
                    <a:pt x="425" y="126"/>
                  </a:lnTo>
                  <a:lnTo>
                    <a:pt x="425" y="127"/>
                  </a:lnTo>
                  <a:lnTo>
                    <a:pt x="423" y="129"/>
                  </a:lnTo>
                  <a:lnTo>
                    <a:pt x="420" y="130"/>
                  </a:lnTo>
                  <a:lnTo>
                    <a:pt x="417" y="130"/>
                  </a:lnTo>
                  <a:lnTo>
                    <a:pt x="416" y="132"/>
                  </a:lnTo>
                  <a:lnTo>
                    <a:pt x="414" y="132"/>
                  </a:lnTo>
                  <a:lnTo>
                    <a:pt x="413" y="130"/>
                  </a:lnTo>
                  <a:lnTo>
                    <a:pt x="416" y="127"/>
                  </a:lnTo>
                  <a:lnTo>
                    <a:pt x="416" y="126"/>
                  </a:lnTo>
                  <a:lnTo>
                    <a:pt x="414" y="126"/>
                  </a:lnTo>
                  <a:lnTo>
                    <a:pt x="413" y="124"/>
                  </a:lnTo>
                  <a:lnTo>
                    <a:pt x="413" y="120"/>
                  </a:lnTo>
                  <a:lnTo>
                    <a:pt x="414" y="120"/>
                  </a:lnTo>
                  <a:lnTo>
                    <a:pt x="414" y="117"/>
                  </a:lnTo>
                  <a:lnTo>
                    <a:pt x="413" y="117"/>
                  </a:lnTo>
                  <a:lnTo>
                    <a:pt x="411" y="118"/>
                  </a:lnTo>
                  <a:lnTo>
                    <a:pt x="411" y="115"/>
                  </a:lnTo>
                  <a:lnTo>
                    <a:pt x="414" y="115"/>
                  </a:lnTo>
                  <a:lnTo>
                    <a:pt x="414" y="112"/>
                  </a:lnTo>
                  <a:lnTo>
                    <a:pt x="413" y="111"/>
                  </a:lnTo>
                  <a:lnTo>
                    <a:pt x="414" y="111"/>
                  </a:lnTo>
                  <a:lnTo>
                    <a:pt x="416" y="109"/>
                  </a:lnTo>
                  <a:lnTo>
                    <a:pt x="416" y="102"/>
                  </a:lnTo>
                  <a:lnTo>
                    <a:pt x="417" y="100"/>
                  </a:lnTo>
                  <a:lnTo>
                    <a:pt x="422" y="100"/>
                  </a:lnTo>
                  <a:lnTo>
                    <a:pt x="423" y="99"/>
                  </a:lnTo>
                  <a:close/>
                  <a:moveTo>
                    <a:pt x="64" y="97"/>
                  </a:moveTo>
                  <a:lnTo>
                    <a:pt x="70" y="103"/>
                  </a:lnTo>
                  <a:lnTo>
                    <a:pt x="72" y="103"/>
                  </a:lnTo>
                  <a:lnTo>
                    <a:pt x="73" y="105"/>
                  </a:lnTo>
                  <a:lnTo>
                    <a:pt x="73" y="106"/>
                  </a:lnTo>
                  <a:lnTo>
                    <a:pt x="75" y="106"/>
                  </a:lnTo>
                  <a:lnTo>
                    <a:pt x="75" y="109"/>
                  </a:lnTo>
                  <a:lnTo>
                    <a:pt x="73" y="111"/>
                  </a:lnTo>
                  <a:lnTo>
                    <a:pt x="72" y="111"/>
                  </a:lnTo>
                  <a:lnTo>
                    <a:pt x="72" y="112"/>
                  </a:lnTo>
                  <a:lnTo>
                    <a:pt x="67" y="112"/>
                  </a:lnTo>
                  <a:lnTo>
                    <a:pt x="66" y="114"/>
                  </a:lnTo>
                  <a:lnTo>
                    <a:pt x="66" y="111"/>
                  </a:lnTo>
                  <a:lnTo>
                    <a:pt x="64" y="111"/>
                  </a:lnTo>
                  <a:lnTo>
                    <a:pt x="64" y="102"/>
                  </a:lnTo>
                  <a:lnTo>
                    <a:pt x="63" y="102"/>
                  </a:lnTo>
                  <a:lnTo>
                    <a:pt x="63" y="99"/>
                  </a:lnTo>
                  <a:lnTo>
                    <a:pt x="64" y="97"/>
                  </a:lnTo>
                  <a:close/>
                  <a:moveTo>
                    <a:pt x="1602" y="94"/>
                  </a:moveTo>
                  <a:lnTo>
                    <a:pt x="1603" y="96"/>
                  </a:lnTo>
                  <a:lnTo>
                    <a:pt x="1606" y="96"/>
                  </a:lnTo>
                  <a:lnTo>
                    <a:pt x="1608" y="97"/>
                  </a:lnTo>
                  <a:lnTo>
                    <a:pt x="1606" y="99"/>
                  </a:lnTo>
                  <a:lnTo>
                    <a:pt x="1605" y="99"/>
                  </a:lnTo>
                  <a:lnTo>
                    <a:pt x="1602" y="96"/>
                  </a:lnTo>
                  <a:lnTo>
                    <a:pt x="1602" y="94"/>
                  </a:lnTo>
                  <a:close/>
                  <a:moveTo>
                    <a:pt x="1651" y="91"/>
                  </a:moveTo>
                  <a:lnTo>
                    <a:pt x="1651" y="94"/>
                  </a:lnTo>
                  <a:lnTo>
                    <a:pt x="1652" y="96"/>
                  </a:lnTo>
                  <a:lnTo>
                    <a:pt x="1651" y="96"/>
                  </a:lnTo>
                  <a:lnTo>
                    <a:pt x="1651" y="97"/>
                  </a:lnTo>
                  <a:lnTo>
                    <a:pt x="1649" y="97"/>
                  </a:lnTo>
                  <a:lnTo>
                    <a:pt x="1649" y="93"/>
                  </a:lnTo>
                  <a:lnTo>
                    <a:pt x="1651" y="91"/>
                  </a:lnTo>
                  <a:close/>
                  <a:moveTo>
                    <a:pt x="1619" y="90"/>
                  </a:moveTo>
                  <a:lnTo>
                    <a:pt x="1622" y="90"/>
                  </a:lnTo>
                  <a:lnTo>
                    <a:pt x="1619" y="91"/>
                  </a:lnTo>
                  <a:lnTo>
                    <a:pt x="1619" y="90"/>
                  </a:lnTo>
                  <a:close/>
                  <a:moveTo>
                    <a:pt x="45" y="76"/>
                  </a:moveTo>
                  <a:lnTo>
                    <a:pt x="48" y="76"/>
                  </a:lnTo>
                  <a:lnTo>
                    <a:pt x="49" y="78"/>
                  </a:lnTo>
                  <a:lnTo>
                    <a:pt x="51" y="78"/>
                  </a:lnTo>
                  <a:lnTo>
                    <a:pt x="51" y="81"/>
                  </a:lnTo>
                  <a:lnTo>
                    <a:pt x="52" y="82"/>
                  </a:lnTo>
                  <a:lnTo>
                    <a:pt x="54" y="85"/>
                  </a:lnTo>
                  <a:lnTo>
                    <a:pt x="54" y="87"/>
                  </a:lnTo>
                  <a:lnTo>
                    <a:pt x="55" y="87"/>
                  </a:lnTo>
                  <a:lnTo>
                    <a:pt x="58" y="90"/>
                  </a:lnTo>
                  <a:lnTo>
                    <a:pt x="58" y="93"/>
                  </a:lnTo>
                  <a:lnTo>
                    <a:pt x="57" y="93"/>
                  </a:lnTo>
                  <a:lnTo>
                    <a:pt x="57" y="91"/>
                  </a:lnTo>
                  <a:lnTo>
                    <a:pt x="55" y="91"/>
                  </a:lnTo>
                  <a:lnTo>
                    <a:pt x="55" y="90"/>
                  </a:lnTo>
                  <a:lnTo>
                    <a:pt x="52" y="90"/>
                  </a:lnTo>
                  <a:lnTo>
                    <a:pt x="49" y="87"/>
                  </a:lnTo>
                  <a:lnTo>
                    <a:pt x="46" y="87"/>
                  </a:lnTo>
                  <a:lnTo>
                    <a:pt x="48" y="85"/>
                  </a:lnTo>
                  <a:lnTo>
                    <a:pt x="45" y="85"/>
                  </a:lnTo>
                  <a:lnTo>
                    <a:pt x="45" y="84"/>
                  </a:lnTo>
                  <a:lnTo>
                    <a:pt x="43" y="82"/>
                  </a:lnTo>
                  <a:lnTo>
                    <a:pt x="43" y="81"/>
                  </a:lnTo>
                  <a:lnTo>
                    <a:pt x="45" y="81"/>
                  </a:lnTo>
                  <a:lnTo>
                    <a:pt x="43" y="79"/>
                  </a:lnTo>
                  <a:lnTo>
                    <a:pt x="43" y="78"/>
                  </a:lnTo>
                  <a:lnTo>
                    <a:pt x="45" y="76"/>
                  </a:lnTo>
                  <a:close/>
                  <a:moveTo>
                    <a:pt x="1642" y="75"/>
                  </a:moveTo>
                  <a:lnTo>
                    <a:pt x="1643" y="75"/>
                  </a:lnTo>
                  <a:lnTo>
                    <a:pt x="1643" y="76"/>
                  </a:lnTo>
                  <a:lnTo>
                    <a:pt x="1645" y="76"/>
                  </a:lnTo>
                  <a:lnTo>
                    <a:pt x="1645" y="78"/>
                  </a:lnTo>
                  <a:lnTo>
                    <a:pt x="1643" y="79"/>
                  </a:lnTo>
                  <a:lnTo>
                    <a:pt x="1643" y="81"/>
                  </a:lnTo>
                  <a:lnTo>
                    <a:pt x="1642" y="82"/>
                  </a:lnTo>
                  <a:lnTo>
                    <a:pt x="1640" y="81"/>
                  </a:lnTo>
                  <a:lnTo>
                    <a:pt x="1640" y="76"/>
                  </a:lnTo>
                  <a:lnTo>
                    <a:pt x="1642" y="76"/>
                  </a:lnTo>
                  <a:lnTo>
                    <a:pt x="1642" y="75"/>
                  </a:lnTo>
                  <a:close/>
                  <a:moveTo>
                    <a:pt x="1160" y="75"/>
                  </a:moveTo>
                  <a:lnTo>
                    <a:pt x="1160" y="78"/>
                  </a:lnTo>
                  <a:lnTo>
                    <a:pt x="1159" y="78"/>
                  </a:lnTo>
                  <a:lnTo>
                    <a:pt x="1159" y="76"/>
                  </a:lnTo>
                  <a:lnTo>
                    <a:pt x="1160" y="75"/>
                  </a:lnTo>
                  <a:close/>
                  <a:moveTo>
                    <a:pt x="1255" y="73"/>
                  </a:moveTo>
                  <a:lnTo>
                    <a:pt x="1256" y="73"/>
                  </a:lnTo>
                  <a:lnTo>
                    <a:pt x="1258" y="75"/>
                  </a:lnTo>
                  <a:lnTo>
                    <a:pt x="1258" y="78"/>
                  </a:lnTo>
                  <a:lnTo>
                    <a:pt x="1256" y="81"/>
                  </a:lnTo>
                  <a:lnTo>
                    <a:pt x="1256" y="84"/>
                  </a:lnTo>
                  <a:lnTo>
                    <a:pt x="1261" y="91"/>
                  </a:lnTo>
                  <a:lnTo>
                    <a:pt x="1261" y="94"/>
                  </a:lnTo>
                  <a:lnTo>
                    <a:pt x="1262" y="94"/>
                  </a:lnTo>
                  <a:lnTo>
                    <a:pt x="1262" y="96"/>
                  </a:lnTo>
                  <a:lnTo>
                    <a:pt x="1261" y="96"/>
                  </a:lnTo>
                  <a:lnTo>
                    <a:pt x="1261" y="97"/>
                  </a:lnTo>
                  <a:lnTo>
                    <a:pt x="1256" y="93"/>
                  </a:lnTo>
                  <a:lnTo>
                    <a:pt x="1256" y="88"/>
                  </a:lnTo>
                  <a:lnTo>
                    <a:pt x="1255" y="88"/>
                  </a:lnTo>
                  <a:lnTo>
                    <a:pt x="1255" y="87"/>
                  </a:lnTo>
                  <a:lnTo>
                    <a:pt x="1253" y="87"/>
                  </a:lnTo>
                  <a:lnTo>
                    <a:pt x="1253" y="82"/>
                  </a:lnTo>
                  <a:lnTo>
                    <a:pt x="1252" y="81"/>
                  </a:lnTo>
                  <a:lnTo>
                    <a:pt x="1252" y="76"/>
                  </a:lnTo>
                  <a:lnTo>
                    <a:pt x="1255" y="73"/>
                  </a:lnTo>
                  <a:close/>
                  <a:moveTo>
                    <a:pt x="1180" y="73"/>
                  </a:moveTo>
                  <a:lnTo>
                    <a:pt x="1183" y="73"/>
                  </a:lnTo>
                  <a:lnTo>
                    <a:pt x="1183" y="76"/>
                  </a:lnTo>
                  <a:lnTo>
                    <a:pt x="1181" y="75"/>
                  </a:lnTo>
                  <a:lnTo>
                    <a:pt x="1180" y="75"/>
                  </a:lnTo>
                  <a:lnTo>
                    <a:pt x="1180" y="73"/>
                  </a:lnTo>
                  <a:close/>
                  <a:moveTo>
                    <a:pt x="1153" y="70"/>
                  </a:moveTo>
                  <a:lnTo>
                    <a:pt x="1154" y="70"/>
                  </a:lnTo>
                  <a:lnTo>
                    <a:pt x="1154" y="72"/>
                  </a:lnTo>
                  <a:lnTo>
                    <a:pt x="1153" y="73"/>
                  </a:lnTo>
                  <a:lnTo>
                    <a:pt x="1153" y="70"/>
                  </a:lnTo>
                  <a:close/>
                  <a:moveTo>
                    <a:pt x="1156" y="69"/>
                  </a:moveTo>
                  <a:lnTo>
                    <a:pt x="1159" y="72"/>
                  </a:lnTo>
                  <a:lnTo>
                    <a:pt x="1159" y="73"/>
                  </a:lnTo>
                  <a:lnTo>
                    <a:pt x="1160" y="75"/>
                  </a:lnTo>
                  <a:lnTo>
                    <a:pt x="1156" y="75"/>
                  </a:lnTo>
                  <a:lnTo>
                    <a:pt x="1156" y="69"/>
                  </a:lnTo>
                  <a:close/>
                  <a:moveTo>
                    <a:pt x="1229" y="64"/>
                  </a:moveTo>
                  <a:lnTo>
                    <a:pt x="1231" y="64"/>
                  </a:lnTo>
                  <a:lnTo>
                    <a:pt x="1231" y="66"/>
                  </a:lnTo>
                  <a:lnTo>
                    <a:pt x="1240" y="66"/>
                  </a:lnTo>
                  <a:lnTo>
                    <a:pt x="1240" y="67"/>
                  </a:lnTo>
                  <a:lnTo>
                    <a:pt x="1241" y="66"/>
                  </a:lnTo>
                  <a:lnTo>
                    <a:pt x="1244" y="67"/>
                  </a:lnTo>
                  <a:lnTo>
                    <a:pt x="1246" y="67"/>
                  </a:lnTo>
                  <a:lnTo>
                    <a:pt x="1246" y="66"/>
                  </a:lnTo>
                  <a:lnTo>
                    <a:pt x="1264" y="66"/>
                  </a:lnTo>
                  <a:lnTo>
                    <a:pt x="1271" y="67"/>
                  </a:lnTo>
                  <a:lnTo>
                    <a:pt x="1273" y="67"/>
                  </a:lnTo>
                  <a:lnTo>
                    <a:pt x="1270" y="69"/>
                  </a:lnTo>
                  <a:lnTo>
                    <a:pt x="1267" y="69"/>
                  </a:lnTo>
                  <a:lnTo>
                    <a:pt x="1267" y="70"/>
                  </a:lnTo>
                  <a:lnTo>
                    <a:pt x="1258" y="70"/>
                  </a:lnTo>
                  <a:lnTo>
                    <a:pt x="1256" y="72"/>
                  </a:lnTo>
                  <a:lnTo>
                    <a:pt x="1253" y="72"/>
                  </a:lnTo>
                  <a:lnTo>
                    <a:pt x="1253" y="70"/>
                  </a:lnTo>
                  <a:lnTo>
                    <a:pt x="1252" y="70"/>
                  </a:lnTo>
                  <a:lnTo>
                    <a:pt x="1249" y="72"/>
                  </a:lnTo>
                  <a:lnTo>
                    <a:pt x="1234" y="72"/>
                  </a:lnTo>
                  <a:lnTo>
                    <a:pt x="1232" y="73"/>
                  </a:lnTo>
                  <a:lnTo>
                    <a:pt x="1232" y="70"/>
                  </a:lnTo>
                  <a:lnTo>
                    <a:pt x="1231" y="69"/>
                  </a:lnTo>
                  <a:lnTo>
                    <a:pt x="1229" y="69"/>
                  </a:lnTo>
                  <a:lnTo>
                    <a:pt x="1228" y="70"/>
                  </a:lnTo>
                  <a:lnTo>
                    <a:pt x="1228" y="66"/>
                  </a:lnTo>
                  <a:lnTo>
                    <a:pt x="1229" y="66"/>
                  </a:lnTo>
                  <a:lnTo>
                    <a:pt x="1229" y="64"/>
                  </a:lnTo>
                  <a:close/>
                  <a:moveTo>
                    <a:pt x="1125" y="64"/>
                  </a:moveTo>
                  <a:lnTo>
                    <a:pt x="1126" y="64"/>
                  </a:lnTo>
                  <a:lnTo>
                    <a:pt x="1128" y="66"/>
                  </a:lnTo>
                  <a:lnTo>
                    <a:pt x="1128" y="67"/>
                  </a:lnTo>
                  <a:lnTo>
                    <a:pt x="1126" y="67"/>
                  </a:lnTo>
                  <a:lnTo>
                    <a:pt x="1126" y="69"/>
                  </a:lnTo>
                  <a:lnTo>
                    <a:pt x="1125" y="69"/>
                  </a:lnTo>
                  <a:lnTo>
                    <a:pt x="1125" y="70"/>
                  </a:lnTo>
                  <a:lnTo>
                    <a:pt x="1123" y="70"/>
                  </a:lnTo>
                  <a:lnTo>
                    <a:pt x="1123" y="67"/>
                  </a:lnTo>
                  <a:lnTo>
                    <a:pt x="1125" y="66"/>
                  </a:lnTo>
                  <a:lnTo>
                    <a:pt x="1125" y="64"/>
                  </a:lnTo>
                  <a:close/>
                  <a:moveTo>
                    <a:pt x="1636" y="63"/>
                  </a:moveTo>
                  <a:lnTo>
                    <a:pt x="1636" y="66"/>
                  </a:lnTo>
                  <a:lnTo>
                    <a:pt x="1634" y="67"/>
                  </a:lnTo>
                  <a:lnTo>
                    <a:pt x="1634" y="70"/>
                  </a:lnTo>
                  <a:lnTo>
                    <a:pt x="1633" y="72"/>
                  </a:lnTo>
                  <a:lnTo>
                    <a:pt x="1633" y="67"/>
                  </a:lnTo>
                  <a:lnTo>
                    <a:pt x="1636" y="63"/>
                  </a:lnTo>
                  <a:close/>
                  <a:moveTo>
                    <a:pt x="464" y="61"/>
                  </a:moveTo>
                  <a:lnTo>
                    <a:pt x="468" y="61"/>
                  </a:lnTo>
                  <a:lnTo>
                    <a:pt x="467" y="63"/>
                  </a:lnTo>
                  <a:lnTo>
                    <a:pt x="465" y="63"/>
                  </a:lnTo>
                  <a:lnTo>
                    <a:pt x="464" y="61"/>
                  </a:lnTo>
                  <a:close/>
                  <a:moveTo>
                    <a:pt x="1457" y="60"/>
                  </a:moveTo>
                  <a:lnTo>
                    <a:pt x="1458" y="60"/>
                  </a:lnTo>
                  <a:lnTo>
                    <a:pt x="1458" y="63"/>
                  </a:lnTo>
                  <a:lnTo>
                    <a:pt x="1461" y="66"/>
                  </a:lnTo>
                  <a:lnTo>
                    <a:pt x="1461" y="69"/>
                  </a:lnTo>
                  <a:lnTo>
                    <a:pt x="1458" y="72"/>
                  </a:lnTo>
                  <a:lnTo>
                    <a:pt x="1457" y="72"/>
                  </a:lnTo>
                  <a:lnTo>
                    <a:pt x="1461" y="73"/>
                  </a:lnTo>
                  <a:lnTo>
                    <a:pt x="1461" y="75"/>
                  </a:lnTo>
                  <a:lnTo>
                    <a:pt x="1459" y="75"/>
                  </a:lnTo>
                  <a:lnTo>
                    <a:pt x="1458" y="76"/>
                  </a:lnTo>
                  <a:lnTo>
                    <a:pt x="1458" y="75"/>
                  </a:lnTo>
                  <a:lnTo>
                    <a:pt x="1457" y="75"/>
                  </a:lnTo>
                  <a:lnTo>
                    <a:pt x="1457" y="73"/>
                  </a:lnTo>
                  <a:lnTo>
                    <a:pt x="1454" y="76"/>
                  </a:lnTo>
                  <a:lnTo>
                    <a:pt x="1454" y="78"/>
                  </a:lnTo>
                  <a:lnTo>
                    <a:pt x="1446" y="78"/>
                  </a:lnTo>
                  <a:lnTo>
                    <a:pt x="1446" y="76"/>
                  </a:lnTo>
                  <a:lnTo>
                    <a:pt x="1442" y="76"/>
                  </a:lnTo>
                  <a:lnTo>
                    <a:pt x="1440" y="75"/>
                  </a:lnTo>
                  <a:lnTo>
                    <a:pt x="1436" y="75"/>
                  </a:lnTo>
                  <a:lnTo>
                    <a:pt x="1433" y="72"/>
                  </a:lnTo>
                  <a:lnTo>
                    <a:pt x="1430" y="72"/>
                  </a:lnTo>
                  <a:lnTo>
                    <a:pt x="1430" y="70"/>
                  </a:lnTo>
                  <a:lnTo>
                    <a:pt x="1428" y="70"/>
                  </a:lnTo>
                  <a:lnTo>
                    <a:pt x="1430" y="69"/>
                  </a:lnTo>
                  <a:lnTo>
                    <a:pt x="1436" y="67"/>
                  </a:lnTo>
                  <a:lnTo>
                    <a:pt x="1436" y="66"/>
                  </a:lnTo>
                  <a:lnTo>
                    <a:pt x="1440" y="66"/>
                  </a:lnTo>
                  <a:lnTo>
                    <a:pt x="1443" y="63"/>
                  </a:lnTo>
                  <a:lnTo>
                    <a:pt x="1452" y="63"/>
                  </a:lnTo>
                  <a:lnTo>
                    <a:pt x="1454" y="61"/>
                  </a:lnTo>
                  <a:lnTo>
                    <a:pt x="1455" y="61"/>
                  </a:lnTo>
                  <a:lnTo>
                    <a:pt x="1457" y="60"/>
                  </a:lnTo>
                  <a:close/>
                  <a:moveTo>
                    <a:pt x="1137" y="60"/>
                  </a:moveTo>
                  <a:lnTo>
                    <a:pt x="1138" y="60"/>
                  </a:lnTo>
                  <a:lnTo>
                    <a:pt x="1138" y="61"/>
                  </a:lnTo>
                  <a:lnTo>
                    <a:pt x="1134" y="66"/>
                  </a:lnTo>
                  <a:lnTo>
                    <a:pt x="1132" y="64"/>
                  </a:lnTo>
                  <a:lnTo>
                    <a:pt x="1134" y="64"/>
                  </a:lnTo>
                  <a:lnTo>
                    <a:pt x="1135" y="61"/>
                  </a:lnTo>
                  <a:lnTo>
                    <a:pt x="1137" y="60"/>
                  </a:lnTo>
                  <a:close/>
                  <a:moveTo>
                    <a:pt x="31" y="60"/>
                  </a:moveTo>
                  <a:lnTo>
                    <a:pt x="33" y="61"/>
                  </a:lnTo>
                  <a:lnTo>
                    <a:pt x="33" y="63"/>
                  </a:lnTo>
                  <a:lnTo>
                    <a:pt x="31" y="63"/>
                  </a:lnTo>
                  <a:lnTo>
                    <a:pt x="31" y="60"/>
                  </a:lnTo>
                  <a:close/>
                  <a:moveTo>
                    <a:pt x="1189" y="58"/>
                  </a:moveTo>
                  <a:lnTo>
                    <a:pt x="1190" y="58"/>
                  </a:lnTo>
                  <a:lnTo>
                    <a:pt x="1190" y="60"/>
                  </a:lnTo>
                  <a:lnTo>
                    <a:pt x="1192" y="58"/>
                  </a:lnTo>
                  <a:lnTo>
                    <a:pt x="1198" y="58"/>
                  </a:lnTo>
                  <a:lnTo>
                    <a:pt x="1199" y="60"/>
                  </a:lnTo>
                  <a:lnTo>
                    <a:pt x="1204" y="60"/>
                  </a:lnTo>
                  <a:lnTo>
                    <a:pt x="1205" y="61"/>
                  </a:lnTo>
                  <a:lnTo>
                    <a:pt x="1211" y="61"/>
                  </a:lnTo>
                  <a:lnTo>
                    <a:pt x="1211" y="63"/>
                  </a:lnTo>
                  <a:lnTo>
                    <a:pt x="1213" y="63"/>
                  </a:lnTo>
                  <a:lnTo>
                    <a:pt x="1213" y="64"/>
                  </a:lnTo>
                  <a:lnTo>
                    <a:pt x="1216" y="64"/>
                  </a:lnTo>
                  <a:lnTo>
                    <a:pt x="1217" y="63"/>
                  </a:lnTo>
                  <a:lnTo>
                    <a:pt x="1217" y="61"/>
                  </a:lnTo>
                  <a:lnTo>
                    <a:pt x="1220" y="61"/>
                  </a:lnTo>
                  <a:lnTo>
                    <a:pt x="1220" y="66"/>
                  </a:lnTo>
                  <a:lnTo>
                    <a:pt x="1222" y="66"/>
                  </a:lnTo>
                  <a:lnTo>
                    <a:pt x="1222" y="64"/>
                  </a:lnTo>
                  <a:lnTo>
                    <a:pt x="1223" y="64"/>
                  </a:lnTo>
                  <a:lnTo>
                    <a:pt x="1223" y="63"/>
                  </a:lnTo>
                  <a:lnTo>
                    <a:pt x="1226" y="63"/>
                  </a:lnTo>
                  <a:lnTo>
                    <a:pt x="1226" y="64"/>
                  </a:lnTo>
                  <a:lnTo>
                    <a:pt x="1225" y="64"/>
                  </a:lnTo>
                  <a:lnTo>
                    <a:pt x="1225" y="66"/>
                  </a:lnTo>
                  <a:lnTo>
                    <a:pt x="1226" y="64"/>
                  </a:lnTo>
                  <a:lnTo>
                    <a:pt x="1226" y="70"/>
                  </a:lnTo>
                  <a:lnTo>
                    <a:pt x="1225" y="69"/>
                  </a:lnTo>
                  <a:lnTo>
                    <a:pt x="1223" y="69"/>
                  </a:lnTo>
                  <a:lnTo>
                    <a:pt x="1220" y="70"/>
                  </a:lnTo>
                  <a:lnTo>
                    <a:pt x="1219" y="69"/>
                  </a:lnTo>
                  <a:lnTo>
                    <a:pt x="1217" y="70"/>
                  </a:lnTo>
                  <a:lnTo>
                    <a:pt x="1213" y="70"/>
                  </a:lnTo>
                  <a:lnTo>
                    <a:pt x="1213" y="73"/>
                  </a:lnTo>
                  <a:lnTo>
                    <a:pt x="1211" y="72"/>
                  </a:lnTo>
                  <a:lnTo>
                    <a:pt x="1207" y="72"/>
                  </a:lnTo>
                  <a:lnTo>
                    <a:pt x="1205" y="70"/>
                  </a:lnTo>
                  <a:lnTo>
                    <a:pt x="1202" y="70"/>
                  </a:lnTo>
                  <a:lnTo>
                    <a:pt x="1199" y="73"/>
                  </a:lnTo>
                  <a:lnTo>
                    <a:pt x="1196" y="73"/>
                  </a:lnTo>
                  <a:lnTo>
                    <a:pt x="1193" y="75"/>
                  </a:lnTo>
                  <a:lnTo>
                    <a:pt x="1190" y="75"/>
                  </a:lnTo>
                  <a:lnTo>
                    <a:pt x="1187" y="76"/>
                  </a:lnTo>
                  <a:lnTo>
                    <a:pt x="1186" y="76"/>
                  </a:lnTo>
                  <a:lnTo>
                    <a:pt x="1184" y="75"/>
                  </a:lnTo>
                  <a:lnTo>
                    <a:pt x="1184" y="73"/>
                  </a:lnTo>
                  <a:lnTo>
                    <a:pt x="1181" y="70"/>
                  </a:lnTo>
                  <a:lnTo>
                    <a:pt x="1181" y="66"/>
                  </a:lnTo>
                  <a:lnTo>
                    <a:pt x="1183" y="66"/>
                  </a:lnTo>
                  <a:lnTo>
                    <a:pt x="1183" y="61"/>
                  </a:lnTo>
                  <a:lnTo>
                    <a:pt x="1184" y="60"/>
                  </a:lnTo>
                  <a:lnTo>
                    <a:pt x="1186" y="60"/>
                  </a:lnTo>
                  <a:lnTo>
                    <a:pt x="1189" y="58"/>
                  </a:lnTo>
                  <a:close/>
                  <a:moveTo>
                    <a:pt x="1690" y="57"/>
                  </a:moveTo>
                  <a:lnTo>
                    <a:pt x="1697" y="57"/>
                  </a:lnTo>
                  <a:lnTo>
                    <a:pt x="1706" y="58"/>
                  </a:lnTo>
                  <a:lnTo>
                    <a:pt x="1715" y="58"/>
                  </a:lnTo>
                  <a:lnTo>
                    <a:pt x="1718" y="60"/>
                  </a:lnTo>
                  <a:lnTo>
                    <a:pt x="1720" y="58"/>
                  </a:lnTo>
                  <a:lnTo>
                    <a:pt x="1721" y="60"/>
                  </a:lnTo>
                  <a:lnTo>
                    <a:pt x="1729" y="60"/>
                  </a:lnTo>
                  <a:lnTo>
                    <a:pt x="1729" y="61"/>
                  </a:lnTo>
                  <a:lnTo>
                    <a:pt x="1732" y="61"/>
                  </a:lnTo>
                  <a:lnTo>
                    <a:pt x="1733" y="63"/>
                  </a:lnTo>
                  <a:lnTo>
                    <a:pt x="1750" y="63"/>
                  </a:lnTo>
                  <a:lnTo>
                    <a:pt x="1751" y="64"/>
                  </a:lnTo>
                  <a:lnTo>
                    <a:pt x="1756" y="64"/>
                  </a:lnTo>
                  <a:lnTo>
                    <a:pt x="1759" y="66"/>
                  </a:lnTo>
                  <a:lnTo>
                    <a:pt x="1757" y="66"/>
                  </a:lnTo>
                  <a:lnTo>
                    <a:pt x="1757" y="67"/>
                  </a:lnTo>
                  <a:lnTo>
                    <a:pt x="1750" y="67"/>
                  </a:lnTo>
                  <a:lnTo>
                    <a:pt x="1750" y="69"/>
                  </a:lnTo>
                  <a:lnTo>
                    <a:pt x="1741" y="69"/>
                  </a:lnTo>
                  <a:lnTo>
                    <a:pt x="1742" y="70"/>
                  </a:lnTo>
                  <a:lnTo>
                    <a:pt x="1736" y="70"/>
                  </a:lnTo>
                  <a:lnTo>
                    <a:pt x="1735" y="69"/>
                  </a:lnTo>
                  <a:lnTo>
                    <a:pt x="1730" y="69"/>
                  </a:lnTo>
                  <a:lnTo>
                    <a:pt x="1730" y="70"/>
                  </a:lnTo>
                  <a:lnTo>
                    <a:pt x="1727" y="70"/>
                  </a:lnTo>
                  <a:lnTo>
                    <a:pt x="1727" y="69"/>
                  </a:lnTo>
                  <a:lnTo>
                    <a:pt x="1726" y="69"/>
                  </a:lnTo>
                  <a:lnTo>
                    <a:pt x="1721" y="67"/>
                  </a:lnTo>
                  <a:lnTo>
                    <a:pt x="1717" y="67"/>
                  </a:lnTo>
                  <a:lnTo>
                    <a:pt x="1715" y="66"/>
                  </a:lnTo>
                  <a:lnTo>
                    <a:pt x="1712" y="64"/>
                  </a:lnTo>
                  <a:lnTo>
                    <a:pt x="1709" y="64"/>
                  </a:lnTo>
                  <a:lnTo>
                    <a:pt x="1708" y="63"/>
                  </a:lnTo>
                  <a:lnTo>
                    <a:pt x="1705" y="63"/>
                  </a:lnTo>
                  <a:lnTo>
                    <a:pt x="1705" y="61"/>
                  </a:lnTo>
                  <a:lnTo>
                    <a:pt x="1694" y="61"/>
                  </a:lnTo>
                  <a:lnTo>
                    <a:pt x="1693" y="60"/>
                  </a:lnTo>
                  <a:lnTo>
                    <a:pt x="1693" y="58"/>
                  </a:lnTo>
                  <a:lnTo>
                    <a:pt x="1691" y="58"/>
                  </a:lnTo>
                  <a:lnTo>
                    <a:pt x="1690" y="57"/>
                  </a:lnTo>
                  <a:close/>
                  <a:moveTo>
                    <a:pt x="473" y="54"/>
                  </a:moveTo>
                  <a:lnTo>
                    <a:pt x="474" y="54"/>
                  </a:lnTo>
                  <a:lnTo>
                    <a:pt x="476" y="55"/>
                  </a:lnTo>
                  <a:lnTo>
                    <a:pt x="476" y="58"/>
                  </a:lnTo>
                  <a:lnTo>
                    <a:pt x="474" y="58"/>
                  </a:lnTo>
                  <a:lnTo>
                    <a:pt x="471" y="60"/>
                  </a:lnTo>
                  <a:lnTo>
                    <a:pt x="470" y="60"/>
                  </a:lnTo>
                  <a:lnTo>
                    <a:pt x="470" y="57"/>
                  </a:lnTo>
                  <a:lnTo>
                    <a:pt x="468" y="57"/>
                  </a:lnTo>
                  <a:lnTo>
                    <a:pt x="468" y="55"/>
                  </a:lnTo>
                  <a:lnTo>
                    <a:pt x="470" y="55"/>
                  </a:lnTo>
                  <a:lnTo>
                    <a:pt x="473" y="54"/>
                  </a:lnTo>
                  <a:close/>
                  <a:moveTo>
                    <a:pt x="335" y="52"/>
                  </a:moveTo>
                  <a:lnTo>
                    <a:pt x="336" y="52"/>
                  </a:lnTo>
                  <a:lnTo>
                    <a:pt x="336" y="54"/>
                  </a:lnTo>
                  <a:lnTo>
                    <a:pt x="339" y="54"/>
                  </a:lnTo>
                  <a:lnTo>
                    <a:pt x="342" y="57"/>
                  </a:lnTo>
                  <a:lnTo>
                    <a:pt x="341" y="57"/>
                  </a:lnTo>
                  <a:lnTo>
                    <a:pt x="341" y="60"/>
                  </a:lnTo>
                  <a:lnTo>
                    <a:pt x="342" y="60"/>
                  </a:lnTo>
                  <a:lnTo>
                    <a:pt x="342" y="61"/>
                  </a:lnTo>
                  <a:lnTo>
                    <a:pt x="344" y="63"/>
                  </a:lnTo>
                  <a:lnTo>
                    <a:pt x="344" y="64"/>
                  </a:lnTo>
                  <a:lnTo>
                    <a:pt x="345" y="66"/>
                  </a:lnTo>
                  <a:lnTo>
                    <a:pt x="345" y="67"/>
                  </a:lnTo>
                  <a:lnTo>
                    <a:pt x="348" y="70"/>
                  </a:lnTo>
                  <a:lnTo>
                    <a:pt x="347" y="73"/>
                  </a:lnTo>
                  <a:lnTo>
                    <a:pt x="347" y="75"/>
                  </a:lnTo>
                  <a:lnTo>
                    <a:pt x="350" y="84"/>
                  </a:lnTo>
                  <a:lnTo>
                    <a:pt x="353" y="91"/>
                  </a:lnTo>
                  <a:lnTo>
                    <a:pt x="353" y="93"/>
                  </a:lnTo>
                  <a:lnTo>
                    <a:pt x="357" y="97"/>
                  </a:lnTo>
                  <a:lnTo>
                    <a:pt x="360" y="97"/>
                  </a:lnTo>
                  <a:lnTo>
                    <a:pt x="365" y="99"/>
                  </a:lnTo>
                  <a:lnTo>
                    <a:pt x="371" y="99"/>
                  </a:lnTo>
                  <a:lnTo>
                    <a:pt x="374" y="100"/>
                  </a:lnTo>
                  <a:lnTo>
                    <a:pt x="377" y="100"/>
                  </a:lnTo>
                  <a:lnTo>
                    <a:pt x="378" y="102"/>
                  </a:lnTo>
                  <a:lnTo>
                    <a:pt x="377" y="102"/>
                  </a:lnTo>
                  <a:lnTo>
                    <a:pt x="375" y="103"/>
                  </a:lnTo>
                  <a:lnTo>
                    <a:pt x="374" y="103"/>
                  </a:lnTo>
                  <a:lnTo>
                    <a:pt x="371" y="108"/>
                  </a:lnTo>
                  <a:lnTo>
                    <a:pt x="368" y="115"/>
                  </a:lnTo>
                  <a:lnTo>
                    <a:pt x="368" y="118"/>
                  </a:lnTo>
                  <a:lnTo>
                    <a:pt x="369" y="120"/>
                  </a:lnTo>
                  <a:lnTo>
                    <a:pt x="372" y="120"/>
                  </a:lnTo>
                  <a:lnTo>
                    <a:pt x="372" y="121"/>
                  </a:lnTo>
                  <a:lnTo>
                    <a:pt x="374" y="121"/>
                  </a:lnTo>
                  <a:lnTo>
                    <a:pt x="374" y="124"/>
                  </a:lnTo>
                  <a:lnTo>
                    <a:pt x="372" y="126"/>
                  </a:lnTo>
                  <a:lnTo>
                    <a:pt x="372" y="124"/>
                  </a:lnTo>
                  <a:lnTo>
                    <a:pt x="371" y="126"/>
                  </a:lnTo>
                  <a:lnTo>
                    <a:pt x="371" y="124"/>
                  </a:lnTo>
                  <a:lnTo>
                    <a:pt x="366" y="124"/>
                  </a:lnTo>
                  <a:lnTo>
                    <a:pt x="366" y="126"/>
                  </a:lnTo>
                  <a:lnTo>
                    <a:pt x="363" y="126"/>
                  </a:lnTo>
                  <a:lnTo>
                    <a:pt x="363" y="123"/>
                  </a:lnTo>
                  <a:lnTo>
                    <a:pt x="362" y="123"/>
                  </a:lnTo>
                  <a:lnTo>
                    <a:pt x="362" y="121"/>
                  </a:lnTo>
                  <a:lnTo>
                    <a:pt x="360" y="120"/>
                  </a:lnTo>
                  <a:lnTo>
                    <a:pt x="356" y="120"/>
                  </a:lnTo>
                  <a:lnTo>
                    <a:pt x="354" y="117"/>
                  </a:lnTo>
                  <a:lnTo>
                    <a:pt x="344" y="114"/>
                  </a:lnTo>
                  <a:lnTo>
                    <a:pt x="339" y="114"/>
                  </a:lnTo>
                  <a:lnTo>
                    <a:pt x="339" y="112"/>
                  </a:lnTo>
                  <a:lnTo>
                    <a:pt x="336" y="108"/>
                  </a:lnTo>
                  <a:lnTo>
                    <a:pt x="336" y="106"/>
                  </a:lnTo>
                  <a:lnTo>
                    <a:pt x="335" y="103"/>
                  </a:lnTo>
                  <a:lnTo>
                    <a:pt x="336" y="102"/>
                  </a:lnTo>
                  <a:lnTo>
                    <a:pt x="336" y="100"/>
                  </a:lnTo>
                  <a:lnTo>
                    <a:pt x="338" y="97"/>
                  </a:lnTo>
                  <a:lnTo>
                    <a:pt x="336" y="96"/>
                  </a:lnTo>
                  <a:lnTo>
                    <a:pt x="335" y="96"/>
                  </a:lnTo>
                  <a:lnTo>
                    <a:pt x="332" y="93"/>
                  </a:lnTo>
                  <a:lnTo>
                    <a:pt x="332" y="87"/>
                  </a:lnTo>
                  <a:lnTo>
                    <a:pt x="331" y="87"/>
                  </a:lnTo>
                  <a:lnTo>
                    <a:pt x="331" y="82"/>
                  </a:lnTo>
                  <a:lnTo>
                    <a:pt x="329" y="82"/>
                  </a:lnTo>
                  <a:lnTo>
                    <a:pt x="329" y="81"/>
                  </a:lnTo>
                  <a:lnTo>
                    <a:pt x="322" y="81"/>
                  </a:lnTo>
                  <a:lnTo>
                    <a:pt x="322" y="79"/>
                  </a:lnTo>
                  <a:lnTo>
                    <a:pt x="320" y="79"/>
                  </a:lnTo>
                  <a:lnTo>
                    <a:pt x="320" y="78"/>
                  </a:lnTo>
                  <a:lnTo>
                    <a:pt x="319" y="79"/>
                  </a:lnTo>
                  <a:lnTo>
                    <a:pt x="317" y="79"/>
                  </a:lnTo>
                  <a:lnTo>
                    <a:pt x="316" y="81"/>
                  </a:lnTo>
                  <a:lnTo>
                    <a:pt x="308" y="81"/>
                  </a:lnTo>
                  <a:lnTo>
                    <a:pt x="305" y="78"/>
                  </a:lnTo>
                  <a:lnTo>
                    <a:pt x="302" y="78"/>
                  </a:lnTo>
                  <a:lnTo>
                    <a:pt x="301" y="79"/>
                  </a:lnTo>
                  <a:lnTo>
                    <a:pt x="301" y="72"/>
                  </a:lnTo>
                  <a:lnTo>
                    <a:pt x="302" y="72"/>
                  </a:lnTo>
                  <a:lnTo>
                    <a:pt x="311" y="67"/>
                  </a:lnTo>
                  <a:lnTo>
                    <a:pt x="313" y="66"/>
                  </a:lnTo>
                  <a:lnTo>
                    <a:pt x="313" y="63"/>
                  </a:lnTo>
                  <a:lnTo>
                    <a:pt x="311" y="63"/>
                  </a:lnTo>
                  <a:lnTo>
                    <a:pt x="310" y="61"/>
                  </a:lnTo>
                  <a:lnTo>
                    <a:pt x="311" y="61"/>
                  </a:lnTo>
                  <a:lnTo>
                    <a:pt x="311" y="60"/>
                  </a:lnTo>
                  <a:lnTo>
                    <a:pt x="310" y="60"/>
                  </a:lnTo>
                  <a:lnTo>
                    <a:pt x="311" y="58"/>
                  </a:lnTo>
                  <a:lnTo>
                    <a:pt x="313" y="58"/>
                  </a:lnTo>
                  <a:lnTo>
                    <a:pt x="313" y="57"/>
                  </a:lnTo>
                  <a:lnTo>
                    <a:pt x="314" y="57"/>
                  </a:lnTo>
                  <a:lnTo>
                    <a:pt x="316" y="55"/>
                  </a:lnTo>
                  <a:lnTo>
                    <a:pt x="319" y="55"/>
                  </a:lnTo>
                  <a:lnTo>
                    <a:pt x="320" y="54"/>
                  </a:lnTo>
                  <a:lnTo>
                    <a:pt x="322" y="54"/>
                  </a:lnTo>
                  <a:lnTo>
                    <a:pt x="323" y="55"/>
                  </a:lnTo>
                  <a:lnTo>
                    <a:pt x="323" y="57"/>
                  </a:lnTo>
                  <a:lnTo>
                    <a:pt x="326" y="60"/>
                  </a:lnTo>
                  <a:lnTo>
                    <a:pt x="325" y="61"/>
                  </a:lnTo>
                  <a:lnTo>
                    <a:pt x="325" y="63"/>
                  </a:lnTo>
                  <a:lnTo>
                    <a:pt x="326" y="64"/>
                  </a:lnTo>
                  <a:lnTo>
                    <a:pt x="329" y="64"/>
                  </a:lnTo>
                  <a:lnTo>
                    <a:pt x="329" y="66"/>
                  </a:lnTo>
                  <a:lnTo>
                    <a:pt x="332" y="66"/>
                  </a:lnTo>
                  <a:lnTo>
                    <a:pt x="329" y="63"/>
                  </a:lnTo>
                  <a:lnTo>
                    <a:pt x="329" y="58"/>
                  </a:lnTo>
                  <a:lnTo>
                    <a:pt x="328" y="57"/>
                  </a:lnTo>
                  <a:lnTo>
                    <a:pt x="328" y="55"/>
                  </a:lnTo>
                  <a:lnTo>
                    <a:pt x="326" y="54"/>
                  </a:lnTo>
                  <a:lnTo>
                    <a:pt x="332" y="54"/>
                  </a:lnTo>
                  <a:lnTo>
                    <a:pt x="335" y="52"/>
                  </a:lnTo>
                  <a:close/>
                  <a:moveTo>
                    <a:pt x="1676" y="51"/>
                  </a:moveTo>
                  <a:lnTo>
                    <a:pt x="1681" y="51"/>
                  </a:lnTo>
                  <a:lnTo>
                    <a:pt x="1681" y="52"/>
                  </a:lnTo>
                  <a:lnTo>
                    <a:pt x="1682" y="52"/>
                  </a:lnTo>
                  <a:lnTo>
                    <a:pt x="1684" y="51"/>
                  </a:lnTo>
                  <a:lnTo>
                    <a:pt x="1685" y="52"/>
                  </a:lnTo>
                  <a:lnTo>
                    <a:pt x="1687" y="51"/>
                  </a:lnTo>
                  <a:lnTo>
                    <a:pt x="1684" y="54"/>
                  </a:lnTo>
                  <a:lnTo>
                    <a:pt x="1675" y="54"/>
                  </a:lnTo>
                  <a:lnTo>
                    <a:pt x="1675" y="52"/>
                  </a:lnTo>
                  <a:lnTo>
                    <a:pt x="1676" y="51"/>
                  </a:lnTo>
                  <a:close/>
                  <a:moveTo>
                    <a:pt x="1144" y="51"/>
                  </a:moveTo>
                  <a:lnTo>
                    <a:pt x="1145" y="52"/>
                  </a:lnTo>
                  <a:lnTo>
                    <a:pt x="1145" y="55"/>
                  </a:lnTo>
                  <a:lnTo>
                    <a:pt x="1147" y="57"/>
                  </a:lnTo>
                  <a:lnTo>
                    <a:pt x="1148" y="57"/>
                  </a:lnTo>
                  <a:lnTo>
                    <a:pt x="1148" y="61"/>
                  </a:lnTo>
                  <a:lnTo>
                    <a:pt x="1147" y="61"/>
                  </a:lnTo>
                  <a:lnTo>
                    <a:pt x="1147" y="63"/>
                  </a:lnTo>
                  <a:lnTo>
                    <a:pt x="1144" y="63"/>
                  </a:lnTo>
                  <a:lnTo>
                    <a:pt x="1144" y="61"/>
                  </a:lnTo>
                  <a:lnTo>
                    <a:pt x="1142" y="61"/>
                  </a:lnTo>
                  <a:lnTo>
                    <a:pt x="1142" y="52"/>
                  </a:lnTo>
                  <a:lnTo>
                    <a:pt x="1144" y="52"/>
                  </a:lnTo>
                  <a:lnTo>
                    <a:pt x="1144" y="51"/>
                  </a:lnTo>
                  <a:close/>
                  <a:moveTo>
                    <a:pt x="1317" y="46"/>
                  </a:moveTo>
                  <a:lnTo>
                    <a:pt x="1320" y="46"/>
                  </a:lnTo>
                  <a:lnTo>
                    <a:pt x="1322" y="48"/>
                  </a:lnTo>
                  <a:lnTo>
                    <a:pt x="1319" y="48"/>
                  </a:lnTo>
                  <a:lnTo>
                    <a:pt x="1319" y="49"/>
                  </a:lnTo>
                  <a:lnTo>
                    <a:pt x="1317" y="49"/>
                  </a:lnTo>
                  <a:lnTo>
                    <a:pt x="1317" y="46"/>
                  </a:lnTo>
                  <a:close/>
                  <a:moveTo>
                    <a:pt x="1332" y="45"/>
                  </a:moveTo>
                  <a:lnTo>
                    <a:pt x="1337" y="45"/>
                  </a:lnTo>
                  <a:lnTo>
                    <a:pt x="1338" y="46"/>
                  </a:lnTo>
                  <a:lnTo>
                    <a:pt x="1340" y="46"/>
                  </a:lnTo>
                  <a:lnTo>
                    <a:pt x="1340" y="48"/>
                  </a:lnTo>
                  <a:lnTo>
                    <a:pt x="1341" y="49"/>
                  </a:lnTo>
                  <a:lnTo>
                    <a:pt x="1346" y="49"/>
                  </a:lnTo>
                  <a:lnTo>
                    <a:pt x="1350" y="52"/>
                  </a:lnTo>
                  <a:lnTo>
                    <a:pt x="1350" y="54"/>
                  </a:lnTo>
                  <a:lnTo>
                    <a:pt x="1352" y="54"/>
                  </a:lnTo>
                  <a:lnTo>
                    <a:pt x="1353" y="55"/>
                  </a:lnTo>
                  <a:lnTo>
                    <a:pt x="1356" y="55"/>
                  </a:lnTo>
                  <a:lnTo>
                    <a:pt x="1356" y="60"/>
                  </a:lnTo>
                  <a:lnTo>
                    <a:pt x="1355" y="61"/>
                  </a:lnTo>
                  <a:lnTo>
                    <a:pt x="1353" y="61"/>
                  </a:lnTo>
                  <a:lnTo>
                    <a:pt x="1352" y="63"/>
                  </a:lnTo>
                  <a:lnTo>
                    <a:pt x="1346" y="61"/>
                  </a:lnTo>
                  <a:lnTo>
                    <a:pt x="1334" y="61"/>
                  </a:lnTo>
                  <a:lnTo>
                    <a:pt x="1334" y="63"/>
                  </a:lnTo>
                  <a:lnTo>
                    <a:pt x="1326" y="63"/>
                  </a:lnTo>
                  <a:lnTo>
                    <a:pt x="1323" y="61"/>
                  </a:lnTo>
                  <a:lnTo>
                    <a:pt x="1320" y="58"/>
                  </a:lnTo>
                  <a:lnTo>
                    <a:pt x="1322" y="57"/>
                  </a:lnTo>
                  <a:lnTo>
                    <a:pt x="1322" y="51"/>
                  </a:lnTo>
                  <a:lnTo>
                    <a:pt x="1323" y="51"/>
                  </a:lnTo>
                  <a:lnTo>
                    <a:pt x="1323" y="48"/>
                  </a:lnTo>
                  <a:lnTo>
                    <a:pt x="1325" y="49"/>
                  </a:lnTo>
                  <a:lnTo>
                    <a:pt x="1326" y="49"/>
                  </a:lnTo>
                  <a:lnTo>
                    <a:pt x="1328" y="48"/>
                  </a:lnTo>
                  <a:lnTo>
                    <a:pt x="1332" y="45"/>
                  </a:lnTo>
                  <a:close/>
                  <a:moveTo>
                    <a:pt x="483" y="42"/>
                  </a:moveTo>
                  <a:lnTo>
                    <a:pt x="486" y="42"/>
                  </a:lnTo>
                  <a:lnTo>
                    <a:pt x="485" y="43"/>
                  </a:lnTo>
                  <a:lnTo>
                    <a:pt x="483" y="43"/>
                  </a:lnTo>
                  <a:lnTo>
                    <a:pt x="483" y="42"/>
                  </a:lnTo>
                  <a:close/>
                  <a:moveTo>
                    <a:pt x="1436" y="39"/>
                  </a:moveTo>
                  <a:lnTo>
                    <a:pt x="1436" y="40"/>
                  </a:lnTo>
                  <a:lnTo>
                    <a:pt x="1434" y="40"/>
                  </a:lnTo>
                  <a:lnTo>
                    <a:pt x="1436" y="39"/>
                  </a:lnTo>
                  <a:close/>
                  <a:moveTo>
                    <a:pt x="1328" y="38"/>
                  </a:moveTo>
                  <a:lnTo>
                    <a:pt x="1329" y="38"/>
                  </a:lnTo>
                  <a:lnTo>
                    <a:pt x="1332" y="39"/>
                  </a:lnTo>
                  <a:lnTo>
                    <a:pt x="1335" y="39"/>
                  </a:lnTo>
                  <a:lnTo>
                    <a:pt x="1335" y="42"/>
                  </a:lnTo>
                  <a:lnTo>
                    <a:pt x="1334" y="42"/>
                  </a:lnTo>
                  <a:lnTo>
                    <a:pt x="1331" y="40"/>
                  </a:lnTo>
                  <a:lnTo>
                    <a:pt x="1328" y="40"/>
                  </a:lnTo>
                  <a:lnTo>
                    <a:pt x="1328" y="42"/>
                  </a:lnTo>
                  <a:lnTo>
                    <a:pt x="1326" y="42"/>
                  </a:lnTo>
                  <a:lnTo>
                    <a:pt x="1326" y="40"/>
                  </a:lnTo>
                  <a:lnTo>
                    <a:pt x="1325" y="40"/>
                  </a:lnTo>
                  <a:lnTo>
                    <a:pt x="1325" y="39"/>
                  </a:lnTo>
                  <a:lnTo>
                    <a:pt x="1326" y="39"/>
                  </a:lnTo>
                  <a:lnTo>
                    <a:pt x="1328" y="38"/>
                  </a:lnTo>
                  <a:close/>
                  <a:moveTo>
                    <a:pt x="489" y="38"/>
                  </a:moveTo>
                  <a:lnTo>
                    <a:pt x="491" y="38"/>
                  </a:lnTo>
                  <a:lnTo>
                    <a:pt x="489" y="39"/>
                  </a:lnTo>
                  <a:lnTo>
                    <a:pt x="489" y="40"/>
                  </a:lnTo>
                  <a:lnTo>
                    <a:pt x="488" y="40"/>
                  </a:lnTo>
                  <a:lnTo>
                    <a:pt x="488" y="39"/>
                  </a:lnTo>
                  <a:lnTo>
                    <a:pt x="489" y="38"/>
                  </a:lnTo>
                  <a:close/>
                  <a:moveTo>
                    <a:pt x="1436" y="36"/>
                  </a:moveTo>
                  <a:lnTo>
                    <a:pt x="1437" y="36"/>
                  </a:lnTo>
                  <a:lnTo>
                    <a:pt x="1439" y="38"/>
                  </a:lnTo>
                  <a:lnTo>
                    <a:pt x="1440" y="38"/>
                  </a:lnTo>
                  <a:lnTo>
                    <a:pt x="1439" y="39"/>
                  </a:lnTo>
                  <a:lnTo>
                    <a:pt x="1430" y="39"/>
                  </a:lnTo>
                  <a:lnTo>
                    <a:pt x="1430" y="38"/>
                  </a:lnTo>
                  <a:lnTo>
                    <a:pt x="1431" y="38"/>
                  </a:lnTo>
                  <a:lnTo>
                    <a:pt x="1436" y="36"/>
                  </a:lnTo>
                  <a:close/>
                  <a:moveTo>
                    <a:pt x="1128" y="36"/>
                  </a:moveTo>
                  <a:lnTo>
                    <a:pt x="1129" y="36"/>
                  </a:lnTo>
                  <a:lnTo>
                    <a:pt x="1132" y="40"/>
                  </a:lnTo>
                  <a:lnTo>
                    <a:pt x="1129" y="40"/>
                  </a:lnTo>
                  <a:lnTo>
                    <a:pt x="1129" y="43"/>
                  </a:lnTo>
                  <a:lnTo>
                    <a:pt x="1131" y="43"/>
                  </a:lnTo>
                  <a:lnTo>
                    <a:pt x="1131" y="48"/>
                  </a:lnTo>
                  <a:lnTo>
                    <a:pt x="1132" y="46"/>
                  </a:lnTo>
                  <a:lnTo>
                    <a:pt x="1134" y="43"/>
                  </a:lnTo>
                  <a:lnTo>
                    <a:pt x="1135" y="43"/>
                  </a:lnTo>
                  <a:lnTo>
                    <a:pt x="1135" y="42"/>
                  </a:lnTo>
                  <a:lnTo>
                    <a:pt x="1137" y="40"/>
                  </a:lnTo>
                  <a:lnTo>
                    <a:pt x="1138" y="40"/>
                  </a:lnTo>
                  <a:lnTo>
                    <a:pt x="1138" y="39"/>
                  </a:lnTo>
                  <a:lnTo>
                    <a:pt x="1139" y="39"/>
                  </a:lnTo>
                  <a:lnTo>
                    <a:pt x="1139" y="40"/>
                  </a:lnTo>
                  <a:lnTo>
                    <a:pt x="1141" y="40"/>
                  </a:lnTo>
                  <a:lnTo>
                    <a:pt x="1142" y="42"/>
                  </a:lnTo>
                  <a:lnTo>
                    <a:pt x="1145" y="42"/>
                  </a:lnTo>
                  <a:lnTo>
                    <a:pt x="1145" y="46"/>
                  </a:lnTo>
                  <a:lnTo>
                    <a:pt x="1144" y="46"/>
                  </a:lnTo>
                  <a:lnTo>
                    <a:pt x="1144" y="51"/>
                  </a:lnTo>
                  <a:lnTo>
                    <a:pt x="1141" y="52"/>
                  </a:lnTo>
                  <a:lnTo>
                    <a:pt x="1137" y="52"/>
                  </a:lnTo>
                  <a:lnTo>
                    <a:pt x="1137" y="51"/>
                  </a:lnTo>
                  <a:lnTo>
                    <a:pt x="1135" y="49"/>
                  </a:lnTo>
                  <a:lnTo>
                    <a:pt x="1135" y="48"/>
                  </a:lnTo>
                  <a:lnTo>
                    <a:pt x="1134" y="48"/>
                  </a:lnTo>
                  <a:lnTo>
                    <a:pt x="1134" y="49"/>
                  </a:lnTo>
                  <a:lnTo>
                    <a:pt x="1132" y="51"/>
                  </a:lnTo>
                  <a:lnTo>
                    <a:pt x="1132" y="58"/>
                  </a:lnTo>
                  <a:lnTo>
                    <a:pt x="1131" y="58"/>
                  </a:lnTo>
                  <a:lnTo>
                    <a:pt x="1131" y="57"/>
                  </a:lnTo>
                  <a:lnTo>
                    <a:pt x="1129" y="58"/>
                  </a:lnTo>
                  <a:lnTo>
                    <a:pt x="1128" y="58"/>
                  </a:lnTo>
                  <a:lnTo>
                    <a:pt x="1128" y="57"/>
                  </a:lnTo>
                  <a:lnTo>
                    <a:pt x="1126" y="57"/>
                  </a:lnTo>
                  <a:lnTo>
                    <a:pt x="1125" y="55"/>
                  </a:lnTo>
                  <a:lnTo>
                    <a:pt x="1126" y="55"/>
                  </a:lnTo>
                  <a:lnTo>
                    <a:pt x="1126" y="54"/>
                  </a:lnTo>
                  <a:lnTo>
                    <a:pt x="1129" y="54"/>
                  </a:lnTo>
                  <a:lnTo>
                    <a:pt x="1129" y="52"/>
                  </a:lnTo>
                  <a:lnTo>
                    <a:pt x="1128" y="46"/>
                  </a:lnTo>
                  <a:lnTo>
                    <a:pt x="1128" y="43"/>
                  </a:lnTo>
                  <a:lnTo>
                    <a:pt x="1126" y="45"/>
                  </a:lnTo>
                  <a:lnTo>
                    <a:pt x="1125" y="45"/>
                  </a:lnTo>
                  <a:lnTo>
                    <a:pt x="1123" y="48"/>
                  </a:lnTo>
                  <a:lnTo>
                    <a:pt x="1122" y="49"/>
                  </a:lnTo>
                  <a:lnTo>
                    <a:pt x="1122" y="51"/>
                  </a:lnTo>
                  <a:lnTo>
                    <a:pt x="1116" y="57"/>
                  </a:lnTo>
                  <a:lnTo>
                    <a:pt x="1114" y="57"/>
                  </a:lnTo>
                  <a:lnTo>
                    <a:pt x="1111" y="49"/>
                  </a:lnTo>
                  <a:lnTo>
                    <a:pt x="1111" y="46"/>
                  </a:lnTo>
                  <a:lnTo>
                    <a:pt x="1113" y="43"/>
                  </a:lnTo>
                  <a:lnTo>
                    <a:pt x="1113" y="42"/>
                  </a:lnTo>
                  <a:lnTo>
                    <a:pt x="1116" y="38"/>
                  </a:lnTo>
                  <a:lnTo>
                    <a:pt x="1117" y="38"/>
                  </a:lnTo>
                  <a:lnTo>
                    <a:pt x="1119" y="39"/>
                  </a:lnTo>
                  <a:lnTo>
                    <a:pt x="1120" y="39"/>
                  </a:lnTo>
                  <a:lnTo>
                    <a:pt x="1122" y="38"/>
                  </a:lnTo>
                  <a:lnTo>
                    <a:pt x="1128" y="38"/>
                  </a:lnTo>
                  <a:lnTo>
                    <a:pt x="1128" y="36"/>
                  </a:lnTo>
                  <a:close/>
                  <a:moveTo>
                    <a:pt x="1365" y="29"/>
                  </a:moveTo>
                  <a:lnTo>
                    <a:pt x="1367" y="29"/>
                  </a:lnTo>
                  <a:lnTo>
                    <a:pt x="1368" y="30"/>
                  </a:lnTo>
                  <a:lnTo>
                    <a:pt x="1368" y="32"/>
                  </a:lnTo>
                  <a:lnTo>
                    <a:pt x="1365" y="32"/>
                  </a:lnTo>
                  <a:lnTo>
                    <a:pt x="1365" y="29"/>
                  </a:lnTo>
                  <a:close/>
                  <a:moveTo>
                    <a:pt x="499" y="29"/>
                  </a:moveTo>
                  <a:lnTo>
                    <a:pt x="505" y="29"/>
                  </a:lnTo>
                  <a:lnTo>
                    <a:pt x="507" y="30"/>
                  </a:lnTo>
                  <a:lnTo>
                    <a:pt x="510" y="30"/>
                  </a:lnTo>
                  <a:lnTo>
                    <a:pt x="510" y="29"/>
                  </a:lnTo>
                  <a:lnTo>
                    <a:pt x="511" y="29"/>
                  </a:lnTo>
                  <a:lnTo>
                    <a:pt x="511" y="30"/>
                  </a:lnTo>
                  <a:lnTo>
                    <a:pt x="513" y="30"/>
                  </a:lnTo>
                  <a:lnTo>
                    <a:pt x="513" y="36"/>
                  </a:lnTo>
                  <a:lnTo>
                    <a:pt x="511" y="36"/>
                  </a:lnTo>
                  <a:lnTo>
                    <a:pt x="510" y="39"/>
                  </a:lnTo>
                  <a:lnTo>
                    <a:pt x="508" y="39"/>
                  </a:lnTo>
                  <a:lnTo>
                    <a:pt x="505" y="40"/>
                  </a:lnTo>
                  <a:lnTo>
                    <a:pt x="504" y="40"/>
                  </a:lnTo>
                  <a:lnTo>
                    <a:pt x="501" y="43"/>
                  </a:lnTo>
                  <a:lnTo>
                    <a:pt x="499" y="43"/>
                  </a:lnTo>
                  <a:lnTo>
                    <a:pt x="496" y="40"/>
                  </a:lnTo>
                  <a:lnTo>
                    <a:pt x="498" y="38"/>
                  </a:lnTo>
                  <a:lnTo>
                    <a:pt x="498" y="30"/>
                  </a:lnTo>
                  <a:lnTo>
                    <a:pt x="499" y="29"/>
                  </a:lnTo>
                  <a:close/>
                  <a:moveTo>
                    <a:pt x="1663" y="27"/>
                  </a:moveTo>
                  <a:lnTo>
                    <a:pt x="1667" y="27"/>
                  </a:lnTo>
                  <a:lnTo>
                    <a:pt x="1669" y="29"/>
                  </a:lnTo>
                  <a:lnTo>
                    <a:pt x="1669" y="32"/>
                  </a:lnTo>
                  <a:lnTo>
                    <a:pt x="1667" y="32"/>
                  </a:lnTo>
                  <a:lnTo>
                    <a:pt x="1667" y="33"/>
                  </a:lnTo>
                  <a:lnTo>
                    <a:pt x="1669" y="33"/>
                  </a:lnTo>
                  <a:lnTo>
                    <a:pt x="1670" y="32"/>
                  </a:lnTo>
                  <a:lnTo>
                    <a:pt x="1670" y="33"/>
                  </a:lnTo>
                  <a:lnTo>
                    <a:pt x="1669" y="36"/>
                  </a:lnTo>
                  <a:lnTo>
                    <a:pt x="1666" y="36"/>
                  </a:lnTo>
                  <a:lnTo>
                    <a:pt x="1663" y="33"/>
                  </a:lnTo>
                  <a:lnTo>
                    <a:pt x="1663" y="32"/>
                  </a:lnTo>
                  <a:lnTo>
                    <a:pt x="1661" y="32"/>
                  </a:lnTo>
                  <a:lnTo>
                    <a:pt x="1663" y="30"/>
                  </a:lnTo>
                  <a:lnTo>
                    <a:pt x="1663" y="27"/>
                  </a:lnTo>
                  <a:close/>
                  <a:moveTo>
                    <a:pt x="1364" y="27"/>
                  </a:moveTo>
                  <a:lnTo>
                    <a:pt x="1365" y="27"/>
                  </a:lnTo>
                  <a:lnTo>
                    <a:pt x="1365" y="29"/>
                  </a:lnTo>
                  <a:lnTo>
                    <a:pt x="1364" y="29"/>
                  </a:lnTo>
                  <a:lnTo>
                    <a:pt x="1364" y="27"/>
                  </a:lnTo>
                  <a:close/>
                  <a:moveTo>
                    <a:pt x="1459" y="26"/>
                  </a:moveTo>
                  <a:lnTo>
                    <a:pt x="1461" y="26"/>
                  </a:lnTo>
                  <a:lnTo>
                    <a:pt x="1459" y="27"/>
                  </a:lnTo>
                  <a:lnTo>
                    <a:pt x="1459" y="26"/>
                  </a:lnTo>
                  <a:close/>
                  <a:moveTo>
                    <a:pt x="12" y="26"/>
                  </a:moveTo>
                  <a:lnTo>
                    <a:pt x="15" y="26"/>
                  </a:lnTo>
                  <a:lnTo>
                    <a:pt x="14" y="27"/>
                  </a:lnTo>
                  <a:lnTo>
                    <a:pt x="15" y="27"/>
                  </a:lnTo>
                  <a:lnTo>
                    <a:pt x="16" y="29"/>
                  </a:lnTo>
                  <a:lnTo>
                    <a:pt x="16" y="30"/>
                  </a:lnTo>
                  <a:lnTo>
                    <a:pt x="15" y="29"/>
                  </a:lnTo>
                  <a:lnTo>
                    <a:pt x="15" y="32"/>
                  </a:lnTo>
                  <a:lnTo>
                    <a:pt x="16" y="32"/>
                  </a:lnTo>
                  <a:lnTo>
                    <a:pt x="16" y="33"/>
                  </a:lnTo>
                  <a:lnTo>
                    <a:pt x="18" y="33"/>
                  </a:lnTo>
                  <a:lnTo>
                    <a:pt x="18" y="35"/>
                  </a:lnTo>
                  <a:lnTo>
                    <a:pt x="19" y="36"/>
                  </a:lnTo>
                  <a:lnTo>
                    <a:pt x="19" y="38"/>
                  </a:lnTo>
                  <a:lnTo>
                    <a:pt x="21" y="38"/>
                  </a:lnTo>
                  <a:lnTo>
                    <a:pt x="21" y="39"/>
                  </a:lnTo>
                  <a:lnTo>
                    <a:pt x="22" y="40"/>
                  </a:lnTo>
                  <a:lnTo>
                    <a:pt x="21" y="42"/>
                  </a:lnTo>
                  <a:lnTo>
                    <a:pt x="22" y="42"/>
                  </a:lnTo>
                  <a:lnTo>
                    <a:pt x="22" y="43"/>
                  </a:lnTo>
                  <a:lnTo>
                    <a:pt x="24" y="45"/>
                  </a:lnTo>
                  <a:lnTo>
                    <a:pt x="24" y="46"/>
                  </a:lnTo>
                  <a:lnTo>
                    <a:pt x="25" y="48"/>
                  </a:lnTo>
                  <a:lnTo>
                    <a:pt x="27" y="48"/>
                  </a:lnTo>
                  <a:lnTo>
                    <a:pt x="27" y="51"/>
                  </a:lnTo>
                  <a:lnTo>
                    <a:pt x="25" y="49"/>
                  </a:lnTo>
                  <a:lnTo>
                    <a:pt x="25" y="51"/>
                  </a:lnTo>
                  <a:lnTo>
                    <a:pt x="27" y="52"/>
                  </a:lnTo>
                  <a:lnTo>
                    <a:pt x="28" y="52"/>
                  </a:lnTo>
                  <a:lnTo>
                    <a:pt x="28" y="55"/>
                  </a:lnTo>
                  <a:lnTo>
                    <a:pt x="30" y="55"/>
                  </a:lnTo>
                  <a:lnTo>
                    <a:pt x="31" y="57"/>
                  </a:lnTo>
                  <a:lnTo>
                    <a:pt x="31" y="60"/>
                  </a:lnTo>
                  <a:lnTo>
                    <a:pt x="30" y="60"/>
                  </a:lnTo>
                  <a:lnTo>
                    <a:pt x="30" y="57"/>
                  </a:lnTo>
                  <a:lnTo>
                    <a:pt x="28" y="58"/>
                  </a:lnTo>
                  <a:lnTo>
                    <a:pt x="30" y="63"/>
                  </a:lnTo>
                  <a:lnTo>
                    <a:pt x="30" y="64"/>
                  </a:lnTo>
                  <a:lnTo>
                    <a:pt x="27" y="64"/>
                  </a:lnTo>
                  <a:lnTo>
                    <a:pt x="25" y="66"/>
                  </a:lnTo>
                  <a:lnTo>
                    <a:pt x="24" y="66"/>
                  </a:lnTo>
                  <a:lnTo>
                    <a:pt x="18" y="63"/>
                  </a:lnTo>
                  <a:lnTo>
                    <a:pt x="16" y="61"/>
                  </a:lnTo>
                  <a:lnTo>
                    <a:pt x="15" y="61"/>
                  </a:lnTo>
                  <a:lnTo>
                    <a:pt x="11" y="57"/>
                  </a:lnTo>
                  <a:lnTo>
                    <a:pt x="11" y="54"/>
                  </a:lnTo>
                  <a:lnTo>
                    <a:pt x="3" y="43"/>
                  </a:lnTo>
                  <a:lnTo>
                    <a:pt x="2" y="43"/>
                  </a:lnTo>
                  <a:lnTo>
                    <a:pt x="2" y="39"/>
                  </a:lnTo>
                  <a:lnTo>
                    <a:pt x="0" y="39"/>
                  </a:lnTo>
                  <a:lnTo>
                    <a:pt x="0" y="38"/>
                  </a:lnTo>
                  <a:lnTo>
                    <a:pt x="3" y="35"/>
                  </a:lnTo>
                  <a:lnTo>
                    <a:pt x="3" y="27"/>
                  </a:lnTo>
                  <a:lnTo>
                    <a:pt x="11" y="27"/>
                  </a:lnTo>
                  <a:lnTo>
                    <a:pt x="12" y="26"/>
                  </a:lnTo>
                  <a:close/>
                  <a:moveTo>
                    <a:pt x="1368" y="24"/>
                  </a:moveTo>
                  <a:lnTo>
                    <a:pt x="1370" y="24"/>
                  </a:lnTo>
                  <a:lnTo>
                    <a:pt x="1370" y="26"/>
                  </a:lnTo>
                  <a:lnTo>
                    <a:pt x="1368" y="24"/>
                  </a:lnTo>
                  <a:close/>
                  <a:moveTo>
                    <a:pt x="1479" y="20"/>
                  </a:moveTo>
                  <a:lnTo>
                    <a:pt x="1482" y="20"/>
                  </a:lnTo>
                  <a:lnTo>
                    <a:pt x="1482" y="23"/>
                  </a:lnTo>
                  <a:lnTo>
                    <a:pt x="1480" y="23"/>
                  </a:lnTo>
                  <a:lnTo>
                    <a:pt x="1479" y="24"/>
                  </a:lnTo>
                  <a:lnTo>
                    <a:pt x="1476" y="24"/>
                  </a:lnTo>
                  <a:lnTo>
                    <a:pt x="1470" y="26"/>
                  </a:lnTo>
                  <a:lnTo>
                    <a:pt x="1461" y="26"/>
                  </a:lnTo>
                  <a:lnTo>
                    <a:pt x="1461" y="24"/>
                  </a:lnTo>
                  <a:lnTo>
                    <a:pt x="1462" y="23"/>
                  </a:lnTo>
                  <a:lnTo>
                    <a:pt x="1462" y="21"/>
                  </a:lnTo>
                  <a:lnTo>
                    <a:pt x="1464" y="21"/>
                  </a:lnTo>
                  <a:lnTo>
                    <a:pt x="1465" y="23"/>
                  </a:lnTo>
                  <a:lnTo>
                    <a:pt x="1467" y="23"/>
                  </a:lnTo>
                  <a:lnTo>
                    <a:pt x="1467" y="21"/>
                  </a:lnTo>
                  <a:lnTo>
                    <a:pt x="1468" y="21"/>
                  </a:lnTo>
                  <a:lnTo>
                    <a:pt x="1468" y="23"/>
                  </a:lnTo>
                  <a:lnTo>
                    <a:pt x="1470" y="21"/>
                  </a:lnTo>
                  <a:lnTo>
                    <a:pt x="1479" y="21"/>
                  </a:lnTo>
                  <a:lnTo>
                    <a:pt x="1479" y="20"/>
                  </a:lnTo>
                  <a:close/>
                  <a:moveTo>
                    <a:pt x="1479" y="18"/>
                  </a:moveTo>
                  <a:lnTo>
                    <a:pt x="1479" y="20"/>
                  </a:lnTo>
                  <a:lnTo>
                    <a:pt x="1477" y="20"/>
                  </a:lnTo>
                  <a:lnTo>
                    <a:pt x="1479" y="18"/>
                  </a:lnTo>
                  <a:close/>
                  <a:moveTo>
                    <a:pt x="1688" y="12"/>
                  </a:moveTo>
                  <a:lnTo>
                    <a:pt x="1690" y="12"/>
                  </a:lnTo>
                  <a:lnTo>
                    <a:pt x="1690" y="14"/>
                  </a:lnTo>
                  <a:lnTo>
                    <a:pt x="1693" y="14"/>
                  </a:lnTo>
                  <a:lnTo>
                    <a:pt x="1694" y="15"/>
                  </a:lnTo>
                  <a:lnTo>
                    <a:pt x="1702" y="15"/>
                  </a:lnTo>
                  <a:lnTo>
                    <a:pt x="1702" y="17"/>
                  </a:lnTo>
                  <a:lnTo>
                    <a:pt x="1705" y="17"/>
                  </a:lnTo>
                  <a:lnTo>
                    <a:pt x="1706" y="18"/>
                  </a:lnTo>
                  <a:lnTo>
                    <a:pt x="1708" y="17"/>
                  </a:lnTo>
                  <a:lnTo>
                    <a:pt x="1709" y="17"/>
                  </a:lnTo>
                  <a:lnTo>
                    <a:pt x="1709" y="15"/>
                  </a:lnTo>
                  <a:lnTo>
                    <a:pt x="1711" y="17"/>
                  </a:lnTo>
                  <a:lnTo>
                    <a:pt x="1712" y="17"/>
                  </a:lnTo>
                  <a:lnTo>
                    <a:pt x="1715" y="21"/>
                  </a:lnTo>
                  <a:lnTo>
                    <a:pt x="1718" y="23"/>
                  </a:lnTo>
                  <a:lnTo>
                    <a:pt x="1720" y="24"/>
                  </a:lnTo>
                  <a:lnTo>
                    <a:pt x="1720" y="26"/>
                  </a:lnTo>
                  <a:lnTo>
                    <a:pt x="1721" y="26"/>
                  </a:lnTo>
                  <a:lnTo>
                    <a:pt x="1721" y="29"/>
                  </a:lnTo>
                  <a:lnTo>
                    <a:pt x="1724" y="29"/>
                  </a:lnTo>
                  <a:lnTo>
                    <a:pt x="1724" y="32"/>
                  </a:lnTo>
                  <a:lnTo>
                    <a:pt x="1726" y="32"/>
                  </a:lnTo>
                  <a:lnTo>
                    <a:pt x="1726" y="33"/>
                  </a:lnTo>
                  <a:lnTo>
                    <a:pt x="1727" y="32"/>
                  </a:lnTo>
                  <a:lnTo>
                    <a:pt x="1730" y="32"/>
                  </a:lnTo>
                  <a:lnTo>
                    <a:pt x="1730" y="33"/>
                  </a:lnTo>
                  <a:lnTo>
                    <a:pt x="1732" y="33"/>
                  </a:lnTo>
                  <a:lnTo>
                    <a:pt x="1733" y="35"/>
                  </a:lnTo>
                  <a:lnTo>
                    <a:pt x="1735" y="35"/>
                  </a:lnTo>
                  <a:lnTo>
                    <a:pt x="1733" y="36"/>
                  </a:lnTo>
                  <a:lnTo>
                    <a:pt x="1732" y="36"/>
                  </a:lnTo>
                  <a:lnTo>
                    <a:pt x="1730" y="38"/>
                  </a:lnTo>
                  <a:lnTo>
                    <a:pt x="1727" y="39"/>
                  </a:lnTo>
                  <a:lnTo>
                    <a:pt x="1724" y="39"/>
                  </a:lnTo>
                  <a:lnTo>
                    <a:pt x="1723" y="40"/>
                  </a:lnTo>
                  <a:lnTo>
                    <a:pt x="1721" y="39"/>
                  </a:lnTo>
                  <a:lnTo>
                    <a:pt x="1718" y="38"/>
                  </a:lnTo>
                  <a:lnTo>
                    <a:pt x="1714" y="38"/>
                  </a:lnTo>
                  <a:lnTo>
                    <a:pt x="1712" y="39"/>
                  </a:lnTo>
                  <a:lnTo>
                    <a:pt x="1709" y="36"/>
                  </a:lnTo>
                  <a:lnTo>
                    <a:pt x="1709" y="32"/>
                  </a:lnTo>
                  <a:lnTo>
                    <a:pt x="1708" y="30"/>
                  </a:lnTo>
                  <a:lnTo>
                    <a:pt x="1708" y="29"/>
                  </a:lnTo>
                  <a:lnTo>
                    <a:pt x="1706" y="24"/>
                  </a:lnTo>
                  <a:lnTo>
                    <a:pt x="1706" y="23"/>
                  </a:lnTo>
                  <a:lnTo>
                    <a:pt x="1705" y="21"/>
                  </a:lnTo>
                  <a:lnTo>
                    <a:pt x="1703" y="21"/>
                  </a:lnTo>
                  <a:lnTo>
                    <a:pt x="1703" y="23"/>
                  </a:lnTo>
                  <a:lnTo>
                    <a:pt x="1702" y="24"/>
                  </a:lnTo>
                  <a:lnTo>
                    <a:pt x="1700" y="24"/>
                  </a:lnTo>
                  <a:lnTo>
                    <a:pt x="1693" y="18"/>
                  </a:lnTo>
                  <a:lnTo>
                    <a:pt x="1693" y="21"/>
                  </a:lnTo>
                  <a:lnTo>
                    <a:pt x="1688" y="17"/>
                  </a:lnTo>
                  <a:lnTo>
                    <a:pt x="1688" y="12"/>
                  </a:lnTo>
                  <a:close/>
                  <a:moveTo>
                    <a:pt x="1313" y="12"/>
                  </a:moveTo>
                  <a:lnTo>
                    <a:pt x="1316" y="12"/>
                  </a:lnTo>
                  <a:lnTo>
                    <a:pt x="1314" y="14"/>
                  </a:lnTo>
                  <a:lnTo>
                    <a:pt x="1316" y="14"/>
                  </a:lnTo>
                  <a:lnTo>
                    <a:pt x="1316" y="15"/>
                  </a:lnTo>
                  <a:lnTo>
                    <a:pt x="1317" y="15"/>
                  </a:lnTo>
                  <a:lnTo>
                    <a:pt x="1317" y="18"/>
                  </a:lnTo>
                  <a:lnTo>
                    <a:pt x="1319" y="20"/>
                  </a:lnTo>
                  <a:lnTo>
                    <a:pt x="1316" y="21"/>
                  </a:lnTo>
                  <a:lnTo>
                    <a:pt x="1316" y="20"/>
                  </a:lnTo>
                  <a:lnTo>
                    <a:pt x="1311" y="20"/>
                  </a:lnTo>
                  <a:lnTo>
                    <a:pt x="1311" y="15"/>
                  </a:lnTo>
                  <a:lnTo>
                    <a:pt x="1313" y="15"/>
                  </a:lnTo>
                  <a:lnTo>
                    <a:pt x="1313" y="12"/>
                  </a:lnTo>
                  <a:close/>
                  <a:moveTo>
                    <a:pt x="1468" y="3"/>
                  </a:moveTo>
                  <a:lnTo>
                    <a:pt x="1471" y="3"/>
                  </a:lnTo>
                  <a:lnTo>
                    <a:pt x="1473" y="5"/>
                  </a:lnTo>
                  <a:lnTo>
                    <a:pt x="1473" y="6"/>
                  </a:lnTo>
                  <a:lnTo>
                    <a:pt x="1471" y="8"/>
                  </a:lnTo>
                  <a:lnTo>
                    <a:pt x="1468" y="9"/>
                  </a:lnTo>
                  <a:lnTo>
                    <a:pt x="1467" y="8"/>
                  </a:lnTo>
                  <a:lnTo>
                    <a:pt x="1468" y="8"/>
                  </a:lnTo>
                  <a:lnTo>
                    <a:pt x="1468" y="5"/>
                  </a:lnTo>
                  <a:lnTo>
                    <a:pt x="1467" y="6"/>
                  </a:lnTo>
                  <a:lnTo>
                    <a:pt x="1467" y="8"/>
                  </a:lnTo>
                  <a:lnTo>
                    <a:pt x="1464" y="8"/>
                  </a:lnTo>
                  <a:lnTo>
                    <a:pt x="1464" y="6"/>
                  </a:lnTo>
                  <a:lnTo>
                    <a:pt x="1462" y="6"/>
                  </a:lnTo>
                  <a:lnTo>
                    <a:pt x="1464" y="5"/>
                  </a:lnTo>
                  <a:lnTo>
                    <a:pt x="1465" y="5"/>
                  </a:lnTo>
                  <a:lnTo>
                    <a:pt x="1465" y="6"/>
                  </a:lnTo>
                  <a:lnTo>
                    <a:pt x="1468" y="3"/>
                  </a:lnTo>
                  <a:close/>
                  <a:moveTo>
                    <a:pt x="1434" y="3"/>
                  </a:moveTo>
                  <a:lnTo>
                    <a:pt x="1437" y="3"/>
                  </a:lnTo>
                  <a:lnTo>
                    <a:pt x="1437" y="6"/>
                  </a:lnTo>
                  <a:lnTo>
                    <a:pt x="1434" y="6"/>
                  </a:lnTo>
                  <a:lnTo>
                    <a:pt x="1434" y="3"/>
                  </a:lnTo>
                  <a:close/>
                  <a:moveTo>
                    <a:pt x="1063" y="2"/>
                  </a:moveTo>
                  <a:lnTo>
                    <a:pt x="1065" y="3"/>
                  </a:lnTo>
                  <a:lnTo>
                    <a:pt x="1066" y="3"/>
                  </a:lnTo>
                  <a:lnTo>
                    <a:pt x="1068" y="2"/>
                  </a:lnTo>
                  <a:lnTo>
                    <a:pt x="1069" y="3"/>
                  </a:lnTo>
                  <a:lnTo>
                    <a:pt x="1069" y="5"/>
                  </a:lnTo>
                  <a:lnTo>
                    <a:pt x="1071" y="5"/>
                  </a:lnTo>
                  <a:lnTo>
                    <a:pt x="1071" y="6"/>
                  </a:lnTo>
                  <a:lnTo>
                    <a:pt x="1069" y="8"/>
                  </a:lnTo>
                  <a:lnTo>
                    <a:pt x="1068" y="6"/>
                  </a:lnTo>
                  <a:lnTo>
                    <a:pt x="1068" y="8"/>
                  </a:lnTo>
                  <a:lnTo>
                    <a:pt x="1066" y="8"/>
                  </a:lnTo>
                  <a:lnTo>
                    <a:pt x="1065" y="6"/>
                  </a:lnTo>
                  <a:lnTo>
                    <a:pt x="1062" y="6"/>
                  </a:lnTo>
                  <a:lnTo>
                    <a:pt x="1060" y="9"/>
                  </a:lnTo>
                  <a:lnTo>
                    <a:pt x="1057" y="9"/>
                  </a:lnTo>
                  <a:lnTo>
                    <a:pt x="1057" y="8"/>
                  </a:lnTo>
                  <a:lnTo>
                    <a:pt x="1059" y="8"/>
                  </a:lnTo>
                  <a:lnTo>
                    <a:pt x="1060" y="6"/>
                  </a:lnTo>
                  <a:lnTo>
                    <a:pt x="1060" y="5"/>
                  </a:lnTo>
                  <a:lnTo>
                    <a:pt x="1062" y="5"/>
                  </a:lnTo>
                  <a:lnTo>
                    <a:pt x="1062" y="3"/>
                  </a:lnTo>
                  <a:lnTo>
                    <a:pt x="1063" y="2"/>
                  </a:lnTo>
                  <a:close/>
                  <a:moveTo>
                    <a:pt x="1551" y="0"/>
                  </a:moveTo>
                  <a:lnTo>
                    <a:pt x="1566" y="0"/>
                  </a:lnTo>
                  <a:lnTo>
                    <a:pt x="1575" y="5"/>
                  </a:lnTo>
                  <a:lnTo>
                    <a:pt x="1578" y="5"/>
                  </a:lnTo>
                  <a:lnTo>
                    <a:pt x="1578" y="6"/>
                  </a:lnTo>
                  <a:lnTo>
                    <a:pt x="1581" y="6"/>
                  </a:lnTo>
                  <a:lnTo>
                    <a:pt x="1581" y="8"/>
                  </a:lnTo>
                  <a:lnTo>
                    <a:pt x="1584" y="8"/>
                  </a:lnTo>
                  <a:lnTo>
                    <a:pt x="1585" y="9"/>
                  </a:lnTo>
                  <a:lnTo>
                    <a:pt x="1585" y="8"/>
                  </a:lnTo>
                  <a:lnTo>
                    <a:pt x="1587" y="8"/>
                  </a:lnTo>
                  <a:lnTo>
                    <a:pt x="1593" y="12"/>
                  </a:lnTo>
                  <a:lnTo>
                    <a:pt x="1594" y="14"/>
                  </a:lnTo>
                  <a:lnTo>
                    <a:pt x="1594" y="15"/>
                  </a:lnTo>
                  <a:lnTo>
                    <a:pt x="1597" y="17"/>
                  </a:lnTo>
                  <a:lnTo>
                    <a:pt x="1605" y="18"/>
                  </a:lnTo>
                  <a:lnTo>
                    <a:pt x="1606" y="18"/>
                  </a:lnTo>
                  <a:lnTo>
                    <a:pt x="1606" y="17"/>
                  </a:lnTo>
                  <a:lnTo>
                    <a:pt x="1608" y="18"/>
                  </a:lnTo>
                  <a:lnTo>
                    <a:pt x="1614" y="18"/>
                  </a:lnTo>
                  <a:lnTo>
                    <a:pt x="1614" y="17"/>
                  </a:lnTo>
                  <a:lnTo>
                    <a:pt x="1617" y="17"/>
                  </a:lnTo>
                  <a:lnTo>
                    <a:pt x="1617" y="18"/>
                  </a:lnTo>
                  <a:lnTo>
                    <a:pt x="1622" y="18"/>
                  </a:lnTo>
                  <a:lnTo>
                    <a:pt x="1622" y="17"/>
                  </a:lnTo>
                  <a:lnTo>
                    <a:pt x="1624" y="17"/>
                  </a:lnTo>
                  <a:lnTo>
                    <a:pt x="1624" y="18"/>
                  </a:lnTo>
                  <a:lnTo>
                    <a:pt x="1627" y="20"/>
                  </a:lnTo>
                  <a:lnTo>
                    <a:pt x="1628" y="21"/>
                  </a:lnTo>
                  <a:lnTo>
                    <a:pt x="1630" y="21"/>
                  </a:lnTo>
                  <a:lnTo>
                    <a:pt x="1630" y="23"/>
                  </a:lnTo>
                  <a:lnTo>
                    <a:pt x="1633" y="23"/>
                  </a:lnTo>
                  <a:lnTo>
                    <a:pt x="1633" y="24"/>
                  </a:lnTo>
                  <a:lnTo>
                    <a:pt x="1628" y="24"/>
                  </a:lnTo>
                  <a:lnTo>
                    <a:pt x="1628" y="27"/>
                  </a:lnTo>
                  <a:lnTo>
                    <a:pt x="1627" y="27"/>
                  </a:lnTo>
                  <a:lnTo>
                    <a:pt x="1628" y="32"/>
                  </a:lnTo>
                  <a:lnTo>
                    <a:pt x="1628" y="33"/>
                  </a:lnTo>
                  <a:lnTo>
                    <a:pt x="1630" y="33"/>
                  </a:lnTo>
                  <a:lnTo>
                    <a:pt x="1630" y="35"/>
                  </a:lnTo>
                  <a:lnTo>
                    <a:pt x="1631" y="36"/>
                  </a:lnTo>
                  <a:lnTo>
                    <a:pt x="1631" y="38"/>
                  </a:lnTo>
                  <a:lnTo>
                    <a:pt x="1633" y="38"/>
                  </a:lnTo>
                  <a:lnTo>
                    <a:pt x="1633" y="39"/>
                  </a:lnTo>
                  <a:lnTo>
                    <a:pt x="1634" y="39"/>
                  </a:lnTo>
                  <a:lnTo>
                    <a:pt x="1637" y="45"/>
                  </a:lnTo>
                  <a:lnTo>
                    <a:pt x="1636" y="48"/>
                  </a:lnTo>
                  <a:lnTo>
                    <a:pt x="1636" y="51"/>
                  </a:lnTo>
                  <a:lnTo>
                    <a:pt x="1634" y="54"/>
                  </a:lnTo>
                  <a:lnTo>
                    <a:pt x="1634" y="55"/>
                  </a:lnTo>
                  <a:lnTo>
                    <a:pt x="1630" y="60"/>
                  </a:lnTo>
                  <a:lnTo>
                    <a:pt x="1628" y="60"/>
                  </a:lnTo>
                  <a:lnTo>
                    <a:pt x="1628" y="61"/>
                  </a:lnTo>
                  <a:lnTo>
                    <a:pt x="1630" y="63"/>
                  </a:lnTo>
                  <a:lnTo>
                    <a:pt x="1631" y="72"/>
                  </a:lnTo>
                  <a:lnTo>
                    <a:pt x="1631" y="78"/>
                  </a:lnTo>
                  <a:lnTo>
                    <a:pt x="1630" y="81"/>
                  </a:lnTo>
                  <a:lnTo>
                    <a:pt x="1630" y="82"/>
                  </a:lnTo>
                  <a:lnTo>
                    <a:pt x="1631" y="82"/>
                  </a:lnTo>
                  <a:lnTo>
                    <a:pt x="1631" y="85"/>
                  </a:lnTo>
                  <a:lnTo>
                    <a:pt x="1633" y="87"/>
                  </a:lnTo>
                  <a:lnTo>
                    <a:pt x="1633" y="91"/>
                  </a:lnTo>
                  <a:lnTo>
                    <a:pt x="1634" y="93"/>
                  </a:lnTo>
                  <a:lnTo>
                    <a:pt x="1634" y="94"/>
                  </a:lnTo>
                  <a:lnTo>
                    <a:pt x="1637" y="96"/>
                  </a:lnTo>
                  <a:lnTo>
                    <a:pt x="1637" y="97"/>
                  </a:lnTo>
                  <a:lnTo>
                    <a:pt x="1639" y="97"/>
                  </a:lnTo>
                  <a:lnTo>
                    <a:pt x="1639" y="99"/>
                  </a:lnTo>
                  <a:lnTo>
                    <a:pt x="1640" y="99"/>
                  </a:lnTo>
                  <a:lnTo>
                    <a:pt x="1640" y="102"/>
                  </a:lnTo>
                  <a:lnTo>
                    <a:pt x="1642" y="103"/>
                  </a:lnTo>
                  <a:lnTo>
                    <a:pt x="1642" y="105"/>
                  </a:lnTo>
                  <a:lnTo>
                    <a:pt x="1643" y="106"/>
                  </a:lnTo>
                  <a:lnTo>
                    <a:pt x="1643" y="109"/>
                  </a:lnTo>
                  <a:lnTo>
                    <a:pt x="1645" y="111"/>
                  </a:lnTo>
                  <a:lnTo>
                    <a:pt x="1645" y="112"/>
                  </a:lnTo>
                  <a:lnTo>
                    <a:pt x="1646" y="114"/>
                  </a:lnTo>
                  <a:lnTo>
                    <a:pt x="1646" y="115"/>
                  </a:lnTo>
                  <a:lnTo>
                    <a:pt x="1648" y="114"/>
                  </a:lnTo>
                  <a:lnTo>
                    <a:pt x="1649" y="114"/>
                  </a:lnTo>
                  <a:lnTo>
                    <a:pt x="1649" y="111"/>
                  </a:lnTo>
                  <a:lnTo>
                    <a:pt x="1648" y="111"/>
                  </a:lnTo>
                  <a:lnTo>
                    <a:pt x="1648" y="106"/>
                  </a:lnTo>
                  <a:lnTo>
                    <a:pt x="1646" y="105"/>
                  </a:lnTo>
                  <a:lnTo>
                    <a:pt x="1646" y="100"/>
                  </a:lnTo>
                  <a:lnTo>
                    <a:pt x="1648" y="99"/>
                  </a:lnTo>
                  <a:lnTo>
                    <a:pt x="1651" y="97"/>
                  </a:lnTo>
                  <a:lnTo>
                    <a:pt x="1654" y="97"/>
                  </a:lnTo>
                  <a:lnTo>
                    <a:pt x="1654" y="99"/>
                  </a:lnTo>
                  <a:lnTo>
                    <a:pt x="1655" y="100"/>
                  </a:lnTo>
                  <a:lnTo>
                    <a:pt x="1655" y="114"/>
                  </a:lnTo>
                  <a:lnTo>
                    <a:pt x="1657" y="118"/>
                  </a:lnTo>
                  <a:lnTo>
                    <a:pt x="1658" y="120"/>
                  </a:lnTo>
                  <a:lnTo>
                    <a:pt x="1660" y="120"/>
                  </a:lnTo>
                  <a:lnTo>
                    <a:pt x="1663" y="117"/>
                  </a:lnTo>
                  <a:lnTo>
                    <a:pt x="1664" y="117"/>
                  </a:lnTo>
                  <a:lnTo>
                    <a:pt x="1664" y="121"/>
                  </a:lnTo>
                  <a:lnTo>
                    <a:pt x="1663" y="121"/>
                  </a:lnTo>
                  <a:lnTo>
                    <a:pt x="1663" y="127"/>
                  </a:lnTo>
                  <a:lnTo>
                    <a:pt x="1664" y="127"/>
                  </a:lnTo>
                  <a:lnTo>
                    <a:pt x="1664" y="132"/>
                  </a:lnTo>
                  <a:lnTo>
                    <a:pt x="1666" y="132"/>
                  </a:lnTo>
                  <a:lnTo>
                    <a:pt x="1666" y="133"/>
                  </a:lnTo>
                  <a:lnTo>
                    <a:pt x="1667" y="133"/>
                  </a:lnTo>
                  <a:lnTo>
                    <a:pt x="1669" y="132"/>
                  </a:lnTo>
                  <a:lnTo>
                    <a:pt x="1669" y="133"/>
                  </a:lnTo>
                  <a:lnTo>
                    <a:pt x="1670" y="135"/>
                  </a:lnTo>
                  <a:lnTo>
                    <a:pt x="1670" y="136"/>
                  </a:lnTo>
                  <a:lnTo>
                    <a:pt x="1673" y="136"/>
                  </a:lnTo>
                  <a:lnTo>
                    <a:pt x="1675" y="138"/>
                  </a:lnTo>
                  <a:lnTo>
                    <a:pt x="1684" y="138"/>
                  </a:lnTo>
                  <a:lnTo>
                    <a:pt x="1685" y="139"/>
                  </a:lnTo>
                  <a:lnTo>
                    <a:pt x="1687" y="139"/>
                  </a:lnTo>
                  <a:lnTo>
                    <a:pt x="1690" y="138"/>
                  </a:lnTo>
                  <a:lnTo>
                    <a:pt x="1693" y="138"/>
                  </a:lnTo>
                  <a:lnTo>
                    <a:pt x="1694" y="136"/>
                  </a:lnTo>
                  <a:lnTo>
                    <a:pt x="1697" y="135"/>
                  </a:lnTo>
                  <a:lnTo>
                    <a:pt x="1697" y="132"/>
                  </a:lnTo>
                  <a:lnTo>
                    <a:pt x="1700" y="129"/>
                  </a:lnTo>
                  <a:lnTo>
                    <a:pt x="1703" y="127"/>
                  </a:lnTo>
                  <a:lnTo>
                    <a:pt x="1705" y="127"/>
                  </a:lnTo>
                  <a:lnTo>
                    <a:pt x="1706" y="126"/>
                  </a:lnTo>
                  <a:lnTo>
                    <a:pt x="1705" y="126"/>
                  </a:lnTo>
                  <a:lnTo>
                    <a:pt x="1705" y="124"/>
                  </a:lnTo>
                  <a:lnTo>
                    <a:pt x="1706" y="123"/>
                  </a:lnTo>
                  <a:lnTo>
                    <a:pt x="1708" y="123"/>
                  </a:lnTo>
                  <a:lnTo>
                    <a:pt x="1709" y="121"/>
                  </a:lnTo>
                  <a:lnTo>
                    <a:pt x="1712" y="121"/>
                  </a:lnTo>
                  <a:lnTo>
                    <a:pt x="1712" y="120"/>
                  </a:lnTo>
                  <a:lnTo>
                    <a:pt x="1714" y="120"/>
                  </a:lnTo>
                  <a:lnTo>
                    <a:pt x="1714" y="114"/>
                  </a:lnTo>
                  <a:lnTo>
                    <a:pt x="1715" y="114"/>
                  </a:lnTo>
                  <a:lnTo>
                    <a:pt x="1715" y="111"/>
                  </a:lnTo>
                  <a:lnTo>
                    <a:pt x="1718" y="108"/>
                  </a:lnTo>
                  <a:lnTo>
                    <a:pt x="1718" y="106"/>
                  </a:lnTo>
                  <a:lnTo>
                    <a:pt x="1721" y="106"/>
                  </a:lnTo>
                  <a:lnTo>
                    <a:pt x="1721" y="105"/>
                  </a:lnTo>
                  <a:lnTo>
                    <a:pt x="1726" y="103"/>
                  </a:lnTo>
                  <a:lnTo>
                    <a:pt x="1730" y="99"/>
                  </a:lnTo>
                  <a:lnTo>
                    <a:pt x="1730" y="94"/>
                  </a:lnTo>
                  <a:lnTo>
                    <a:pt x="1733" y="91"/>
                  </a:lnTo>
                  <a:lnTo>
                    <a:pt x="1732" y="90"/>
                  </a:lnTo>
                  <a:lnTo>
                    <a:pt x="1732" y="88"/>
                  </a:lnTo>
                  <a:lnTo>
                    <a:pt x="1733" y="88"/>
                  </a:lnTo>
                  <a:lnTo>
                    <a:pt x="1733" y="87"/>
                  </a:lnTo>
                  <a:lnTo>
                    <a:pt x="1735" y="85"/>
                  </a:lnTo>
                  <a:lnTo>
                    <a:pt x="1739" y="85"/>
                  </a:lnTo>
                  <a:lnTo>
                    <a:pt x="1741" y="84"/>
                  </a:lnTo>
                  <a:lnTo>
                    <a:pt x="1741" y="85"/>
                  </a:lnTo>
                  <a:lnTo>
                    <a:pt x="1744" y="85"/>
                  </a:lnTo>
                  <a:lnTo>
                    <a:pt x="1744" y="87"/>
                  </a:lnTo>
                  <a:lnTo>
                    <a:pt x="1748" y="87"/>
                  </a:lnTo>
                  <a:lnTo>
                    <a:pt x="1750" y="85"/>
                  </a:lnTo>
                  <a:lnTo>
                    <a:pt x="1750" y="87"/>
                  </a:lnTo>
                  <a:lnTo>
                    <a:pt x="1751" y="87"/>
                  </a:lnTo>
                  <a:lnTo>
                    <a:pt x="1753" y="85"/>
                  </a:lnTo>
                  <a:lnTo>
                    <a:pt x="1754" y="85"/>
                  </a:lnTo>
                  <a:lnTo>
                    <a:pt x="1757" y="84"/>
                  </a:lnTo>
                  <a:lnTo>
                    <a:pt x="1759" y="84"/>
                  </a:lnTo>
                  <a:lnTo>
                    <a:pt x="1762" y="81"/>
                  </a:lnTo>
                  <a:lnTo>
                    <a:pt x="1769" y="81"/>
                  </a:lnTo>
                  <a:lnTo>
                    <a:pt x="1771" y="79"/>
                  </a:lnTo>
                  <a:lnTo>
                    <a:pt x="1772" y="79"/>
                  </a:lnTo>
                  <a:lnTo>
                    <a:pt x="1774" y="78"/>
                  </a:lnTo>
                  <a:lnTo>
                    <a:pt x="1774" y="76"/>
                  </a:lnTo>
                  <a:lnTo>
                    <a:pt x="1772" y="76"/>
                  </a:lnTo>
                  <a:lnTo>
                    <a:pt x="1772" y="73"/>
                  </a:lnTo>
                  <a:lnTo>
                    <a:pt x="1771" y="72"/>
                  </a:lnTo>
                  <a:lnTo>
                    <a:pt x="1769" y="72"/>
                  </a:lnTo>
                  <a:lnTo>
                    <a:pt x="1768" y="70"/>
                  </a:lnTo>
                  <a:lnTo>
                    <a:pt x="1768" y="66"/>
                  </a:lnTo>
                  <a:lnTo>
                    <a:pt x="1769" y="66"/>
                  </a:lnTo>
                  <a:lnTo>
                    <a:pt x="1784" y="58"/>
                  </a:lnTo>
                  <a:lnTo>
                    <a:pt x="1785" y="58"/>
                  </a:lnTo>
                  <a:lnTo>
                    <a:pt x="1785" y="57"/>
                  </a:lnTo>
                  <a:lnTo>
                    <a:pt x="1787" y="57"/>
                  </a:lnTo>
                  <a:lnTo>
                    <a:pt x="1799" y="51"/>
                  </a:lnTo>
                  <a:lnTo>
                    <a:pt x="1805" y="51"/>
                  </a:lnTo>
                  <a:lnTo>
                    <a:pt x="1805" y="52"/>
                  </a:lnTo>
                  <a:lnTo>
                    <a:pt x="1806" y="54"/>
                  </a:lnTo>
                  <a:lnTo>
                    <a:pt x="1808" y="54"/>
                  </a:lnTo>
                  <a:lnTo>
                    <a:pt x="1811" y="57"/>
                  </a:lnTo>
                  <a:lnTo>
                    <a:pt x="1812" y="57"/>
                  </a:lnTo>
                  <a:lnTo>
                    <a:pt x="1814" y="58"/>
                  </a:lnTo>
                  <a:lnTo>
                    <a:pt x="1818" y="60"/>
                  </a:lnTo>
                  <a:lnTo>
                    <a:pt x="1824" y="61"/>
                  </a:lnTo>
                  <a:lnTo>
                    <a:pt x="1833" y="64"/>
                  </a:lnTo>
                  <a:lnTo>
                    <a:pt x="1836" y="64"/>
                  </a:lnTo>
                  <a:lnTo>
                    <a:pt x="1842" y="67"/>
                  </a:lnTo>
                  <a:lnTo>
                    <a:pt x="1845" y="72"/>
                  </a:lnTo>
                  <a:lnTo>
                    <a:pt x="1847" y="73"/>
                  </a:lnTo>
                  <a:lnTo>
                    <a:pt x="1851" y="73"/>
                  </a:lnTo>
                  <a:lnTo>
                    <a:pt x="1859" y="76"/>
                  </a:lnTo>
                  <a:lnTo>
                    <a:pt x="1868" y="81"/>
                  </a:lnTo>
                  <a:lnTo>
                    <a:pt x="1872" y="82"/>
                  </a:lnTo>
                  <a:lnTo>
                    <a:pt x="1878" y="85"/>
                  </a:lnTo>
                  <a:lnTo>
                    <a:pt x="1886" y="88"/>
                  </a:lnTo>
                  <a:lnTo>
                    <a:pt x="1890" y="91"/>
                  </a:lnTo>
                  <a:lnTo>
                    <a:pt x="1892" y="91"/>
                  </a:lnTo>
                  <a:lnTo>
                    <a:pt x="1895" y="93"/>
                  </a:lnTo>
                  <a:lnTo>
                    <a:pt x="1904" y="91"/>
                  </a:lnTo>
                  <a:lnTo>
                    <a:pt x="1905" y="90"/>
                  </a:lnTo>
                  <a:lnTo>
                    <a:pt x="1907" y="91"/>
                  </a:lnTo>
                  <a:lnTo>
                    <a:pt x="1907" y="90"/>
                  </a:lnTo>
                  <a:lnTo>
                    <a:pt x="1908" y="90"/>
                  </a:lnTo>
                  <a:lnTo>
                    <a:pt x="1908" y="91"/>
                  </a:lnTo>
                  <a:lnTo>
                    <a:pt x="1911" y="94"/>
                  </a:lnTo>
                  <a:lnTo>
                    <a:pt x="1914" y="94"/>
                  </a:lnTo>
                  <a:lnTo>
                    <a:pt x="1914" y="96"/>
                  </a:lnTo>
                  <a:lnTo>
                    <a:pt x="1917" y="96"/>
                  </a:lnTo>
                  <a:lnTo>
                    <a:pt x="1919" y="94"/>
                  </a:lnTo>
                  <a:lnTo>
                    <a:pt x="1917" y="94"/>
                  </a:lnTo>
                  <a:lnTo>
                    <a:pt x="1917" y="93"/>
                  </a:lnTo>
                  <a:lnTo>
                    <a:pt x="1919" y="93"/>
                  </a:lnTo>
                  <a:lnTo>
                    <a:pt x="1923" y="94"/>
                  </a:lnTo>
                  <a:lnTo>
                    <a:pt x="1923" y="96"/>
                  </a:lnTo>
                  <a:lnTo>
                    <a:pt x="1928" y="96"/>
                  </a:lnTo>
                  <a:lnTo>
                    <a:pt x="1934" y="97"/>
                  </a:lnTo>
                  <a:lnTo>
                    <a:pt x="1935" y="97"/>
                  </a:lnTo>
                  <a:lnTo>
                    <a:pt x="1935" y="99"/>
                  </a:lnTo>
                  <a:lnTo>
                    <a:pt x="1934" y="100"/>
                  </a:lnTo>
                  <a:lnTo>
                    <a:pt x="1932" y="103"/>
                  </a:lnTo>
                  <a:lnTo>
                    <a:pt x="1945" y="103"/>
                  </a:lnTo>
                  <a:lnTo>
                    <a:pt x="1945" y="274"/>
                  </a:lnTo>
                  <a:lnTo>
                    <a:pt x="1944" y="274"/>
                  </a:lnTo>
                  <a:lnTo>
                    <a:pt x="1944" y="279"/>
                  </a:lnTo>
                  <a:lnTo>
                    <a:pt x="1942" y="279"/>
                  </a:lnTo>
                  <a:lnTo>
                    <a:pt x="1942" y="280"/>
                  </a:lnTo>
                  <a:lnTo>
                    <a:pt x="1944" y="280"/>
                  </a:lnTo>
                  <a:lnTo>
                    <a:pt x="1944" y="282"/>
                  </a:lnTo>
                  <a:lnTo>
                    <a:pt x="1942" y="282"/>
                  </a:lnTo>
                  <a:lnTo>
                    <a:pt x="1942" y="285"/>
                  </a:lnTo>
                  <a:lnTo>
                    <a:pt x="1941" y="285"/>
                  </a:lnTo>
                  <a:lnTo>
                    <a:pt x="1941" y="286"/>
                  </a:lnTo>
                  <a:lnTo>
                    <a:pt x="1939" y="286"/>
                  </a:lnTo>
                  <a:lnTo>
                    <a:pt x="1939" y="292"/>
                  </a:lnTo>
                  <a:lnTo>
                    <a:pt x="1941" y="292"/>
                  </a:lnTo>
                  <a:lnTo>
                    <a:pt x="1941" y="294"/>
                  </a:lnTo>
                  <a:lnTo>
                    <a:pt x="1939" y="294"/>
                  </a:lnTo>
                  <a:lnTo>
                    <a:pt x="1942" y="297"/>
                  </a:lnTo>
                  <a:lnTo>
                    <a:pt x="1942" y="298"/>
                  </a:lnTo>
                  <a:lnTo>
                    <a:pt x="1944" y="298"/>
                  </a:lnTo>
                  <a:lnTo>
                    <a:pt x="1944" y="300"/>
                  </a:lnTo>
                  <a:lnTo>
                    <a:pt x="1945" y="300"/>
                  </a:lnTo>
                  <a:lnTo>
                    <a:pt x="1945" y="401"/>
                  </a:lnTo>
                  <a:lnTo>
                    <a:pt x="1939" y="398"/>
                  </a:lnTo>
                  <a:lnTo>
                    <a:pt x="1929" y="388"/>
                  </a:lnTo>
                  <a:lnTo>
                    <a:pt x="1923" y="380"/>
                  </a:lnTo>
                  <a:lnTo>
                    <a:pt x="1922" y="377"/>
                  </a:lnTo>
                  <a:lnTo>
                    <a:pt x="1920" y="377"/>
                  </a:lnTo>
                  <a:lnTo>
                    <a:pt x="1917" y="374"/>
                  </a:lnTo>
                  <a:lnTo>
                    <a:pt x="1917" y="373"/>
                  </a:lnTo>
                  <a:lnTo>
                    <a:pt x="1914" y="371"/>
                  </a:lnTo>
                  <a:lnTo>
                    <a:pt x="1911" y="368"/>
                  </a:lnTo>
                  <a:lnTo>
                    <a:pt x="1902" y="361"/>
                  </a:lnTo>
                  <a:lnTo>
                    <a:pt x="1899" y="359"/>
                  </a:lnTo>
                  <a:lnTo>
                    <a:pt x="1899" y="356"/>
                  </a:lnTo>
                  <a:lnTo>
                    <a:pt x="1901" y="355"/>
                  </a:lnTo>
                  <a:lnTo>
                    <a:pt x="1902" y="355"/>
                  </a:lnTo>
                  <a:lnTo>
                    <a:pt x="1902" y="353"/>
                  </a:lnTo>
                  <a:lnTo>
                    <a:pt x="1904" y="353"/>
                  </a:lnTo>
                  <a:lnTo>
                    <a:pt x="1904" y="352"/>
                  </a:lnTo>
                  <a:lnTo>
                    <a:pt x="1902" y="350"/>
                  </a:lnTo>
                  <a:lnTo>
                    <a:pt x="1902" y="353"/>
                  </a:lnTo>
                  <a:lnTo>
                    <a:pt x="1901" y="353"/>
                  </a:lnTo>
                  <a:lnTo>
                    <a:pt x="1899" y="355"/>
                  </a:lnTo>
                  <a:lnTo>
                    <a:pt x="1890" y="355"/>
                  </a:lnTo>
                  <a:lnTo>
                    <a:pt x="1883" y="356"/>
                  </a:lnTo>
                  <a:lnTo>
                    <a:pt x="1881" y="356"/>
                  </a:lnTo>
                  <a:lnTo>
                    <a:pt x="1880" y="358"/>
                  </a:lnTo>
                  <a:lnTo>
                    <a:pt x="1878" y="358"/>
                  </a:lnTo>
                  <a:lnTo>
                    <a:pt x="1874" y="359"/>
                  </a:lnTo>
                  <a:lnTo>
                    <a:pt x="1869" y="359"/>
                  </a:lnTo>
                  <a:lnTo>
                    <a:pt x="1865" y="355"/>
                  </a:lnTo>
                  <a:lnTo>
                    <a:pt x="1866" y="353"/>
                  </a:lnTo>
                  <a:lnTo>
                    <a:pt x="1866" y="350"/>
                  </a:lnTo>
                  <a:lnTo>
                    <a:pt x="1865" y="350"/>
                  </a:lnTo>
                  <a:lnTo>
                    <a:pt x="1865" y="347"/>
                  </a:lnTo>
                  <a:lnTo>
                    <a:pt x="1863" y="349"/>
                  </a:lnTo>
                  <a:lnTo>
                    <a:pt x="1865" y="350"/>
                  </a:lnTo>
                  <a:lnTo>
                    <a:pt x="1865" y="353"/>
                  </a:lnTo>
                  <a:lnTo>
                    <a:pt x="1863" y="355"/>
                  </a:lnTo>
                  <a:lnTo>
                    <a:pt x="1860" y="356"/>
                  </a:lnTo>
                  <a:lnTo>
                    <a:pt x="1859" y="356"/>
                  </a:lnTo>
                  <a:lnTo>
                    <a:pt x="1853" y="361"/>
                  </a:lnTo>
                  <a:lnTo>
                    <a:pt x="1853" y="364"/>
                  </a:lnTo>
                  <a:lnTo>
                    <a:pt x="1850" y="364"/>
                  </a:lnTo>
                  <a:lnTo>
                    <a:pt x="1848" y="361"/>
                  </a:lnTo>
                  <a:lnTo>
                    <a:pt x="1848" y="359"/>
                  </a:lnTo>
                  <a:lnTo>
                    <a:pt x="1847" y="358"/>
                  </a:lnTo>
                  <a:lnTo>
                    <a:pt x="1847" y="356"/>
                  </a:lnTo>
                  <a:lnTo>
                    <a:pt x="1848" y="355"/>
                  </a:lnTo>
                  <a:lnTo>
                    <a:pt x="1850" y="355"/>
                  </a:lnTo>
                  <a:lnTo>
                    <a:pt x="1851" y="353"/>
                  </a:lnTo>
                  <a:lnTo>
                    <a:pt x="1850" y="352"/>
                  </a:lnTo>
                  <a:lnTo>
                    <a:pt x="1850" y="353"/>
                  </a:lnTo>
                  <a:lnTo>
                    <a:pt x="1847" y="353"/>
                  </a:lnTo>
                  <a:lnTo>
                    <a:pt x="1845" y="355"/>
                  </a:lnTo>
                  <a:lnTo>
                    <a:pt x="1845" y="356"/>
                  </a:lnTo>
                  <a:lnTo>
                    <a:pt x="1844" y="356"/>
                  </a:lnTo>
                  <a:lnTo>
                    <a:pt x="1842" y="358"/>
                  </a:lnTo>
                  <a:lnTo>
                    <a:pt x="1845" y="358"/>
                  </a:lnTo>
                  <a:lnTo>
                    <a:pt x="1847" y="359"/>
                  </a:lnTo>
                  <a:lnTo>
                    <a:pt x="1847" y="362"/>
                  </a:lnTo>
                  <a:lnTo>
                    <a:pt x="1850" y="365"/>
                  </a:lnTo>
                  <a:lnTo>
                    <a:pt x="1850" y="368"/>
                  </a:lnTo>
                  <a:lnTo>
                    <a:pt x="1841" y="368"/>
                  </a:lnTo>
                  <a:lnTo>
                    <a:pt x="1838" y="367"/>
                  </a:lnTo>
                  <a:lnTo>
                    <a:pt x="1833" y="367"/>
                  </a:lnTo>
                  <a:lnTo>
                    <a:pt x="1833" y="365"/>
                  </a:lnTo>
                  <a:lnTo>
                    <a:pt x="1835" y="364"/>
                  </a:lnTo>
                  <a:lnTo>
                    <a:pt x="1838" y="362"/>
                  </a:lnTo>
                  <a:lnTo>
                    <a:pt x="1839" y="361"/>
                  </a:lnTo>
                  <a:lnTo>
                    <a:pt x="1839" y="358"/>
                  </a:lnTo>
                  <a:lnTo>
                    <a:pt x="1836" y="361"/>
                  </a:lnTo>
                  <a:lnTo>
                    <a:pt x="1836" y="362"/>
                  </a:lnTo>
                  <a:lnTo>
                    <a:pt x="1833" y="364"/>
                  </a:lnTo>
                  <a:lnTo>
                    <a:pt x="1832" y="364"/>
                  </a:lnTo>
                  <a:lnTo>
                    <a:pt x="1832" y="365"/>
                  </a:lnTo>
                  <a:lnTo>
                    <a:pt x="1829" y="368"/>
                  </a:lnTo>
                  <a:lnTo>
                    <a:pt x="1827" y="368"/>
                  </a:lnTo>
                  <a:lnTo>
                    <a:pt x="1826" y="370"/>
                  </a:lnTo>
                  <a:lnTo>
                    <a:pt x="1821" y="370"/>
                  </a:lnTo>
                  <a:lnTo>
                    <a:pt x="1818" y="368"/>
                  </a:lnTo>
                  <a:lnTo>
                    <a:pt x="1797" y="368"/>
                  </a:lnTo>
                  <a:lnTo>
                    <a:pt x="1793" y="370"/>
                  </a:lnTo>
                  <a:lnTo>
                    <a:pt x="1791" y="370"/>
                  </a:lnTo>
                  <a:lnTo>
                    <a:pt x="1791" y="368"/>
                  </a:lnTo>
                  <a:lnTo>
                    <a:pt x="1796" y="356"/>
                  </a:lnTo>
                  <a:lnTo>
                    <a:pt x="1797" y="355"/>
                  </a:lnTo>
                  <a:lnTo>
                    <a:pt x="1797" y="353"/>
                  </a:lnTo>
                  <a:lnTo>
                    <a:pt x="1799" y="353"/>
                  </a:lnTo>
                  <a:lnTo>
                    <a:pt x="1799" y="349"/>
                  </a:lnTo>
                  <a:lnTo>
                    <a:pt x="1800" y="349"/>
                  </a:lnTo>
                  <a:lnTo>
                    <a:pt x="1803" y="341"/>
                  </a:lnTo>
                  <a:lnTo>
                    <a:pt x="1808" y="337"/>
                  </a:lnTo>
                  <a:lnTo>
                    <a:pt x="1808" y="335"/>
                  </a:lnTo>
                  <a:lnTo>
                    <a:pt x="1809" y="334"/>
                  </a:lnTo>
                  <a:lnTo>
                    <a:pt x="1809" y="332"/>
                  </a:lnTo>
                  <a:lnTo>
                    <a:pt x="1812" y="329"/>
                  </a:lnTo>
                  <a:lnTo>
                    <a:pt x="1820" y="325"/>
                  </a:lnTo>
                  <a:lnTo>
                    <a:pt x="1826" y="323"/>
                  </a:lnTo>
                  <a:lnTo>
                    <a:pt x="1833" y="322"/>
                  </a:lnTo>
                  <a:lnTo>
                    <a:pt x="1836" y="320"/>
                  </a:lnTo>
                  <a:lnTo>
                    <a:pt x="1841" y="320"/>
                  </a:lnTo>
                  <a:lnTo>
                    <a:pt x="1845" y="322"/>
                  </a:lnTo>
                  <a:lnTo>
                    <a:pt x="1847" y="323"/>
                  </a:lnTo>
                  <a:lnTo>
                    <a:pt x="1847" y="325"/>
                  </a:lnTo>
                  <a:lnTo>
                    <a:pt x="1850" y="328"/>
                  </a:lnTo>
                  <a:lnTo>
                    <a:pt x="1851" y="328"/>
                  </a:lnTo>
                  <a:lnTo>
                    <a:pt x="1851" y="329"/>
                  </a:lnTo>
                  <a:lnTo>
                    <a:pt x="1856" y="329"/>
                  </a:lnTo>
                  <a:lnTo>
                    <a:pt x="1857" y="331"/>
                  </a:lnTo>
                  <a:lnTo>
                    <a:pt x="1856" y="332"/>
                  </a:lnTo>
                  <a:lnTo>
                    <a:pt x="1856" y="335"/>
                  </a:lnTo>
                  <a:lnTo>
                    <a:pt x="1854" y="337"/>
                  </a:lnTo>
                  <a:lnTo>
                    <a:pt x="1854" y="338"/>
                  </a:lnTo>
                  <a:lnTo>
                    <a:pt x="1853" y="343"/>
                  </a:lnTo>
                  <a:lnTo>
                    <a:pt x="1850" y="344"/>
                  </a:lnTo>
                  <a:lnTo>
                    <a:pt x="1850" y="346"/>
                  </a:lnTo>
                  <a:lnTo>
                    <a:pt x="1848" y="347"/>
                  </a:lnTo>
                  <a:lnTo>
                    <a:pt x="1850" y="350"/>
                  </a:lnTo>
                  <a:lnTo>
                    <a:pt x="1850" y="346"/>
                  </a:lnTo>
                  <a:lnTo>
                    <a:pt x="1851" y="346"/>
                  </a:lnTo>
                  <a:lnTo>
                    <a:pt x="1853" y="344"/>
                  </a:lnTo>
                  <a:lnTo>
                    <a:pt x="1854" y="344"/>
                  </a:lnTo>
                  <a:lnTo>
                    <a:pt x="1854" y="338"/>
                  </a:lnTo>
                  <a:lnTo>
                    <a:pt x="1856" y="335"/>
                  </a:lnTo>
                  <a:lnTo>
                    <a:pt x="1857" y="335"/>
                  </a:lnTo>
                  <a:lnTo>
                    <a:pt x="1857" y="332"/>
                  </a:lnTo>
                  <a:lnTo>
                    <a:pt x="1859" y="332"/>
                  </a:lnTo>
                  <a:lnTo>
                    <a:pt x="1859" y="329"/>
                  </a:lnTo>
                  <a:lnTo>
                    <a:pt x="1857" y="329"/>
                  </a:lnTo>
                  <a:lnTo>
                    <a:pt x="1856" y="328"/>
                  </a:lnTo>
                  <a:lnTo>
                    <a:pt x="1853" y="328"/>
                  </a:lnTo>
                  <a:lnTo>
                    <a:pt x="1851" y="326"/>
                  </a:lnTo>
                  <a:lnTo>
                    <a:pt x="1851" y="323"/>
                  </a:lnTo>
                  <a:lnTo>
                    <a:pt x="1850" y="320"/>
                  </a:lnTo>
                  <a:lnTo>
                    <a:pt x="1848" y="319"/>
                  </a:lnTo>
                  <a:lnTo>
                    <a:pt x="1847" y="319"/>
                  </a:lnTo>
                  <a:lnTo>
                    <a:pt x="1844" y="316"/>
                  </a:lnTo>
                  <a:lnTo>
                    <a:pt x="1842" y="316"/>
                  </a:lnTo>
                  <a:lnTo>
                    <a:pt x="1841" y="314"/>
                  </a:lnTo>
                  <a:lnTo>
                    <a:pt x="1839" y="314"/>
                  </a:lnTo>
                  <a:lnTo>
                    <a:pt x="1839" y="313"/>
                  </a:lnTo>
                  <a:lnTo>
                    <a:pt x="1851" y="313"/>
                  </a:lnTo>
                  <a:lnTo>
                    <a:pt x="1853" y="314"/>
                  </a:lnTo>
                  <a:lnTo>
                    <a:pt x="1854" y="314"/>
                  </a:lnTo>
                  <a:lnTo>
                    <a:pt x="1854" y="316"/>
                  </a:lnTo>
                  <a:lnTo>
                    <a:pt x="1862" y="316"/>
                  </a:lnTo>
                  <a:lnTo>
                    <a:pt x="1862" y="314"/>
                  </a:lnTo>
                  <a:lnTo>
                    <a:pt x="1863" y="314"/>
                  </a:lnTo>
                  <a:lnTo>
                    <a:pt x="1863" y="313"/>
                  </a:lnTo>
                  <a:lnTo>
                    <a:pt x="1865" y="311"/>
                  </a:lnTo>
                  <a:lnTo>
                    <a:pt x="1863" y="311"/>
                  </a:lnTo>
                  <a:lnTo>
                    <a:pt x="1863" y="313"/>
                  </a:lnTo>
                  <a:lnTo>
                    <a:pt x="1859" y="313"/>
                  </a:lnTo>
                  <a:lnTo>
                    <a:pt x="1857" y="314"/>
                  </a:lnTo>
                  <a:lnTo>
                    <a:pt x="1856" y="314"/>
                  </a:lnTo>
                  <a:lnTo>
                    <a:pt x="1856" y="313"/>
                  </a:lnTo>
                  <a:lnTo>
                    <a:pt x="1853" y="311"/>
                  </a:lnTo>
                  <a:lnTo>
                    <a:pt x="1847" y="311"/>
                  </a:lnTo>
                  <a:lnTo>
                    <a:pt x="1845" y="310"/>
                  </a:lnTo>
                  <a:lnTo>
                    <a:pt x="1844" y="310"/>
                  </a:lnTo>
                  <a:lnTo>
                    <a:pt x="1835" y="301"/>
                  </a:lnTo>
                  <a:lnTo>
                    <a:pt x="1835" y="300"/>
                  </a:lnTo>
                  <a:lnTo>
                    <a:pt x="1836" y="300"/>
                  </a:lnTo>
                  <a:lnTo>
                    <a:pt x="1836" y="298"/>
                  </a:lnTo>
                  <a:lnTo>
                    <a:pt x="1839" y="298"/>
                  </a:lnTo>
                  <a:lnTo>
                    <a:pt x="1841" y="300"/>
                  </a:lnTo>
                  <a:lnTo>
                    <a:pt x="1844" y="300"/>
                  </a:lnTo>
                  <a:lnTo>
                    <a:pt x="1844" y="298"/>
                  </a:lnTo>
                  <a:lnTo>
                    <a:pt x="1848" y="298"/>
                  </a:lnTo>
                  <a:lnTo>
                    <a:pt x="1850" y="297"/>
                  </a:lnTo>
                  <a:lnTo>
                    <a:pt x="1848" y="297"/>
                  </a:lnTo>
                  <a:lnTo>
                    <a:pt x="1847" y="295"/>
                  </a:lnTo>
                  <a:lnTo>
                    <a:pt x="1844" y="294"/>
                  </a:lnTo>
                  <a:lnTo>
                    <a:pt x="1842" y="292"/>
                  </a:lnTo>
                  <a:lnTo>
                    <a:pt x="1841" y="292"/>
                  </a:lnTo>
                  <a:lnTo>
                    <a:pt x="1839" y="291"/>
                  </a:lnTo>
                  <a:lnTo>
                    <a:pt x="1839" y="288"/>
                  </a:lnTo>
                  <a:lnTo>
                    <a:pt x="1841" y="288"/>
                  </a:lnTo>
                  <a:lnTo>
                    <a:pt x="1842" y="289"/>
                  </a:lnTo>
                  <a:lnTo>
                    <a:pt x="1844" y="289"/>
                  </a:lnTo>
                  <a:lnTo>
                    <a:pt x="1841" y="288"/>
                  </a:lnTo>
                  <a:lnTo>
                    <a:pt x="1839" y="286"/>
                  </a:lnTo>
                  <a:lnTo>
                    <a:pt x="1838" y="283"/>
                  </a:lnTo>
                  <a:lnTo>
                    <a:pt x="1836" y="283"/>
                  </a:lnTo>
                  <a:lnTo>
                    <a:pt x="1830" y="277"/>
                  </a:lnTo>
                  <a:lnTo>
                    <a:pt x="1827" y="273"/>
                  </a:lnTo>
                  <a:lnTo>
                    <a:pt x="1827" y="271"/>
                  </a:lnTo>
                  <a:lnTo>
                    <a:pt x="1826" y="270"/>
                  </a:lnTo>
                  <a:lnTo>
                    <a:pt x="1826" y="262"/>
                  </a:lnTo>
                  <a:lnTo>
                    <a:pt x="1824" y="262"/>
                  </a:lnTo>
                  <a:lnTo>
                    <a:pt x="1824" y="261"/>
                  </a:lnTo>
                  <a:lnTo>
                    <a:pt x="1821" y="256"/>
                  </a:lnTo>
                  <a:lnTo>
                    <a:pt x="1820" y="255"/>
                  </a:lnTo>
                  <a:lnTo>
                    <a:pt x="1823" y="252"/>
                  </a:lnTo>
                  <a:lnTo>
                    <a:pt x="1818" y="250"/>
                  </a:lnTo>
                  <a:lnTo>
                    <a:pt x="1817" y="250"/>
                  </a:lnTo>
                  <a:lnTo>
                    <a:pt x="1817" y="249"/>
                  </a:lnTo>
                  <a:lnTo>
                    <a:pt x="1815" y="249"/>
                  </a:lnTo>
                  <a:lnTo>
                    <a:pt x="1820" y="246"/>
                  </a:lnTo>
                  <a:lnTo>
                    <a:pt x="1823" y="244"/>
                  </a:lnTo>
                  <a:lnTo>
                    <a:pt x="1824" y="244"/>
                  </a:lnTo>
                  <a:lnTo>
                    <a:pt x="1824" y="243"/>
                  </a:lnTo>
                  <a:lnTo>
                    <a:pt x="1823" y="243"/>
                  </a:lnTo>
                  <a:lnTo>
                    <a:pt x="1821" y="244"/>
                  </a:lnTo>
                  <a:lnTo>
                    <a:pt x="1818" y="244"/>
                  </a:lnTo>
                  <a:lnTo>
                    <a:pt x="1817" y="246"/>
                  </a:lnTo>
                  <a:lnTo>
                    <a:pt x="1811" y="246"/>
                  </a:lnTo>
                  <a:lnTo>
                    <a:pt x="1811" y="238"/>
                  </a:lnTo>
                  <a:lnTo>
                    <a:pt x="1814" y="238"/>
                  </a:lnTo>
                  <a:lnTo>
                    <a:pt x="1814" y="237"/>
                  </a:lnTo>
                  <a:lnTo>
                    <a:pt x="1812" y="237"/>
                  </a:lnTo>
                  <a:lnTo>
                    <a:pt x="1811" y="235"/>
                  </a:lnTo>
                  <a:lnTo>
                    <a:pt x="1812" y="232"/>
                  </a:lnTo>
                  <a:lnTo>
                    <a:pt x="1812" y="231"/>
                  </a:lnTo>
                  <a:lnTo>
                    <a:pt x="1811" y="231"/>
                  </a:lnTo>
                  <a:lnTo>
                    <a:pt x="1811" y="232"/>
                  </a:lnTo>
                  <a:lnTo>
                    <a:pt x="1809" y="232"/>
                  </a:lnTo>
                  <a:lnTo>
                    <a:pt x="1809" y="235"/>
                  </a:lnTo>
                  <a:lnTo>
                    <a:pt x="1808" y="235"/>
                  </a:lnTo>
                  <a:lnTo>
                    <a:pt x="1808" y="234"/>
                  </a:lnTo>
                  <a:lnTo>
                    <a:pt x="1805" y="231"/>
                  </a:lnTo>
                  <a:lnTo>
                    <a:pt x="1805" y="228"/>
                  </a:lnTo>
                  <a:lnTo>
                    <a:pt x="1803" y="228"/>
                  </a:lnTo>
                  <a:lnTo>
                    <a:pt x="1802" y="229"/>
                  </a:lnTo>
                  <a:lnTo>
                    <a:pt x="1799" y="229"/>
                  </a:lnTo>
                  <a:lnTo>
                    <a:pt x="1799" y="225"/>
                  </a:lnTo>
                  <a:lnTo>
                    <a:pt x="1796" y="225"/>
                  </a:lnTo>
                  <a:lnTo>
                    <a:pt x="1794" y="223"/>
                  </a:lnTo>
                  <a:lnTo>
                    <a:pt x="1794" y="222"/>
                  </a:lnTo>
                  <a:lnTo>
                    <a:pt x="1790" y="222"/>
                  </a:lnTo>
                  <a:lnTo>
                    <a:pt x="1788" y="220"/>
                  </a:lnTo>
                  <a:lnTo>
                    <a:pt x="1790" y="220"/>
                  </a:lnTo>
                  <a:lnTo>
                    <a:pt x="1790" y="219"/>
                  </a:lnTo>
                  <a:lnTo>
                    <a:pt x="1785" y="219"/>
                  </a:lnTo>
                  <a:lnTo>
                    <a:pt x="1784" y="217"/>
                  </a:lnTo>
                  <a:lnTo>
                    <a:pt x="1781" y="217"/>
                  </a:lnTo>
                  <a:lnTo>
                    <a:pt x="1779" y="216"/>
                  </a:lnTo>
                  <a:lnTo>
                    <a:pt x="1779" y="214"/>
                  </a:lnTo>
                  <a:lnTo>
                    <a:pt x="1778" y="214"/>
                  </a:lnTo>
                  <a:lnTo>
                    <a:pt x="1777" y="213"/>
                  </a:lnTo>
                  <a:lnTo>
                    <a:pt x="1777" y="214"/>
                  </a:lnTo>
                  <a:lnTo>
                    <a:pt x="1775" y="213"/>
                  </a:lnTo>
                  <a:lnTo>
                    <a:pt x="1775" y="210"/>
                  </a:lnTo>
                  <a:lnTo>
                    <a:pt x="1774" y="211"/>
                  </a:lnTo>
                  <a:lnTo>
                    <a:pt x="1774" y="213"/>
                  </a:lnTo>
                  <a:lnTo>
                    <a:pt x="1771" y="213"/>
                  </a:lnTo>
                  <a:lnTo>
                    <a:pt x="1769" y="211"/>
                  </a:lnTo>
                  <a:lnTo>
                    <a:pt x="1769" y="210"/>
                  </a:lnTo>
                  <a:lnTo>
                    <a:pt x="1768" y="211"/>
                  </a:lnTo>
                  <a:lnTo>
                    <a:pt x="1766" y="211"/>
                  </a:lnTo>
                  <a:lnTo>
                    <a:pt x="1766" y="210"/>
                  </a:lnTo>
                  <a:lnTo>
                    <a:pt x="1768" y="208"/>
                  </a:lnTo>
                  <a:lnTo>
                    <a:pt x="1768" y="207"/>
                  </a:lnTo>
                  <a:lnTo>
                    <a:pt x="1766" y="210"/>
                  </a:lnTo>
                  <a:lnTo>
                    <a:pt x="1763" y="210"/>
                  </a:lnTo>
                  <a:lnTo>
                    <a:pt x="1760" y="208"/>
                  </a:lnTo>
                  <a:lnTo>
                    <a:pt x="1762" y="207"/>
                  </a:lnTo>
                  <a:lnTo>
                    <a:pt x="1760" y="207"/>
                  </a:lnTo>
                  <a:lnTo>
                    <a:pt x="1757" y="208"/>
                  </a:lnTo>
                  <a:lnTo>
                    <a:pt x="1756" y="210"/>
                  </a:lnTo>
                  <a:lnTo>
                    <a:pt x="1754" y="210"/>
                  </a:lnTo>
                  <a:lnTo>
                    <a:pt x="1754" y="207"/>
                  </a:lnTo>
                  <a:lnTo>
                    <a:pt x="1751" y="207"/>
                  </a:lnTo>
                  <a:lnTo>
                    <a:pt x="1745" y="204"/>
                  </a:lnTo>
                  <a:lnTo>
                    <a:pt x="1741" y="202"/>
                  </a:lnTo>
                  <a:lnTo>
                    <a:pt x="1738" y="201"/>
                  </a:lnTo>
                  <a:lnTo>
                    <a:pt x="1736" y="199"/>
                  </a:lnTo>
                  <a:lnTo>
                    <a:pt x="1735" y="199"/>
                  </a:lnTo>
                  <a:lnTo>
                    <a:pt x="1733" y="198"/>
                  </a:lnTo>
                  <a:lnTo>
                    <a:pt x="1729" y="198"/>
                  </a:lnTo>
                  <a:lnTo>
                    <a:pt x="1724" y="196"/>
                  </a:lnTo>
                  <a:lnTo>
                    <a:pt x="1723" y="195"/>
                  </a:lnTo>
                  <a:lnTo>
                    <a:pt x="1721" y="195"/>
                  </a:lnTo>
                  <a:lnTo>
                    <a:pt x="1720" y="193"/>
                  </a:lnTo>
                  <a:lnTo>
                    <a:pt x="1717" y="193"/>
                  </a:lnTo>
                  <a:lnTo>
                    <a:pt x="1715" y="190"/>
                  </a:lnTo>
                  <a:lnTo>
                    <a:pt x="1714" y="190"/>
                  </a:lnTo>
                  <a:lnTo>
                    <a:pt x="1712" y="189"/>
                  </a:lnTo>
                  <a:lnTo>
                    <a:pt x="1709" y="190"/>
                  </a:lnTo>
                  <a:lnTo>
                    <a:pt x="1708" y="189"/>
                  </a:lnTo>
                  <a:lnTo>
                    <a:pt x="1699" y="189"/>
                  </a:lnTo>
                  <a:lnTo>
                    <a:pt x="1697" y="187"/>
                  </a:lnTo>
                  <a:lnTo>
                    <a:pt x="1691" y="187"/>
                  </a:lnTo>
                  <a:lnTo>
                    <a:pt x="1690" y="186"/>
                  </a:lnTo>
                  <a:lnTo>
                    <a:pt x="1690" y="187"/>
                  </a:lnTo>
                  <a:lnTo>
                    <a:pt x="1679" y="187"/>
                  </a:lnTo>
                  <a:lnTo>
                    <a:pt x="1669" y="181"/>
                  </a:lnTo>
                  <a:lnTo>
                    <a:pt x="1666" y="178"/>
                  </a:lnTo>
                  <a:lnTo>
                    <a:pt x="1661" y="178"/>
                  </a:lnTo>
                  <a:lnTo>
                    <a:pt x="1658" y="175"/>
                  </a:lnTo>
                  <a:lnTo>
                    <a:pt x="1658" y="174"/>
                  </a:lnTo>
                  <a:lnTo>
                    <a:pt x="1657" y="172"/>
                  </a:lnTo>
                  <a:lnTo>
                    <a:pt x="1654" y="172"/>
                  </a:lnTo>
                  <a:lnTo>
                    <a:pt x="1655" y="171"/>
                  </a:lnTo>
                  <a:lnTo>
                    <a:pt x="1657" y="171"/>
                  </a:lnTo>
                  <a:lnTo>
                    <a:pt x="1657" y="169"/>
                  </a:lnTo>
                  <a:lnTo>
                    <a:pt x="1655" y="168"/>
                  </a:lnTo>
                  <a:lnTo>
                    <a:pt x="1655" y="165"/>
                  </a:lnTo>
                  <a:lnTo>
                    <a:pt x="1657" y="165"/>
                  </a:lnTo>
                  <a:lnTo>
                    <a:pt x="1657" y="163"/>
                  </a:lnTo>
                  <a:lnTo>
                    <a:pt x="1655" y="162"/>
                  </a:lnTo>
                  <a:lnTo>
                    <a:pt x="1655" y="163"/>
                  </a:lnTo>
                  <a:lnTo>
                    <a:pt x="1654" y="165"/>
                  </a:lnTo>
                  <a:lnTo>
                    <a:pt x="1652" y="165"/>
                  </a:lnTo>
                  <a:lnTo>
                    <a:pt x="1652" y="168"/>
                  </a:lnTo>
                  <a:lnTo>
                    <a:pt x="1648" y="168"/>
                  </a:lnTo>
                  <a:lnTo>
                    <a:pt x="1646" y="166"/>
                  </a:lnTo>
                  <a:lnTo>
                    <a:pt x="1646" y="165"/>
                  </a:lnTo>
                  <a:lnTo>
                    <a:pt x="1645" y="163"/>
                  </a:lnTo>
                  <a:lnTo>
                    <a:pt x="1645" y="162"/>
                  </a:lnTo>
                  <a:lnTo>
                    <a:pt x="1642" y="162"/>
                  </a:lnTo>
                  <a:lnTo>
                    <a:pt x="1640" y="160"/>
                  </a:lnTo>
                  <a:lnTo>
                    <a:pt x="1640" y="162"/>
                  </a:lnTo>
                  <a:lnTo>
                    <a:pt x="1642" y="163"/>
                  </a:lnTo>
                  <a:lnTo>
                    <a:pt x="1640" y="165"/>
                  </a:lnTo>
                  <a:lnTo>
                    <a:pt x="1640" y="168"/>
                  </a:lnTo>
                  <a:lnTo>
                    <a:pt x="1639" y="168"/>
                  </a:lnTo>
                  <a:lnTo>
                    <a:pt x="1639" y="166"/>
                  </a:lnTo>
                  <a:lnTo>
                    <a:pt x="1637" y="166"/>
                  </a:lnTo>
                  <a:lnTo>
                    <a:pt x="1637" y="165"/>
                  </a:lnTo>
                  <a:lnTo>
                    <a:pt x="1633" y="165"/>
                  </a:lnTo>
                  <a:lnTo>
                    <a:pt x="1633" y="162"/>
                  </a:lnTo>
                  <a:lnTo>
                    <a:pt x="1631" y="162"/>
                  </a:lnTo>
                  <a:lnTo>
                    <a:pt x="1631" y="160"/>
                  </a:lnTo>
                  <a:lnTo>
                    <a:pt x="1633" y="159"/>
                  </a:lnTo>
                  <a:lnTo>
                    <a:pt x="1633" y="156"/>
                  </a:lnTo>
                  <a:lnTo>
                    <a:pt x="1631" y="156"/>
                  </a:lnTo>
                  <a:lnTo>
                    <a:pt x="1631" y="154"/>
                  </a:lnTo>
                  <a:lnTo>
                    <a:pt x="1630" y="156"/>
                  </a:lnTo>
                  <a:lnTo>
                    <a:pt x="1631" y="157"/>
                  </a:lnTo>
                  <a:lnTo>
                    <a:pt x="1630" y="157"/>
                  </a:lnTo>
                  <a:lnTo>
                    <a:pt x="1630" y="159"/>
                  </a:lnTo>
                  <a:lnTo>
                    <a:pt x="1628" y="159"/>
                  </a:lnTo>
                  <a:lnTo>
                    <a:pt x="1627" y="157"/>
                  </a:lnTo>
                  <a:lnTo>
                    <a:pt x="1625" y="157"/>
                  </a:lnTo>
                  <a:lnTo>
                    <a:pt x="1625" y="160"/>
                  </a:lnTo>
                  <a:lnTo>
                    <a:pt x="1624" y="160"/>
                  </a:lnTo>
                  <a:lnTo>
                    <a:pt x="1622" y="159"/>
                  </a:lnTo>
                  <a:lnTo>
                    <a:pt x="1621" y="154"/>
                  </a:lnTo>
                  <a:lnTo>
                    <a:pt x="1618" y="151"/>
                  </a:lnTo>
                  <a:lnTo>
                    <a:pt x="1618" y="148"/>
                  </a:lnTo>
                  <a:lnTo>
                    <a:pt x="1615" y="148"/>
                  </a:lnTo>
                  <a:lnTo>
                    <a:pt x="1615" y="150"/>
                  </a:lnTo>
                  <a:lnTo>
                    <a:pt x="1617" y="151"/>
                  </a:lnTo>
                  <a:lnTo>
                    <a:pt x="1617" y="154"/>
                  </a:lnTo>
                  <a:lnTo>
                    <a:pt x="1615" y="153"/>
                  </a:lnTo>
                  <a:lnTo>
                    <a:pt x="1615" y="151"/>
                  </a:lnTo>
                  <a:lnTo>
                    <a:pt x="1611" y="151"/>
                  </a:lnTo>
                  <a:lnTo>
                    <a:pt x="1612" y="150"/>
                  </a:lnTo>
                  <a:lnTo>
                    <a:pt x="1612" y="148"/>
                  </a:lnTo>
                  <a:lnTo>
                    <a:pt x="1611" y="148"/>
                  </a:lnTo>
                  <a:lnTo>
                    <a:pt x="1611" y="147"/>
                  </a:lnTo>
                  <a:lnTo>
                    <a:pt x="1609" y="144"/>
                  </a:lnTo>
                  <a:lnTo>
                    <a:pt x="1609" y="141"/>
                  </a:lnTo>
                  <a:lnTo>
                    <a:pt x="1611" y="141"/>
                  </a:lnTo>
                  <a:lnTo>
                    <a:pt x="1611" y="130"/>
                  </a:lnTo>
                  <a:lnTo>
                    <a:pt x="1612" y="132"/>
                  </a:lnTo>
                  <a:lnTo>
                    <a:pt x="1612" y="129"/>
                  </a:lnTo>
                  <a:lnTo>
                    <a:pt x="1614" y="130"/>
                  </a:lnTo>
                  <a:lnTo>
                    <a:pt x="1615" y="129"/>
                  </a:lnTo>
                  <a:lnTo>
                    <a:pt x="1615" y="127"/>
                  </a:lnTo>
                  <a:lnTo>
                    <a:pt x="1618" y="124"/>
                  </a:lnTo>
                  <a:lnTo>
                    <a:pt x="1619" y="126"/>
                  </a:lnTo>
                  <a:lnTo>
                    <a:pt x="1621" y="126"/>
                  </a:lnTo>
                  <a:lnTo>
                    <a:pt x="1621" y="124"/>
                  </a:lnTo>
                  <a:lnTo>
                    <a:pt x="1619" y="124"/>
                  </a:lnTo>
                  <a:lnTo>
                    <a:pt x="1619" y="123"/>
                  </a:lnTo>
                  <a:lnTo>
                    <a:pt x="1618" y="123"/>
                  </a:lnTo>
                  <a:lnTo>
                    <a:pt x="1618" y="121"/>
                  </a:lnTo>
                  <a:lnTo>
                    <a:pt x="1619" y="120"/>
                  </a:lnTo>
                  <a:lnTo>
                    <a:pt x="1619" y="118"/>
                  </a:lnTo>
                  <a:lnTo>
                    <a:pt x="1618" y="117"/>
                  </a:lnTo>
                  <a:lnTo>
                    <a:pt x="1618" y="118"/>
                  </a:lnTo>
                  <a:lnTo>
                    <a:pt x="1617" y="118"/>
                  </a:lnTo>
                  <a:lnTo>
                    <a:pt x="1617" y="121"/>
                  </a:lnTo>
                  <a:lnTo>
                    <a:pt x="1612" y="123"/>
                  </a:lnTo>
                  <a:lnTo>
                    <a:pt x="1612" y="124"/>
                  </a:lnTo>
                  <a:lnTo>
                    <a:pt x="1611" y="126"/>
                  </a:lnTo>
                  <a:lnTo>
                    <a:pt x="1609" y="126"/>
                  </a:lnTo>
                  <a:lnTo>
                    <a:pt x="1609" y="138"/>
                  </a:lnTo>
                  <a:lnTo>
                    <a:pt x="1608" y="139"/>
                  </a:lnTo>
                  <a:lnTo>
                    <a:pt x="1608" y="141"/>
                  </a:lnTo>
                  <a:lnTo>
                    <a:pt x="1605" y="141"/>
                  </a:lnTo>
                  <a:lnTo>
                    <a:pt x="1603" y="139"/>
                  </a:lnTo>
                  <a:lnTo>
                    <a:pt x="1603" y="141"/>
                  </a:lnTo>
                  <a:lnTo>
                    <a:pt x="1602" y="141"/>
                  </a:lnTo>
                  <a:lnTo>
                    <a:pt x="1603" y="142"/>
                  </a:lnTo>
                  <a:lnTo>
                    <a:pt x="1605" y="142"/>
                  </a:lnTo>
                  <a:lnTo>
                    <a:pt x="1606" y="144"/>
                  </a:lnTo>
                  <a:lnTo>
                    <a:pt x="1606" y="147"/>
                  </a:lnTo>
                  <a:lnTo>
                    <a:pt x="1605" y="148"/>
                  </a:lnTo>
                  <a:lnTo>
                    <a:pt x="1603" y="148"/>
                  </a:lnTo>
                  <a:lnTo>
                    <a:pt x="1603" y="150"/>
                  </a:lnTo>
                  <a:lnTo>
                    <a:pt x="1602" y="150"/>
                  </a:lnTo>
                  <a:lnTo>
                    <a:pt x="1597" y="154"/>
                  </a:lnTo>
                  <a:lnTo>
                    <a:pt x="1597" y="157"/>
                  </a:lnTo>
                  <a:lnTo>
                    <a:pt x="1600" y="160"/>
                  </a:lnTo>
                  <a:lnTo>
                    <a:pt x="1599" y="162"/>
                  </a:lnTo>
                  <a:lnTo>
                    <a:pt x="1597" y="162"/>
                  </a:lnTo>
                  <a:lnTo>
                    <a:pt x="1597" y="163"/>
                  </a:lnTo>
                  <a:lnTo>
                    <a:pt x="1591" y="169"/>
                  </a:lnTo>
                  <a:lnTo>
                    <a:pt x="1588" y="171"/>
                  </a:lnTo>
                  <a:lnTo>
                    <a:pt x="1587" y="171"/>
                  </a:lnTo>
                  <a:lnTo>
                    <a:pt x="1582" y="169"/>
                  </a:lnTo>
                  <a:lnTo>
                    <a:pt x="1581" y="169"/>
                  </a:lnTo>
                  <a:lnTo>
                    <a:pt x="1579" y="171"/>
                  </a:lnTo>
                  <a:lnTo>
                    <a:pt x="1579" y="172"/>
                  </a:lnTo>
                  <a:lnTo>
                    <a:pt x="1578" y="172"/>
                  </a:lnTo>
                  <a:lnTo>
                    <a:pt x="1575" y="171"/>
                  </a:lnTo>
                  <a:lnTo>
                    <a:pt x="1575" y="168"/>
                  </a:lnTo>
                  <a:lnTo>
                    <a:pt x="1572" y="168"/>
                  </a:lnTo>
                  <a:lnTo>
                    <a:pt x="1572" y="165"/>
                  </a:lnTo>
                  <a:lnTo>
                    <a:pt x="1570" y="165"/>
                  </a:lnTo>
                  <a:lnTo>
                    <a:pt x="1570" y="163"/>
                  </a:lnTo>
                  <a:lnTo>
                    <a:pt x="1572" y="163"/>
                  </a:lnTo>
                  <a:lnTo>
                    <a:pt x="1570" y="160"/>
                  </a:lnTo>
                  <a:lnTo>
                    <a:pt x="1569" y="160"/>
                  </a:lnTo>
                  <a:lnTo>
                    <a:pt x="1569" y="157"/>
                  </a:lnTo>
                  <a:lnTo>
                    <a:pt x="1567" y="153"/>
                  </a:lnTo>
                  <a:lnTo>
                    <a:pt x="1567" y="150"/>
                  </a:lnTo>
                  <a:lnTo>
                    <a:pt x="1573" y="150"/>
                  </a:lnTo>
                  <a:lnTo>
                    <a:pt x="1573" y="148"/>
                  </a:lnTo>
                  <a:lnTo>
                    <a:pt x="1575" y="148"/>
                  </a:lnTo>
                  <a:lnTo>
                    <a:pt x="1575" y="147"/>
                  </a:lnTo>
                  <a:lnTo>
                    <a:pt x="1576" y="147"/>
                  </a:lnTo>
                  <a:lnTo>
                    <a:pt x="1576" y="145"/>
                  </a:lnTo>
                  <a:lnTo>
                    <a:pt x="1575" y="145"/>
                  </a:lnTo>
                  <a:lnTo>
                    <a:pt x="1575" y="144"/>
                  </a:lnTo>
                  <a:lnTo>
                    <a:pt x="1573" y="142"/>
                  </a:lnTo>
                  <a:lnTo>
                    <a:pt x="1572" y="142"/>
                  </a:lnTo>
                  <a:lnTo>
                    <a:pt x="1570" y="141"/>
                  </a:lnTo>
                  <a:lnTo>
                    <a:pt x="1570" y="133"/>
                  </a:lnTo>
                  <a:lnTo>
                    <a:pt x="1567" y="133"/>
                  </a:lnTo>
                  <a:lnTo>
                    <a:pt x="1567" y="136"/>
                  </a:lnTo>
                  <a:lnTo>
                    <a:pt x="1564" y="136"/>
                  </a:lnTo>
                  <a:lnTo>
                    <a:pt x="1563" y="135"/>
                  </a:lnTo>
                  <a:lnTo>
                    <a:pt x="1563" y="133"/>
                  </a:lnTo>
                  <a:lnTo>
                    <a:pt x="1561" y="133"/>
                  </a:lnTo>
                  <a:lnTo>
                    <a:pt x="1561" y="132"/>
                  </a:lnTo>
                  <a:lnTo>
                    <a:pt x="1563" y="130"/>
                  </a:lnTo>
                  <a:lnTo>
                    <a:pt x="1561" y="130"/>
                  </a:lnTo>
                  <a:lnTo>
                    <a:pt x="1561" y="129"/>
                  </a:lnTo>
                  <a:lnTo>
                    <a:pt x="1560" y="129"/>
                  </a:lnTo>
                  <a:lnTo>
                    <a:pt x="1560" y="127"/>
                  </a:lnTo>
                  <a:lnTo>
                    <a:pt x="1557" y="124"/>
                  </a:lnTo>
                  <a:lnTo>
                    <a:pt x="1555" y="124"/>
                  </a:lnTo>
                  <a:lnTo>
                    <a:pt x="1555" y="123"/>
                  </a:lnTo>
                  <a:lnTo>
                    <a:pt x="1549" y="120"/>
                  </a:lnTo>
                  <a:lnTo>
                    <a:pt x="1549" y="118"/>
                  </a:lnTo>
                  <a:lnTo>
                    <a:pt x="1543" y="118"/>
                  </a:lnTo>
                  <a:lnTo>
                    <a:pt x="1542" y="117"/>
                  </a:lnTo>
                  <a:lnTo>
                    <a:pt x="1542" y="118"/>
                  </a:lnTo>
                  <a:lnTo>
                    <a:pt x="1539" y="118"/>
                  </a:lnTo>
                  <a:lnTo>
                    <a:pt x="1537" y="120"/>
                  </a:lnTo>
                  <a:lnTo>
                    <a:pt x="1537" y="118"/>
                  </a:lnTo>
                  <a:lnTo>
                    <a:pt x="1536" y="118"/>
                  </a:lnTo>
                  <a:lnTo>
                    <a:pt x="1536" y="117"/>
                  </a:lnTo>
                  <a:lnTo>
                    <a:pt x="1533" y="117"/>
                  </a:lnTo>
                  <a:lnTo>
                    <a:pt x="1534" y="115"/>
                  </a:lnTo>
                  <a:lnTo>
                    <a:pt x="1534" y="112"/>
                  </a:lnTo>
                  <a:lnTo>
                    <a:pt x="1536" y="112"/>
                  </a:lnTo>
                  <a:lnTo>
                    <a:pt x="1534" y="111"/>
                  </a:lnTo>
                  <a:lnTo>
                    <a:pt x="1531" y="111"/>
                  </a:lnTo>
                  <a:lnTo>
                    <a:pt x="1534" y="109"/>
                  </a:lnTo>
                  <a:lnTo>
                    <a:pt x="1540" y="109"/>
                  </a:lnTo>
                  <a:lnTo>
                    <a:pt x="1542" y="108"/>
                  </a:lnTo>
                  <a:lnTo>
                    <a:pt x="1539" y="108"/>
                  </a:lnTo>
                  <a:lnTo>
                    <a:pt x="1540" y="106"/>
                  </a:lnTo>
                  <a:lnTo>
                    <a:pt x="1549" y="106"/>
                  </a:lnTo>
                  <a:lnTo>
                    <a:pt x="1551" y="108"/>
                  </a:lnTo>
                  <a:lnTo>
                    <a:pt x="1552" y="106"/>
                  </a:lnTo>
                  <a:lnTo>
                    <a:pt x="1552" y="108"/>
                  </a:lnTo>
                  <a:lnTo>
                    <a:pt x="1554" y="109"/>
                  </a:lnTo>
                  <a:lnTo>
                    <a:pt x="1555" y="109"/>
                  </a:lnTo>
                  <a:lnTo>
                    <a:pt x="1555" y="108"/>
                  </a:lnTo>
                  <a:lnTo>
                    <a:pt x="1560" y="108"/>
                  </a:lnTo>
                  <a:lnTo>
                    <a:pt x="1564" y="112"/>
                  </a:lnTo>
                  <a:lnTo>
                    <a:pt x="1567" y="112"/>
                  </a:lnTo>
                  <a:lnTo>
                    <a:pt x="1569" y="111"/>
                  </a:lnTo>
                  <a:lnTo>
                    <a:pt x="1572" y="109"/>
                  </a:lnTo>
                  <a:lnTo>
                    <a:pt x="1572" y="108"/>
                  </a:lnTo>
                  <a:lnTo>
                    <a:pt x="1576" y="103"/>
                  </a:lnTo>
                  <a:lnTo>
                    <a:pt x="1576" y="102"/>
                  </a:lnTo>
                  <a:lnTo>
                    <a:pt x="1579" y="99"/>
                  </a:lnTo>
                  <a:lnTo>
                    <a:pt x="1579" y="97"/>
                  </a:lnTo>
                  <a:lnTo>
                    <a:pt x="1581" y="97"/>
                  </a:lnTo>
                  <a:lnTo>
                    <a:pt x="1584" y="96"/>
                  </a:lnTo>
                  <a:lnTo>
                    <a:pt x="1585" y="96"/>
                  </a:lnTo>
                  <a:lnTo>
                    <a:pt x="1585" y="94"/>
                  </a:lnTo>
                  <a:lnTo>
                    <a:pt x="1591" y="94"/>
                  </a:lnTo>
                  <a:lnTo>
                    <a:pt x="1594" y="96"/>
                  </a:lnTo>
                  <a:lnTo>
                    <a:pt x="1594" y="97"/>
                  </a:lnTo>
                  <a:lnTo>
                    <a:pt x="1596" y="97"/>
                  </a:lnTo>
                  <a:lnTo>
                    <a:pt x="1596" y="99"/>
                  </a:lnTo>
                  <a:lnTo>
                    <a:pt x="1597" y="99"/>
                  </a:lnTo>
                  <a:lnTo>
                    <a:pt x="1597" y="102"/>
                  </a:lnTo>
                  <a:lnTo>
                    <a:pt x="1599" y="102"/>
                  </a:lnTo>
                  <a:lnTo>
                    <a:pt x="1599" y="99"/>
                  </a:lnTo>
                  <a:lnTo>
                    <a:pt x="1600" y="97"/>
                  </a:lnTo>
                  <a:lnTo>
                    <a:pt x="1600" y="99"/>
                  </a:lnTo>
                  <a:lnTo>
                    <a:pt x="1602" y="99"/>
                  </a:lnTo>
                  <a:lnTo>
                    <a:pt x="1602" y="100"/>
                  </a:lnTo>
                  <a:lnTo>
                    <a:pt x="1603" y="100"/>
                  </a:lnTo>
                  <a:lnTo>
                    <a:pt x="1603" y="102"/>
                  </a:lnTo>
                  <a:lnTo>
                    <a:pt x="1605" y="100"/>
                  </a:lnTo>
                  <a:lnTo>
                    <a:pt x="1606" y="100"/>
                  </a:lnTo>
                  <a:lnTo>
                    <a:pt x="1608" y="99"/>
                  </a:lnTo>
                  <a:lnTo>
                    <a:pt x="1608" y="100"/>
                  </a:lnTo>
                  <a:lnTo>
                    <a:pt x="1609" y="100"/>
                  </a:lnTo>
                  <a:lnTo>
                    <a:pt x="1611" y="102"/>
                  </a:lnTo>
                  <a:lnTo>
                    <a:pt x="1611" y="105"/>
                  </a:lnTo>
                  <a:lnTo>
                    <a:pt x="1609" y="106"/>
                  </a:lnTo>
                  <a:lnTo>
                    <a:pt x="1611" y="108"/>
                  </a:lnTo>
                  <a:lnTo>
                    <a:pt x="1611" y="105"/>
                  </a:lnTo>
                  <a:lnTo>
                    <a:pt x="1612" y="102"/>
                  </a:lnTo>
                  <a:lnTo>
                    <a:pt x="1612" y="99"/>
                  </a:lnTo>
                  <a:lnTo>
                    <a:pt x="1614" y="99"/>
                  </a:lnTo>
                  <a:lnTo>
                    <a:pt x="1614" y="102"/>
                  </a:lnTo>
                  <a:lnTo>
                    <a:pt x="1615" y="102"/>
                  </a:lnTo>
                  <a:lnTo>
                    <a:pt x="1615" y="105"/>
                  </a:lnTo>
                  <a:lnTo>
                    <a:pt x="1617" y="105"/>
                  </a:lnTo>
                  <a:lnTo>
                    <a:pt x="1617" y="97"/>
                  </a:lnTo>
                  <a:lnTo>
                    <a:pt x="1614" y="97"/>
                  </a:lnTo>
                  <a:lnTo>
                    <a:pt x="1614" y="96"/>
                  </a:lnTo>
                  <a:lnTo>
                    <a:pt x="1615" y="96"/>
                  </a:lnTo>
                  <a:lnTo>
                    <a:pt x="1617" y="94"/>
                  </a:lnTo>
                  <a:lnTo>
                    <a:pt x="1618" y="94"/>
                  </a:lnTo>
                  <a:lnTo>
                    <a:pt x="1618" y="96"/>
                  </a:lnTo>
                  <a:lnTo>
                    <a:pt x="1619" y="96"/>
                  </a:lnTo>
                  <a:lnTo>
                    <a:pt x="1619" y="93"/>
                  </a:lnTo>
                  <a:lnTo>
                    <a:pt x="1622" y="94"/>
                  </a:lnTo>
                  <a:lnTo>
                    <a:pt x="1624" y="94"/>
                  </a:lnTo>
                  <a:lnTo>
                    <a:pt x="1625" y="93"/>
                  </a:lnTo>
                  <a:lnTo>
                    <a:pt x="1619" y="93"/>
                  </a:lnTo>
                  <a:lnTo>
                    <a:pt x="1619" y="91"/>
                  </a:lnTo>
                  <a:lnTo>
                    <a:pt x="1622" y="91"/>
                  </a:lnTo>
                  <a:lnTo>
                    <a:pt x="1622" y="87"/>
                  </a:lnTo>
                  <a:lnTo>
                    <a:pt x="1621" y="88"/>
                  </a:lnTo>
                  <a:lnTo>
                    <a:pt x="1621" y="87"/>
                  </a:lnTo>
                  <a:lnTo>
                    <a:pt x="1619" y="88"/>
                  </a:lnTo>
                  <a:lnTo>
                    <a:pt x="1617" y="88"/>
                  </a:lnTo>
                  <a:lnTo>
                    <a:pt x="1617" y="87"/>
                  </a:lnTo>
                  <a:lnTo>
                    <a:pt x="1615" y="87"/>
                  </a:lnTo>
                  <a:lnTo>
                    <a:pt x="1617" y="85"/>
                  </a:lnTo>
                  <a:lnTo>
                    <a:pt x="1618" y="85"/>
                  </a:lnTo>
                  <a:lnTo>
                    <a:pt x="1619" y="84"/>
                  </a:lnTo>
                  <a:lnTo>
                    <a:pt x="1619" y="82"/>
                  </a:lnTo>
                  <a:lnTo>
                    <a:pt x="1621" y="82"/>
                  </a:lnTo>
                  <a:lnTo>
                    <a:pt x="1621" y="84"/>
                  </a:lnTo>
                  <a:lnTo>
                    <a:pt x="1622" y="84"/>
                  </a:lnTo>
                  <a:lnTo>
                    <a:pt x="1622" y="81"/>
                  </a:lnTo>
                  <a:lnTo>
                    <a:pt x="1621" y="79"/>
                  </a:lnTo>
                  <a:lnTo>
                    <a:pt x="1619" y="81"/>
                  </a:lnTo>
                  <a:lnTo>
                    <a:pt x="1618" y="79"/>
                  </a:lnTo>
                  <a:lnTo>
                    <a:pt x="1618" y="81"/>
                  </a:lnTo>
                  <a:lnTo>
                    <a:pt x="1617" y="82"/>
                  </a:lnTo>
                  <a:lnTo>
                    <a:pt x="1612" y="82"/>
                  </a:lnTo>
                  <a:lnTo>
                    <a:pt x="1612" y="84"/>
                  </a:lnTo>
                  <a:lnTo>
                    <a:pt x="1611" y="84"/>
                  </a:lnTo>
                  <a:lnTo>
                    <a:pt x="1609" y="85"/>
                  </a:lnTo>
                  <a:lnTo>
                    <a:pt x="1605" y="85"/>
                  </a:lnTo>
                  <a:lnTo>
                    <a:pt x="1605" y="87"/>
                  </a:lnTo>
                  <a:lnTo>
                    <a:pt x="1602" y="84"/>
                  </a:lnTo>
                  <a:lnTo>
                    <a:pt x="1602" y="85"/>
                  </a:lnTo>
                  <a:lnTo>
                    <a:pt x="1593" y="85"/>
                  </a:lnTo>
                  <a:lnTo>
                    <a:pt x="1593" y="84"/>
                  </a:lnTo>
                  <a:lnTo>
                    <a:pt x="1591" y="85"/>
                  </a:lnTo>
                  <a:lnTo>
                    <a:pt x="1585" y="85"/>
                  </a:lnTo>
                  <a:lnTo>
                    <a:pt x="1584" y="87"/>
                  </a:lnTo>
                  <a:lnTo>
                    <a:pt x="1581" y="87"/>
                  </a:lnTo>
                  <a:lnTo>
                    <a:pt x="1578" y="88"/>
                  </a:lnTo>
                  <a:lnTo>
                    <a:pt x="1575" y="88"/>
                  </a:lnTo>
                  <a:lnTo>
                    <a:pt x="1572" y="87"/>
                  </a:lnTo>
                  <a:lnTo>
                    <a:pt x="1569" y="87"/>
                  </a:lnTo>
                  <a:lnTo>
                    <a:pt x="1566" y="90"/>
                  </a:lnTo>
                  <a:lnTo>
                    <a:pt x="1564" y="90"/>
                  </a:lnTo>
                  <a:lnTo>
                    <a:pt x="1564" y="88"/>
                  </a:lnTo>
                  <a:lnTo>
                    <a:pt x="1563" y="88"/>
                  </a:lnTo>
                  <a:lnTo>
                    <a:pt x="1561" y="87"/>
                  </a:lnTo>
                  <a:lnTo>
                    <a:pt x="1561" y="84"/>
                  </a:lnTo>
                  <a:lnTo>
                    <a:pt x="1557" y="84"/>
                  </a:lnTo>
                  <a:lnTo>
                    <a:pt x="1551" y="87"/>
                  </a:lnTo>
                  <a:lnTo>
                    <a:pt x="1546" y="87"/>
                  </a:lnTo>
                  <a:lnTo>
                    <a:pt x="1545" y="85"/>
                  </a:lnTo>
                  <a:lnTo>
                    <a:pt x="1545" y="84"/>
                  </a:lnTo>
                  <a:lnTo>
                    <a:pt x="1543" y="84"/>
                  </a:lnTo>
                  <a:lnTo>
                    <a:pt x="1543" y="82"/>
                  </a:lnTo>
                  <a:lnTo>
                    <a:pt x="1536" y="79"/>
                  </a:lnTo>
                  <a:lnTo>
                    <a:pt x="1536" y="78"/>
                  </a:lnTo>
                  <a:lnTo>
                    <a:pt x="1537" y="76"/>
                  </a:lnTo>
                  <a:lnTo>
                    <a:pt x="1537" y="75"/>
                  </a:lnTo>
                  <a:lnTo>
                    <a:pt x="1536" y="76"/>
                  </a:lnTo>
                  <a:lnTo>
                    <a:pt x="1534" y="76"/>
                  </a:lnTo>
                  <a:lnTo>
                    <a:pt x="1533" y="75"/>
                  </a:lnTo>
                  <a:lnTo>
                    <a:pt x="1533" y="73"/>
                  </a:lnTo>
                  <a:lnTo>
                    <a:pt x="1531" y="73"/>
                  </a:lnTo>
                  <a:lnTo>
                    <a:pt x="1531" y="70"/>
                  </a:lnTo>
                  <a:lnTo>
                    <a:pt x="1530" y="70"/>
                  </a:lnTo>
                  <a:lnTo>
                    <a:pt x="1530" y="66"/>
                  </a:lnTo>
                  <a:lnTo>
                    <a:pt x="1531" y="66"/>
                  </a:lnTo>
                  <a:lnTo>
                    <a:pt x="1531" y="64"/>
                  </a:lnTo>
                  <a:lnTo>
                    <a:pt x="1533" y="63"/>
                  </a:lnTo>
                  <a:lnTo>
                    <a:pt x="1534" y="63"/>
                  </a:lnTo>
                  <a:lnTo>
                    <a:pt x="1534" y="60"/>
                  </a:lnTo>
                  <a:lnTo>
                    <a:pt x="1533" y="60"/>
                  </a:lnTo>
                  <a:lnTo>
                    <a:pt x="1531" y="61"/>
                  </a:lnTo>
                  <a:lnTo>
                    <a:pt x="1528" y="61"/>
                  </a:lnTo>
                  <a:lnTo>
                    <a:pt x="1528" y="57"/>
                  </a:lnTo>
                  <a:lnTo>
                    <a:pt x="1530" y="57"/>
                  </a:lnTo>
                  <a:lnTo>
                    <a:pt x="1530" y="55"/>
                  </a:lnTo>
                  <a:lnTo>
                    <a:pt x="1531" y="55"/>
                  </a:lnTo>
                  <a:lnTo>
                    <a:pt x="1533" y="54"/>
                  </a:lnTo>
                  <a:lnTo>
                    <a:pt x="1531" y="54"/>
                  </a:lnTo>
                  <a:lnTo>
                    <a:pt x="1528" y="55"/>
                  </a:lnTo>
                  <a:lnTo>
                    <a:pt x="1527" y="55"/>
                  </a:lnTo>
                  <a:lnTo>
                    <a:pt x="1525" y="57"/>
                  </a:lnTo>
                  <a:lnTo>
                    <a:pt x="1524" y="57"/>
                  </a:lnTo>
                  <a:lnTo>
                    <a:pt x="1524" y="54"/>
                  </a:lnTo>
                  <a:lnTo>
                    <a:pt x="1522" y="55"/>
                  </a:lnTo>
                  <a:lnTo>
                    <a:pt x="1519" y="55"/>
                  </a:lnTo>
                  <a:lnTo>
                    <a:pt x="1519" y="54"/>
                  </a:lnTo>
                  <a:lnTo>
                    <a:pt x="1521" y="54"/>
                  </a:lnTo>
                  <a:lnTo>
                    <a:pt x="1519" y="52"/>
                  </a:lnTo>
                  <a:lnTo>
                    <a:pt x="1518" y="54"/>
                  </a:lnTo>
                  <a:lnTo>
                    <a:pt x="1516" y="54"/>
                  </a:lnTo>
                  <a:lnTo>
                    <a:pt x="1513" y="51"/>
                  </a:lnTo>
                  <a:lnTo>
                    <a:pt x="1509" y="51"/>
                  </a:lnTo>
                  <a:lnTo>
                    <a:pt x="1509" y="52"/>
                  </a:lnTo>
                  <a:lnTo>
                    <a:pt x="1507" y="52"/>
                  </a:lnTo>
                  <a:lnTo>
                    <a:pt x="1504" y="49"/>
                  </a:lnTo>
                  <a:lnTo>
                    <a:pt x="1506" y="49"/>
                  </a:lnTo>
                  <a:lnTo>
                    <a:pt x="1506" y="48"/>
                  </a:lnTo>
                  <a:lnTo>
                    <a:pt x="1501" y="48"/>
                  </a:lnTo>
                  <a:lnTo>
                    <a:pt x="1500" y="46"/>
                  </a:lnTo>
                  <a:lnTo>
                    <a:pt x="1500" y="48"/>
                  </a:lnTo>
                  <a:lnTo>
                    <a:pt x="1501" y="48"/>
                  </a:lnTo>
                  <a:lnTo>
                    <a:pt x="1503" y="49"/>
                  </a:lnTo>
                  <a:lnTo>
                    <a:pt x="1503" y="51"/>
                  </a:lnTo>
                  <a:lnTo>
                    <a:pt x="1501" y="51"/>
                  </a:lnTo>
                  <a:lnTo>
                    <a:pt x="1500" y="52"/>
                  </a:lnTo>
                  <a:lnTo>
                    <a:pt x="1497" y="52"/>
                  </a:lnTo>
                  <a:lnTo>
                    <a:pt x="1497" y="54"/>
                  </a:lnTo>
                  <a:lnTo>
                    <a:pt x="1495" y="52"/>
                  </a:lnTo>
                  <a:lnTo>
                    <a:pt x="1495" y="51"/>
                  </a:lnTo>
                  <a:lnTo>
                    <a:pt x="1492" y="51"/>
                  </a:lnTo>
                  <a:lnTo>
                    <a:pt x="1491" y="49"/>
                  </a:lnTo>
                  <a:lnTo>
                    <a:pt x="1488" y="51"/>
                  </a:lnTo>
                  <a:lnTo>
                    <a:pt x="1486" y="51"/>
                  </a:lnTo>
                  <a:lnTo>
                    <a:pt x="1485" y="49"/>
                  </a:lnTo>
                  <a:lnTo>
                    <a:pt x="1485" y="48"/>
                  </a:lnTo>
                  <a:lnTo>
                    <a:pt x="1486" y="48"/>
                  </a:lnTo>
                  <a:lnTo>
                    <a:pt x="1488" y="46"/>
                  </a:lnTo>
                  <a:lnTo>
                    <a:pt x="1488" y="43"/>
                  </a:lnTo>
                  <a:lnTo>
                    <a:pt x="1485" y="46"/>
                  </a:lnTo>
                  <a:lnTo>
                    <a:pt x="1485" y="45"/>
                  </a:lnTo>
                  <a:lnTo>
                    <a:pt x="1480" y="45"/>
                  </a:lnTo>
                  <a:lnTo>
                    <a:pt x="1479" y="43"/>
                  </a:lnTo>
                  <a:lnTo>
                    <a:pt x="1479" y="42"/>
                  </a:lnTo>
                  <a:lnTo>
                    <a:pt x="1477" y="42"/>
                  </a:lnTo>
                  <a:lnTo>
                    <a:pt x="1476" y="40"/>
                  </a:lnTo>
                  <a:lnTo>
                    <a:pt x="1476" y="38"/>
                  </a:lnTo>
                  <a:lnTo>
                    <a:pt x="1474" y="38"/>
                  </a:lnTo>
                  <a:lnTo>
                    <a:pt x="1474" y="36"/>
                  </a:lnTo>
                  <a:lnTo>
                    <a:pt x="1473" y="36"/>
                  </a:lnTo>
                  <a:lnTo>
                    <a:pt x="1473" y="35"/>
                  </a:lnTo>
                  <a:lnTo>
                    <a:pt x="1474" y="35"/>
                  </a:lnTo>
                  <a:lnTo>
                    <a:pt x="1474" y="33"/>
                  </a:lnTo>
                  <a:lnTo>
                    <a:pt x="1473" y="32"/>
                  </a:lnTo>
                  <a:lnTo>
                    <a:pt x="1473" y="30"/>
                  </a:lnTo>
                  <a:lnTo>
                    <a:pt x="1471" y="29"/>
                  </a:lnTo>
                  <a:lnTo>
                    <a:pt x="1473" y="27"/>
                  </a:lnTo>
                  <a:lnTo>
                    <a:pt x="1477" y="27"/>
                  </a:lnTo>
                  <a:lnTo>
                    <a:pt x="1479" y="26"/>
                  </a:lnTo>
                  <a:lnTo>
                    <a:pt x="1482" y="24"/>
                  </a:lnTo>
                  <a:lnTo>
                    <a:pt x="1483" y="26"/>
                  </a:lnTo>
                  <a:lnTo>
                    <a:pt x="1489" y="26"/>
                  </a:lnTo>
                  <a:lnTo>
                    <a:pt x="1489" y="27"/>
                  </a:lnTo>
                  <a:lnTo>
                    <a:pt x="1491" y="29"/>
                  </a:lnTo>
                  <a:lnTo>
                    <a:pt x="1489" y="29"/>
                  </a:lnTo>
                  <a:lnTo>
                    <a:pt x="1489" y="30"/>
                  </a:lnTo>
                  <a:lnTo>
                    <a:pt x="1491" y="30"/>
                  </a:lnTo>
                  <a:lnTo>
                    <a:pt x="1491" y="33"/>
                  </a:lnTo>
                  <a:lnTo>
                    <a:pt x="1489" y="40"/>
                  </a:lnTo>
                  <a:lnTo>
                    <a:pt x="1488" y="42"/>
                  </a:lnTo>
                  <a:lnTo>
                    <a:pt x="1489" y="42"/>
                  </a:lnTo>
                  <a:lnTo>
                    <a:pt x="1489" y="40"/>
                  </a:lnTo>
                  <a:lnTo>
                    <a:pt x="1494" y="40"/>
                  </a:lnTo>
                  <a:lnTo>
                    <a:pt x="1498" y="36"/>
                  </a:lnTo>
                  <a:lnTo>
                    <a:pt x="1498" y="30"/>
                  </a:lnTo>
                  <a:lnTo>
                    <a:pt x="1500" y="30"/>
                  </a:lnTo>
                  <a:lnTo>
                    <a:pt x="1500" y="26"/>
                  </a:lnTo>
                  <a:lnTo>
                    <a:pt x="1498" y="24"/>
                  </a:lnTo>
                  <a:lnTo>
                    <a:pt x="1498" y="21"/>
                  </a:lnTo>
                  <a:lnTo>
                    <a:pt x="1503" y="20"/>
                  </a:lnTo>
                  <a:lnTo>
                    <a:pt x="1506" y="20"/>
                  </a:lnTo>
                  <a:lnTo>
                    <a:pt x="1507" y="18"/>
                  </a:lnTo>
                  <a:lnTo>
                    <a:pt x="1512" y="18"/>
                  </a:lnTo>
                  <a:lnTo>
                    <a:pt x="1510" y="20"/>
                  </a:lnTo>
                  <a:lnTo>
                    <a:pt x="1513" y="20"/>
                  </a:lnTo>
                  <a:lnTo>
                    <a:pt x="1513" y="18"/>
                  </a:lnTo>
                  <a:lnTo>
                    <a:pt x="1515" y="18"/>
                  </a:lnTo>
                  <a:lnTo>
                    <a:pt x="1522" y="17"/>
                  </a:lnTo>
                  <a:lnTo>
                    <a:pt x="1527" y="15"/>
                  </a:lnTo>
                  <a:lnTo>
                    <a:pt x="1528" y="15"/>
                  </a:lnTo>
                  <a:lnTo>
                    <a:pt x="1528" y="14"/>
                  </a:lnTo>
                  <a:lnTo>
                    <a:pt x="1531" y="11"/>
                  </a:lnTo>
                  <a:lnTo>
                    <a:pt x="1533" y="11"/>
                  </a:lnTo>
                  <a:lnTo>
                    <a:pt x="1533" y="9"/>
                  </a:lnTo>
                  <a:lnTo>
                    <a:pt x="1536" y="9"/>
                  </a:lnTo>
                  <a:lnTo>
                    <a:pt x="1536" y="8"/>
                  </a:lnTo>
                  <a:lnTo>
                    <a:pt x="1537" y="8"/>
                  </a:lnTo>
                  <a:lnTo>
                    <a:pt x="1537" y="6"/>
                  </a:lnTo>
                  <a:lnTo>
                    <a:pt x="1540" y="5"/>
                  </a:lnTo>
                  <a:lnTo>
                    <a:pt x="1540" y="3"/>
                  </a:lnTo>
                  <a:lnTo>
                    <a:pt x="1542" y="3"/>
                  </a:lnTo>
                  <a:lnTo>
                    <a:pt x="1545" y="2"/>
                  </a:lnTo>
                  <a:lnTo>
                    <a:pt x="1548" y="2"/>
                  </a:lnTo>
                  <a:lnTo>
                    <a:pt x="1551"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31">
              <a:extLst>
                <a:ext uri="{FF2B5EF4-FFF2-40B4-BE49-F238E27FC236}">
                  <a16:creationId xmlns:a16="http://schemas.microsoft.com/office/drawing/2014/main" id="{B825D3A9-2C82-EFFC-0FFA-AF6E6F8253D7}"/>
                </a:ext>
              </a:extLst>
            </p:cNvPr>
            <p:cNvSpPr>
              <a:spLocks noEditPoints="1"/>
            </p:cNvSpPr>
            <p:nvPr/>
          </p:nvSpPr>
          <p:spPr bwMode="auto">
            <a:xfrm>
              <a:off x="2583092" y="5116813"/>
              <a:ext cx="1816693" cy="395664"/>
            </a:xfrm>
            <a:custGeom>
              <a:avLst/>
              <a:gdLst/>
              <a:ahLst/>
              <a:cxnLst>
                <a:cxn ang="0">
                  <a:pos x="1434" y="150"/>
                </a:cxn>
                <a:cxn ang="0">
                  <a:pos x="365" y="135"/>
                </a:cxn>
                <a:cxn ang="0">
                  <a:pos x="1405" y="129"/>
                </a:cxn>
                <a:cxn ang="0">
                  <a:pos x="1166" y="136"/>
                </a:cxn>
                <a:cxn ang="0">
                  <a:pos x="84" y="132"/>
                </a:cxn>
                <a:cxn ang="0">
                  <a:pos x="1177" y="127"/>
                </a:cxn>
                <a:cxn ang="0">
                  <a:pos x="1565" y="127"/>
                </a:cxn>
                <a:cxn ang="0">
                  <a:pos x="1592" y="130"/>
                </a:cxn>
                <a:cxn ang="0">
                  <a:pos x="1549" y="129"/>
                </a:cxn>
                <a:cxn ang="0">
                  <a:pos x="82" y="124"/>
                </a:cxn>
                <a:cxn ang="0">
                  <a:pos x="365" y="115"/>
                </a:cxn>
                <a:cxn ang="0">
                  <a:pos x="363" y="123"/>
                </a:cxn>
                <a:cxn ang="0">
                  <a:pos x="371" y="114"/>
                </a:cxn>
                <a:cxn ang="0">
                  <a:pos x="1414" y="100"/>
                </a:cxn>
                <a:cxn ang="0">
                  <a:pos x="306" y="93"/>
                </a:cxn>
                <a:cxn ang="0">
                  <a:pos x="351" y="85"/>
                </a:cxn>
                <a:cxn ang="0">
                  <a:pos x="330" y="76"/>
                </a:cxn>
                <a:cxn ang="0">
                  <a:pos x="309" y="78"/>
                </a:cxn>
                <a:cxn ang="0">
                  <a:pos x="502" y="72"/>
                </a:cxn>
                <a:cxn ang="0">
                  <a:pos x="311" y="67"/>
                </a:cxn>
                <a:cxn ang="0">
                  <a:pos x="294" y="79"/>
                </a:cxn>
                <a:cxn ang="0">
                  <a:pos x="344" y="66"/>
                </a:cxn>
                <a:cxn ang="0">
                  <a:pos x="368" y="76"/>
                </a:cxn>
                <a:cxn ang="0">
                  <a:pos x="1316" y="46"/>
                </a:cxn>
                <a:cxn ang="0">
                  <a:pos x="57" y="91"/>
                </a:cxn>
                <a:cxn ang="0">
                  <a:pos x="253" y="43"/>
                </a:cxn>
                <a:cxn ang="0">
                  <a:pos x="248" y="43"/>
                </a:cxn>
                <a:cxn ang="0">
                  <a:pos x="1293" y="76"/>
                </a:cxn>
                <a:cxn ang="0">
                  <a:pos x="1241" y="105"/>
                </a:cxn>
                <a:cxn ang="0">
                  <a:pos x="1126" y="97"/>
                </a:cxn>
                <a:cxn ang="0">
                  <a:pos x="1084" y="157"/>
                </a:cxn>
                <a:cxn ang="0">
                  <a:pos x="1133" y="166"/>
                </a:cxn>
                <a:cxn ang="0">
                  <a:pos x="1213" y="145"/>
                </a:cxn>
                <a:cxn ang="0">
                  <a:pos x="1199" y="166"/>
                </a:cxn>
                <a:cxn ang="0">
                  <a:pos x="1138" y="199"/>
                </a:cxn>
                <a:cxn ang="0">
                  <a:pos x="1172" y="245"/>
                </a:cxn>
                <a:cxn ang="0">
                  <a:pos x="1180" y="286"/>
                </a:cxn>
                <a:cxn ang="0">
                  <a:pos x="1198" y="322"/>
                </a:cxn>
                <a:cxn ang="0">
                  <a:pos x="1141" y="326"/>
                </a:cxn>
                <a:cxn ang="0">
                  <a:pos x="1121" y="256"/>
                </a:cxn>
                <a:cxn ang="0">
                  <a:pos x="1085" y="260"/>
                </a:cxn>
                <a:cxn ang="0">
                  <a:pos x="1091" y="338"/>
                </a:cxn>
                <a:cxn ang="0">
                  <a:pos x="1057" y="377"/>
                </a:cxn>
                <a:cxn ang="0">
                  <a:pos x="1054" y="326"/>
                </a:cxn>
                <a:cxn ang="0">
                  <a:pos x="1033" y="277"/>
                </a:cxn>
                <a:cxn ang="0">
                  <a:pos x="1029" y="232"/>
                </a:cxn>
                <a:cxn ang="0">
                  <a:pos x="1048" y="168"/>
                </a:cxn>
                <a:cxn ang="0">
                  <a:pos x="1066" y="121"/>
                </a:cxn>
                <a:cxn ang="0">
                  <a:pos x="1093" y="81"/>
                </a:cxn>
                <a:cxn ang="0">
                  <a:pos x="1148" y="69"/>
                </a:cxn>
                <a:cxn ang="0">
                  <a:pos x="1235" y="76"/>
                </a:cxn>
                <a:cxn ang="0">
                  <a:pos x="1284" y="52"/>
                </a:cxn>
                <a:cxn ang="0">
                  <a:pos x="24" y="25"/>
                </a:cxn>
                <a:cxn ang="0">
                  <a:pos x="230" y="21"/>
                </a:cxn>
                <a:cxn ang="0">
                  <a:pos x="1441" y="54"/>
                </a:cxn>
                <a:cxn ang="0">
                  <a:pos x="1444" y="60"/>
                </a:cxn>
                <a:cxn ang="0">
                  <a:pos x="1453" y="76"/>
                </a:cxn>
                <a:cxn ang="0">
                  <a:pos x="1464" y="102"/>
                </a:cxn>
                <a:cxn ang="0">
                  <a:pos x="1450" y="153"/>
                </a:cxn>
                <a:cxn ang="0">
                  <a:pos x="1417" y="76"/>
                </a:cxn>
                <a:cxn ang="0">
                  <a:pos x="28" y="16"/>
                </a:cxn>
                <a:cxn ang="0">
                  <a:pos x="1449" y="12"/>
                </a:cxn>
              </a:cxnLst>
              <a:rect l="0" t="0" r="r" b="b"/>
              <a:pathLst>
                <a:path w="1731" h="377">
                  <a:moveTo>
                    <a:pt x="1559" y="133"/>
                  </a:moveTo>
                  <a:lnTo>
                    <a:pt x="1559" y="135"/>
                  </a:lnTo>
                  <a:lnTo>
                    <a:pt x="1558" y="136"/>
                  </a:lnTo>
                  <a:lnTo>
                    <a:pt x="1558" y="135"/>
                  </a:lnTo>
                  <a:lnTo>
                    <a:pt x="1559" y="133"/>
                  </a:lnTo>
                  <a:close/>
                  <a:moveTo>
                    <a:pt x="1411" y="132"/>
                  </a:moveTo>
                  <a:lnTo>
                    <a:pt x="1413" y="132"/>
                  </a:lnTo>
                  <a:lnTo>
                    <a:pt x="1413" y="133"/>
                  </a:lnTo>
                  <a:lnTo>
                    <a:pt x="1414" y="133"/>
                  </a:lnTo>
                  <a:lnTo>
                    <a:pt x="1414" y="136"/>
                  </a:lnTo>
                  <a:lnTo>
                    <a:pt x="1416" y="136"/>
                  </a:lnTo>
                  <a:lnTo>
                    <a:pt x="1416" y="133"/>
                  </a:lnTo>
                  <a:lnTo>
                    <a:pt x="1417" y="133"/>
                  </a:lnTo>
                  <a:lnTo>
                    <a:pt x="1417" y="132"/>
                  </a:lnTo>
                  <a:lnTo>
                    <a:pt x="1422" y="132"/>
                  </a:lnTo>
                  <a:lnTo>
                    <a:pt x="1422" y="133"/>
                  </a:lnTo>
                  <a:lnTo>
                    <a:pt x="1423" y="133"/>
                  </a:lnTo>
                  <a:lnTo>
                    <a:pt x="1423" y="136"/>
                  </a:lnTo>
                  <a:lnTo>
                    <a:pt x="1425" y="136"/>
                  </a:lnTo>
                  <a:lnTo>
                    <a:pt x="1425" y="138"/>
                  </a:lnTo>
                  <a:lnTo>
                    <a:pt x="1426" y="138"/>
                  </a:lnTo>
                  <a:lnTo>
                    <a:pt x="1426" y="141"/>
                  </a:lnTo>
                  <a:lnTo>
                    <a:pt x="1423" y="144"/>
                  </a:lnTo>
                  <a:lnTo>
                    <a:pt x="1422" y="144"/>
                  </a:lnTo>
                  <a:lnTo>
                    <a:pt x="1422" y="145"/>
                  </a:lnTo>
                  <a:lnTo>
                    <a:pt x="1423" y="147"/>
                  </a:lnTo>
                  <a:lnTo>
                    <a:pt x="1425" y="147"/>
                  </a:lnTo>
                  <a:lnTo>
                    <a:pt x="1425" y="150"/>
                  </a:lnTo>
                  <a:lnTo>
                    <a:pt x="1428" y="150"/>
                  </a:lnTo>
                  <a:lnTo>
                    <a:pt x="1428" y="148"/>
                  </a:lnTo>
                  <a:lnTo>
                    <a:pt x="1431" y="148"/>
                  </a:lnTo>
                  <a:lnTo>
                    <a:pt x="1434" y="150"/>
                  </a:lnTo>
                  <a:lnTo>
                    <a:pt x="1435" y="151"/>
                  </a:lnTo>
                  <a:lnTo>
                    <a:pt x="1435" y="154"/>
                  </a:lnTo>
                  <a:lnTo>
                    <a:pt x="1432" y="156"/>
                  </a:lnTo>
                  <a:lnTo>
                    <a:pt x="1432" y="157"/>
                  </a:lnTo>
                  <a:lnTo>
                    <a:pt x="1428" y="157"/>
                  </a:lnTo>
                  <a:lnTo>
                    <a:pt x="1426" y="156"/>
                  </a:lnTo>
                  <a:lnTo>
                    <a:pt x="1425" y="156"/>
                  </a:lnTo>
                  <a:lnTo>
                    <a:pt x="1425" y="153"/>
                  </a:lnTo>
                  <a:lnTo>
                    <a:pt x="1423" y="151"/>
                  </a:lnTo>
                  <a:lnTo>
                    <a:pt x="1422" y="153"/>
                  </a:lnTo>
                  <a:lnTo>
                    <a:pt x="1419" y="154"/>
                  </a:lnTo>
                  <a:lnTo>
                    <a:pt x="1416" y="154"/>
                  </a:lnTo>
                  <a:lnTo>
                    <a:pt x="1416" y="153"/>
                  </a:lnTo>
                  <a:lnTo>
                    <a:pt x="1414" y="153"/>
                  </a:lnTo>
                  <a:lnTo>
                    <a:pt x="1414" y="150"/>
                  </a:lnTo>
                  <a:lnTo>
                    <a:pt x="1416" y="147"/>
                  </a:lnTo>
                  <a:lnTo>
                    <a:pt x="1414" y="145"/>
                  </a:lnTo>
                  <a:lnTo>
                    <a:pt x="1413" y="145"/>
                  </a:lnTo>
                  <a:lnTo>
                    <a:pt x="1413" y="144"/>
                  </a:lnTo>
                  <a:lnTo>
                    <a:pt x="1411" y="144"/>
                  </a:lnTo>
                  <a:lnTo>
                    <a:pt x="1411" y="142"/>
                  </a:lnTo>
                  <a:lnTo>
                    <a:pt x="1410" y="142"/>
                  </a:lnTo>
                  <a:lnTo>
                    <a:pt x="1408" y="141"/>
                  </a:lnTo>
                  <a:lnTo>
                    <a:pt x="1408" y="136"/>
                  </a:lnTo>
                  <a:lnTo>
                    <a:pt x="1410" y="136"/>
                  </a:lnTo>
                  <a:lnTo>
                    <a:pt x="1410" y="133"/>
                  </a:lnTo>
                  <a:lnTo>
                    <a:pt x="1411" y="132"/>
                  </a:lnTo>
                  <a:close/>
                  <a:moveTo>
                    <a:pt x="360" y="132"/>
                  </a:moveTo>
                  <a:lnTo>
                    <a:pt x="362" y="133"/>
                  </a:lnTo>
                  <a:lnTo>
                    <a:pt x="363" y="133"/>
                  </a:lnTo>
                  <a:lnTo>
                    <a:pt x="363" y="135"/>
                  </a:lnTo>
                  <a:lnTo>
                    <a:pt x="365" y="135"/>
                  </a:lnTo>
                  <a:lnTo>
                    <a:pt x="366" y="138"/>
                  </a:lnTo>
                  <a:lnTo>
                    <a:pt x="366" y="139"/>
                  </a:lnTo>
                  <a:lnTo>
                    <a:pt x="363" y="141"/>
                  </a:lnTo>
                  <a:lnTo>
                    <a:pt x="363" y="145"/>
                  </a:lnTo>
                  <a:lnTo>
                    <a:pt x="362" y="145"/>
                  </a:lnTo>
                  <a:lnTo>
                    <a:pt x="360" y="144"/>
                  </a:lnTo>
                  <a:lnTo>
                    <a:pt x="359" y="144"/>
                  </a:lnTo>
                  <a:lnTo>
                    <a:pt x="357" y="145"/>
                  </a:lnTo>
                  <a:lnTo>
                    <a:pt x="357" y="147"/>
                  </a:lnTo>
                  <a:lnTo>
                    <a:pt x="356" y="147"/>
                  </a:lnTo>
                  <a:lnTo>
                    <a:pt x="356" y="144"/>
                  </a:lnTo>
                  <a:lnTo>
                    <a:pt x="354" y="142"/>
                  </a:lnTo>
                  <a:lnTo>
                    <a:pt x="354" y="141"/>
                  </a:lnTo>
                  <a:lnTo>
                    <a:pt x="351" y="139"/>
                  </a:lnTo>
                  <a:lnTo>
                    <a:pt x="351" y="138"/>
                  </a:lnTo>
                  <a:lnTo>
                    <a:pt x="353" y="136"/>
                  </a:lnTo>
                  <a:lnTo>
                    <a:pt x="353" y="135"/>
                  </a:lnTo>
                  <a:lnTo>
                    <a:pt x="354" y="135"/>
                  </a:lnTo>
                  <a:lnTo>
                    <a:pt x="354" y="133"/>
                  </a:lnTo>
                  <a:lnTo>
                    <a:pt x="356" y="133"/>
                  </a:lnTo>
                  <a:lnTo>
                    <a:pt x="354" y="136"/>
                  </a:lnTo>
                  <a:lnTo>
                    <a:pt x="356" y="136"/>
                  </a:lnTo>
                  <a:lnTo>
                    <a:pt x="356" y="135"/>
                  </a:lnTo>
                  <a:lnTo>
                    <a:pt x="359" y="135"/>
                  </a:lnTo>
                  <a:lnTo>
                    <a:pt x="360" y="132"/>
                  </a:lnTo>
                  <a:close/>
                  <a:moveTo>
                    <a:pt x="357" y="130"/>
                  </a:moveTo>
                  <a:lnTo>
                    <a:pt x="362" y="130"/>
                  </a:lnTo>
                  <a:lnTo>
                    <a:pt x="362" y="132"/>
                  </a:lnTo>
                  <a:lnTo>
                    <a:pt x="359" y="132"/>
                  </a:lnTo>
                  <a:lnTo>
                    <a:pt x="357" y="130"/>
                  </a:lnTo>
                  <a:close/>
                  <a:moveTo>
                    <a:pt x="1402" y="129"/>
                  </a:moveTo>
                  <a:lnTo>
                    <a:pt x="1405" y="129"/>
                  </a:lnTo>
                  <a:lnTo>
                    <a:pt x="1407" y="130"/>
                  </a:lnTo>
                  <a:lnTo>
                    <a:pt x="1408" y="130"/>
                  </a:lnTo>
                  <a:lnTo>
                    <a:pt x="1408" y="132"/>
                  </a:lnTo>
                  <a:lnTo>
                    <a:pt x="1407" y="132"/>
                  </a:lnTo>
                  <a:lnTo>
                    <a:pt x="1407" y="139"/>
                  </a:lnTo>
                  <a:lnTo>
                    <a:pt x="1405" y="139"/>
                  </a:lnTo>
                  <a:lnTo>
                    <a:pt x="1404" y="141"/>
                  </a:lnTo>
                  <a:lnTo>
                    <a:pt x="1399" y="141"/>
                  </a:lnTo>
                  <a:lnTo>
                    <a:pt x="1399" y="139"/>
                  </a:lnTo>
                  <a:lnTo>
                    <a:pt x="1401" y="139"/>
                  </a:lnTo>
                  <a:lnTo>
                    <a:pt x="1401" y="138"/>
                  </a:lnTo>
                  <a:lnTo>
                    <a:pt x="1399" y="138"/>
                  </a:lnTo>
                  <a:lnTo>
                    <a:pt x="1399" y="133"/>
                  </a:lnTo>
                  <a:lnTo>
                    <a:pt x="1401" y="133"/>
                  </a:lnTo>
                  <a:lnTo>
                    <a:pt x="1399" y="132"/>
                  </a:lnTo>
                  <a:lnTo>
                    <a:pt x="1399" y="130"/>
                  </a:lnTo>
                  <a:lnTo>
                    <a:pt x="1401" y="130"/>
                  </a:lnTo>
                  <a:lnTo>
                    <a:pt x="1402" y="129"/>
                  </a:lnTo>
                  <a:close/>
                  <a:moveTo>
                    <a:pt x="1175" y="129"/>
                  </a:moveTo>
                  <a:lnTo>
                    <a:pt x="1177" y="129"/>
                  </a:lnTo>
                  <a:lnTo>
                    <a:pt x="1177" y="130"/>
                  </a:lnTo>
                  <a:lnTo>
                    <a:pt x="1175" y="130"/>
                  </a:lnTo>
                  <a:lnTo>
                    <a:pt x="1175" y="129"/>
                  </a:lnTo>
                  <a:close/>
                  <a:moveTo>
                    <a:pt x="1169" y="129"/>
                  </a:moveTo>
                  <a:lnTo>
                    <a:pt x="1171" y="132"/>
                  </a:lnTo>
                  <a:lnTo>
                    <a:pt x="1171" y="133"/>
                  </a:lnTo>
                  <a:lnTo>
                    <a:pt x="1172" y="133"/>
                  </a:lnTo>
                  <a:lnTo>
                    <a:pt x="1172" y="135"/>
                  </a:lnTo>
                  <a:lnTo>
                    <a:pt x="1169" y="135"/>
                  </a:lnTo>
                  <a:lnTo>
                    <a:pt x="1168" y="133"/>
                  </a:lnTo>
                  <a:lnTo>
                    <a:pt x="1168" y="135"/>
                  </a:lnTo>
                  <a:lnTo>
                    <a:pt x="1166" y="136"/>
                  </a:lnTo>
                  <a:lnTo>
                    <a:pt x="1165" y="135"/>
                  </a:lnTo>
                  <a:lnTo>
                    <a:pt x="1163" y="136"/>
                  </a:lnTo>
                  <a:lnTo>
                    <a:pt x="1160" y="136"/>
                  </a:lnTo>
                  <a:lnTo>
                    <a:pt x="1160" y="135"/>
                  </a:lnTo>
                  <a:lnTo>
                    <a:pt x="1159" y="135"/>
                  </a:lnTo>
                  <a:lnTo>
                    <a:pt x="1159" y="132"/>
                  </a:lnTo>
                  <a:lnTo>
                    <a:pt x="1160" y="132"/>
                  </a:lnTo>
                  <a:lnTo>
                    <a:pt x="1162" y="133"/>
                  </a:lnTo>
                  <a:lnTo>
                    <a:pt x="1162" y="132"/>
                  </a:lnTo>
                  <a:lnTo>
                    <a:pt x="1168" y="132"/>
                  </a:lnTo>
                  <a:lnTo>
                    <a:pt x="1168" y="130"/>
                  </a:lnTo>
                  <a:lnTo>
                    <a:pt x="1169" y="129"/>
                  </a:lnTo>
                  <a:close/>
                  <a:moveTo>
                    <a:pt x="84" y="129"/>
                  </a:moveTo>
                  <a:lnTo>
                    <a:pt x="85" y="129"/>
                  </a:lnTo>
                  <a:lnTo>
                    <a:pt x="87" y="132"/>
                  </a:lnTo>
                  <a:lnTo>
                    <a:pt x="88" y="133"/>
                  </a:lnTo>
                  <a:lnTo>
                    <a:pt x="87" y="135"/>
                  </a:lnTo>
                  <a:lnTo>
                    <a:pt x="88" y="136"/>
                  </a:lnTo>
                  <a:lnTo>
                    <a:pt x="88" y="138"/>
                  </a:lnTo>
                  <a:lnTo>
                    <a:pt x="87" y="138"/>
                  </a:lnTo>
                  <a:lnTo>
                    <a:pt x="87" y="142"/>
                  </a:lnTo>
                  <a:lnTo>
                    <a:pt x="85" y="142"/>
                  </a:lnTo>
                  <a:lnTo>
                    <a:pt x="85" y="141"/>
                  </a:lnTo>
                  <a:lnTo>
                    <a:pt x="84" y="141"/>
                  </a:lnTo>
                  <a:lnTo>
                    <a:pt x="84" y="144"/>
                  </a:lnTo>
                  <a:lnTo>
                    <a:pt x="82" y="144"/>
                  </a:lnTo>
                  <a:lnTo>
                    <a:pt x="76" y="141"/>
                  </a:lnTo>
                  <a:lnTo>
                    <a:pt x="79" y="141"/>
                  </a:lnTo>
                  <a:lnTo>
                    <a:pt x="81" y="138"/>
                  </a:lnTo>
                  <a:lnTo>
                    <a:pt x="81" y="133"/>
                  </a:lnTo>
                  <a:lnTo>
                    <a:pt x="82" y="132"/>
                  </a:lnTo>
                  <a:lnTo>
                    <a:pt x="84" y="132"/>
                  </a:lnTo>
                  <a:lnTo>
                    <a:pt x="84" y="129"/>
                  </a:lnTo>
                  <a:close/>
                  <a:moveTo>
                    <a:pt x="1178" y="127"/>
                  </a:moveTo>
                  <a:lnTo>
                    <a:pt x="1180" y="127"/>
                  </a:lnTo>
                  <a:lnTo>
                    <a:pt x="1181" y="129"/>
                  </a:lnTo>
                  <a:lnTo>
                    <a:pt x="1183" y="129"/>
                  </a:lnTo>
                  <a:lnTo>
                    <a:pt x="1183" y="133"/>
                  </a:lnTo>
                  <a:lnTo>
                    <a:pt x="1181" y="132"/>
                  </a:lnTo>
                  <a:lnTo>
                    <a:pt x="1180" y="129"/>
                  </a:lnTo>
                  <a:lnTo>
                    <a:pt x="1178" y="127"/>
                  </a:lnTo>
                  <a:close/>
                  <a:moveTo>
                    <a:pt x="318" y="127"/>
                  </a:moveTo>
                  <a:lnTo>
                    <a:pt x="323" y="127"/>
                  </a:lnTo>
                  <a:lnTo>
                    <a:pt x="323" y="129"/>
                  </a:lnTo>
                  <a:lnTo>
                    <a:pt x="326" y="129"/>
                  </a:lnTo>
                  <a:lnTo>
                    <a:pt x="327" y="130"/>
                  </a:lnTo>
                  <a:lnTo>
                    <a:pt x="329" y="130"/>
                  </a:lnTo>
                  <a:lnTo>
                    <a:pt x="329" y="133"/>
                  </a:lnTo>
                  <a:lnTo>
                    <a:pt x="324" y="133"/>
                  </a:lnTo>
                  <a:lnTo>
                    <a:pt x="323" y="135"/>
                  </a:lnTo>
                  <a:lnTo>
                    <a:pt x="318" y="135"/>
                  </a:lnTo>
                  <a:lnTo>
                    <a:pt x="315" y="133"/>
                  </a:lnTo>
                  <a:lnTo>
                    <a:pt x="314" y="132"/>
                  </a:lnTo>
                  <a:lnTo>
                    <a:pt x="318" y="127"/>
                  </a:lnTo>
                  <a:close/>
                  <a:moveTo>
                    <a:pt x="1543" y="126"/>
                  </a:moveTo>
                  <a:lnTo>
                    <a:pt x="1545" y="126"/>
                  </a:lnTo>
                  <a:lnTo>
                    <a:pt x="1545" y="127"/>
                  </a:lnTo>
                  <a:lnTo>
                    <a:pt x="1543" y="127"/>
                  </a:lnTo>
                  <a:lnTo>
                    <a:pt x="1543" y="126"/>
                  </a:lnTo>
                  <a:close/>
                  <a:moveTo>
                    <a:pt x="1175" y="126"/>
                  </a:moveTo>
                  <a:lnTo>
                    <a:pt x="1178" y="126"/>
                  </a:lnTo>
                  <a:lnTo>
                    <a:pt x="1178" y="129"/>
                  </a:lnTo>
                  <a:lnTo>
                    <a:pt x="1177" y="129"/>
                  </a:lnTo>
                  <a:lnTo>
                    <a:pt x="1177" y="127"/>
                  </a:lnTo>
                  <a:lnTo>
                    <a:pt x="1175" y="127"/>
                  </a:lnTo>
                  <a:lnTo>
                    <a:pt x="1175" y="126"/>
                  </a:lnTo>
                  <a:close/>
                  <a:moveTo>
                    <a:pt x="1174" y="126"/>
                  </a:moveTo>
                  <a:lnTo>
                    <a:pt x="1174" y="127"/>
                  </a:lnTo>
                  <a:lnTo>
                    <a:pt x="1175" y="127"/>
                  </a:lnTo>
                  <a:lnTo>
                    <a:pt x="1175" y="129"/>
                  </a:lnTo>
                  <a:lnTo>
                    <a:pt x="1172" y="129"/>
                  </a:lnTo>
                  <a:lnTo>
                    <a:pt x="1172" y="127"/>
                  </a:lnTo>
                  <a:lnTo>
                    <a:pt x="1174" y="126"/>
                  </a:lnTo>
                  <a:close/>
                  <a:moveTo>
                    <a:pt x="1550" y="123"/>
                  </a:moveTo>
                  <a:lnTo>
                    <a:pt x="1550" y="124"/>
                  </a:lnTo>
                  <a:lnTo>
                    <a:pt x="1549" y="124"/>
                  </a:lnTo>
                  <a:lnTo>
                    <a:pt x="1549" y="127"/>
                  </a:lnTo>
                  <a:lnTo>
                    <a:pt x="1552" y="127"/>
                  </a:lnTo>
                  <a:lnTo>
                    <a:pt x="1552" y="126"/>
                  </a:lnTo>
                  <a:lnTo>
                    <a:pt x="1550" y="126"/>
                  </a:lnTo>
                  <a:lnTo>
                    <a:pt x="1550" y="124"/>
                  </a:lnTo>
                  <a:lnTo>
                    <a:pt x="1552" y="124"/>
                  </a:lnTo>
                  <a:lnTo>
                    <a:pt x="1550" y="123"/>
                  </a:lnTo>
                  <a:close/>
                  <a:moveTo>
                    <a:pt x="1147" y="123"/>
                  </a:moveTo>
                  <a:lnTo>
                    <a:pt x="1148" y="123"/>
                  </a:lnTo>
                  <a:lnTo>
                    <a:pt x="1150" y="124"/>
                  </a:lnTo>
                  <a:lnTo>
                    <a:pt x="1148" y="126"/>
                  </a:lnTo>
                  <a:lnTo>
                    <a:pt x="1145" y="126"/>
                  </a:lnTo>
                  <a:lnTo>
                    <a:pt x="1145" y="124"/>
                  </a:lnTo>
                  <a:lnTo>
                    <a:pt x="1147" y="123"/>
                  </a:lnTo>
                  <a:close/>
                  <a:moveTo>
                    <a:pt x="1562" y="121"/>
                  </a:moveTo>
                  <a:lnTo>
                    <a:pt x="1562" y="123"/>
                  </a:lnTo>
                  <a:lnTo>
                    <a:pt x="1561" y="123"/>
                  </a:lnTo>
                  <a:lnTo>
                    <a:pt x="1561" y="124"/>
                  </a:lnTo>
                  <a:lnTo>
                    <a:pt x="1564" y="124"/>
                  </a:lnTo>
                  <a:lnTo>
                    <a:pt x="1565" y="127"/>
                  </a:lnTo>
                  <a:lnTo>
                    <a:pt x="1567" y="129"/>
                  </a:lnTo>
                  <a:lnTo>
                    <a:pt x="1567" y="130"/>
                  </a:lnTo>
                  <a:lnTo>
                    <a:pt x="1568" y="132"/>
                  </a:lnTo>
                  <a:lnTo>
                    <a:pt x="1570" y="132"/>
                  </a:lnTo>
                  <a:lnTo>
                    <a:pt x="1570" y="130"/>
                  </a:lnTo>
                  <a:lnTo>
                    <a:pt x="1573" y="130"/>
                  </a:lnTo>
                  <a:lnTo>
                    <a:pt x="1573" y="132"/>
                  </a:lnTo>
                  <a:lnTo>
                    <a:pt x="1574" y="132"/>
                  </a:lnTo>
                  <a:lnTo>
                    <a:pt x="1574" y="130"/>
                  </a:lnTo>
                  <a:lnTo>
                    <a:pt x="1573" y="129"/>
                  </a:lnTo>
                  <a:lnTo>
                    <a:pt x="1568" y="129"/>
                  </a:lnTo>
                  <a:lnTo>
                    <a:pt x="1568" y="126"/>
                  </a:lnTo>
                  <a:lnTo>
                    <a:pt x="1565" y="123"/>
                  </a:lnTo>
                  <a:lnTo>
                    <a:pt x="1565" y="121"/>
                  </a:lnTo>
                  <a:lnTo>
                    <a:pt x="1562" y="121"/>
                  </a:lnTo>
                  <a:close/>
                  <a:moveTo>
                    <a:pt x="1568" y="117"/>
                  </a:moveTo>
                  <a:lnTo>
                    <a:pt x="1570" y="117"/>
                  </a:lnTo>
                  <a:lnTo>
                    <a:pt x="1576" y="120"/>
                  </a:lnTo>
                  <a:lnTo>
                    <a:pt x="1577" y="120"/>
                  </a:lnTo>
                  <a:lnTo>
                    <a:pt x="1579" y="118"/>
                  </a:lnTo>
                  <a:lnTo>
                    <a:pt x="1580" y="118"/>
                  </a:lnTo>
                  <a:lnTo>
                    <a:pt x="1580" y="120"/>
                  </a:lnTo>
                  <a:lnTo>
                    <a:pt x="1583" y="120"/>
                  </a:lnTo>
                  <a:lnTo>
                    <a:pt x="1583" y="121"/>
                  </a:lnTo>
                  <a:lnTo>
                    <a:pt x="1586" y="121"/>
                  </a:lnTo>
                  <a:lnTo>
                    <a:pt x="1586" y="123"/>
                  </a:lnTo>
                  <a:lnTo>
                    <a:pt x="1589" y="123"/>
                  </a:lnTo>
                  <a:lnTo>
                    <a:pt x="1589" y="124"/>
                  </a:lnTo>
                  <a:lnTo>
                    <a:pt x="1592" y="124"/>
                  </a:lnTo>
                  <a:lnTo>
                    <a:pt x="1592" y="129"/>
                  </a:lnTo>
                  <a:lnTo>
                    <a:pt x="1594" y="130"/>
                  </a:lnTo>
                  <a:lnTo>
                    <a:pt x="1592" y="130"/>
                  </a:lnTo>
                  <a:lnTo>
                    <a:pt x="1592" y="132"/>
                  </a:lnTo>
                  <a:lnTo>
                    <a:pt x="1589" y="135"/>
                  </a:lnTo>
                  <a:lnTo>
                    <a:pt x="1588" y="135"/>
                  </a:lnTo>
                  <a:lnTo>
                    <a:pt x="1585" y="132"/>
                  </a:lnTo>
                  <a:lnTo>
                    <a:pt x="1582" y="132"/>
                  </a:lnTo>
                  <a:lnTo>
                    <a:pt x="1579" y="133"/>
                  </a:lnTo>
                  <a:lnTo>
                    <a:pt x="1576" y="133"/>
                  </a:lnTo>
                  <a:lnTo>
                    <a:pt x="1576" y="135"/>
                  </a:lnTo>
                  <a:lnTo>
                    <a:pt x="1574" y="135"/>
                  </a:lnTo>
                  <a:lnTo>
                    <a:pt x="1574" y="136"/>
                  </a:lnTo>
                  <a:lnTo>
                    <a:pt x="1571" y="136"/>
                  </a:lnTo>
                  <a:lnTo>
                    <a:pt x="1568" y="138"/>
                  </a:lnTo>
                  <a:lnTo>
                    <a:pt x="1565" y="138"/>
                  </a:lnTo>
                  <a:lnTo>
                    <a:pt x="1565" y="136"/>
                  </a:lnTo>
                  <a:lnTo>
                    <a:pt x="1564" y="133"/>
                  </a:lnTo>
                  <a:lnTo>
                    <a:pt x="1564" y="130"/>
                  </a:lnTo>
                  <a:lnTo>
                    <a:pt x="1561" y="132"/>
                  </a:lnTo>
                  <a:lnTo>
                    <a:pt x="1559" y="132"/>
                  </a:lnTo>
                  <a:lnTo>
                    <a:pt x="1558" y="135"/>
                  </a:lnTo>
                  <a:lnTo>
                    <a:pt x="1556" y="135"/>
                  </a:lnTo>
                  <a:lnTo>
                    <a:pt x="1556" y="133"/>
                  </a:lnTo>
                  <a:lnTo>
                    <a:pt x="1558" y="133"/>
                  </a:lnTo>
                  <a:lnTo>
                    <a:pt x="1558" y="132"/>
                  </a:lnTo>
                  <a:lnTo>
                    <a:pt x="1556" y="132"/>
                  </a:lnTo>
                  <a:lnTo>
                    <a:pt x="1556" y="129"/>
                  </a:lnTo>
                  <a:lnTo>
                    <a:pt x="1555" y="129"/>
                  </a:lnTo>
                  <a:lnTo>
                    <a:pt x="1553" y="130"/>
                  </a:lnTo>
                  <a:lnTo>
                    <a:pt x="1552" y="130"/>
                  </a:lnTo>
                  <a:lnTo>
                    <a:pt x="1550" y="129"/>
                  </a:lnTo>
                  <a:lnTo>
                    <a:pt x="1550" y="130"/>
                  </a:lnTo>
                  <a:lnTo>
                    <a:pt x="1549" y="130"/>
                  </a:lnTo>
                  <a:lnTo>
                    <a:pt x="1549" y="129"/>
                  </a:lnTo>
                  <a:lnTo>
                    <a:pt x="1546" y="129"/>
                  </a:lnTo>
                  <a:lnTo>
                    <a:pt x="1546" y="127"/>
                  </a:lnTo>
                  <a:lnTo>
                    <a:pt x="1548" y="126"/>
                  </a:lnTo>
                  <a:lnTo>
                    <a:pt x="1546" y="126"/>
                  </a:lnTo>
                  <a:lnTo>
                    <a:pt x="1546" y="124"/>
                  </a:lnTo>
                  <a:lnTo>
                    <a:pt x="1545" y="123"/>
                  </a:lnTo>
                  <a:lnTo>
                    <a:pt x="1545" y="121"/>
                  </a:lnTo>
                  <a:lnTo>
                    <a:pt x="1548" y="121"/>
                  </a:lnTo>
                  <a:lnTo>
                    <a:pt x="1548" y="123"/>
                  </a:lnTo>
                  <a:lnTo>
                    <a:pt x="1549" y="123"/>
                  </a:lnTo>
                  <a:lnTo>
                    <a:pt x="1549" y="121"/>
                  </a:lnTo>
                  <a:lnTo>
                    <a:pt x="1550" y="120"/>
                  </a:lnTo>
                  <a:lnTo>
                    <a:pt x="1550" y="121"/>
                  </a:lnTo>
                  <a:lnTo>
                    <a:pt x="1555" y="121"/>
                  </a:lnTo>
                  <a:lnTo>
                    <a:pt x="1555" y="120"/>
                  </a:lnTo>
                  <a:lnTo>
                    <a:pt x="1562" y="120"/>
                  </a:lnTo>
                  <a:lnTo>
                    <a:pt x="1564" y="118"/>
                  </a:lnTo>
                  <a:lnTo>
                    <a:pt x="1565" y="118"/>
                  </a:lnTo>
                  <a:lnTo>
                    <a:pt x="1565" y="120"/>
                  </a:lnTo>
                  <a:lnTo>
                    <a:pt x="1568" y="120"/>
                  </a:lnTo>
                  <a:lnTo>
                    <a:pt x="1568" y="117"/>
                  </a:lnTo>
                  <a:close/>
                  <a:moveTo>
                    <a:pt x="78" y="117"/>
                  </a:moveTo>
                  <a:lnTo>
                    <a:pt x="82" y="117"/>
                  </a:lnTo>
                  <a:lnTo>
                    <a:pt x="85" y="120"/>
                  </a:lnTo>
                  <a:lnTo>
                    <a:pt x="85" y="123"/>
                  </a:lnTo>
                  <a:lnTo>
                    <a:pt x="87" y="124"/>
                  </a:lnTo>
                  <a:lnTo>
                    <a:pt x="87" y="126"/>
                  </a:lnTo>
                  <a:lnTo>
                    <a:pt x="88" y="129"/>
                  </a:lnTo>
                  <a:lnTo>
                    <a:pt x="90" y="130"/>
                  </a:lnTo>
                  <a:lnTo>
                    <a:pt x="90" y="135"/>
                  </a:lnTo>
                  <a:lnTo>
                    <a:pt x="88" y="132"/>
                  </a:lnTo>
                  <a:lnTo>
                    <a:pt x="82" y="124"/>
                  </a:lnTo>
                  <a:lnTo>
                    <a:pt x="81" y="121"/>
                  </a:lnTo>
                  <a:lnTo>
                    <a:pt x="79" y="120"/>
                  </a:lnTo>
                  <a:lnTo>
                    <a:pt x="79" y="118"/>
                  </a:lnTo>
                  <a:lnTo>
                    <a:pt x="78" y="118"/>
                  </a:lnTo>
                  <a:lnTo>
                    <a:pt x="78" y="117"/>
                  </a:lnTo>
                  <a:close/>
                  <a:moveTo>
                    <a:pt x="1501" y="115"/>
                  </a:moveTo>
                  <a:lnTo>
                    <a:pt x="1507" y="121"/>
                  </a:lnTo>
                  <a:lnTo>
                    <a:pt x="1510" y="123"/>
                  </a:lnTo>
                  <a:lnTo>
                    <a:pt x="1512" y="123"/>
                  </a:lnTo>
                  <a:lnTo>
                    <a:pt x="1512" y="124"/>
                  </a:lnTo>
                  <a:lnTo>
                    <a:pt x="1513" y="126"/>
                  </a:lnTo>
                  <a:lnTo>
                    <a:pt x="1512" y="127"/>
                  </a:lnTo>
                  <a:lnTo>
                    <a:pt x="1510" y="127"/>
                  </a:lnTo>
                  <a:lnTo>
                    <a:pt x="1510" y="126"/>
                  </a:lnTo>
                  <a:lnTo>
                    <a:pt x="1507" y="123"/>
                  </a:lnTo>
                  <a:lnTo>
                    <a:pt x="1504" y="121"/>
                  </a:lnTo>
                  <a:lnTo>
                    <a:pt x="1504" y="118"/>
                  </a:lnTo>
                  <a:lnTo>
                    <a:pt x="1503" y="118"/>
                  </a:lnTo>
                  <a:lnTo>
                    <a:pt x="1503" y="117"/>
                  </a:lnTo>
                  <a:lnTo>
                    <a:pt x="1501" y="117"/>
                  </a:lnTo>
                  <a:lnTo>
                    <a:pt x="1501" y="115"/>
                  </a:lnTo>
                  <a:close/>
                  <a:moveTo>
                    <a:pt x="1059" y="115"/>
                  </a:moveTo>
                  <a:lnTo>
                    <a:pt x="1063" y="120"/>
                  </a:lnTo>
                  <a:lnTo>
                    <a:pt x="1063" y="121"/>
                  </a:lnTo>
                  <a:lnTo>
                    <a:pt x="1065" y="121"/>
                  </a:lnTo>
                  <a:lnTo>
                    <a:pt x="1063" y="123"/>
                  </a:lnTo>
                  <a:lnTo>
                    <a:pt x="1060" y="123"/>
                  </a:lnTo>
                  <a:lnTo>
                    <a:pt x="1057" y="120"/>
                  </a:lnTo>
                  <a:lnTo>
                    <a:pt x="1057" y="117"/>
                  </a:lnTo>
                  <a:lnTo>
                    <a:pt x="1059" y="117"/>
                  </a:lnTo>
                  <a:lnTo>
                    <a:pt x="1059" y="115"/>
                  </a:lnTo>
                  <a:close/>
                  <a:moveTo>
                    <a:pt x="365" y="115"/>
                  </a:moveTo>
                  <a:lnTo>
                    <a:pt x="366" y="117"/>
                  </a:lnTo>
                  <a:lnTo>
                    <a:pt x="368" y="117"/>
                  </a:lnTo>
                  <a:lnTo>
                    <a:pt x="371" y="120"/>
                  </a:lnTo>
                  <a:lnTo>
                    <a:pt x="369" y="120"/>
                  </a:lnTo>
                  <a:lnTo>
                    <a:pt x="369" y="121"/>
                  </a:lnTo>
                  <a:lnTo>
                    <a:pt x="372" y="121"/>
                  </a:lnTo>
                  <a:lnTo>
                    <a:pt x="374" y="123"/>
                  </a:lnTo>
                  <a:lnTo>
                    <a:pt x="374" y="124"/>
                  </a:lnTo>
                  <a:lnTo>
                    <a:pt x="375" y="126"/>
                  </a:lnTo>
                  <a:lnTo>
                    <a:pt x="377" y="126"/>
                  </a:lnTo>
                  <a:lnTo>
                    <a:pt x="377" y="124"/>
                  </a:lnTo>
                  <a:lnTo>
                    <a:pt x="380" y="124"/>
                  </a:lnTo>
                  <a:lnTo>
                    <a:pt x="386" y="130"/>
                  </a:lnTo>
                  <a:lnTo>
                    <a:pt x="381" y="130"/>
                  </a:lnTo>
                  <a:lnTo>
                    <a:pt x="383" y="132"/>
                  </a:lnTo>
                  <a:lnTo>
                    <a:pt x="380" y="132"/>
                  </a:lnTo>
                  <a:lnTo>
                    <a:pt x="378" y="130"/>
                  </a:lnTo>
                  <a:lnTo>
                    <a:pt x="375" y="129"/>
                  </a:lnTo>
                  <a:lnTo>
                    <a:pt x="374" y="129"/>
                  </a:lnTo>
                  <a:lnTo>
                    <a:pt x="374" y="127"/>
                  </a:lnTo>
                  <a:lnTo>
                    <a:pt x="369" y="127"/>
                  </a:lnTo>
                  <a:lnTo>
                    <a:pt x="368" y="129"/>
                  </a:lnTo>
                  <a:lnTo>
                    <a:pt x="365" y="129"/>
                  </a:lnTo>
                  <a:lnTo>
                    <a:pt x="365" y="130"/>
                  </a:lnTo>
                  <a:lnTo>
                    <a:pt x="363" y="129"/>
                  </a:lnTo>
                  <a:lnTo>
                    <a:pt x="363" y="127"/>
                  </a:lnTo>
                  <a:lnTo>
                    <a:pt x="360" y="127"/>
                  </a:lnTo>
                  <a:lnTo>
                    <a:pt x="359" y="126"/>
                  </a:lnTo>
                  <a:lnTo>
                    <a:pt x="360" y="126"/>
                  </a:lnTo>
                  <a:lnTo>
                    <a:pt x="360" y="124"/>
                  </a:lnTo>
                  <a:lnTo>
                    <a:pt x="362" y="123"/>
                  </a:lnTo>
                  <a:lnTo>
                    <a:pt x="363" y="123"/>
                  </a:lnTo>
                  <a:lnTo>
                    <a:pt x="363" y="117"/>
                  </a:lnTo>
                  <a:lnTo>
                    <a:pt x="365" y="117"/>
                  </a:lnTo>
                  <a:lnTo>
                    <a:pt x="365" y="115"/>
                  </a:lnTo>
                  <a:close/>
                  <a:moveTo>
                    <a:pt x="1413" y="111"/>
                  </a:moveTo>
                  <a:lnTo>
                    <a:pt x="1416" y="111"/>
                  </a:lnTo>
                  <a:lnTo>
                    <a:pt x="1414" y="112"/>
                  </a:lnTo>
                  <a:lnTo>
                    <a:pt x="1416" y="117"/>
                  </a:lnTo>
                  <a:lnTo>
                    <a:pt x="1416" y="118"/>
                  </a:lnTo>
                  <a:lnTo>
                    <a:pt x="1414" y="118"/>
                  </a:lnTo>
                  <a:lnTo>
                    <a:pt x="1414" y="117"/>
                  </a:lnTo>
                  <a:lnTo>
                    <a:pt x="1413" y="117"/>
                  </a:lnTo>
                  <a:lnTo>
                    <a:pt x="1413" y="111"/>
                  </a:lnTo>
                  <a:close/>
                  <a:moveTo>
                    <a:pt x="359" y="109"/>
                  </a:moveTo>
                  <a:lnTo>
                    <a:pt x="360" y="111"/>
                  </a:lnTo>
                  <a:lnTo>
                    <a:pt x="362" y="114"/>
                  </a:lnTo>
                  <a:lnTo>
                    <a:pt x="360" y="114"/>
                  </a:lnTo>
                  <a:lnTo>
                    <a:pt x="362" y="115"/>
                  </a:lnTo>
                  <a:lnTo>
                    <a:pt x="362" y="117"/>
                  </a:lnTo>
                  <a:lnTo>
                    <a:pt x="360" y="115"/>
                  </a:lnTo>
                  <a:lnTo>
                    <a:pt x="359" y="112"/>
                  </a:lnTo>
                  <a:lnTo>
                    <a:pt x="359" y="109"/>
                  </a:lnTo>
                  <a:close/>
                  <a:moveTo>
                    <a:pt x="90" y="109"/>
                  </a:moveTo>
                  <a:lnTo>
                    <a:pt x="102" y="109"/>
                  </a:lnTo>
                  <a:lnTo>
                    <a:pt x="103" y="111"/>
                  </a:lnTo>
                  <a:lnTo>
                    <a:pt x="103" y="114"/>
                  </a:lnTo>
                  <a:lnTo>
                    <a:pt x="91" y="114"/>
                  </a:lnTo>
                  <a:lnTo>
                    <a:pt x="88" y="112"/>
                  </a:lnTo>
                  <a:lnTo>
                    <a:pt x="88" y="111"/>
                  </a:lnTo>
                  <a:lnTo>
                    <a:pt x="90" y="109"/>
                  </a:lnTo>
                  <a:close/>
                  <a:moveTo>
                    <a:pt x="362" y="106"/>
                  </a:moveTo>
                  <a:lnTo>
                    <a:pt x="365" y="106"/>
                  </a:lnTo>
                  <a:lnTo>
                    <a:pt x="371" y="114"/>
                  </a:lnTo>
                  <a:lnTo>
                    <a:pt x="372" y="115"/>
                  </a:lnTo>
                  <a:lnTo>
                    <a:pt x="369" y="115"/>
                  </a:lnTo>
                  <a:lnTo>
                    <a:pt x="369" y="114"/>
                  </a:lnTo>
                  <a:lnTo>
                    <a:pt x="368" y="114"/>
                  </a:lnTo>
                  <a:lnTo>
                    <a:pt x="368" y="112"/>
                  </a:lnTo>
                  <a:lnTo>
                    <a:pt x="366" y="112"/>
                  </a:lnTo>
                  <a:lnTo>
                    <a:pt x="366" y="111"/>
                  </a:lnTo>
                  <a:lnTo>
                    <a:pt x="365" y="111"/>
                  </a:lnTo>
                  <a:lnTo>
                    <a:pt x="365" y="109"/>
                  </a:lnTo>
                  <a:lnTo>
                    <a:pt x="363" y="109"/>
                  </a:lnTo>
                  <a:lnTo>
                    <a:pt x="363" y="108"/>
                  </a:lnTo>
                  <a:lnTo>
                    <a:pt x="362" y="106"/>
                  </a:lnTo>
                  <a:close/>
                  <a:moveTo>
                    <a:pt x="270" y="106"/>
                  </a:moveTo>
                  <a:lnTo>
                    <a:pt x="270" y="108"/>
                  </a:lnTo>
                  <a:lnTo>
                    <a:pt x="272" y="108"/>
                  </a:lnTo>
                  <a:lnTo>
                    <a:pt x="272" y="109"/>
                  </a:lnTo>
                  <a:lnTo>
                    <a:pt x="273" y="109"/>
                  </a:lnTo>
                  <a:lnTo>
                    <a:pt x="270" y="106"/>
                  </a:lnTo>
                  <a:close/>
                  <a:moveTo>
                    <a:pt x="357" y="102"/>
                  </a:moveTo>
                  <a:lnTo>
                    <a:pt x="359" y="102"/>
                  </a:lnTo>
                  <a:lnTo>
                    <a:pt x="359" y="103"/>
                  </a:lnTo>
                  <a:lnTo>
                    <a:pt x="357" y="103"/>
                  </a:lnTo>
                  <a:lnTo>
                    <a:pt x="357" y="102"/>
                  </a:lnTo>
                  <a:close/>
                  <a:moveTo>
                    <a:pt x="290" y="102"/>
                  </a:moveTo>
                  <a:lnTo>
                    <a:pt x="290" y="103"/>
                  </a:lnTo>
                  <a:lnTo>
                    <a:pt x="288" y="105"/>
                  </a:lnTo>
                  <a:lnTo>
                    <a:pt x="287" y="105"/>
                  </a:lnTo>
                  <a:lnTo>
                    <a:pt x="285" y="103"/>
                  </a:lnTo>
                  <a:lnTo>
                    <a:pt x="288" y="103"/>
                  </a:lnTo>
                  <a:lnTo>
                    <a:pt x="290" y="102"/>
                  </a:lnTo>
                  <a:close/>
                  <a:moveTo>
                    <a:pt x="1410" y="100"/>
                  </a:moveTo>
                  <a:lnTo>
                    <a:pt x="1414" y="100"/>
                  </a:lnTo>
                  <a:lnTo>
                    <a:pt x="1414" y="103"/>
                  </a:lnTo>
                  <a:lnTo>
                    <a:pt x="1413" y="105"/>
                  </a:lnTo>
                  <a:lnTo>
                    <a:pt x="1411" y="105"/>
                  </a:lnTo>
                  <a:lnTo>
                    <a:pt x="1410" y="103"/>
                  </a:lnTo>
                  <a:lnTo>
                    <a:pt x="1410" y="100"/>
                  </a:lnTo>
                  <a:close/>
                  <a:moveTo>
                    <a:pt x="356" y="100"/>
                  </a:moveTo>
                  <a:lnTo>
                    <a:pt x="357" y="100"/>
                  </a:lnTo>
                  <a:lnTo>
                    <a:pt x="357" y="102"/>
                  </a:lnTo>
                  <a:lnTo>
                    <a:pt x="356" y="100"/>
                  </a:lnTo>
                  <a:close/>
                  <a:moveTo>
                    <a:pt x="351" y="87"/>
                  </a:moveTo>
                  <a:lnTo>
                    <a:pt x="353" y="87"/>
                  </a:lnTo>
                  <a:lnTo>
                    <a:pt x="353" y="88"/>
                  </a:lnTo>
                  <a:lnTo>
                    <a:pt x="351" y="88"/>
                  </a:lnTo>
                  <a:lnTo>
                    <a:pt x="351" y="87"/>
                  </a:lnTo>
                  <a:close/>
                  <a:moveTo>
                    <a:pt x="296" y="87"/>
                  </a:moveTo>
                  <a:lnTo>
                    <a:pt x="297" y="88"/>
                  </a:lnTo>
                  <a:lnTo>
                    <a:pt x="297" y="91"/>
                  </a:lnTo>
                  <a:lnTo>
                    <a:pt x="296" y="90"/>
                  </a:lnTo>
                  <a:lnTo>
                    <a:pt x="296" y="87"/>
                  </a:lnTo>
                  <a:close/>
                  <a:moveTo>
                    <a:pt x="317" y="85"/>
                  </a:moveTo>
                  <a:lnTo>
                    <a:pt x="317" y="88"/>
                  </a:lnTo>
                  <a:lnTo>
                    <a:pt x="315" y="88"/>
                  </a:lnTo>
                  <a:lnTo>
                    <a:pt x="315" y="87"/>
                  </a:lnTo>
                  <a:lnTo>
                    <a:pt x="317" y="85"/>
                  </a:lnTo>
                  <a:close/>
                  <a:moveTo>
                    <a:pt x="302" y="85"/>
                  </a:moveTo>
                  <a:lnTo>
                    <a:pt x="305" y="85"/>
                  </a:lnTo>
                  <a:lnTo>
                    <a:pt x="305" y="87"/>
                  </a:lnTo>
                  <a:lnTo>
                    <a:pt x="306" y="87"/>
                  </a:lnTo>
                  <a:lnTo>
                    <a:pt x="306" y="88"/>
                  </a:lnTo>
                  <a:lnTo>
                    <a:pt x="308" y="90"/>
                  </a:lnTo>
                  <a:lnTo>
                    <a:pt x="308" y="91"/>
                  </a:lnTo>
                  <a:lnTo>
                    <a:pt x="306" y="93"/>
                  </a:lnTo>
                  <a:lnTo>
                    <a:pt x="302" y="93"/>
                  </a:lnTo>
                  <a:lnTo>
                    <a:pt x="302" y="94"/>
                  </a:lnTo>
                  <a:lnTo>
                    <a:pt x="300" y="93"/>
                  </a:lnTo>
                  <a:lnTo>
                    <a:pt x="300" y="87"/>
                  </a:lnTo>
                  <a:lnTo>
                    <a:pt x="302" y="85"/>
                  </a:lnTo>
                  <a:close/>
                  <a:moveTo>
                    <a:pt x="1730" y="82"/>
                  </a:moveTo>
                  <a:lnTo>
                    <a:pt x="1731" y="82"/>
                  </a:lnTo>
                  <a:lnTo>
                    <a:pt x="1731" y="84"/>
                  </a:lnTo>
                  <a:lnTo>
                    <a:pt x="1730" y="84"/>
                  </a:lnTo>
                  <a:lnTo>
                    <a:pt x="1730" y="82"/>
                  </a:lnTo>
                  <a:close/>
                  <a:moveTo>
                    <a:pt x="1413" y="82"/>
                  </a:moveTo>
                  <a:lnTo>
                    <a:pt x="1414" y="82"/>
                  </a:lnTo>
                  <a:lnTo>
                    <a:pt x="1414" y="84"/>
                  </a:lnTo>
                  <a:lnTo>
                    <a:pt x="1416" y="85"/>
                  </a:lnTo>
                  <a:lnTo>
                    <a:pt x="1413" y="88"/>
                  </a:lnTo>
                  <a:lnTo>
                    <a:pt x="1411" y="88"/>
                  </a:lnTo>
                  <a:lnTo>
                    <a:pt x="1411" y="85"/>
                  </a:lnTo>
                  <a:lnTo>
                    <a:pt x="1413" y="82"/>
                  </a:lnTo>
                  <a:close/>
                  <a:moveTo>
                    <a:pt x="372" y="82"/>
                  </a:moveTo>
                  <a:lnTo>
                    <a:pt x="374" y="82"/>
                  </a:lnTo>
                  <a:lnTo>
                    <a:pt x="374" y="84"/>
                  </a:lnTo>
                  <a:lnTo>
                    <a:pt x="372" y="84"/>
                  </a:lnTo>
                  <a:lnTo>
                    <a:pt x="372" y="82"/>
                  </a:lnTo>
                  <a:close/>
                  <a:moveTo>
                    <a:pt x="363" y="81"/>
                  </a:moveTo>
                  <a:lnTo>
                    <a:pt x="368" y="81"/>
                  </a:lnTo>
                  <a:lnTo>
                    <a:pt x="368" y="82"/>
                  </a:lnTo>
                  <a:lnTo>
                    <a:pt x="363" y="82"/>
                  </a:lnTo>
                  <a:lnTo>
                    <a:pt x="363" y="81"/>
                  </a:lnTo>
                  <a:close/>
                  <a:moveTo>
                    <a:pt x="348" y="81"/>
                  </a:moveTo>
                  <a:lnTo>
                    <a:pt x="353" y="81"/>
                  </a:lnTo>
                  <a:lnTo>
                    <a:pt x="353" y="85"/>
                  </a:lnTo>
                  <a:lnTo>
                    <a:pt x="351" y="85"/>
                  </a:lnTo>
                  <a:lnTo>
                    <a:pt x="350" y="84"/>
                  </a:lnTo>
                  <a:lnTo>
                    <a:pt x="348" y="84"/>
                  </a:lnTo>
                  <a:lnTo>
                    <a:pt x="348" y="81"/>
                  </a:lnTo>
                  <a:close/>
                  <a:moveTo>
                    <a:pt x="326" y="81"/>
                  </a:moveTo>
                  <a:lnTo>
                    <a:pt x="327" y="81"/>
                  </a:lnTo>
                  <a:lnTo>
                    <a:pt x="327" y="82"/>
                  </a:lnTo>
                  <a:lnTo>
                    <a:pt x="326" y="82"/>
                  </a:lnTo>
                  <a:lnTo>
                    <a:pt x="326" y="81"/>
                  </a:lnTo>
                  <a:close/>
                  <a:moveTo>
                    <a:pt x="297" y="81"/>
                  </a:moveTo>
                  <a:lnTo>
                    <a:pt x="299" y="81"/>
                  </a:lnTo>
                  <a:lnTo>
                    <a:pt x="299" y="84"/>
                  </a:lnTo>
                  <a:lnTo>
                    <a:pt x="297" y="84"/>
                  </a:lnTo>
                  <a:lnTo>
                    <a:pt x="297" y="81"/>
                  </a:lnTo>
                  <a:close/>
                  <a:moveTo>
                    <a:pt x="368" y="79"/>
                  </a:moveTo>
                  <a:lnTo>
                    <a:pt x="369" y="79"/>
                  </a:lnTo>
                  <a:lnTo>
                    <a:pt x="369" y="81"/>
                  </a:lnTo>
                  <a:lnTo>
                    <a:pt x="368" y="81"/>
                  </a:lnTo>
                  <a:lnTo>
                    <a:pt x="368" y="79"/>
                  </a:lnTo>
                  <a:close/>
                  <a:moveTo>
                    <a:pt x="324" y="79"/>
                  </a:moveTo>
                  <a:lnTo>
                    <a:pt x="326" y="79"/>
                  </a:lnTo>
                  <a:lnTo>
                    <a:pt x="326" y="81"/>
                  </a:lnTo>
                  <a:lnTo>
                    <a:pt x="324" y="79"/>
                  </a:lnTo>
                  <a:close/>
                  <a:moveTo>
                    <a:pt x="1408" y="78"/>
                  </a:moveTo>
                  <a:lnTo>
                    <a:pt x="1410" y="78"/>
                  </a:lnTo>
                  <a:lnTo>
                    <a:pt x="1411" y="79"/>
                  </a:lnTo>
                  <a:lnTo>
                    <a:pt x="1411" y="82"/>
                  </a:lnTo>
                  <a:lnTo>
                    <a:pt x="1408" y="82"/>
                  </a:lnTo>
                  <a:lnTo>
                    <a:pt x="1408" y="81"/>
                  </a:lnTo>
                  <a:lnTo>
                    <a:pt x="1407" y="79"/>
                  </a:lnTo>
                  <a:lnTo>
                    <a:pt x="1408" y="79"/>
                  </a:lnTo>
                  <a:lnTo>
                    <a:pt x="1408" y="78"/>
                  </a:lnTo>
                  <a:close/>
                  <a:moveTo>
                    <a:pt x="330" y="76"/>
                  </a:moveTo>
                  <a:lnTo>
                    <a:pt x="333" y="78"/>
                  </a:lnTo>
                  <a:lnTo>
                    <a:pt x="335" y="78"/>
                  </a:lnTo>
                  <a:lnTo>
                    <a:pt x="336" y="79"/>
                  </a:lnTo>
                  <a:lnTo>
                    <a:pt x="336" y="82"/>
                  </a:lnTo>
                  <a:lnTo>
                    <a:pt x="335" y="81"/>
                  </a:lnTo>
                  <a:lnTo>
                    <a:pt x="335" y="79"/>
                  </a:lnTo>
                  <a:lnTo>
                    <a:pt x="332" y="79"/>
                  </a:lnTo>
                  <a:lnTo>
                    <a:pt x="332" y="78"/>
                  </a:lnTo>
                  <a:lnTo>
                    <a:pt x="330" y="76"/>
                  </a:lnTo>
                  <a:close/>
                  <a:moveTo>
                    <a:pt x="327" y="76"/>
                  </a:moveTo>
                  <a:lnTo>
                    <a:pt x="329" y="76"/>
                  </a:lnTo>
                  <a:lnTo>
                    <a:pt x="330" y="78"/>
                  </a:lnTo>
                  <a:lnTo>
                    <a:pt x="330" y="79"/>
                  </a:lnTo>
                  <a:lnTo>
                    <a:pt x="332" y="79"/>
                  </a:lnTo>
                  <a:lnTo>
                    <a:pt x="332" y="82"/>
                  </a:lnTo>
                  <a:lnTo>
                    <a:pt x="330" y="81"/>
                  </a:lnTo>
                  <a:lnTo>
                    <a:pt x="329" y="81"/>
                  </a:lnTo>
                  <a:lnTo>
                    <a:pt x="327" y="79"/>
                  </a:lnTo>
                  <a:lnTo>
                    <a:pt x="327" y="76"/>
                  </a:lnTo>
                  <a:close/>
                  <a:moveTo>
                    <a:pt x="311" y="76"/>
                  </a:moveTo>
                  <a:lnTo>
                    <a:pt x="312" y="76"/>
                  </a:lnTo>
                  <a:lnTo>
                    <a:pt x="312" y="79"/>
                  </a:lnTo>
                  <a:lnTo>
                    <a:pt x="314" y="79"/>
                  </a:lnTo>
                  <a:lnTo>
                    <a:pt x="315" y="81"/>
                  </a:lnTo>
                  <a:lnTo>
                    <a:pt x="315" y="82"/>
                  </a:lnTo>
                  <a:lnTo>
                    <a:pt x="317" y="82"/>
                  </a:lnTo>
                  <a:lnTo>
                    <a:pt x="317" y="84"/>
                  </a:lnTo>
                  <a:lnTo>
                    <a:pt x="314" y="87"/>
                  </a:lnTo>
                  <a:lnTo>
                    <a:pt x="314" y="88"/>
                  </a:lnTo>
                  <a:lnTo>
                    <a:pt x="311" y="85"/>
                  </a:lnTo>
                  <a:lnTo>
                    <a:pt x="309" y="82"/>
                  </a:lnTo>
                  <a:lnTo>
                    <a:pt x="309" y="78"/>
                  </a:lnTo>
                  <a:lnTo>
                    <a:pt x="311" y="76"/>
                  </a:lnTo>
                  <a:close/>
                  <a:moveTo>
                    <a:pt x="312" y="75"/>
                  </a:moveTo>
                  <a:lnTo>
                    <a:pt x="315" y="75"/>
                  </a:lnTo>
                  <a:lnTo>
                    <a:pt x="315" y="78"/>
                  </a:lnTo>
                  <a:lnTo>
                    <a:pt x="317" y="79"/>
                  </a:lnTo>
                  <a:lnTo>
                    <a:pt x="317" y="82"/>
                  </a:lnTo>
                  <a:lnTo>
                    <a:pt x="315" y="79"/>
                  </a:lnTo>
                  <a:lnTo>
                    <a:pt x="314" y="79"/>
                  </a:lnTo>
                  <a:lnTo>
                    <a:pt x="312" y="78"/>
                  </a:lnTo>
                  <a:lnTo>
                    <a:pt x="314" y="78"/>
                  </a:lnTo>
                  <a:lnTo>
                    <a:pt x="314" y="76"/>
                  </a:lnTo>
                  <a:lnTo>
                    <a:pt x="312" y="76"/>
                  </a:lnTo>
                  <a:lnTo>
                    <a:pt x="312" y="75"/>
                  </a:lnTo>
                  <a:close/>
                  <a:moveTo>
                    <a:pt x="344" y="73"/>
                  </a:moveTo>
                  <a:lnTo>
                    <a:pt x="345" y="73"/>
                  </a:lnTo>
                  <a:lnTo>
                    <a:pt x="345" y="75"/>
                  </a:lnTo>
                  <a:lnTo>
                    <a:pt x="347" y="75"/>
                  </a:lnTo>
                  <a:lnTo>
                    <a:pt x="347" y="76"/>
                  </a:lnTo>
                  <a:lnTo>
                    <a:pt x="350" y="76"/>
                  </a:lnTo>
                  <a:lnTo>
                    <a:pt x="350" y="78"/>
                  </a:lnTo>
                  <a:lnTo>
                    <a:pt x="351" y="78"/>
                  </a:lnTo>
                  <a:lnTo>
                    <a:pt x="351" y="79"/>
                  </a:lnTo>
                  <a:lnTo>
                    <a:pt x="350" y="79"/>
                  </a:lnTo>
                  <a:lnTo>
                    <a:pt x="348" y="81"/>
                  </a:lnTo>
                  <a:lnTo>
                    <a:pt x="347" y="81"/>
                  </a:lnTo>
                  <a:lnTo>
                    <a:pt x="347" y="78"/>
                  </a:lnTo>
                  <a:lnTo>
                    <a:pt x="344" y="78"/>
                  </a:lnTo>
                  <a:lnTo>
                    <a:pt x="344" y="73"/>
                  </a:lnTo>
                  <a:close/>
                  <a:moveTo>
                    <a:pt x="501" y="70"/>
                  </a:moveTo>
                  <a:lnTo>
                    <a:pt x="505" y="70"/>
                  </a:lnTo>
                  <a:lnTo>
                    <a:pt x="502" y="73"/>
                  </a:lnTo>
                  <a:lnTo>
                    <a:pt x="502" y="72"/>
                  </a:lnTo>
                  <a:lnTo>
                    <a:pt x="501" y="70"/>
                  </a:lnTo>
                  <a:close/>
                  <a:moveTo>
                    <a:pt x="375" y="70"/>
                  </a:moveTo>
                  <a:lnTo>
                    <a:pt x="378" y="70"/>
                  </a:lnTo>
                  <a:lnTo>
                    <a:pt x="378" y="73"/>
                  </a:lnTo>
                  <a:lnTo>
                    <a:pt x="377" y="73"/>
                  </a:lnTo>
                  <a:lnTo>
                    <a:pt x="377" y="72"/>
                  </a:lnTo>
                  <a:lnTo>
                    <a:pt x="375" y="70"/>
                  </a:lnTo>
                  <a:close/>
                  <a:moveTo>
                    <a:pt x="332" y="70"/>
                  </a:moveTo>
                  <a:lnTo>
                    <a:pt x="335" y="70"/>
                  </a:lnTo>
                  <a:lnTo>
                    <a:pt x="335" y="72"/>
                  </a:lnTo>
                  <a:lnTo>
                    <a:pt x="338" y="72"/>
                  </a:lnTo>
                  <a:lnTo>
                    <a:pt x="338" y="75"/>
                  </a:lnTo>
                  <a:lnTo>
                    <a:pt x="335" y="75"/>
                  </a:lnTo>
                  <a:lnTo>
                    <a:pt x="332" y="72"/>
                  </a:lnTo>
                  <a:lnTo>
                    <a:pt x="332" y="70"/>
                  </a:lnTo>
                  <a:close/>
                  <a:moveTo>
                    <a:pt x="1591" y="67"/>
                  </a:moveTo>
                  <a:lnTo>
                    <a:pt x="1591" y="69"/>
                  </a:lnTo>
                  <a:lnTo>
                    <a:pt x="1589" y="69"/>
                  </a:lnTo>
                  <a:lnTo>
                    <a:pt x="1591" y="67"/>
                  </a:lnTo>
                  <a:close/>
                  <a:moveTo>
                    <a:pt x="1102" y="67"/>
                  </a:moveTo>
                  <a:lnTo>
                    <a:pt x="1103" y="67"/>
                  </a:lnTo>
                  <a:lnTo>
                    <a:pt x="1103" y="69"/>
                  </a:lnTo>
                  <a:lnTo>
                    <a:pt x="1102" y="69"/>
                  </a:lnTo>
                  <a:lnTo>
                    <a:pt x="1102" y="67"/>
                  </a:lnTo>
                  <a:close/>
                  <a:moveTo>
                    <a:pt x="1091" y="67"/>
                  </a:moveTo>
                  <a:lnTo>
                    <a:pt x="1091" y="70"/>
                  </a:lnTo>
                  <a:lnTo>
                    <a:pt x="1090" y="70"/>
                  </a:lnTo>
                  <a:lnTo>
                    <a:pt x="1090" y="69"/>
                  </a:lnTo>
                  <a:lnTo>
                    <a:pt x="1091" y="67"/>
                  </a:lnTo>
                  <a:close/>
                  <a:moveTo>
                    <a:pt x="309" y="66"/>
                  </a:moveTo>
                  <a:lnTo>
                    <a:pt x="311" y="66"/>
                  </a:lnTo>
                  <a:lnTo>
                    <a:pt x="311" y="67"/>
                  </a:lnTo>
                  <a:lnTo>
                    <a:pt x="312" y="69"/>
                  </a:lnTo>
                  <a:lnTo>
                    <a:pt x="314" y="69"/>
                  </a:lnTo>
                  <a:lnTo>
                    <a:pt x="314" y="72"/>
                  </a:lnTo>
                  <a:lnTo>
                    <a:pt x="312" y="72"/>
                  </a:lnTo>
                  <a:lnTo>
                    <a:pt x="311" y="70"/>
                  </a:lnTo>
                  <a:lnTo>
                    <a:pt x="309" y="72"/>
                  </a:lnTo>
                  <a:lnTo>
                    <a:pt x="309" y="70"/>
                  </a:lnTo>
                  <a:lnTo>
                    <a:pt x="308" y="69"/>
                  </a:lnTo>
                  <a:lnTo>
                    <a:pt x="308" y="67"/>
                  </a:lnTo>
                  <a:lnTo>
                    <a:pt x="309" y="66"/>
                  </a:lnTo>
                  <a:close/>
                  <a:moveTo>
                    <a:pt x="281" y="64"/>
                  </a:moveTo>
                  <a:lnTo>
                    <a:pt x="284" y="64"/>
                  </a:lnTo>
                  <a:lnTo>
                    <a:pt x="288" y="66"/>
                  </a:lnTo>
                  <a:lnTo>
                    <a:pt x="291" y="67"/>
                  </a:lnTo>
                  <a:lnTo>
                    <a:pt x="296" y="69"/>
                  </a:lnTo>
                  <a:lnTo>
                    <a:pt x="299" y="75"/>
                  </a:lnTo>
                  <a:lnTo>
                    <a:pt x="300" y="76"/>
                  </a:lnTo>
                  <a:lnTo>
                    <a:pt x="302" y="76"/>
                  </a:lnTo>
                  <a:lnTo>
                    <a:pt x="302" y="78"/>
                  </a:lnTo>
                  <a:lnTo>
                    <a:pt x="299" y="79"/>
                  </a:lnTo>
                  <a:lnTo>
                    <a:pt x="297" y="79"/>
                  </a:lnTo>
                  <a:lnTo>
                    <a:pt x="291" y="75"/>
                  </a:lnTo>
                  <a:lnTo>
                    <a:pt x="290" y="73"/>
                  </a:lnTo>
                  <a:lnTo>
                    <a:pt x="288" y="73"/>
                  </a:lnTo>
                  <a:lnTo>
                    <a:pt x="287" y="72"/>
                  </a:lnTo>
                  <a:lnTo>
                    <a:pt x="285" y="72"/>
                  </a:lnTo>
                  <a:lnTo>
                    <a:pt x="284" y="70"/>
                  </a:lnTo>
                  <a:lnTo>
                    <a:pt x="282" y="70"/>
                  </a:lnTo>
                  <a:lnTo>
                    <a:pt x="285" y="73"/>
                  </a:lnTo>
                  <a:lnTo>
                    <a:pt x="290" y="75"/>
                  </a:lnTo>
                  <a:lnTo>
                    <a:pt x="294" y="78"/>
                  </a:lnTo>
                  <a:lnTo>
                    <a:pt x="294" y="79"/>
                  </a:lnTo>
                  <a:lnTo>
                    <a:pt x="296" y="79"/>
                  </a:lnTo>
                  <a:lnTo>
                    <a:pt x="296" y="84"/>
                  </a:lnTo>
                  <a:lnTo>
                    <a:pt x="294" y="85"/>
                  </a:lnTo>
                  <a:lnTo>
                    <a:pt x="293" y="85"/>
                  </a:lnTo>
                  <a:lnTo>
                    <a:pt x="293" y="84"/>
                  </a:lnTo>
                  <a:lnTo>
                    <a:pt x="290" y="82"/>
                  </a:lnTo>
                  <a:lnTo>
                    <a:pt x="288" y="81"/>
                  </a:lnTo>
                  <a:lnTo>
                    <a:pt x="272" y="81"/>
                  </a:lnTo>
                  <a:lnTo>
                    <a:pt x="266" y="78"/>
                  </a:lnTo>
                  <a:lnTo>
                    <a:pt x="266" y="76"/>
                  </a:lnTo>
                  <a:lnTo>
                    <a:pt x="267" y="75"/>
                  </a:lnTo>
                  <a:lnTo>
                    <a:pt x="270" y="75"/>
                  </a:lnTo>
                  <a:lnTo>
                    <a:pt x="270" y="73"/>
                  </a:lnTo>
                  <a:lnTo>
                    <a:pt x="269" y="69"/>
                  </a:lnTo>
                  <a:lnTo>
                    <a:pt x="269" y="67"/>
                  </a:lnTo>
                  <a:lnTo>
                    <a:pt x="270" y="66"/>
                  </a:lnTo>
                  <a:lnTo>
                    <a:pt x="273" y="66"/>
                  </a:lnTo>
                  <a:lnTo>
                    <a:pt x="275" y="69"/>
                  </a:lnTo>
                  <a:lnTo>
                    <a:pt x="276" y="69"/>
                  </a:lnTo>
                  <a:lnTo>
                    <a:pt x="275" y="70"/>
                  </a:lnTo>
                  <a:lnTo>
                    <a:pt x="276" y="72"/>
                  </a:lnTo>
                  <a:lnTo>
                    <a:pt x="278" y="72"/>
                  </a:lnTo>
                  <a:lnTo>
                    <a:pt x="279" y="70"/>
                  </a:lnTo>
                  <a:lnTo>
                    <a:pt x="278" y="70"/>
                  </a:lnTo>
                  <a:lnTo>
                    <a:pt x="278" y="72"/>
                  </a:lnTo>
                  <a:lnTo>
                    <a:pt x="276" y="70"/>
                  </a:lnTo>
                  <a:lnTo>
                    <a:pt x="278" y="67"/>
                  </a:lnTo>
                  <a:lnTo>
                    <a:pt x="279" y="67"/>
                  </a:lnTo>
                  <a:lnTo>
                    <a:pt x="279" y="66"/>
                  </a:lnTo>
                  <a:lnTo>
                    <a:pt x="281" y="64"/>
                  </a:lnTo>
                  <a:close/>
                  <a:moveTo>
                    <a:pt x="341" y="63"/>
                  </a:moveTo>
                  <a:lnTo>
                    <a:pt x="344" y="66"/>
                  </a:lnTo>
                  <a:lnTo>
                    <a:pt x="344" y="64"/>
                  </a:lnTo>
                  <a:lnTo>
                    <a:pt x="342" y="63"/>
                  </a:lnTo>
                  <a:lnTo>
                    <a:pt x="345" y="63"/>
                  </a:lnTo>
                  <a:lnTo>
                    <a:pt x="345" y="64"/>
                  </a:lnTo>
                  <a:lnTo>
                    <a:pt x="347" y="64"/>
                  </a:lnTo>
                  <a:lnTo>
                    <a:pt x="347" y="66"/>
                  </a:lnTo>
                  <a:lnTo>
                    <a:pt x="345" y="69"/>
                  </a:lnTo>
                  <a:lnTo>
                    <a:pt x="344" y="69"/>
                  </a:lnTo>
                  <a:lnTo>
                    <a:pt x="345" y="70"/>
                  </a:lnTo>
                  <a:lnTo>
                    <a:pt x="344" y="70"/>
                  </a:lnTo>
                  <a:lnTo>
                    <a:pt x="344" y="72"/>
                  </a:lnTo>
                  <a:lnTo>
                    <a:pt x="341" y="72"/>
                  </a:lnTo>
                  <a:lnTo>
                    <a:pt x="339" y="70"/>
                  </a:lnTo>
                  <a:lnTo>
                    <a:pt x="338" y="72"/>
                  </a:lnTo>
                  <a:lnTo>
                    <a:pt x="338" y="70"/>
                  </a:lnTo>
                  <a:lnTo>
                    <a:pt x="336" y="69"/>
                  </a:lnTo>
                  <a:lnTo>
                    <a:pt x="335" y="69"/>
                  </a:lnTo>
                  <a:lnTo>
                    <a:pt x="335" y="67"/>
                  </a:lnTo>
                  <a:lnTo>
                    <a:pt x="338" y="67"/>
                  </a:lnTo>
                  <a:lnTo>
                    <a:pt x="336" y="66"/>
                  </a:lnTo>
                  <a:lnTo>
                    <a:pt x="338" y="64"/>
                  </a:lnTo>
                  <a:lnTo>
                    <a:pt x="339" y="66"/>
                  </a:lnTo>
                  <a:lnTo>
                    <a:pt x="339" y="64"/>
                  </a:lnTo>
                  <a:lnTo>
                    <a:pt x="341" y="63"/>
                  </a:lnTo>
                  <a:close/>
                  <a:moveTo>
                    <a:pt x="366" y="61"/>
                  </a:moveTo>
                  <a:lnTo>
                    <a:pt x="366" y="66"/>
                  </a:lnTo>
                  <a:lnTo>
                    <a:pt x="369" y="67"/>
                  </a:lnTo>
                  <a:lnTo>
                    <a:pt x="371" y="70"/>
                  </a:lnTo>
                  <a:lnTo>
                    <a:pt x="369" y="70"/>
                  </a:lnTo>
                  <a:lnTo>
                    <a:pt x="369" y="75"/>
                  </a:lnTo>
                  <a:lnTo>
                    <a:pt x="368" y="75"/>
                  </a:lnTo>
                  <a:lnTo>
                    <a:pt x="368" y="76"/>
                  </a:lnTo>
                  <a:lnTo>
                    <a:pt x="366" y="79"/>
                  </a:lnTo>
                  <a:lnTo>
                    <a:pt x="365" y="79"/>
                  </a:lnTo>
                  <a:lnTo>
                    <a:pt x="362" y="78"/>
                  </a:lnTo>
                  <a:lnTo>
                    <a:pt x="362" y="76"/>
                  </a:lnTo>
                  <a:lnTo>
                    <a:pt x="360" y="76"/>
                  </a:lnTo>
                  <a:lnTo>
                    <a:pt x="360" y="75"/>
                  </a:lnTo>
                  <a:lnTo>
                    <a:pt x="359" y="73"/>
                  </a:lnTo>
                  <a:lnTo>
                    <a:pt x="360" y="72"/>
                  </a:lnTo>
                  <a:lnTo>
                    <a:pt x="360" y="69"/>
                  </a:lnTo>
                  <a:lnTo>
                    <a:pt x="359" y="69"/>
                  </a:lnTo>
                  <a:lnTo>
                    <a:pt x="357" y="70"/>
                  </a:lnTo>
                  <a:lnTo>
                    <a:pt x="354" y="70"/>
                  </a:lnTo>
                  <a:lnTo>
                    <a:pt x="354" y="72"/>
                  </a:lnTo>
                  <a:lnTo>
                    <a:pt x="351" y="72"/>
                  </a:lnTo>
                  <a:lnTo>
                    <a:pt x="351" y="70"/>
                  </a:lnTo>
                  <a:lnTo>
                    <a:pt x="350" y="70"/>
                  </a:lnTo>
                  <a:lnTo>
                    <a:pt x="350" y="67"/>
                  </a:lnTo>
                  <a:lnTo>
                    <a:pt x="351" y="66"/>
                  </a:lnTo>
                  <a:lnTo>
                    <a:pt x="354" y="66"/>
                  </a:lnTo>
                  <a:lnTo>
                    <a:pt x="354" y="63"/>
                  </a:lnTo>
                  <a:lnTo>
                    <a:pt x="365" y="63"/>
                  </a:lnTo>
                  <a:lnTo>
                    <a:pt x="366" y="61"/>
                  </a:lnTo>
                  <a:close/>
                  <a:moveTo>
                    <a:pt x="1365" y="55"/>
                  </a:moveTo>
                  <a:lnTo>
                    <a:pt x="1367" y="55"/>
                  </a:lnTo>
                  <a:lnTo>
                    <a:pt x="1367" y="58"/>
                  </a:lnTo>
                  <a:lnTo>
                    <a:pt x="1365" y="57"/>
                  </a:lnTo>
                  <a:lnTo>
                    <a:pt x="1365" y="55"/>
                  </a:lnTo>
                  <a:close/>
                  <a:moveTo>
                    <a:pt x="21" y="52"/>
                  </a:moveTo>
                  <a:lnTo>
                    <a:pt x="22" y="52"/>
                  </a:lnTo>
                  <a:lnTo>
                    <a:pt x="21" y="54"/>
                  </a:lnTo>
                  <a:lnTo>
                    <a:pt x="21" y="52"/>
                  </a:lnTo>
                  <a:close/>
                  <a:moveTo>
                    <a:pt x="1316" y="46"/>
                  </a:moveTo>
                  <a:lnTo>
                    <a:pt x="1317" y="46"/>
                  </a:lnTo>
                  <a:lnTo>
                    <a:pt x="1317" y="48"/>
                  </a:lnTo>
                  <a:lnTo>
                    <a:pt x="1316" y="49"/>
                  </a:lnTo>
                  <a:lnTo>
                    <a:pt x="1316" y="52"/>
                  </a:lnTo>
                  <a:lnTo>
                    <a:pt x="1314" y="52"/>
                  </a:lnTo>
                  <a:lnTo>
                    <a:pt x="1313" y="54"/>
                  </a:lnTo>
                  <a:lnTo>
                    <a:pt x="1311" y="54"/>
                  </a:lnTo>
                  <a:lnTo>
                    <a:pt x="1311" y="52"/>
                  </a:lnTo>
                  <a:lnTo>
                    <a:pt x="1313" y="52"/>
                  </a:lnTo>
                  <a:lnTo>
                    <a:pt x="1314" y="51"/>
                  </a:lnTo>
                  <a:lnTo>
                    <a:pt x="1316" y="46"/>
                  </a:lnTo>
                  <a:close/>
                  <a:moveTo>
                    <a:pt x="34" y="46"/>
                  </a:moveTo>
                  <a:lnTo>
                    <a:pt x="36" y="48"/>
                  </a:lnTo>
                  <a:lnTo>
                    <a:pt x="37" y="48"/>
                  </a:lnTo>
                  <a:lnTo>
                    <a:pt x="39" y="49"/>
                  </a:lnTo>
                  <a:lnTo>
                    <a:pt x="40" y="49"/>
                  </a:lnTo>
                  <a:lnTo>
                    <a:pt x="40" y="51"/>
                  </a:lnTo>
                  <a:lnTo>
                    <a:pt x="46" y="57"/>
                  </a:lnTo>
                  <a:lnTo>
                    <a:pt x="46" y="58"/>
                  </a:lnTo>
                  <a:lnTo>
                    <a:pt x="52" y="64"/>
                  </a:lnTo>
                  <a:lnTo>
                    <a:pt x="55" y="64"/>
                  </a:lnTo>
                  <a:lnTo>
                    <a:pt x="55" y="66"/>
                  </a:lnTo>
                  <a:lnTo>
                    <a:pt x="57" y="67"/>
                  </a:lnTo>
                  <a:lnTo>
                    <a:pt x="57" y="69"/>
                  </a:lnTo>
                  <a:lnTo>
                    <a:pt x="60" y="69"/>
                  </a:lnTo>
                  <a:lnTo>
                    <a:pt x="61" y="72"/>
                  </a:lnTo>
                  <a:lnTo>
                    <a:pt x="61" y="73"/>
                  </a:lnTo>
                  <a:lnTo>
                    <a:pt x="60" y="75"/>
                  </a:lnTo>
                  <a:lnTo>
                    <a:pt x="60" y="82"/>
                  </a:lnTo>
                  <a:lnTo>
                    <a:pt x="58" y="84"/>
                  </a:lnTo>
                  <a:lnTo>
                    <a:pt x="58" y="88"/>
                  </a:lnTo>
                  <a:lnTo>
                    <a:pt x="57" y="91"/>
                  </a:lnTo>
                  <a:lnTo>
                    <a:pt x="55" y="91"/>
                  </a:lnTo>
                  <a:lnTo>
                    <a:pt x="54" y="90"/>
                  </a:lnTo>
                  <a:lnTo>
                    <a:pt x="54" y="91"/>
                  </a:lnTo>
                  <a:lnTo>
                    <a:pt x="51" y="91"/>
                  </a:lnTo>
                  <a:lnTo>
                    <a:pt x="51" y="90"/>
                  </a:lnTo>
                  <a:lnTo>
                    <a:pt x="49" y="90"/>
                  </a:lnTo>
                  <a:lnTo>
                    <a:pt x="49" y="87"/>
                  </a:lnTo>
                  <a:lnTo>
                    <a:pt x="48" y="87"/>
                  </a:lnTo>
                  <a:lnTo>
                    <a:pt x="48" y="81"/>
                  </a:lnTo>
                  <a:lnTo>
                    <a:pt x="45" y="78"/>
                  </a:lnTo>
                  <a:lnTo>
                    <a:pt x="40" y="75"/>
                  </a:lnTo>
                  <a:lnTo>
                    <a:pt x="40" y="73"/>
                  </a:lnTo>
                  <a:lnTo>
                    <a:pt x="36" y="73"/>
                  </a:lnTo>
                  <a:lnTo>
                    <a:pt x="36" y="69"/>
                  </a:lnTo>
                  <a:lnTo>
                    <a:pt x="33" y="64"/>
                  </a:lnTo>
                  <a:lnTo>
                    <a:pt x="33" y="63"/>
                  </a:lnTo>
                  <a:lnTo>
                    <a:pt x="31" y="63"/>
                  </a:lnTo>
                  <a:lnTo>
                    <a:pt x="31" y="61"/>
                  </a:lnTo>
                  <a:lnTo>
                    <a:pt x="30" y="61"/>
                  </a:lnTo>
                  <a:lnTo>
                    <a:pt x="30" y="58"/>
                  </a:lnTo>
                  <a:lnTo>
                    <a:pt x="27" y="58"/>
                  </a:lnTo>
                  <a:lnTo>
                    <a:pt x="27" y="57"/>
                  </a:lnTo>
                  <a:lnTo>
                    <a:pt x="22" y="52"/>
                  </a:lnTo>
                  <a:lnTo>
                    <a:pt x="24" y="51"/>
                  </a:lnTo>
                  <a:lnTo>
                    <a:pt x="25" y="52"/>
                  </a:lnTo>
                  <a:lnTo>
                    <a:pt x="30" y="52"/>
                  </a:lnTo>
                  <a:lnTo>
                    <a:pt x="33" y="49"/>
                  </a:lnTo>
                  <a:lnTo>
                    <a:pt x="34" y="49"/>
                  </a:lnTo>
                  <a:lnTo>
                    <a:pt x="33" y="48"/>
                  </a:lnTo>
                  <a:lnTo>
                    <a:pt x="34" y="46"/>
                  </a:lnTo>
                  <a:close/>
                  <a:moveTo>
                    <a:pt x="248" y="43"/>
                  </a:moveTo>
                  <a:lnTo>
                    <a:pt x="253" y="43"/>
                  </a:lnTo>
                  <a:lnTo>
                    <a:pt x="254" y="45"/>
                  </a:lnTo>
                  <a:lnTo>
                    <a:pt x="259" y="45"/>
                  </a:lnTo>
                  <a:lnTo>
                    <a:pt x="262" y="46"/>
                  </a:lnTo>
                  <a:lnTo>
                    <a:pt x="265" y="46"/>
                  </a:lnTo>
                  <a:lnTo>
                    <a:pt x="269" y="48"/>
                  </a:lnTo>
                  <a:lnTo>
                    <a:pt x="270" y="49"/>
                  </a:lnTo>
                  <a:lnTo>
                    <a:pt x="270" y="58"/>
                  </a:lnTo>
                  <a:lnTo>
                    <a:pt x="269" y="60"/>
                  </a:lnTo>
                  <a:lnTo>
                    <a:pt x="265" y="55"/>
                  </a:lnTo>
                  <a:lnTo>
                    <a:pt x="263" y="52"/>
                  </a:lnTo>
                  <a:lnTo>
                    <a:pt x="262" y="52"/>
                  </a:lnTo>
                  <a:lnTo>
                    <a:pt x="263" y="54"/>
                  </a:lnTo>
                  <a:lnTo>
                    <a:pt x="265" y="57"/>
                  </a:lnTo>
                  <a:lnTo>
                    <a:pt x="269" y="60"/>
                  </a:lnTo>
                  <a:lnTo>
                    <a:pt x="269" y="63"/>
                  </a:lnTo>
                  <a:lnTo>
                    <a:pt x="267" y="67"/>
                  </a:lnTo>
                  <a:lnTo>
                    <a:pt x="267" y="69"/>
                  </a:lnTo>
                  <a:lnTo>
                    <a:pt x="269" y="72"/>
                  </a:lnTo>
                  <a:lnTo>
                    <a:pt x="269" y="73"/>
                  </a:lnTo>
                  <a:lnTo>
                    <a:pt x="267" y="73"/>
                  </a:lnTo>
                  <a:lnTo>
                    <a:pt x="266" y="75"/>
                  </a:lnTo>
                  <a:lnTo>
                    <a:pt x="265" y="75"/>
                  </a:lnTo>
                  <a:lnTo>
                    <a:pt x="259" y="69"/>
                  </a:lnTo>
                  <a:lnTo>
                    <a:pt x="259" y="61"/>
                  </a:lnTo>
                  <a:lnTo>
                    <a:pt x="257" y="60"/>
                  </a:lnTo>
                  <a:lnTo>
                    <a:pt x="257" y="52"/>
                  </a:lnTo>
                  <a:lnTo>
                    <a:pt x="260" y="52"/>
                  </a:lnTo>
                  <a:lnTo>
                    <a:pt x="254" y="51"/>
                  </a:lnTo>
                  <a:lnTo>
                    <a:pt x="253" y="49"/>
                  </a:lnTo>
                  <a:lnTo>
                    <a:pt x="250" y="48"/>
                  </a:lnTo>
                  <a:lnTo>
                    <a:pt x="248" y="46"/>
                  </a:lnTo>
                  <a:lnTo>
                    <a:pt x="248" y="43"/>
                  </a:lnTo>
                  <a:close/>
                  <a:moveTo>
                    <a:pt x="85" y="39"/>
                  </a:moveTo>
                  <a:lnTo>
                    <a:pt x="87" y="39"/>
                  </a:lnTo>
                  <a:lnTo>
                    <a:pt x="87" y="40"/>
                  </a:lnTo>
                  <a:lnTo>
                    <a:pt x="88" y="42"/>
                  </a:lnTo>
                  <a:lnTo>
                    <a:pt x="90" y="40"/>
                  </a:lnTo>
                  <a:lnTo>
                    <a:pt x="91" y="42"/>
                  </a:lnTo>
                  <a:lnTo>
                    <a:pt x="91" y="43"/>
                  </a:lnTo>
                  <a:lnTo>
                    <a:pt x="87" y="43"/>
                  </a:lnTo>
                  <a:lnTo>
                    <a:pt x="85" y="42"/>
                  </a:lnTo>
                  <a:lnTo>
                    <a:pt x="84" y="42"/>
                  </a:lnTo>
                  <a:lnTo>
                    <a:pt x="84" y="40"/>
                  </a:lnTo>
                  <a:lnTo>
                    <a:pt x="85" y="39"/>
                  </a:lnTo>
                  <a:close/>
                  <a:moveTo>
                    <a:pt x="1302" y="37"/>
                  </a:moveTo>
                  <a:lnTo>
                    <a:pt x="1304" y="37"/>
                  </a:lnTo>
                  <a:lnTo>
                    <a:pt x="1305" y="40"/>
                  </a:lnTo>
                  <a:lnTo>
                    <a:pt x="1311" y="40"/>
                  </a:lnTo>
                  <a:lnTo>
                    <a:pt x="1311" y="46"/>
                  </a:lnTo>
                  <a:lnTo>
                    <a:pt x="1313" y="46"/>
                  </a:lnTo>
                  <a:lnTo>
                    <a:pt x="1314" y="48"/>
                  </a:lnTo>
                  <a:lnTo>
                    <a:pt x="1314" y="49"/>
                  </a:lnTo>
                  <a:lnTo>
                    <a:pt x="1313" y="51"/>
                  </a:lnTo>
                  <a:lnTo>
                    <a:pt x="1311" y="51"/>
                  </a:lnTo>
                  <a:lnTo>
                    <a:pt x="1307" y="55"/>
                  </a:lnTo>
                  <a:lnTo>
                    <a:pt x="1304" y="63"/>
                  </a:lnTo>
                  <a:lnTo>
                    <a:pt x="1302" y="67"/>
                  </a:lnTo>
                  <a:lnTo>
                    <a:pt x="1299" y="70"/>
                  </a:lnTo>
                  <a:lnTo>
                    <a:pt x="1299" y="72"/>
                  </a:lnTo>
                  <a:lnTo>
                    <a:pt x="1298" y="72"/>
                  </a:lnTo>
                  <a:lnTo>
                    <a:pt x="1298" y="73"/>
                  </a:lnTo>
                  <a:lnTo>
                    <a:pt x="1295" y="73"/>
                  </a:lnTo>
                  <a:lnTo>
                    <a:pt x="1295" y="75"/>
                  </a:lnTo>
                  <a:lnTo>
                    <a:pt x="1293" y="76"/>
                  </a:lnTo>
                  <a:lnTo>
                    <a:pt x="1292" y="76"/>
                  </a:lnTo>
                  <a:lnTo>
                    <a:pt x="1287" y="81"/>
                  </a:lnTo>
                  <a:lnTo>
                    <a:pt x="1287" y="82"/>
                  </a:lnTo>
                  <a:lnTo>
                    <a:pt x="1286" y="82"/>
                  </a:lnTo>
                  <a:lnTo>
                    <a:pt x="1286" y="85"/>
                  </a:lnTo>
                  <a:lnTo>
                    <a:pt x="1284" y="87"/>
                  </a:lnTo>
                  <a:lnTo>
                    <a:pt x="1283" y="87"/>
                  </a:lnTo>
                  <a:lnTo>
                    <a:pt x="1283" y="88"/>
                  </a:lnTo>
                  <a:lnTo>
                    <a:pt x="1284" y="88"/>
                  </a:lnTo>
                  <a:lnTo>
                    <a:pt x="1284" y="90"/>
                  </a:lnTo>
                  <a:lnTo>
                    <a:pt x="1281" y="90"/>
                  </a:lnTo>
                  <a:lnTo>
                    <a:pt x="1280" y="93"/>
                  </a:lnTo>
                  <a:lnTo>
                    <a:pt x="1281" y="94"/>
                  </a:lnTo>
                  <a:lnTo>
                    <a:pt x="1280" y="94"/>
                  </a:lnTo>
                  <a:lnTo>
                    <a:pt x="1280" y="96"/>
                  </a:lnTo>
                  <a:lnTo>
                    <a:pt x="1278" y="97"/>
                  </a:lnTo>
                  <a:lnTo>
                    <a:pt x="1277" y="96"/>
                  </a:lnTo>
                  <a:lnTo>
                    <a:pt x="1275" y="97"/>
                  </a:lnTo>
                  <a:lnTo>
                    <a:pt x="1272" y="97"/>
                  </a:lnTo>
                  <a:lnTo>
                    <a:pt x="1272" y="99"/>
                  </a:lnTo>
                  <a:lnTo>
                    <a:pt x="1266" y="100"/>
                  </a:lnTo>
                  <a:lnTo>
                    <a:pt x="1263" y="100"/>
                  </a:lnTo>
                  <a:lnTo>
                    <a:pt x="1262" y="99"/>
                  </a:lnTo>
                  <a:lnTo>
                    <a:pt x="1262" y="100"/>
                  </a:lnTo>
                  <a:lnTo>
                    <a:pt x="1260" y="102"/>
                  </a:lnTo>
                  <a:lnTo>
                    <a:pt x="1259" y="100"/>
                  </a:lnTo>
                  <a:lnTo>
                    <a:pt x="1257" y="100"/>
                  </a:lnTo>
                  <a:lnTo>
                    <a:pt x="1257" y="102"/>
                  </a:lnTo>
                  <a:lnTo>
                    <a:pt x="1253" y="102"/>
                  </a:lnTo>
                  <a:lnTo>
                    <a:pt x="1251" y="103"/>
                  </a:lnTo>
                  <a:lnTo>
                    <a:pt x="1241" y="103"/>
                  </a:lnTo>
                  <a:lnTo>
                    <a:pt x="1241" y="105"/>
                  </a:lnTo>
                  <a:lnTo>
                    <a:pt x="1239" y="105"/>
                  </a:lnTo>
                  <a:lnTo>
                    <a:pt x="1238" y="103"/>
                  </a:lnTo>
                  <a:lnTo>
                    <a:pt x="1225" y="103"/>
                  </a:lnTo>
                  <a:lnTo>
                    <a:pt x="1223" y="102"/>
                  </a:lnTo>
                  <a:lnTo>
                    <a:pt x="1222" y="102"/>
                  </a:lnTo>
                  <a:lnTo>
                    <a:pt x="1222" y="100"/>
                  </a:lnTo>
                  <a:lnTo>
                    <a:pt x="1220" y="99"/>
                  </a:lnTo>
                  <a:lnTo>
                    <a:pt x="1219" y="99"/>
                  </a:lnTo>
                  <a:lnTo>
                    <a:pt x="1217" y="97"/>
                  </a:lnTo>
                  <a:lnTo>
                    <a:pt x="1216" y="94"/>
                  </a:lnTo>
                  <a:lnTo>
                    <a:pt x="1213" y="94"/>
                  </a:lnTo>
                  <a:lnTo>
                    <a:pt x="1210" y="96"/>
                  </a:lnTo>
                  <a:lnTo>
                    <a:pt x="1204" y="94"/>
                  </a:lnTo>
                  <a:lnTo>
                    <a:pt x="1199" y="96"/>
                  </a:lnTo>
                  <a:lnTo>
                    <a:pt x="1198" y="96"/>
                  </a:lnTo>
                  <a:lnTo>
                    <a:pt x="1195" y="93"/>
                  </a:lnTo>
                  <a:lnTo>
                    <a:pt x="1195" y="96"/>
                  </a:lnTo>
                  <a:lnTo>
                    <a:pt x="1193" y="96"/>
                  </a:lnTo>
                  <a:lnTo>
                    <a:pt x="1193" y="94"/>
                  </a:lnTo>
                  <a:lnTo>
                    <a:pt x="1178" y="94"/>
                  </a:lnTo>
                  <a:lnTo>
                    <a:pt x="1178" y="96"/>
                  </a:lnTo>
                  <a:lnTo>
                    <a:pt x="1175" y="94"/>
                  </a:lnTo>
                  <a:lnTo>
                    <a:pt x="1174" y="96"/>
                  </a:lnTo>
                  <a:lnTo>
                    <a:pt x="1166" y="96"/>
                  </a:lnTo>
                  <a:lnTo>
                    <a:pt x="1165" y="97"/>
                  </a:lnTo>
                  <a:lnTo>
                    <a:pt x="1156" y="97"/>
                  </a:lnTo>
                  <a:lnTo>
                    <a:pt x="1151" y="93"/>
                  </a:lnTo>
                  <a:lnTo>
                    <a:pt x="1144" y="93"/>
                  </a:lnTo>
                  <a:lnTo>
                    <a:pt x="1142" y="94"/>
                  </a:lnTo>
                  <a:lnTo>
                    <a:pt x="1142" y="96"/>
                  </a:lnTo>
                  <a:lnTo>
                    <a:pt x="1127" y="96"/>
                  </a:lnTo>
                  <a:lnTo>
                    <a:pt x="1126" y="97"/>
                  </a:lnTo>
                  <a:lnTo>
                    <a:pt x="1126" y="99"/>
                  </a:lnTo>
                  <a:lnTo>
                    <a:pt x="1123" y="99"/>
                  </a:lnTo>
                  <a:lnTo>
                    <a:pt x="1121" y="97"/>
                  </a:lnTo>
                  <a:lnTo>
                    <a:pt x="1112" y="97"/>
                  </a:lnTo>
                  <a:lnTo>
                    <a:pt x="1112" y="96"/>
                  </a:lnTo>
                  <a:lnTo>
                    <a:pt x="1111" y="96"/>
                  </a:lnTo>
                  <a:lnTo>
                    <a:pt x="1109" y="94"/>
                  </a:lnTo>
                  <a:lnTo>
                    <a:pt x="1108" y="96"/>
                  </a:lnTo>
                  <a:lnTo>
                    <a:pt x="1105" y="93"/>
                  </a:lnTo>
                  <a:lnTo>
                    <a:pt x="1096" y="93"/>
                  </a:lnTo>
                  <a:lnTo>
                    <a:pt x="1093" y="94"/>
                  </a:lnTo>
                  <a:lnTo>
                    <a:pt x="1091" y="96"/>
                  </a:lnTo>
                  <a:lnTo>
                    <a:pt x="1090" y="96"/>
                  </a:lnTo>
                  <a:lnTo>
                    <a:pt x="1085" y="100"/>
                  </a:lnTo>
                  <a:lnTo>
                    <a:pt x="1084" y="103"/>
                  </a:lnTo>
                  <a:lnTo>
                    <a:pt x="1079" y="108"/>
                  </a:lnTo>
                  <a:lnTo>
                    <a:pt x="1079" y="111"/>
                  </a:lnTo>
                  <a:lnTo>
                    <a:pt x="1078" y="112"/>
                  </a:lnTo>
                  <a:lnTo>
                    <a:pt x="1078" y="117"/>
                  </a:lnTo>
                  <a:lnTo>
                    <a:pt x="1075" y="120"/>
                  </a:lnTo>
                  <a:lnTo>
                    <a:pt x="1075" y="124"/>
                  </a:lnTo>
                  <a:lnTo>
                    <a:pt x="1073" y="126"/>
                  </a:lnTo>
                  <a:lnTo>
                    <a:pt x="1073" y="127"/>
                  </a:lnTo>
                  <a:lnTo>
                    <a:pt x="1075" y="133"/>
                  </a:lnTo>
                  <a:lnTo>
                    <a:pt x="1075" y="135"/>
                  </a:lnTo>
                  <a:lnTo>
                    <a:pt x="1076" y="136"/>
                  </a:lnTo>
                  <a:lnTo>
                    <a:pt x="1076" y="138"/>
                  </a:lnTo>
                  <a:lnTo>
                    <a:pt x="1075" y="139"/>
                  </a:lnTo>
                  <a:lnTo>
                    <a:pt x="1076" y="141"/>
                  </a:lnTo>
                  <a:lnTo>
                    <a:pt x="1076" y="145"/>
                  </a:lnTo>
                  <a:lnTo>
                    <a:pt x="1078" y="147"/>
                  </a:lnTo>
                  <a:lnTo>
                    <a:pt x="1084" y="157"/>
                  </a:lnTo>
                  <a:lnTo>
                    <a:pt x="1087" y="160"/>
                  </a:lnTo>
                  <a:lnTo>
                    <a:pt x="1090" y="160"/>
                  </a:lnTo>
                  <a:lnTo>
                    <a:pt x="1090" y="159"/>
                  </a:lnTo>
                  <a:lnTo>
                    <a:pt x="1093" y="159"/>
                  </a:lnTo>
                  <a:lnTo>
                    <a:pt x="1093" y="160"/>
                  </a:lnTo>
                  <a:lnTo>
                    <a:pt x="1094" y="162"/>
                  </a:lnTo>
                  <a:lnTo>
                    <a:pt x="1097" y="162"/>
                  </a:lnTo>
                  <a:lnTo>
                    <a:pt x="1097" y="163"/>
                  </a:lnTo>
                  <a:lnTo>
                    <a:pt x="1100" y="168"/>
                  </a:lnTo>
                  <a:lnTo>
                    <a:pt x="1100" y="171"/>
                  </a:lnTo>
                  <a:lnTo>
                    <a:pt x="1099" y="172"/>
                  </a:lnTo>
                  <a:lnTo>
                    <a:pt x="1102" y="175"/>
                  </a:lnTo>
                  <a:lnTo>
                    <a:pt x="1102" y="176"/>
                  </a:lnTo>
                  <a:lnTo>
                    <a:pt x="1103" y="178"/>
                  </a:lnTo>
                  <a:lnTo>
                    <a:pt x="1103" y="179"/>
                  </a:lnTo>
                  <a:lnTo>
                    <a:pt x="1105" y="181"/>
                  </a:lnTo>
                  <a:lnTo>
                    <a:pt x="1111" y="178"/>
                  </a:lnTo>
                  <a:lnTo>
                    <a:pt x="1112" y="178"/>
                  </a:lnTo>
                  <a:lnTo>
                    <a:pt x="1111" y="179"/>
                  </a:lnTo>
                  <a:lnTo>
                    <a:pt x="1112" y="179"/>
                  </a:lnTo>
                  <a:lnTo>
                    <a:pt x="1112" y="181"/>
                  </a:lnTo>
                  <a:lnTo>
                    <a:pt x="1117" y="181"/>
                  </a:lnTo>
                  <a:lnTo>
                    <a:pt x="1118" y="179"/>
                  </a:lnTo>
                  <a:lnTo>
                    <a:pt x="1120" y="179"/>
                  </a:lnTo>
                  <a:lnTo>
                    <a:pt x="1120" y="181"/>
                  </a:lnTo>
                  <a:lnTo>
                    <a:pt x="1121" y="181"/>
                  </a:lnTo>
                  <a:lnTo>
                    <a:pt x="1123" y="182"/>
                  </a:lnTo>
                  <a:lnTo>
                    <a:pt x="1127" y="178"/>
                  </a:lnTo>
                  <a:lnTo>
                    <a:pt x="1127" y="175"/>
                  </a:lnTo>
                  <a:lnTo>
                    <a:pt x="1129" y="172"/>
                  </a:lnTo>
                  <a:lnTo>
                    <a:pt x="1133" y="168"/>
                  </a:lnTo>
                  <a:lnTo>
                    <a:pt x="1133" y="166"/>
                  </a:lnTo>
                  <a:lnTo>
                    <a:pt x="1141" y="159"/>
                  </a:lnTo>
                  <a:lnTo>
                    <a:pt x="1142" y="156"/>
                  </a:lnTo>
                  <a:lnTo>
                    <a:pt x="1147" y="156"/>
                  </a:lnTo>
                  <a:lnTo>
                    <a:pt x="1147" y="154"/>
                  </a:lnTo>
                  <a:lnTo>
                    <a:pt x="1150" y="154"/>
                  </a:lnTo>
                  <a:lnTo>
                    <a:pt x="1150" y="157"/>
                  </a:lnTo>
                  <a:lnTo>
                    <a:pt x="1151" y="159"/>
                  </a:lnTo>
                  <a:lnTo>
                    <a:pt x="1151" y="160"/>
                  </a:lnTo>
                  <a:lnTo>
                    <a:pt x="1163" y="160"/>
                  </a:lnTo>
                  <a:lnTo>
                    <a:pt x="1165" y="159"/>
                  </a:lnTo>
                  <a:lnTo>
                    <a:pt x="1171" y="159"/>
                  </a:lnTo>
                  <a:lnTo>
                    <a:pt x="1172" y="157"/>
                  </a:lnTo>
                  <a:lnTo>
                    <a:pt x="1172" y="154"/>
                  </a:lnTo>
                  <a:lnTo>
                    <a:pt x="1174" y="153"/>
                  </a:lnTo>
                  <a:lnTo>
                    <a:pt x="1175" y="153"/>
                  </a:lnTo>
                  <a:lnTo>
                    <a:pt x="1184" y="151"/>
                  </a:lnTo>
                  <a:lnTo>
                    <a:pt x="1187" y="151"/>
                  </a:lnTo>
                  <a:lnTo>
                    <a:pt x="1190" y="153"/>
                  </a:lnTo>
                  <a:lnTo>
                    <a:pt x="1193" y="153"/>
                  </a:lnTo>
                  <a:lnTo>
                    <a:pt x="1193" y="151"/>
                  </a:lnTo>
                  <a:lnTo>
                    <a:pt x="1195" y="151"/>
                  </a:lnTo>
                  <a:lnTo>
                    <a:pt x="1196" y="153"/>
                  </a:lnTo>
                  <a:lnTo>
                    <a:pt x="1207" y="153"/>
                  </a:lnTo>
                  <a:lnTo>
                    <a:pt x="1208" y="151"/>
                  </a:lnTo>
                  <a:lnTo>
                    <a:pt x="1210" y="151"/>
                  </a:lnTo>
                  <a:lnTo>
                    <a:pt x="1207" y="150"/>
                  </a:lnTo>
                  <a:lnTo>
                    <a:pt x="1205" y="148"/>
                  </a:lnTo>
                  <a:lnTo>
                    <a:pt x="1199" y="148"/>
                  </a:lnTo>
                  <a:lnTo>
                    <a:pt x="1199" y="147"/>
                  </a:lnTo>
                  <a:lnTo>
                    <a:pt x="1201" y="147"/>
                  </a:lnTo>
                  <a:lnTo>
                    <a:pt x="1202" y="145"/>
                  </a:lnTo>
                  <a:lnTo>
                    <a:pt x="1213" y="145"/>
                  </a:lnTo>
                  <a:lnTo>
                    <a:pt x="1213" y="144"/>
                  </a:lnTo>
                  <a:lnTo>
                    <a:pt x="1214" y="144"/>
                  </a:lnTo>
                  <a:lnTo>
                    <a:pt x="1214" y="142"/>
                  </a:lnTo>
                  <a:lnTo>
                    <a:pt x="1222" y="144"/>
                  </a:lnTo>
                  <a:lnTo>
                    <a:pt x="1223" y="144"/>
                  </a:lnTo>
                  <a:lnTo>
                    <a:pt x="1228" y="145"/>
                  </a:lnTo>
                  <a:lnTo>
                    <a:pt x="1229" y="147"/>
                  </a:lnTo>
                  <a:lnTo>
                    <a:pt x="1230" y="147"/>
                  </a:lnTo>
                  <a:lnTo>
                    <a:pt x="1230" y="150"/>
                  </a:lnTo>
                  <a:lnTo>
                    <a:pt x="1232" y="150"/>
                  </a:lnTo>
                  <a:lnTo>
                    <a:pt x="1232" y="156"/>
                  </a:lnTo>
                  <a:lnTo>
                    <a:pt x="1230" y="156"/>
                  </a:lnTo>
                  <a:lnTo>
                    <a:pt x="1230" y="157"/>
                  </a:lnTo>
                  <a:lnTo>
                    <a:pt x="1229" y="159"/>
                  </a:lnTo>
                  <a:lnTo>
                    <a:pt x="1229" y="163"/>
                  </a:lnTo>
                  <a:lnTo>
                    <a:pt x="1228" y="165"/>
                  </a:lnTo>
                  <a:lnTo>
                    <a:pt x="1223" y="165"/>
                  </a:lnTo>
                  <a:lnTo>
                    <a:pt x="1222" y="163"/>
                  </a:lnTo>
                  <a:lnTo>
                    <a:pt x="1222" y="162"/>
                  </a:lnTo>
                  <a:lnTo>
                    <a:pt x="1220" y="162"/>
                  </a:lnTo>
                  <a:lnTo>
                    <a:pt x="1219" y="160"/>
                  </a:lnTo>
                  <a:lnTo>
                    <a:pt x="1219" y="157"/>
                  </a:lnTo>
                  <a:lnTo>
                    <a:pt x="1217" y="157"/>
                  </a:lnTo>
                  <a:lnTo>
                    <a:pt x="1217" y="156"/>
                  </a:lnTo>
                  <a:lnTo>
                    <a:pt x="1216" y="156"/>
                  </a:lnTo>
                  <a:lnTo>
                    <a:pt x="1214" y="157"/>
                  </a:lnTo>
                  <a:lnTo>
                    <a:pt x="1211" y="157"/>
                  </a:lnTo>
                  <a:lnTo>
                    <a:pt x="1208" y="159"/>
                  </a:lnTo>
                  <a:lnTo>
                    <a:pt x="1202" y="159"/>
                  </a:lnTo>
                  <a:lnTo>
                    <a:pt x="1201" y="163"/>
                  </a:lnTo>
                  <a:lnTo>
                    <a:pt x="1201" y="165"/>
                  </a:lnTo>
                  <a:lnTo>
                    <a:pt x="1199" y="166"/>
                  </a:lnTo>
                  <a:lnTo>
                    <a:pt x="1199" y="168"/>
                  </a:lnTo>
                  <a:lnTo>
                    <a:pt x="1198" y="168"/>
                  </a:lnTo>
                  <a:lnTo>
                    <a:pt x="1195" y="171"/>
                  </a:lnTo>
                  <a:lnTo>
                    <a:pt x="1195" y="172"/>
                  </a:lnTo>
                  <a:lnTo>
                    <a:pt x="1192" y="173"/>
                  </a:lnTo>
                  <a:lnTo>
                    <a:pt x="1190" y="176"/>
                  </a:lnTo>
                  <a:lnTo>
                    <a:pt x="1183" y="184"/>
                  </a:lnTo>
                  <a:lnTo>
                    <a:pt x="1183" y="185"/>
                  </a:lnTo>
                  <a:lnTo>
                    <a:pt x="1177" y="188"/>
                  </a:lnTo>
                  <a:lnTo>
                    <a:pt x="1175" y="190"/>
                  </a:lnTo>
                  <a:lnTo>
                    <a:pt x="1171" y="190"/>
                  </a:lnTo>
                  <a:lnTo>
                    <a:pt x="1169" y="191"/>
                  </a:lnTo>
                  <a:lnTo>
                    <a:pt x="1168" y="191"/>
                  </a:lnTo>
                  <a:lnTo>
                    <a:pt x="1166" y="190"/>
                  </a:lnTo>
                  <a:lnTo>
                    <a:pt x="1166" y="191"/>
                  </a:lnTo>
                  <a:lnTo>
                    <a:pt x="1165" y="193"/>
                  </a:lnTo>
                  <a:lnTo>
                    <a:pt x="1159" y="193"/>
                  </a:lnTo>
                  <a:lnTo>
                    <a:pt x="1159" y="194"/>
                  </a:lnTo>
                  <a:lnTo>
                    <a:pt x="1157" y="194"/>
                  </a:lnTo>
                  <a:lnTo>
                    <a:pt x="1156" y="196"/>
                  </a:lnTo>
                  <a:lnTo>
                    <a:pt x="1156" y="197"/>
                  </a:lnTo>
                  <a:lnTo>
                    <a:pt x="1154" y="200"/>
                  </a:lnTo>
                  <a:lnTo>
                    <a:pt x="1153" y="202"/>
                  </a:lnTo>
                  <a:lnTo>
                    <a:pt x="1153" y="203"/>
                  </a:lnTo>
                  <a:lnTo>
                    <a:pt x="1151" y="203"/>
                  </a:lnTo>
                  <a:lnTo>
                    <a:pt x="1150" y="205"/>
                  </a:lnTo>
                  <a:lnTo>
                    <a:pt x="1144" y="205"/>
                  </a:lnTo>
                  <a:lnTo>
                    <a:pt x="1144" y="203"/>
                  </a:lnTo>
                  <a:lnTo>
                    <a:pt x="1142" y="203"/>
                  </a:lnTo>
                  <a:lnTo>
                    <a:pt x="1142" y="202"/>
                  </a:lnTo>
                  <a:lnTo>
                    <a:pt x="1141" y="202"/>
                  </a:lnTo>
                  <a:lnTo>
                    <a:pt x="1138" y="199"/>
                  </a:lnTo>
                  <a:lnTo>
                    <a:pt x="1136" y="199"/>
                  </a:lnTo>
                  <a:lnTo>
                    <a:pt x="1135" y="197"/>
                  </a:lnTo>
                  <a:lnTo>
                    <a:pt x="1133" y="199"/>
                  </a:lnTo>
                  <a:lnTo>
                    <a:pt x="1133" y="202"/>
                  </a:lnTo>
                  <a:lnTo>
                    <a:pt x="1135" y="200"/>
                  </a:lnTo>
                  <a:lnTo>
                    <a:pt x="1135" y="208"/>
                  </a:lnTo>
                  <a:lnTo>
                    <a:pt x="1136" y="206"/>
                  </a:lnTo>
                  <a:lnTo>
                    <a:pt x="1136" y="205"/>
                  </a:lnTo>
                  <a:lnTo>
                    <a:pt x="1138" y="205"/>
                  </a:lnTo>
                  <a:lnTo>
                    <a:pt x="1139" y="208"/>
                  </a:lnTo>
                  <a:lnTo>
                    <a:pt x="1141" y="208"/>
                  </a:lnTo>
                  <a:lnTo>
                    <a:pt x="1141" y="209"/>
                  </a:lnTo>
                  <a:lnTo>
                    <a:pt x="1142" y="209"/>
                  </a:lnTo>
                  <a:lnTo>
                    <a:pt x="1144" y="211"/>
                  </a:lnTo>
                  <a:lnTo>
                    <a:pt x="1145" y="214"/>
                  </a:lnTo>
                  <a:lnTo>
                    <a:pt x="1145" y="215"/>
                  </a:lnTo>
                  <a:lnTo>
                    <a:pt x="1148" y="217"/>
                  </a:lnTo>
                  <a:lnTo>
                    <a:pt x="1151" y="217"/>
                  </a:lnTo>
                  <a:lnTo>
                    <a:pt x="1154" y="220"/>
                  </a:lnTo>
                  <a:lnTo>
                    <a:pt x="1157" y="221"/>
                  </a:lnTo>
                  <a:lnTo>
                    <a:pt x="1159" y="223"/>
                  </a:lnTo>
                  <a:lnTo>
                    <a:pt x="1159" y="226"/>
                  </a:lnTo>
                  <a:lnTo>
                    <a:pt x="1160" y="226"/>
                  </a:lnTo>
                  <a:lnTo>
                    <a:pt x="1160" y="227"/>
                  </a:lnTo>
                  <a:lnTo>
                    <a:pt x="1162" y="229"/>
                  </a:lnTo>
                  <a:lnTo>
                    <a:pt x="1163" y="232"/>
                  </a:lnTo>
                  <a:lnTo>
                    <a:pt x="1166" y="235"/>
                  </a:lnTo>
                  <a:lnTo>
                    <a:pt x="1166" y="239"/>
                  </a:lnTo>
                  <a:lnTo>
                    <a:pt x="1168" y="242"/>
                  </a:lnTo>
                  <a:lnTo>
                    <a:pt x="1169" y="244"/>
                  </a:lnTo>
                  <a:lnTo>
                    <a:pt x="1172" y="244"/>
                  </a:lnTo>
                  <a:lnTo>
                    <a:pt x="1172" y="245"/>
                  </a:lnTo>
                  <a:lnTo>
                    <a:pt x="1174" y="245"/>
                  </a:lnTo>
                  <a:lnTo>
                    <a:pt x="1174" y="248"/>
                  </a:lnTo>
                  <a:lnTo>
                    <a:pt x="1178" y="248"/>
                  </a:lnTo>
                  <a:lnTo>
                    <a:pt x="1180" y="250"/>
                  </a:lnTo>
                  <a:lnTo>
                    <a:pt x="1178" y="253"/>
                  </a:lnTo>
                  <a:lnTo>
                    <a:pt x="1178" y="256"/>
                  </a:lnTo>
                  <a:lnTo>
                    <a:pt x="1183" y="260"/>
                  </a:lnTo>
                  <a:lnTo>
                    <a:pt x="1184" y="260"/>
                  </a:lnTo>
                  <a:lnTo>
                    <a:pt x="1184" y="259"/>
                  </a:lnTo>
                  <a:lnTo>
                    <a:pt x="1186" y="259"/>
                  </a:lnTo>
                  <a:lnTo>
                    <a:pt x="1186" y="265"/>
                  </a:lnTo>
                  <a:lnTo>
                    <a:pt x="1183" y="265"/>
                  </a:lnTo>
                  <a:lnTo>
                    <a:pt x="1181" y="263"/>
                  </a:lnTo>
                  <a:lnTo>
                    <a:pt x="1181" y="265"/>
                  </a:lnTo>
                  <a:lnTo>
                    <a:pt x="1178" y="268"/>
                  </a:lnTo>
                  <a:lnTo>
                    <a:pt x="1181" y="271"/>
                  </a:lnTo>
                  <a:lnTo>
                    <a:pt x="1183" y="271"/>
                  </a:lnTo>
                  <a:lnTo>
                    <a:pt x="1183" y="274"/>
                  </a:lnTo>
                  <a:lnTo>
                    <a:pt x="1180" y="271"/>
                  </a:lnTo>
                  <a:lnTo>
                    <a:pt x="1177" y="271"/>
                  </a:lnTo>
                  <a:lnTo>
                    <a:pt x="1177" y="272"/>
                  </a:lnTo>
                  <a:lnTo>
                    <a:pt x="1178" y="274"/>
                  </a:lnTo>
                  <a:lnTo>
                    <a:pt x="1178" y="278"/>
                  </a:lnTo>
                  <a:lnTo>
                    <a:pt x="1177" y="278"/>
                  </a:lnTo>
                  <a:lnTo>
                    <a:pt x="1175" y="280"/>
                  </a:lnTo>
                  <a:lnTo>
                    <a:pt x="1174" y="280"/>
                  </a:lnTo>
                  <a:lnTo>
                    <a:pt x="1175" y="281"/>
                  </a:lnTo>
                  <a:lnTo>
                    <a:pt x="1175" y="283"/>
                  </a:lnTo>
                  <a:lnTo>
                    <a:pt x="1177" y="283"/>
                  </a:lnTo>
                  <a:lnTo>
                    <a:pt x="1177" y="284"/>
                  </a:lnTo>
                  <a:lnTo>
                    <a:pt x="1180" y="284"/>
                  </a:lnTo>
                  <a:lnTo>
                    <a:pt x="1180" y="286"/>
                  </a:lnTo>
                  <a:lnTo>
                    <a:pt x="1181" y="287"/>
                  </a:lnTo>
                  <a:lnTo>
                    <a:pt x="1186" y="287"/>
                  </a:lnTo>
                  <a:lnTo>
                    <a:pt x="1186" y="289"/>
                  </a:lnTo>
                  <a:lnTo>
                    <a:pt x="1190" y="293"/>
                  </a:lnTo>
                  <a:lnTo>
                    <a:pt x="1190" y="295"/>
                  </a:lnTo>
                  <a:lnTo>
                    <a:pt x="1196" y="295"/>
                  </a:lnTo>
                  <a:lnTo>
                    <a:pt x="1196" y="296"/>
                  </a:lnTo>
                  <a:lnTo>
                    <a:pt x="1195" y="296"/>
                  </a:lnTo>
                  <a:lnTo>
                    <a:pt x="1195" y="298"/>
                  </a:lnTo>
                  <a:lnTo>
                    <a:pt x="1190" y="298"/>
                  </a:lnTo>
                  <a:lnTo>
                    <a:pt x="1190" y="299"/>
                  </a:lnTo>
                  <a:lnTo>
                    <a:pt x="1196" y="299"/>
                  </a:lnTo>
                  <a:lnTo>
                    <a:pt x="1196" y="305"/>
                  </a:lnTo>
                  <a:lnTo>
                    <a:pt x="1198" y="307"/>
                  </a:lnTo>
                  <a:lnTo>
                    <a:pt x="1198" y="305"/>
                  </a:lnTo>
                  <a:lnTo>
                    <a:pt x="1204" y="305"/>
                  </a:lnTo>
                  <a:lnTo>
                    <a:pt x="1201" y="302"/>
                  </a:lnTo>
                  <a:lnTo>
                    <a:pt x="1204" y="302"/>
                  </a:lnTo>
                  <a:lnTo>
                    <a:pt x="1207" y="305"/>
                  </a:lnTo>
                  <a:lnTo>
                    <a:pt x="1207" y="317"/>
                  </a:lnTo>
                  <a:lnTo>
                    <a:pt x="1204" y="320"/>
                  </a:lnTo>
                  <a:lnTo>
                    <a:pt x="1204" y="319"/>
                  </a:lnTo>
                  <a:lnTo>
                    <a:pt x="1201" y="317"/>
                  </a:lnTo>
                  <a:lnTo>
                    <a:pt x="1199" y="314"/>
                  </a:lnTo>
                  <a:lnTo>
                    <a:pt x="1196" y="314"/>
                  </a:lnTo>
                  <a:lnTo>
                    <a:pt x="1199" y="317"/>
                  </a:lnTo>
                  <a:lnTo>
                    <a:pt x="1199" y="319"/>
                  </a:lnTo>
                  <a:lnTo>
                    <a:pt x="1201" y="319"/>
                  </a:lnTo>
                  <a:lnTo>
                    <a:pt x="1201" y="322"/>
                  </a:lnTo>
                  <a:lnTo>
                    <a:pt x="1199" y="322"/>
                  </a:lnTo>
                  <a:lnTo>
                    <a:pt x="1198" y="320"/>
                  </a:lnTo>
                  <a:lnTo>
                    <a:pt x="1198" y="322"/>
                  </a:lnTo>
                  <a:lnTo>
                    <a:pt x="1196" y="322"/>
                  </a:lnTo>
                  <a:lnTo>
                    <a:pt x="1196" y="319"/>
                  </a:lnTo>
                  <a:lnTo>
                    <a:pt x="1195" y="319"/>
                  </a:lnTo>
                  <a:lnTo>
                    <a:pt x="1193" y="317"/>
                  </a:lnTo>
                  <a:lnTo>
                    <a:pt x="1192" y="319"/>
                  </a:lnTo>
                  <a:lnTo>
                    <a:pt x="1190" y="319"/>
                  </a:lnTo>
                  <a:lnTo>
                    <a:pt x="1189" y="320"/>
                  </a:lnTo>
                  <a:lnTo>
                    <a:pt x="1187" y="319"/>
                  </a:lnTo>
                  <a:lnTo>
                    <a:pt x="1186" y="319"/>
                  </a:lnTo>
                  <a:lnTo>
                    <a:pt x="1183" y="320"/>
                  </a:lnTo>
                  <a:lnTo>
                    <a:pt x="1180" y="320"/>
                  </a:lnTo>
                  <a:lnTo>
                    <a:pt x="1177" y="322"/>
                  </a:lnTo>
                  <a:lnTo>
                    <a:pt x="1174" y="322"/>
                  </a:lnTo>
                  <a:lnTo>
                    <a:pt x="1172" y="323"/>
                  </a:lnTo>
                  <a:lnTo>
                    <a:pt x="1171" y="323"/>
                  </a:lnTo>
                  <a:lnTo>
                    <a:pt x="1168" y="326"/>
                  </a:lnTo>
                  <a:lnTo>
                    <a:pt x="1168" y="334"/>
                  </a:lnTo>
                  <a:lnTo>
                    <a:pt x="1171" y="337"/>
                  </a:lnTo>
                  <a:lnTo>
                    <a:pt x="1169" y="338"/>
                  </a:lnTo>
                  <a:lnTo>
                    <a:pt x="1159" y="338"/>
                  </a:lnTo>
                  <a:lnTo>
                    <a:pt x="1157" y="337"/>
                  </a:lnTo>
                  <a:lnTo>
                    <a:pt x="1153" y="337"/>
                  </a:lnTo>
                  <a:lnTo>
                    <a:pt x="1153" y="338"/>
                  </a:lnTo>
                  <a:lnTo>
                    <a:pt x="1151" y="338"/>
                  </a:lnTo>
                  <a:lnTo>
                    <a:pt x="1151" y="337"/>
                  </a:lnTo>
                  <a:lnTo>
                    <a:pt x="1150" y="335"/>
                  </a:lnTo>
                  <a:lnTo>
                    <a:pt x="1148" y="335"/>
                  </a:lnTo>
                  <a:lnTo>
                    <a:pt x="1145" y="334"/>
                  </a:lnTo>
                  <a:lnTo>
                    <a:pt x="1142" y="331"/>
                  </a:lnTo>
                  <a:lnTo>
                    <a:pt x="1142" y="329"/>
                  </a:lnTo>
                  <a:lnTo>
                    <a:pt x="1141" y="328"/>
                  </a:lnTo>
                  <a:lnTo>
                    <a:pt x="1141" y="326"/>
                  </a:lnTo>
                  <a:lnTo>
                    <a:pt x="1144" y="320"/>
                  </a:lnTo>
                  <a:lnTo>
                    <a:pt x="1144" y="310"/>
                  </a:lnTo>
                  <a:lnTo>
                    <a:pt x="1145" y="310"/>
                  </a:lnTo>
                  <a:lnTo>
                    <a:pt x="1145" y="311"/>
                  </a:lnTo>
                  <a:lnTo>
                    <a:pt x="1147" y="310"/>
                  </a:lnTo>
                  <a:lnTo>
                    <a:pt x="1148" y="307"/>
                  </a:lnTo>
                  <a:lnTo>
                    <a:pt x="1148" y="304"/>
                  </a:lnTo>
                  <a:lnTo>
                    <a:pt x="1145" y="301"/>
                  </a:lnTo>
                  <a:lnTo>
                    <a:pt x="1139" y="299"/>
                  </a:lnTo>
                  <a:lnTo>
                    <a:pt x="1136" y="298"/>
                  </a:lnTo>
                  <a:lnTo>
                    <a:pt x="1135" y="298"/>
                  </a:lnTo>
                  <a:lnTo>
                    <a:pt x="1135" y="296"/>
                  </a:lnTo>
                  <a:lnTo>
                    <a:pt x="1133" y="295"/>
                  </a:lnTo>
                  <a:lnTo>
                    <a:pt x="1130" y="295"/>
                  </a:lnTo>
                  <a:lnTo>
                    <a:pt x="1130" y="293"/>
                  </a:lnTo>
                  <a:lnTo>
                    <a:pt x="1132" y="293"/>
                  </a:lnTo>
                  <a:lnTo>
                    <a:pt x="1132" y="292"/>
                  </a:lnTo>
                  <a:lnTo>
                    <a:pt x="1130" y="290"/>
                  </a:lnTo>
                  <a:lnTo>
                    <a:pt x="1127" y="290"/>
                  </a:lnTo>
                  <a:lnTo>
                    <a:pt x="1124" y="287"/>
                  </a:lnTo>
                  <a:lnTo>
                    <a:pt x="1114" y="278"/>
                  </a:lnTo>
                  <a:lnTo>
                    <a:pt x="1114" y="272"/>
                  </a:lnTo>
                  <a:lnTo>
                    <a:pt x="1117" y="269"/>
                  </a:lnTo>
                  <a:lnTo>
                    <a:pt x="1118" y="266"/>
                  </a:lnTo>
                  <a:lnTo>
                    <a:pt x="1120" y="266"/>
                  </a:lnTo>
                  <a:lnTo>
                    <a:pt x="1120" y="265"/>
                  </a:lnTo>
                  <a:lnTo>
                    <a:pt x="1121" y="265"/>
                  </a:lnTo>
                  <a:lnTo>
                    <a:pt x="1121" y="263"/>
                  </a:lnTo>
                  <a:lnTo>
                    <a:pt x="1123" y="263"/>
                  </a:lnTo>
                  <a:lnTo>
                    <a:pt x="1123" y="257"/>
                  </a:lnTo>
                  <a:lnTo>
                    <a:pt x="1121" y="257"/>
                  </a:lnTo>
                  <a:lnTo>
                    <a:pt x="1121" y="256"/>
                  </a:lnTo>
                  <a:lnTo>
                    <a:pt x="1123" y="254"/>
                  </a:lnTo>
                  <a:lnTo>
                    <a:pt x="1123" y="248"/>
                  </a:lnTo>
                  <a:lnTo>
                    <a:pt x="1121" y="248"/>
                  </a:lnTo>
                  <a:lnTo>
                    <a:pt x="1121" y="245"/>
                  </a:lnTo>
                  <a:lnTo>
                    <a:pt x="1120" y="245"/>
                  </a:lnTo>
                  <a:lnTo>
                    <a:pt x="1120" y="244"/>
                  </a:lnTo>
                  <a:lnTo>
                    <a:pt x="1121" y="244"/>
                  </a:lnTo>
                  <a:lnTo>
                    <a:pt x="1123" y="242"/>
                  </a:lnTo>
                  <a:lnTo>
                    <a:pt x="1121" y="241"/>
                  </a:lnTo>
                  <a:lnTo>
                    <a:pt x="1121" y="239"/>
                  </a:lnTo>
                  <a:lnTo>
                    <a:pt x="1120" y="239"/>
                  </a:lnTo>
                  <a:lnTo>
                    <a:pt x="1120" y="238"/>
                  </a:lnTo>
                  <a:lnTo>
                    <a:pt x="1112" y="238"/>
                  </a:lnTo>
                  <a:lnTo>
                    <a:pt x="1112" y="236"/>
                  </a:lnTo>
                  <a:lnTo>
                    <a:pt x="1108" y="236"/>
                  </a:lnTo>
                  <a:lnTo>
                    <a:pt x="1108" y="238"/>
                  </a:lnTo>
                  <a:lnTo>
                    <a:pt x="1105" y="238"/>
                  </a:lnTo>
                  <a:lnTo>
                    <a:pt x="1103" y="239"/>
                  </a:lnTo>
                  <a:lnTo>
                    <a:pt x="1100" y="239"/>
                  </a:lnTo>
                  <a:lnTo>
                    <a:pt x="1099" y="241"/>
                  </a:lnTo>
                  <a:lnTo>
                    <a:pt x="1099" y="242"/>
                  </a:lnTo>
                  <a:lnTo>
                    <a:pt x="1087" y="250"/>
                  </a:lnTo>
                  <a:lnTo>
                    <a:pt x="1085" y="251"/>
                  </a:lnTo>
                  <a:lnTo>
                    <a:pt x="1082" y="251"/>
                  </a:lnTo>
                  <a:lnTo>
                    <a:pt x="1082" y="253"/>
                  </a:lnTo>
                  <a:lnTo>
                    <a:pt x="1084" y="253"/>
                  </a:lnTo>
                  <a:lnTo>
                    <a:pt x="1084" y="256"/>
                  </a:lnTo>
                  <a:lnTo>
                    <a:pt x="1085" y="256"/>
                  </a:lnTo>
                  <a:lnTo>
                    <a:pt x="1085" y="259"/>
                  </a:lnTo>
                  <a:lnTo>
                    <a:pt x="1087" y="259"/>
                  </a:lnTo>
                  <a:lnTo>
                    <a:pt x="1087" y="260"/>
                  </a:lnTo>
                  <a:lnTo>
                    <a:pt x="1085" y="260"/>
                  </a:lnTo>
                  <a:lnTo>
                    <a:pt x="1087" y="262"/>
                  </a:lnTo>
                  <a:lnTo>
                    <a:pt x="1090" y="263"/>
                  </a:lnTo>
                  <a:lnTo>
                    <a:pt x="1091" y="263"/>
                  </a:lnTo>
                  <a:lnTo>
                    <a:pt x="1091" y="265"/>
                  </a:lnTo>
                  <a:lnTo>
                    <a:pt x="1093" y="266"/>
                  </a:lnTo>
                  <a:lnTo>
                    <a:pt x="1091" y="268"/>
                  </a:lnTo>
                  <a:lnTo>
                    <a:pt x="1093" y="269"/>
                  </a:lnTo>
                  <a:lnTo>
                    <a:pt x="1091" y="269"/>
                  </a:lnTo>
                  <a:lnTo>
                    <a:pt x="1091" y="272"/>
                  </a:lnTo>
                  <a:lnTo>
                    <a:pt x="1093" y="274"/>
                  </a:lnTo>
                  <a:lnTo>
                    <a:pt x="1091" y="274"/>
                  </a:lnTo>
                  <a:lnTo>
                    <a:pt x="1091" y="278"/>
                  </a:lnTo>
                  <a:lnTo>
                    <a:pt x="1093" y="280"/>
                  </a:lnTo>
                  <a:lnTo>
                    <a:pt x="1093" y="284"/>
                  </a:lnTo>
                  <a:lnTo>
                    <a:pt x="1094" y="286"/>
                  </a:lnTo>
                  <a:lnTo>
                    <a:pt x="1094" y="287"/>
                  </a:lnTo>
                  <a:lnTo>
                    <a:pt x="1093" y="289"/>
                  </a:lnTo>
                  <a:lnTo>
                    <a:pt x="1091" y="292"/>
                  </a:lnTo>
                  <a:lnTo>
                    <a:pt x="1090" y="293"/>
                  </a:lnTo>
                  <a:lnTo>
                    <a:pt x="1090" y="305"/>
                  </a:lnTo>
                  <a:lnTo>
                    <a:pt x="1091" y="307"/>
                  </a:lnTo>
                  <a:lnTo>
                    <a:pt x="1091" y="314"/>
                  </a:lnTo>
                  <a:lnTo>
                    <a:pt x="1090" y="317"/>
                  </a:lnTo>
                  <a:lnTo>
                    <a:pt x="1090" y="319"/>
                  </a:lnTo>
                  <a:lnTo>
                    <a:pt x="1091" y="320"/>
                  </a:lnTo>
                  <a:lnTo>
                    <a:pt x="1091" y="326"/>
                  </a:lnTo>
                  <a:lnTo>
                    <a:pt x="1093" y="326"/>
                  </a:lnTo>
                  <a:lnTo>
                    <a:pt x="1094" y="328"/>
                  </a:lnTo>
                  <a:lnTo>
                    <a:pt x="1094" y="329"/>
                  </a:lnTo>
                  <a:lnTo>
                    <a:pt x="1093" y="331"/>
                  </a:lnTo>
                  <a:lnTo>
                    <a:pt x="1091" y="335"/>
                  </a:lnTo>
                  <a:lnTo>
                    <a:pt x="1091" y="338"/>
                  </a:lnTo>
                  <a:lnTo>
                    <a:pt x="1088" y="338"/>
                  </a:lnTo>
                  <a:lnTo>
                    <a:pt x="1088" y="340"/>
                  </a:lnTo>
                  <a:lnTo>
                    <a:pt x="1087" y="346"/>
                  </a:lnTo>
                  <a:lnTo>
                    <a:pt x="1087" y="350"/>
                  </a:lnTo>
                  <a:lnTo>
                    <a:pt x="1085" y="352"/>
                  </a:lnTo>
                  <a:lnTo>
                    <a:pt x="1087" y="355"/>
                  </a:lnTo>
                  <a:lnTo>
                    <a:pt x="1088" y="356"/>
                  </a:lnTo>
                  <a:lnTo>
                    <a:pt x="1088" y="359"/>
                  </a:lnTo>
                  <a:lnTo>
                    <a:pt x="1091" y="361"/>
                  </a:lnTo>
                  <a:lnTo>
                    <a:pt x="1091" y="362"/>
                  </a:lnTo>
                  <a:lnTo>
                    <a:pt x="1093" y="370"/>
                  </a:lnTo>
                  <a:lnTo>
                    <a:pt x="1093" y="371"/>
                  </a:lnTo>
                  <a:lnTo>
                    <a:pt x="1094" y="371"/>
                  </a:lnTo>
                  <a:lnTo>
                    <a:pt x="1094" y="374"/>
                  </a:lnTo>
                  <a:lnTo>
                    <a:pt x="1093" y="374"/>
                  </a:lnTo>
                  <a:lnTo>
                    <a:pt x="1091" y="371"/>
                  </a:lnTo>
                  <a:lnTo>
                    <a:pt x="1090" y="371"/>
                  </a:lnTo>
                  <a:lnTo>
                    <a:pt x="1090" y="370"/>
                  </a:lnTo>
                  <a:lnTo>
                    <a:pt x="1088" y="368"/>
                  </a:lnTo>
                  <a:lnTo>
                    <a:pt x="1087" y="370"/>
                  </a:lnTo>
                  <a:lnTo>
                    <a:pt x="1085" y="370"/>
                  </a:lnTo>
                  <a:lnTo>
                    <a:pt x="1082" y="371"/>
                  </a:lnTo>
                  <a:lnTo>
                    <a:pt x="1081" y="371"/>
                  </a:lnTo>
                  <a:lnTo>
                    <a:pt x="1079" y="373"/>
                  </a:lnTo>
                  <a:lnTo>
                    <a:pt x="1073" y="373"/>
                  </a:lnTo>
                  <a:lnTo>
                    <a:pt x="1073" y="371"/>
                  </a:lnTo>
                  <a:lnTo>
                    <a:pt x="1069" y="371"/>
                  </a:lnTo>
                  <a:lnTo>
                    <a:pt x="1069" y="373"/>
                  </a:lnTo>
                  <a:lnTo>
                    <a:pt x="1068" y="374"/>
                  </a:lnTo>
                  <a:lnTo>
                    <a:pt x="1066" y="374"/>
                  </a:lnTo>
                  <a:lnTo>
                    <a:pt x="1066" y="377"/>
                  </a:lnTo>
                  <a:lnTo>
                    <a:pt x="1057" y="377"/>
                  </a:lnTo>
                  <a:lnTo>
                    <a:pt x="1057" y="374"/>
                  </a:lnTo>
                  <a:lnTo>
                    <a:pt x="1056" y="373"/>
                  </a:lnTo>
                  <a:lnTo>
                    <a:pt x="1054" y="374"/>
                  </a:lnTo>
                  <a:lnTo>
                    <a:pt x="1054" y="376"/>
                  </a:lnTo>
                  <a:lnTo>
                    <a:pt x="1053" y="376"/>
                  </a:lnTo>
                  <a:lnTo>
                    <a:pt x="1053" y="373"/>
                  </a:lnTo>
                  <a:lnTo>
                    <a:pt x="1051" y="371"/>
                  </a:lnTo>
                  <a:lnTo>
                    <a:pt x="1048" y="371"/>
                  </a:lnTo>
                  <a:lnTo>
                    <a:pt x="1050" y="373"/>
                  </a:lnTo>
                  <a:lnTo>
                    <a:pt x="1048" y="373"/>
                  </a:lnTo>
                  <a:lnTo>
                    <a:pt x="1047" y="371"/>
                  </a:lnTo>
                  <a:lnTo>
                    <a:pt x="1047" y="370"/>
                  </a:lnTo>
                  <a:lnTo>
                    <a:pt x="1048" y="370"/>
                  </a:lnTo>
                  <a:lnTo>
                    <a:pt x="1048" y="368"/>
                  </a:lnTo>
                  <a:lnTo>
                    <a:pt x="1047" y="368"/>
                  </a:lnTo>
                  <a:lnTo>
                    <a:pt x="1045" y="365"/>
                  </a:lnTo>
                  <a:lnTo>
                    <a:pt x="1044" y="364"/>
                  </a:lnTo>
                  <a:lnTo>
                    <a:pt x="1044" y="359"/>
                  </a:lnTo>
                  <a:lnTo>
                    <a:pt x="1045" y="358"/>
                  </a:lnTo>
                  <a:lnTo>
                    <a:pt x="1045" y="353"/>
                  </a:lnTo>
                  <a:lnTo>
                    <a:pt x="1047" y="352"/>
                  </a:lnTo>
                  <a:lnTo>
                    <a:pt x="1047" y="350"/>
                  </a:lnTo>
                  <a:lnTo>
                    <a:pt x="1048" y="350"/>
                  </a:lnTo>
                  <a:lnTo>
                    <a:pt x="1048" y="349"/>
                  </a:lnTo>
                  <a:lnTo>
                    <a:pt x="1050" y="349"/>
                  </a:lnTo>
                  <a:lnTo>
                    <a:pt x="1050" y="344"/>
                  </a:lnTo>
                  <a:lnTo>
                    <a:pt x="1051" y="341"/>
                  </a:lnTo>
                  <a:lnTo>
                    <a:pt x="1051" y="340"/>
                  </a:lnTo>
                  <a:lnTo>
                    <a:pt x="1050" y="334"/>
                  </a:lnTo>
                  <a:lnTo>
                    <a:pt x="1053" y="331"/>
                  </a:lnTo>
                  <a:lnTo>
                    <a:pt x="1053" y="329"/>
                  </a:lnTo>
                  <a:lnTo>
                    <a:pt x="1054" y="326"/>
                  </a:lnTo>
                  <a:lnTo>
                    <a:pt x="1056" y="319"/>
                  </a:lnTo>
                  <a:lnTo>
                    <a:pt x="1056" y="316"/>
                  </a:lnTo>
                  <a:lnTo>
                    <a:pt x="1057" y="314"/>
                  </a:lnTo>
                  <a:lnTo>
                    <a:pt x="1056" y="313"/>
                  </a:lnTo>
                  <a:lnTo>
                    <a:pt x="1056" y="308"/>
                  </a:lnTo>
                  <a:lnTo>
                    <a:pt x="1057" y="307"/>
                  </a:lnTo>
                  <a:lnTo>
                    <a:pt x="1056" y="305"/>
                  </a:lnTo>
                  <a:lnTo>
                    <a:pt x="1056" y="301"/>
                  </a:lnTo>
                  <a:lnTo>
                    <a:pt x="1057" y="299"/>
                  </a:lnTo>
                  <a:lnTo>
                    <a:pt x="1057" y="298"/>
                  </a:lnTo>
                  <a:lnTo>
                    <a:pt x="1056" y="299"/>
                  </a:lnTo>
                  <a:lnTo>
                    <a:pt x="1056" y="301"/>
                  </a:lnTo>
                  <a:lnTo>
                    <a:pt x="1054" y="301"/>
                  </a:lnTo>
                  <a:lnTo>
                    <a:pt x="1054" y="296"/>
                  </a:lnTo>
                  <a:lnTo>
                    <a:pt x="1051" y="292"/>
                  </a:lnTo>
                  <a:lnTo>
                    <a:pt x="1051" y="290"/>
                  </a:lnTo>
                  <a:lnTo>
                    <a:pt x="1048" y="287"/>
                  </a:lnTo>
                  <a:lnTo>
                    <a:pt x="1048" y="286"/>
                  </a:lnTo>
                  <a:lnTo>
                    <a:pt x="1050" y="284"/>
                  </a:lnTo>
                  <a:lnTo>
                    <a:pt x="1050" y="281"/>
                  </a:lnTo>
                  <a:lnTo>
                    <a:pt x="1051" y="280"/>
                  </a:lnTo>
                  <a:lnTo>
                    <a:pt x="1051" y="277"/>
                  </a:lnTo>
                  <a:lnTo>
                    <a:pt x="1050" y="277"/>
                  </a:lnTo>
                  <a:lnTo>
                    <a:pt x="1050" y="275"/>
                  </a:lnTo>
                  <a:lnTo>
                    <a:pt x="1047" y="275"/>
                  </a:lnTo>
                  <a:lnTo>
                    <a:pt x="1045" y="274"/>
                  </a:lnTo>
                  <a:lnTo>
                    <a:pt x="1041" y="274"/>
                  </a:lnTo>
                  <a:lnTo>
                    <a:pt x="1038" y="277"/>
                  </a:lnTo>
                  <a:lnTo>
                    <a:pt x="1036" y="277"/>
                  </a:lnTo>
                  <a:lnTo>
                    <a:pt x="1036" y="275"/>
                  </a:lnTo>
                  <a:lnTo>
                    <a:pt x="1035" y="275"/>
                  </a:lnTo>
                  <a:lnTo>
                    <a:pt x="1033" y="277"/>
                  </a:lnTo>
                  <a:lnTo>
                    <a:pt x="1029" y="277"/>
                  </a:lnTo>
                  <a:lnTo>
                    <a:pt x="1027" y="278"/>
                  </a:lnTo>
                  <a:lnTo>
                    <a:pt x="1026" y="278"/>
                  </a:lnTo>
                  <a:lnTo>
                    <a:pt x="1026" y="280"/>
                  </a:lnTo>
                  <a:lnTo>
                    <a:pt x="1024" y="280"/>
                  </a:lnTo>
                  <a:lnTo>
                    <a:pt x="1024" y="278"/>
                  </a:lnTo>
                  <a:lnTo>
                    <a:pt x="1023" y="274"/>
                  </a:lnTo>
                  <a:lnTo>
                    <a:pt x="1020" y="271"/>
                  </a:lnTo>
                  <a:lnTo>
                    <a:pt x="1020" y="269"/>
                  </a:lnTo>
                  <a:lnTo>
                    <a:pt x="1021" y="269"/>
                  </a:lnTo>
                  <a:lnTo>
                    <a:pt x="1021" y="268"/>
                  </a:lnTo>
                  <a:lnTo>
                    <a:pt x="1020" y="266"/>
                  </a:lnTo>
                  <a:lnTo>
                    <a:pt x="1020" y="262"/>
                  </a:lnTo>
                  <a:lnTo>
                    <a:pt x="1018" y="262"/>
                  </a:lnTo>
                  <a:lnTo>
                    <a:pt x="1018" y="260"/>
                  </a:lnTo>
                  <a:lnTo>
                    <a:pt x="1017" y="259"/>
                  </a:lnTo>
                  <a:lnTo>
                    <a:pt x="1017" y="257"/>
                  </a:lnTo>
                  <a:lnTo>
                    <a:pt x="1021" y="257"/>
                  </a:lnTo>
                  <a:lnTo>
                    <a:pt x="1021" y="251"/>
                  </a:lnTo>
                  <a:lnTo>
                    <a:pt x="1023" y="250"/>
                  </a:lnTo>
                  <a:lnTo>
                    <a:pt x="1023" y="247"/>
                  </a:lnTo>
                  <a:lnTo>
                    <a:pt x="1020" y="247"/>
                  </a:lnTo>
                  <a:lnTo>
                    <a:pt x="1017" y="248"/>
                  </a:lnTo>
                  <a:lnTo>
                    <a:pt x="1017" y="242"/>
                  </a:lnTo>
                  <a:lnTo>
                    <a:pt x="1018" y="242"/>
                  </a:lnTo>
                  <a:lnTo>
                    <a:pt x="1018" y="236"/>
                  </a:lnTo>
                  <a:lnTo>
                    <a:pt x="1020" y="236"/>
                  </a:lnTo>
                  <a:lnTo>
                    <a:pt x="1021" y="238"/>
                  </a:lnTo>
                  <a:lnTo>
                    <a:pt x="1024" y="238"/>
                  </a:lnTo>
                  <a:lnTo>
                    <a:pt x="1027" y="235"/>
                  </a:lnTo>
                  <a:lnTo>
                    <a:pt x="1029" y="235"/>
                  </a:lnTo>
                  <a:lnTo>
                    <a:pt x="1029" y="232"/>
                  </a:lnTo>
                  <a:lnTo>
                    <a:pt x="1030" y="232"/>
                  </a:lnTo>
                  <a:lnTo>
                    <a:pt x="1033" y="229"/>
                  </a:lnTo>
                  <a:lnTo>
                    <a:pt x="1035" y="229"/>
                  </a:lnTo>
                  <a:lnTo>
                    <a:pt x="1035" y="226"/>
                  </a:lnTo>
                  <a:lnTo>
                    <a:pt x="1033" y="224"/>
                  </a:lnTo>
                  <a:lnTo>
                    <a:pt x="1033" y="220"/>
                  </a:lnTo>
                  <a:lnTo>
                    <a:pt x="1035" y="218"/>
                  </a:lnTo>
                  <a:lnTo>
                    <a:pt x="1033" y="217"/>
                  </a:lnTo>
                  <a:lnTo>
                    <a:pt x="1036" y="215"/>
                  </a:lnTo>
                  <a:lnTo>
                    <a:pt x="1036" y="214"/>
                  </a:lnTo>
                  <a:lnTo>
                    <a:pt x="1038" y="209"/>
                  </a:lnTo>
                  <a:lnTo>
                    <a:pt x="1039" y="208"/>
                  </a:lnTo>
                  <a:lnTo>
                    <a:pt x="1039" y="206"/>
                  </a:lnTo>
                  <a:lnTo>
                    <a:pt x="1044" y="206"/>
                  </a:lnTo>
                  <a:lnTo>
                    <a:pt x="1044" y="205"/>
                  </a:lnTo>
                  <a:lnTo>
                    <a:pt x="1045" y="202"/>
                  </a:lnTo>
                  <a:lnTo>
                    <a:pt x="1045" y="200"/>
                  </a:lnTo>
                  <a:lnTo>
                    <a:pt x="1044" y="200"/>
                  </a:lnTo>
                  <a:lnTo>
                    <a:pt x="1044" y="199"/>
                  </a:lnTo>
                  <a:lnTo>
                    <a:pt x="1042" y="199"/>
                  </a:lnTo>
                  <a:lnTo>
                    <a:pt x="1042" y="190"/>
                  </a:lnTo>
                  <a:lnTo>
                    <a:pt x="1044" y="188"/>
                  </a:lnTo>
                  <a:lnTo>
                    <a:pt x="1042" y="185"/>
                  </a:lnTo>
                  <a:lnTo>
                    <a:pt x="1041" y="181"/>
                  </a:lnTo>
                  <a:lnTo>
                    <a:pt x="1044" y="178"/>
                  </a:lnTo>
                  <a:lnTo>
                    <a:pt x="1042" y="178"/>
                  </a:lnTo>
                  <a:lnTo>
                    <a:pt x="1042" y="172"/>
                  </a:lnTo>
                  <a:lnTo>
                    <a:pt x="1044" y="171"/>
                  </a:lnTo>
                  <a:lnTo>
                    <a:pt x="1045" y="171"/>
                  </a:lnTo>
                  <a:lnTo>
                    <a:pt x="1045" y="169"/>
                  </a:lnTo>
                  <a:lnTo>
                    <a:pt x="1047" y="169"/>
                  </a:lnTo>
                  <a:lnTo>
                    <a:pt x="1048" y="168"/>
                  </a:lnTo>
                  <a:lnTo>
                    <a:pt x="1048" y="165"/>
                  </a:lnTo>
                  <a:lnTo>
                    <a:pt x="1050" y="163"/>
                  </a:lnTo>
                  <a:lnTo>
                    <a:pt x="1050" y="160"/>
                  </a:lnTo>
                  <a:lnTo>
                    <a:pt x="1051" y="160"/>
                  </a:lnTo>
                  <a:lnTo>
                    <a:pt x="1051" y="156"/>
                  </a:lnTo>
                  <a:lnTo>
                    <a:pt x="1054" y="156"/>
                  </a:lnTo>
                  <a:lnTo>
                    <a:pt x="1054" y="154"/>
                  </a:lnTo>
                  <a:lnTo>
                    <a:pt x="1056" y="153"/>
                  </a:lnTo>
                  <a:lnTo>
                    <a:pt x="1057" y="153"/>
                  </a:lnTo>
                  <a:lnTo>
                    <a:pt x="1059" y="151"/>
                  </a:lnTo>
                  <a:lnTo>
                    <a:pt x="1059" y="150"/>
                  </a:lnTo>
                  <a:lnTo>
                    <a:pt x="1057" y="150"/>
                  </a:lnTo>
                  <a:lnTo>
                    <a:pt x="1059" y="148"/>
                  </a:lnTo>
                  <a:lnTo>
                    <a:pt x="1060" y="148"/>
                  </a:lnTo>
                  <a:lnTo>
                    <a:pt x="1062" y="147"/>
                  </a:lnTo>
                  <a:lnTo>
                    <a:pt x="1062" y="148"/>
                  </a:lnTo>
                  <a:lnTo>
                    <a:pt x="1063" y="150"/>
                  </a:lnTo>
                  <a:lnTo>
                    <a:pt x="1065" y="153"/>
                  </a:lnTo>
                  <a:lnTo>
                    <a:pt x="1065" y="156"/>
                  </a:lnTo>
                  <a:lnTo>
                    <a:pt x="1066" y="156"/>
                  </a:lnTo>
                  <a:lnTo>
                    <a:pt x="1066" y="157"/>
                  </a:lnTo>
                  <a:lnTo>
                    <a:pt x="1068" y="156"/>
                  </a:lnTo>
                  <a:lnTo>
                    <a:pt x="1068" y="150"/>
                  </a:lnTo>
                  <a:lnTo>
                    <a:pt x="1066" y="150"/>
                  </a:lnTo>
                  <a:lnTo>
                    <a:pt x="1066" y="148"/>
                  </a:lnTo>
                  <a:lnTo>
                    <a:pt x="1065" y="148"/>
                  </a:lnTo>
                  <a:lnTo>
                    <a:pt x="1065" y="145"/>
                  </a:lnTo>
                  <a:lnTo>
                    <a:pt x="1063" y="144"/>
                  </a:lnTo>
                  <a:lnTo>
                    <a:pt x="1063" y="129"/>
                  </a:lnTo>
                  <a:lnTo>
                    <a:pt x="1065" y="127"/>
                  </a:lnTo>
                  <a:lnTo>
                    <a:pt x="1065" y="121"/>
                  </a:lnTo>
                  <a:lnTo>
                    <a:pt x="1066" y="121"/>
                  </a:lnTo>
                  <a:lnTo>
                    <a:pt x="1066" y="120"/>
                  </a:lnTo>
                  <a:lnTo>
                    <a:pt x="1068" y="118"/>
                  </a:lnTo>
                  <a:lnTo>
                    <a:pt x="1068" y="115"/>
                  </a:lnTo>
                  <a:lnTo>
                    <a:pt x="1069" y="114"/>
                  </a:lnTo>
                  <a:lnTo>
                    <a:pt x="1068" y="112"/>
                  </a:lnTo>
                  <a:lnTo>
                    <a:pt x="1065" y="108"/>
                  </a:lnTo>
                  <a:lnTo>
                    <a:pt x="1063" y="108"/>
                  </a:lnTo>
                  <a:lnTo>
                    <a:pt x="1063" y="106"/>
                  </a:lnTo>
                  <a:lnTo>
                    <a:pt x="1065" y="106"/>
                  </a:lnTo>
                  <a:lnTo>
                    <a:pt x="1068" y="105"/>
                  </a:lnTo>
                  <a:lnTo>
                    <a:pt x="1068" y="99"/>
                  </a:lnTo>
                  <a:lnTo>
                    <a:pt x="1069" y="97"/>
                  </a:lnTo>
                  <a:lnTo>
                    <a:pt x="1069" y="96"/>
                  </a:lnTo>
                  <a:lnTo>
                    <a:pt x="1070" y="96"/>
                  </a:lnTo>
                  <a:lnTo>
                    <a:pt x="1070" y="94"/>
                  </a:lnTo>
                  <a:lnTo>
                    <a:pt x="1075" y="94"/>
                  </a:lnTo>
                  <a:lnTo>
                    <a:pt x="1075" y="84"/>
                  </a:lnTo>
                  <a:lnTo>
                    <a:pt x="1076" y="84"/>
                  </a:lnTo>
                  <a:lnTo>
                    <a:pt x="1078" y="82"/>
                  </a:lnTo>
                  <a:lnTo>
                    <a:pt x="1079" y="82"/>
                  </a:lnTo>
                  <a:lnTo>
                    <a:pt x="1082" y="81"/>
                  </a:lnTo>
                  <a:lnTo>
                    <a:pt x="1084" y="79"/>
                  </a:lnTo>
                  <a:lnTo>
                    <a:pt x="1085" y="75"/>
                  </a:lnTo>
                  <a:lnTo>
                    <a:pt x="1085" y="73"/>
                  </a:lnTo>
                  <a:lnTo>
                    <a:pt x="1087" y="72"/>
                  </a:lnTo>
                  <a:lnTo>
                    <a:pt x="1088" y="72"/>
                  </a:lnTo>
                  <a:lnTo>
                    <a:pt x="1090" y="73"/>
                  </a:lnTo>
                  <a:lnTo>
                    <a:pt x="1088" y="75"/>
                  </a:lnTo>
                  <a:lnTo>
                    <a:pt x="1088" y="78"/>
                  </a:lnTo>
                  <a:lnTo>
                    <a:pt x="1091" y="78"/>
                  </a:lnTo>
                  <a:lnTo>
                    <a:pt x="1091" y="79"/>
                  </a:lnTo>
                  <a:lnTo>
                    <a:pt x="1093" y="81"/>
                  </a:lnTo>
                  <a:lnTo>
                    <a:pt x="1100" y="81"/>
                  </a:lnTo>
                  <a:lnTo>
                    <a:pt x="1102" y="79"/>
                  </a:lnTo>
                  <a:lnTo>
                    <a:pt x="1100" y="78"/>
                  </a:lnTo>
                  <a:lnTo>
                    <a:pt x="1102" y="76"/>
                  </a:lnTo>
                  <a:lnTo>
                    <a:pt x="1103" y="73"/>
                  </a:lnTo>
                  <a:lnTo>
                    <a:pt x="1105" y="72"/>
                  </a:lnTo>
                  <a:lnTo>
                    <a:pt x="1108" y="72"/>
                  </a:lnTo>
                  <a:lnTo>
                    <a:pt x="1108" y="70"/>
                  </a:lnTo>
                  <a:lnTo>
                    <a:pt x="1109" y="70"/>
                  </a:lnTo>
                  <a:lnTo>
                    <a:pt x="1111" y="69"/>
                  </a:lnTo>
                  <a:lnTo>
                    <a:pt x="1111" y="57"/>
                  </a:lnTo>
                  <a:lnTo>
                    <a:pt x="1114" y="57"/>
                  </a:lnTo>
                  <a:lnTo>
                    <a:pt x="1115" y="55"/>
                  </a:lnTo>
                  <a:lnTo>
                    <a:pt x="1115" y="57"/>
                  </a:lnTo>
                  <a:lnTo>
                    <a:pt x="1117" y="55"/>
                  </a:lnTo>
                  <a:lnTo>
                    <a:pt x="1118" y="55"/>
                  </a:lnTo>
                  <a:lnTo>
                    <a:pt x="1123" y="57"/>
                  </a:lnTo>
                  <a:lnTo>
                    <a:pt x="1126" y="57"/>
                  </a:lnTo>
                  <a:lnTo>
                    <a:pt x="1127" y="58"/>
                  </a:lnTo>
                  <a:lnTo>
                    <a:pt x="1132" y="61"/>
                  </a:lnTo>
                  <a:lnTo>
                    <a:pt x="1133" y="60"/>
                  </a:lnTo>
                  <a:lnTo>
                    <a:pt x="1138" y="60"/>
                  </a:lnTo>
                  <a:lnTo>
                    <a:pt x="1139" y="58"/>
                  </a:lnTo>
                  <a:lnTo>
                    <a:pt x="1141" y="58"/>
                  </a:lnTo>
                  <a:lnTo>
                    <a:pt x="1141" y="60"/>
                  </a:lnTo>
                  <a:lnTo>
                    <a:pt x="1139" y="61"/>
                  </a:lnTo>
                  <a:lnTo>
                    <a:pt x="1139" y="63"/>
                  </a:lnTo>
                  <a:lnTo>
                    <a:pt x="1141" y="64"/>
                  </a:lnTo>
                  <a:lnTo>
                    <a:pt x="1141" y="66"/>
                  </a:lnTo>
                  <a:lnTo>
                    <a:pt x="1144" y="67"/>
                  </a:lnTo>
                  <a:lnTo>
                    <a:pt x="1144" y="69"/>
                  </a:lnTo>
                  <a:lnTo>
                    <a:pt x="1148" y="69"/>
                  </a:lnTo>
                  <a:lnTo>
                    <a:pt x="1162" y="67"/>
                  </a:lnTo>
                  <a:lnTo>
                    <a:pt x="1163" y="67"/>
                  </a:lnTo>
                  <a:lnTo>
                    <a:pt x="1163" y="70"/>
                  </a:lnTo>
                  <a:lnTo>
                    <a:pt x="1166" y="70"/>
                  </a:lnTo>
                  <a:lnTo>
                    <a:pt x="1168" y="69"/>
                  </a:lnTo>
                  <a:lnTo>
                    <a:pt x="1169" y="69"/>
                  </a:lnTo>
                  <a:lnTo>
                    <a:pt x="1172" y="70"/>
                  </a:lnTo>
                  <a:lnTo>
                    <a:pt x="1186" y="70"/>
                  </a:lnTo>
                  <a:lnTo>
                    <a:pt x="1187" y="72"/>
                  </a:lnTo>
                  <a:lnTo>
                    <a:pt x="1189" y="72"/>
                  </a:lnTo>
                  <a:lnTo>
                    <a:pt x="1192" y="73"/>
                  </a:lnTo>
                  <a:lnTo>
                    <a:pt x="1196" y="73"/>
                  </a:lnTo>
                  <a:lnTo>
                    <a:pt x="1196" y="75"/>
                  </a:lnTo>
                  <a:lnTo>
                    <a:pt x="1198" y="76"/>
                  </a:lnTo>
                  <a:lnTo>
                    <a:pt x="1199" y="76"/>
                  </a:lnTo>
                  <a:lnTo>
                    <a:pt x="1201" y="78"/>
                  </a:lnTo>
                  <a:lnTo>
                    <a:pt x="1202" y="78"/>
                  </a:lnTo>
                  <a:lnTo>
                    <a:pt x="1204" y="79"/>
                  </a:lnTo>
                  <a:lnTo>
                    <a:pt x="1207" y="78"/>
                  </a:lnTo>
                  <a:lnTo>
                    <a:pt x="1208" y="78"/>
                  </a:lnTo>
                  <a:lnTo>
                    <a:pt x="1208" y="75"/>
                  </a:lnTo>
                  <a:lnTo>
                    <a:pt x="1210" y="75"/>
                  </a:lnTo>
                  <a:lnTo>
                    <a:pt x="1210" y="73"/>
                  </a:lnTo>
                  <a:lnTo>
                    <a:pt x="1211" y="73"/>
                  </a:lnTo>
                  <a:lnTo>
                    <a:pt x="1214" y="75"/>
                  </a:lnTo>
                  <a:lnTo>
                    <a:pt x="1220" y="75"/>
                  </a:lnTo>
                  <a:lnTo>
                    <a:pt x="1220" y="73"/>
                  </a:lnTo>
                  <a:lnTo>
                    <a:pt x="1223" y="73"/>
                  </a:lnTo>
                  <a:lnTo>
                    <a:pt x="1225" y="75"/>
                  </a:lnTo>
                  <a:lnTo>
                    <a:pt x="1230" y="75"/>
                  </a:lnTo>
                  <a:lnTo>
                    <a:pt x="1232" y="76"/>
                  </a:lnTo>
                  <a:lnTo>
                    <a:pt x="1235" y="76"/>
                  </a:lnTo>
                  <a:lnTo>
                    <a:pt x="1236" y="78"/>
                  </a:lnTo>
                  <a:lnTo>
                    <a:pt x="1238" y="76"/>
                  </a:lnTo>
                  <a:lnTo>
                    <a:pt x="1239" y="76"/>
                  </a:lnTo>
                  <a:lnTo>
                    <a:pt x="1242" y="78"/>
                  </a:lnTo>
                  <a:lnTo>
                    <a:pt x="1250" y="79"/>
                  </a:lnTo>
                  <a:lnTo>
                    <a:pt x="1254" y="79"/>
                  </a:lnTo>
                  <a:lnTo>
                    <a:pt x="1254" y="78"/>
                  </a:lnTo>
                  <a:lnTo>
                    <a:pt x="1257" y="76"/>
                  </a:lnTo>
                  <a:lnTo>
                    <a:pt x="1262" y="75"/>
                  </a:lnTo>
                  <a:lnTo>
                    <a:pt x="1263" y="73"/>
                  </a:lnTo>
                  <a:lnTo>
                    <a:pt x="1265" y="73"/>
                  </a:lnTo>
                  <a:lnTo>
                    <a:pt x="1266" y="72"/>
                  </a:lnTo>
                  <a:lnTo>
                    <a:pt x="1268" y="72"/>
                  </a:lnTo>
                  <a:lnTo>
                    <a:pt x="1271" y="70"/>
                  </a:lnTo>
                  <a:lnTo>
                    <a:pt x="1272" y="69"/>
                  </a:lnTo>
                  <a:lnTo>
                    <a:pt x="1272" y="66"/>
                  </a:lnTo>
                  <a:lnTo>
                    <a:pt x="1274" y="64"/>
                  </a:lnTo>
                  <a:lnTo>
                    <a:pt x="1274" y="63"/>
                  </a:lnTo>
                  <a:lnTo>
                    <a:pt x="1281" y="63"/>
                  </a:lnTo>
                  <a:lnTo>
                    <a:pt x="1281" y="61"/>
                  </a:lnTo>
                  <a:lnTo>
                    <a:pt x="1283" y="61"/>
                  </a:lnTo>
                  <a:lnTo>
                    <a:pt x="1283" y="63"/>
                  </a:lnTo>
                  <a:lnTo>
                    <a:pt x="1284" y="63"/>
                  </a:lnTo>
                  <a:lnTo>
                    <a:pt x="1284" y="61"/>
                  </a:lnTo>
                  <a:lnTo>
                    <a:pt x="1286" y="61"/>
                  </a:lnTo>
                  <a:lnTo>
                    <a:pt x="1286" y="60"/>
                  </a:lnTo>
                  <a:lnTo>
                    <a:pt x="1284" y="58"/>
                  </a:lnTo>
                  <a:lnTo>
                    <a:pt x="1281" y="58"/>
                  </a:lnTo>
                  <a:lnTo>
                    <a:pt x="1281" y="55"/>
                  </a:lnTo>
                  <a:lnTo>
                    <a:pt x="1283" y="55"/>
                  </a:lnTo>
                  <a:lnTo>
                    <a:pt x="1284" y="54"/>
                  </a:lnTo>
                  <a:lnTo>
                    <a:pt x="1284" y="52"/>
                  </a:lnTo>
                  <a:lnTo>
                    <a:pt x="1286" y="52"/>
                  </a:lnTo>
                  <a:lnTo>
                    <a:pt x="1289" y="54"/>
                  </a:lnTo>
                  <a:lnTo>
                    <a:pt x="1292" y="51"/>
                  </a:lnTo>
                  <a:lnTo>
                    <a:pt x="1295" y="51"/>
                  </a:lnTo>
                  <a:lnTo>
                    <a:pt x="1295" y="49"/>
                  </a:lnTo>
                  <a:lnTo>
                    <a:pt x="1296" y="49"/>
                  </a:lnTo>
                  <a:lnTo>
                    <a:pt x="1296" y="48"/>
                  </a:lnTo>
                  <a:lnTo>
                    <a:pt x="1295" y="48"/>
                  </a:lnTo>
                  <a:lnTo>
                    <a:pt x="1295" y="45"/>
                  </a:lnTo>
                  <a:lnTo>
                    <a:pt x="1299" y="40"/>
                  </a:lnTo>
                  <a:lnTo>
                    <a:pt x="1302" y="40"/>
                  </a:lnTo>
                  <a:lnTo>
                    <a:pt x="1302" y="37"/>
                  </a:lnTo>
                  <a:close/>
                  <a:moveTo>
                    <a:pt x="1310" y="33"/>
                  </a:moveTo>
                  <a:lnTo>
                    <a:pt x="1310" y="34"/>
                  </a:lnTo>
                  <a:lnTo>
                    <a:pt x="1311" y="34"/>
                  </a:lnTo>
                  <a:lnTo>
                    <a:pt x="1311" y="36"/>
                  </a:lnTo>
                  <a:lnTo>
                    <a:pt x="1310" y="37"/>
                  </a:lnTo>
                  <a:lnTo>
                    <a:pt x="1308" y="37"/>
                  </a:lnTo>
                  <a:lnTo>
                    <a:pt x="1308" y="34"/>
                  </a:lnTo>
                  <a:lnTo>
                    <a:pt x="1310" y="33"/>
                  </a:lnTo>
                  <a:close/>
                  <a:moveTo>
                    <a:pt x="598" y="22"/>
                  </a:moveTo>
                  <a:lnTo>
                    <a:pt x="598" y="24"/>
                  </a:lnTo>
                  <a:lnTo>
                    <a:pt x="596" y="27"/>
                  </a:lnTo>
                  <a:lnTo>
                    <a:pt x="595" y="27"/>
                  </a:lnTo>
                  <a:lnTo>
                    <a:pt x="595" y="25"/>
                  </a:lnTo>
                  <a:lnTo>
                    <a:pt x="596" y="25"/>
                  </a:lnTo>
                  <a:lnTo>
                    <a:pt x="598" y="22"/>
                  </a:lnTo>
                  <a:close/>
                  <a:moveTo>
                    <a:pt x="22" y="21"/>
                  </a:moveTo>
                  <a:lnTo>
                    <a:pt x="25" y="21"/>
                  </a:lnTo>
                  <a:lnTo>
                    <a:pt x="25" y="24"/>
                  </a:lnTo>
                  <a:lnTo>
                    <a:pt x="24" y="24"/>
                  </a:lnTo>
                  <a:lnTo>
                    <a:pt x="24" y="25"/>
                  </a:lnTo>
                  <a:lnTo>
                    <a:pt x="22" y="25"/>
                  </a:lnTo>
                  <a:lnTo>
                    <a:pt x="21" y="22"/>
                  </a:lnTo>
                  <a:lnTo>
                    <a:pt x="22" y="22"/>
                  </a:lnTo>
                  <a:lnTo>
                    <a:pt x="22" y="21"/>
                  </a:lnTo>
                  <a:close/>
                  <a:moveTo>
                    <a:pt x="1319" y="19"/>
                  </a:moveTo>
                  <a:lnTo>
                    <a:pt x="1320" y="21"/>
                  </a:lnTo>
                  <a:lnTo>
                    <a:pt x="1320" y="22"/>
                  </a:lnTo>
                  <a:lnTo>
                    <a:pt x="1319" y="22"/>
                  </a:lnTo>
                  <a:lnTo>
                    <a:pt x="1319" y="19"/>
                  </a:lnTo>
                  <a:close/>
                  <a:moveTo>
                    <a:pt x="232" y="19"/>
                  </a:moveTo>
                  <a:lnTo>
                    <a:pt x="235" y="22"/>
                  </a:lnTo>
                  <a:lnTo>
                    <a:pt x="235" y="24"/>
                  </a:lnTo>
                  <a:lnTo>
                    <a:pt x="238" y="27"/>
                  </a:lnTo>
                  <a:lnTo>
                    <a:pt x="238" y="30"/>
                  </a:lnTo>
                  <a:lnTo>
                    <a:pt x="236" y="31"/>
                  </a:lnTo>
                  <a:lnTo>
                    <a:pt x="235" y="31"/>
                  </a:lnTo>
                  <a:lnTo>
                    <a:pt x="235" y="36"/>
                  </a:lnTo>
                  <a:lnTo>
                    <a:pt x="232" y="37"/>
                  </a:lnTo>
                  <a:lnTo>
                    <a:pt x="232" y="39"/>
                  </a:lnTo>
                  <a:lnTo>
                    <a:pt x="226" y="39"/>
                  </a:lnTo>
                  <a:lnTo>
                    <a:pt x="223" y="36"/>
                  </a:lnTo>
                  <a:lnTo>
                    <a:pt x="223" y="34"/>
                  </a:lnTo>
                  <a:lnTo>
                    <a:pt x="221" y="33"/>
                  </a:lnTo>
                  <a:lnTo>
                    <a:pt x="221" y="31"/>
                  </a:lnTo>
                  <a:lnTo>
                    <a:pt x="220" y="30"/>
                  </a:lnTo>
                  <a:lnTo>
                    <a:pt x="220" y="25"/>
                  </a:lnTo>
                  <a:lnTo>
                    <a:pt x="223" y="22"/>
                  </a:lnTo>
                  <a:lnTo>
                    <a:pt x="224" y="22"/>
                  </a:lnTo>
                  <a:lnTo>
                    <a:pt x="226" y="24"/>
                  </a:lnTo>
                  <a:lnTo>
                    <a:pt x="227" y="24"/>
                  </a:lnTo>
                  <a:lnTo>
                    <a:pt x="227" y="22"/>
                  </a:lnTo>
                  <a:lnTo>
                    <a:pt x="230" y="21"/>
                  </a:lnTo>
                  <a:lnTo>
                    <a:pt x="232" y="19"/>
                  </a:lnTo>
                  <a:close/>
                  <a:moveTo>
                    <a:pt x="1" y="19"/>
                  </a:moveTo>
                  <a:lnTo>
                    <a:pt x="3" y="21"/>
                  </a:lnTo>
                  <a:lnTo>
                    <a:pt x="3" y="22"/>
                  </a:lnTo>
                  <a:lnTo>
                    <a:pt x="0" y="22"/>
                  </a:lnTo>
                  <a:lnTo>
                    <a:pt x="0" y="21"/>
                  </a:lnTo>
                  <a:lnTo>
                    <a:pt x="1" y="19"/>
                  </a:lnTo>
                  <a:close/>
                  <a:moveTo>
                    <a:pt x="1438" y="16"/>
                  </a:moveTo>
                  <a:lnTo>
                    <a:pt x="1440" y="16"/>
                  </a:lnTo>
                  <a:lnTo>
                    <a:pt x="1440" y="18"/>
                  </a:lnTo>
                  <a:lnTo>
                    <a:pt x="1441" y="18"/>
                  </a:lnTo>
                  <a:lnTo>
                    <a:pt x="1443" y="16"/>
                  </a:lnTo>
                  <a:lnTo>
                    <a:pt x="1443" y="19"/>
                  </a:lnTo>
                  <a:lnTo>
                    <a:pt x="1441" y="21"/>
                  </a:lnTo>
                  <a:lnTo>
                    <a:pt x="1441" y="22"/>
                  </a:lnTo>
                  <a:lnTo>
                    <a:pt x="1440" y="22"/>
                  </a:lnTo>
                  <a:lnTo>
                    <a:pt x="1438" y="24"/>
                  </a:lnTo>
                  <a:lnTo>
                    <a:pt x="1438" y="27"/>
                  </a:lnTo>
                  <a:lnTo>
                    <a:pt x="1437" y="27"/>
                  </a:lnTo>
                  <a:lnTo>
                    <a:pt x="1437" y="28"/>
                  </a:lnTo>
                  <a:lnTo>
                    <a:pt x="1434" y="28"/>
                  </a:lnTo>
                  <a:lnTo>
                    <a:pt x="1434" y="34"/>
                  </a:lnTo>
                  <a:lnTo>
                    <a:pt x="1438" y="34"/>
                  </a:lnTo>
                  <a:lnTo>
                    <a:pt x="1438" y="36"/>
                  </a:lnTo>
                  <a:lnTo>
                    <a:pt x="1441" y="37"/>
                  </a:lnTo>
                  <a:lnTo>
                    <a:pt x="1441" y="42"/>
                  </a:lnTo>
                  <a:lnTo>
                    <a:pt x="1440" y="43"/>
                  </a:lnTo>
                  <a:lnTo>
                    <a:pt x="1441" y="43"/>
                  </a:lnTo>
                  <a:lnTo>
                    <a:pt x="1441" y="45"/>
                  </a:lnTo>
                  <a:lnTo>
                    <a:pt x="1443" y="46"/>
                  </a:lnTo>
                  <a:lnTo>
                    <a:pt x="1441" y="48"/>
                  </a:lnTo>
                  <a:lnTo>
                    <a:pt x="1441" y="54"/>
                  </a:lnTo>
                  <a:lnTo>
                    <a:pt x="1440" y="54"/>
                  </a:lnTo>
                  <a:lnTo>
                    <a:pt x="1440" y="55"/>
                  </a:lnTo>
                  <a:lnTo>
                    <a:pt x="1441" y="57"/>
                  </a:lnTo>
                  <a:lnTo>
                    <a:pt x="1441" y="58"/>
                  </a:lnTo>
                  <a:lnTo>
                    <a:pt x="1440" y="58"/>
                  </a:lnTo>
                  <a:lnTo>
                    <a:pt x="1435" y="63"/>
                  </a:lnTo>
                  <a:lnTo>
                    <a:pt x="1435" y="64"/>
                  </a:lnTo>
                  <a:lnTo>
                    <a:pt x="1432" y="64"/>
                  </a:lnTo>
                  <a:lnTo>
                    <a:pt x="1429" y="67"/>
                  </a:lnTo>
                  <a:lnTo>
                    <a:pt x="1425" y="70"/>
                  </a:lnTo>
                  <a:lnTo>
                    <a:pt x="1423" y="72"/>
                  </a:lnTo>
                  <a:lnTo>
                    <a:pt x="1423" y="75"/>
                  </a:lnTo>
                  <a:lnTo>
                    <a:pt x="1426" y="78"/>
                  </a:lnTo>
                  <a:lnTo>
                    <a:pt x="1428" y="78"/>
                  </a:lnTo>
                  <a:lnTo>
                    <a:pt x="1428" y="79"/>
                  </a:lnTo>
                  <a:lnTo>
                    <a:pt x="1429" y="79"/>
                  </a:lnTo>
                  <a:lnTo>
                    <a:pt x="1431" y="81"/>
                  </a:lnTo>
                  <a:lnTo>
                    <a:pt x="1434" y="81"/>
                  </a:lnTo>
                  <a:lnTo>
                    <a:pt x="1437" y="78"/>
                  </a:lnTo>
                  <a:lnTo>
                    <a:pt x="1437" y="72"/>
                  </a:lnTo>
                  <a:lnTo>
                    <a:pt x="1438" y="72"/>
                  </a:lnTo>
                  <a:lnTo>
                    <a:pt x="1440" y="67"/>
                  </a:lnTo>
                  <a:lnTo>
                    <a:pt x="1441" y="67"/>
                  </a:lnTo>
                  <a:lnTo>
                    <a:pt x="1443" y="66"/>
                  </a:lnTo>
                  <a:lnTo>
                    <a:pt x="1447" y="66"/>
                  </a:lnTo>
                  <a:lnTo>
                    <a:pt x="1449" y="64"/>
                  </a:lnTo>
                  <a:lnTo>
                    <a:pt x="1449" y="63"/>
                  </a:lnTo>
                  <a:lnTo>
                    <a:pt x="1450" y="63"/>
                  </a:lnTo>
                  <a:lnTo>
                    <a:pt x="1447" y="60"/>
                  </a:lnTo>
                  <a:lnTo>
                    <a:pt x="1446" y="61"/>
                  </a:lnTo>
                  <a:lnTo>
                    <a:pt x="1444" y="61"/>
                  </a:lnTo>
                  <a:lnTo>
                    <a:pt x="1444" y="60"/>
                  </a:lnTo>
                  <a:lnTo>
                    <a:pt x="1446" y="58"/>
                  </a:lnTo>
                  <a:lnTo>
                    <a:pt x="1447" y="58"/>
                  </a:lnTo>
                  <a:lnTo>
                    <a:pt x="1447" y="57"/>
                  </a:lnTo>
                  <a:lnTo>
                    <a:pt x="1449" y="55"/>
                  </a:lnTo>
                  <a:lnTo>
                    <a:pt x="1449" y="54"/>
                  </a:lnTo>
                  <a:lnTo>
                    <a:pt x="1450" y="54"/>
                  </a:lnTo>
                  <a:lnTo>
                    <a:pt x="1452" y="52"/>
                  </a:lnTo>
                  <a:lnTo>
                    <a:pt x="1453" y="52"/>
                  </a:lnTo>
                  <a:lnTo>
                    <a:pt x="1453" y="51"/>
                  </a:lnTo>
                  <a:lnTo>
                    <a:pt x="1455" y="51"/>
                  </a:lnTo>
                  <a:lnTo>
                    <a:pt x="1458" y="48"/>
                  </a:lnTo>
                  <a:lnTo>
                    <a:pt x="1459" y="48"/>
                  </a:lnTo>
                  <a:lnTo>
                    <a:pt x="1461" y="46"/>
                  </a:lnTo>
                  <a:lnTo>
                    <a:pt x="1465" y="46"/>
                  </a:lnTo>
                  <a:lnTo>
                    <a:pt x="1465" y="45"/>
                  </a:lnTo>
                  <a:lnTo>
                    <a:pt x="1474" y="45"/>
                  </a:lnTo>
                  <a:lnTo>
                    <a:pt x="1474" y="46"/>
                  </a:lnTo>
                  <a:lnTo>
                    <a:pt x="1471" y="49"/>
                  </a:lnTo>
                  <a:lnTo>
                    <a:pt x="1473" y="51"/>
                  </a:lnTo>
                  <a:lnTo>
                    <a:pt x="1473" y="52"/>
                  </a:lnTo>
                  <a:lnTo>
                    <a:pt x="1474" y="52"/>
                  </a:lnTo>
                  <a:lnTo>
                    <a:pt x="1474" y="57"/>
                  </a:lnTo>
                  <a:lnTo>
                    <a:pt x="1473" y="58"/>
                  </a:lnTo>
                  <a:lnTo>
                    <a:pt x="1473" y="69"/>
                  </a:lnTo>
                  <a:lnTo>
                    <a:pt x="1470" y="69"/>
                  </a:lnTo>
                  <a:lnTo>
                    <a:pt x="1467" y="72"/>
                  </a:lnTo>
                  <a:lnTo>
                    <a:pt x="1465" y="72"/>
                  </a:lnTo>
                  <a:lnTo>
                    <a:pt x="1462" y="73"/>
                  </a:lnTo>
                  <a:lnTo>
                    <a:pt x="1461" y="75"/>
                  </a:lnTo>
                  <a:lnTo>
                    <a:pt x="1459" y="75"/>
                  </a:lnTo>
                  <a:lnTo>
                    <a:pt x="1455" y="76"/>
                  </a:lnTo>
                  <a:lnTo>
                    <a:pt x="1453" y="76"/>
                  </a:lnTo>
                  <a:lnTo>
                    <a:pt x="1453" y="78"/>
                  </a:lnTo>
                  <a:lnTo>
                    <a:pt x="1455" y="79"/>
                  </a:lnTo>
                  <a:lnTo>
                    <a:pt x="1450" y="79"/>
                  </a:lnTo>
                  <a:lnTo>
                    <a:pt x="1450" y="82"/>
                  </a:lnTo>
                  <a:lnTo>
                    <a:pt x="1452" y="84"/>
                  </a:lnTo>
                  <a:lnTo>
                    <a:pt x="1453" y="84"/>
                  </a:lnTo>
                  <a:lnTo>
                    <a:pt x="1455" y="85"/>
                  </a:lnTo>
                  <a:lnTo>
                    <a:pt x="1455" y="87"/>
                  </a:lnTo>
                  <a:lnTo>
                    <a:pt x="1456" y="87"/>
                  </a:lnTo>
                  <a:lnTo>
                    <a:pt x="1458" y="88"/>
                  </a:lnTo>
                  <a:lnTo>
                    <a:pt x="1461" y="88"/>
                  </a:lnTo>
                  <a:lnTo>
                    <a:pt x="1462" y="90"/>
                  </a:lnTo>
                  <a:lnTo>
                    <a:pt x="1465" y="90"/>
                  </a:lnTo>
                  <a:lnTo>
                    <a:pt x="1467" y="91"/>
                  </a:lnTo>
                  <a:lnTo>
                    <a:pt x="1471" y="91"/>
                  </a:lnTo>
                  <a:lnTo>
                    <a:pt x="1471" y="96"/>
                  </a:lnTo>
                  <a:lnTo>
                    <a:pt x="1473" y="96"/>
                  </a:lnTo>
                  <a:lnTo>
                    <a:pt x="1473" y="102"/>
                  </a:lnTo>
                  <a:lnTo>
                    <a:pt x="1476" y="102"/>
                  </a:lnTo>
                  <a:lnTo>
                    <a:pt x="1476" y="103"/>
                  </a:lnTo>
                  <a:lnTo>
                    <a:pt x="1480" y="103"/>
                  </a:lnTo>
                  <a:lnTo>
                    <a:pt x="1480" y="105"/>
                  </a:lnTo>
                  <a:lnTo>
                    <a:pt x="1482" y="106"/>
                  </a:lnTo>
                  <a:lnTo>
                    <a:pt x="1482" y="108"/>
                  </a:lnTo>
                  <a:lnTo>
                    <a:pt x="1480" y="106"/>
                  </a:lnTo>
                  <a:lnTo>
                    <a:pt x="1479" y="106"/>
                  </a:lnTo>
                  <a:lnTo>
                    <a:pt x="1473" y="103"/>
                  </a:lnTo>
                  <a:lnTo>
                    <a:pt x="1471" y="105"/>
                  </a:lnTo>
                  <a:lnTo>
                    <a:pt x="1471" y="103"/>
                  </a:lnTo>
                  <a:lnTo>
                    <a:pt x="1467" y="103"/>
                  </a:lnTo>
                  <a:lnTo>
                    <a:pt x="1465" y="102"/>
                  </a:lnTo>
                  <a:lnTo>
                    <a:pt x="1464" y="102"/>
                  </a:lnTo>
                  <a:lnTo>
                    <a:pt x="1462" y="99"/>
                  </a:lnTo>
                  <a:lnTo>
                    <a:pt x="1450" y="99"/>
                  </a:lnTo>
                  <a:lnTo>
                    <a:pt x="1447" y="96"/>
                  </a:lnTo>
                  <a:lnTo>
                    <a:pt x="1437" y="96"/>
                  </a:lnTo>
                  <a:lnTo>
                    <a:pt x="1437" y="97"/>
                  </a:lnTo>
                  <a:lnTo>
                    <a:pt x="1435" y="100"/>
                  </a:lnTo>
                  <a:lnTo>
                    <a:pt x="1435" y="103"/>
                  </a:lnTo>
                  <a:lnTo>
                    <a:pt x="1437" y="105"/>
                  </a:lnTo>
                  <a:lnTo>
                    <a:pt x="1437" y="112"/>
                  </a:lnTo>
                  <a:lnTo>
                    <a:pt x="1435" y="112"/>
                  </a:lnTo>
                  <a:lnTo>
                    <a:pt x="1435" y="118"/>
                  </a:lnTo>
                  <a:lnTo>
                    <a:pt x="1437" y="120"/>
                  </a:lnTo>
                  <a:lnTo>
                    <a:pt x="1437" y="121"/>
                  </a:lnTo>
                  <a:lnTo>
                    <a:pt x="1438" y="124"/>
                  </a:lnTo>
                  <a:lnTo>
                    <a:pt x="1440" y="126"/>
                  </a:lnTo>
                  <a:lnTo>
                    <a:pt x="1440" y="130"/>
                  </a:lnTo>
                  <a:lnTo>
                    <a:pt x="1441" y="132"/>
                  </a:lnTo>
                  <a:lnTo>
                    <a:pt x="1441" y="133"/>
                  </a:lnTo>
                  <a:lnTo>
                    <a:pt x="1443" y="135"/>
                  </a:lnTo>
                  <a:lnTo>
                    <a:pt x="1443" y="136"/>
                  </a:lnTo>
                  <a:lnTo>
                    <a:pt x="1444" y="139"/>
                  </a:lnTo>
                  <a:lnTo>
                    <a:pt x="1444" y="141"/>
                  </a:lnTo>
                  <a:lnTo>
                    <a:pt x="1446" y="142"/>
                  </a:lnTo>
                  <a:lnTo>
                    <a:pt x="1447" y="142"/>
                  </a:lnTo>
                  <a:lnTo>
                    <a:pt x="1450" y="150"/>
                  </a:lnTo>
                  <a:lnTo>
                    <a:pt x="1453" y="153"/>
                  </a:lnTo>
                  <a:lnTo>
                    <a:pt x="1456" y="154"/>
                  </a:lnTo>
                  <a:lnTo>
                    <a:pt x="1458" y="156"/>
                  </a:lnTo>
                  <a:lnTo>
                    <a:pt x="1458" y="157"/>
                  </a:lnTo>
                  <a:lnTo>
                    <a:pt x="1452" y="157"/>
                  </a:lnTo>
                  <a:lnTo>
                    <a:pt x="1452" y="154"/>
                  </a:lnTo>
                  <a:lnTo>
                    <a:pt x="1450" y="153"/>
                  </a:lnTo>
                  <a:lnTo>
                    <a:pt x="1443" y="150"/>
                  </a:lnTo>
                  <a:lnTo>
                    <a:pt x="1441" y="150"/>
                  </a:lnTo>
                  <a:lnTo>
                    <a:pt x="1441" y="148"/>
                  </a:lnTo>
                  <a:lnTo>
                    <a:pt x="1440" y="142"/>
                  </a:lnTo>
                  <a:lnTo>
                    <a:pt x="1437" y="139"/>
                  </a:lnTo>
                  <a:lnTo>
                    <a:pt x="1435" y="136"/>
                  </a:lnTo>
                  <a:lnTo>
                    <a:pt x="1434" y="135"/>
                  </a:lnTo>
                  <a:lnTo>
                    <a:pt x="1434" y="133"/>
                  </a:lnTo>
                  <a:lnTo>
                    <a:pt x="1432" y="133"/>
                  </a:lnTo>
                  <a:lnTo>
                    <a:pt x="1429" y="130"/>
                  </a:lnTo>
                  <a:lnTo>
                    <a:pt x="1428" y="130"/>
                  </a:lnTo>
                  <a:lnTo>
                    <a:pt x="1425" y="127"/>
                  </a:lnTo>
                  <a:lnTo>
                    <a:pt x="1425" y="126"/>
                  </a:lnTo>
                  <a:lnTo>
                    <a:pt x="1426" y="124"/>
                  </a:lnTo>
                  <a:lnTo>
                    <a:pt x="1426" y="109"/>
                  </a:lnTo>
                  <a:lnTo>
                    <a:pt x="1428" y="105"/>
                  </a:lnTo>
                  <a:lnTo>
                    <a:pt x="1428" y="102"/>
                  </a:lnTo>
                  <a:lnTo>
                    <a:pt x="1425" y="102"/>
                  </a:lnTo>
                  <a:lnTo>
                    <a:pt x="1423" y="100"/>
                  </a:lnTo>
                  <a:lnTo>
                    <a:pt x="1422" y="100"/>
                  </a:lnTo>
                  <a:lnTo>
                    <a:pt x="1422" y="99"/>
                  </a:lnTo>
                  <a:lnTo>
                    <a:pt x="1420" y="99"/>
                  </a:lnTo>
                  <a:lnTo>
                    <a:pt x="1420" y="93"/>
                  </a:lnTo>
                  <a:lnTo>
                    <a:pt x="1419" y="93"/>
                  </a:lnTo>
                  <a:lnTo>
                    <a:pt x="1419" y="87"/>
                  </a:lnTo>
                  <a:lnTo>
                    <a:pt x="1420" y="84"/>
                  </a:lnTo>
                  <a:lnTo>
                    <a:pt x="1422" y="82"/>
                  </a:lnTo>
                  <a:lnTo>
                    <a:pt x="1422" y="81"/>
                  </a:lnTo>
                  <a:lnTo>
                    <a:pt x="1423" y="79"/>
                  </a:lnTo>
                  <a:lnTo>
                    <a:pt x="1423" y="78"/>
                  </a:lnTo>
                  <a:lnTo>
                    <a:pt x="1419" y="78"/>
                  </a:lnTo>
                  <a:lnTo>
                    <a:pt x="1417" y="76"/>
                  </a:lnTo>
                  <a:lnTo>
                    <a:pt x="1417" y="75"/>
                  </a:lnTo>
                  <a:lnTo>
                    <a:pt x="1419" y="73"/>
                  </a:lnTo>
                  <a:lnTo>
                    <a:pt x="1417" y="72"/>
                  </a:lnTo>
                  <a:lnTo>
                    <a:pt x="1417" y="69"/>
                  </a:lnTo>
                  <a:lnTo>
                    <a:pt x="1414" y="69"/>
                  </a:lnTo>
                  <a:lnTo>
                    <a:pt x="1414" y="70"/>
                  </a:lnTo>
                  <a:lnTo>
                    <a:pt x="1413" y="69"/>
                  </a:lnTo>
                  <a:lnTo>
                    <a:pt x="1413" y="67"/>
                  </a:lnTo>
                  <a:lnTo>
                    <a:pt x="1414" y="67"/>
                  </a:lnTo>
                  <a:lnTo>
                    <a:pt x="1414" y="64"/>
                  </a:lnTo>
                  <a:lnTo>
                    <a:pt x="1413" y="63"/>
                  </a:lnTo>
                  <a:lnTo>
                    <a:pt x="1413" y="61"/>
                  </a:lnTo>
                  <a:lnTo>
                    <a:pt x="1414" y="58"/>
                  </a:lnTo>
                  <a:lnTo>
                    <a:pt x="1416" y="57"/>
                  </a:lnTo>
                  <a:lnTo>
                    <a:pt x="1419" y="51"/>
                  </a:lnTo>
                  <a:lnTo>
                    <a:pt x="1419" y="46"/>
                  </a:lnTo>
                  <a:lnTo>
                    <a:pt x="1420" y="43"/>
                  </a:lnTo>
                  <a:lnTo>
                    <a:pt x="1419" y="43"/>
                  </a:lnTo>
                  <a:lnTo>
                    <a:pt x="1420" y="42"/>
                  </a:lnTo>
                  <a:lnTo>
                    <a:pt x="1420" y="39"/>
                  </a:lnTo>
                  <a:lnTo>
                    <a:pt x="1422" y="37"/>
                  </a:lnTo>
                  <a:lnTo>
                    <a:pt x="1423" y="33"/>
                  </a:lnTo>
                  <a:lnTo>
                    <a:pt x="1429" y="27"/>
                  </a:lnTo>
                  <a:lnTo>
                    <a:pt x="1429" y="25"/>
                  </a:lnTo>
                  <a:lnTo>
                    <a:pt x="1435" y="19"/>
                  </a:lnTo>
                  <a:lnTo>
                    <a:pt x="1437" y="19"/>
                  </a:lnTo>
                  <a:lnTo>
                    <a:pt x="1437" y="18"/>
                  </a:lnTo>
                  <a:lnTo>
                    <a:pt x="1438" y="16"/>
                  </a:lnTo>
                  <a:close/>
                  <a:moveTo>
                    <a:pt x="24" y="15"/>
                  </a:moveTo>
                  <a:lnTo>
                    <a:pt x="27" y="15"/>
                  </a:lnTo>
                  <a:lnTo>
                    <a:pt x="27" y="16"/>
                  </a:lnTo>
                  <a:lnTo>
                    <a:pt x="28" y="16"/>
                  </a:lnTo>
                  <a:lnTo>
                    <a:pt x="28" y="15"/>
                  </a:lnTo>
                  <a:lnTo>
                    <a:pt x="31" y="15"/>
                  </a:lnTo>
                  <a:lnTo>
                    <a:pt x="31" y="16"/>
                  </a:lnTo>
                  <a:lnTo>
                    <a:pt x="33" y="18"/>
                  </a:lnTo>
                  <a:lnTo>
                    <a:pt x="33" y="19"/>
                  </a:lnTo>
                  <a:lnTo>
                    <a:pt x="34" y="19"/>
                  </a:lnTo>
                  <a:lnTo>
                    <a:pt x="34" y="24"/>
                  </a:lnTo>
                  <a:lnTo>
                    <a:pt x="33" y="24"/>
                  </a:lnTo>
                  <a:lnTo>
                    <a:pt x="31" y="22"/>
                  </a:lnTo>
                  <a:lnTo>
                    <a:pt x="31" y="21"/>
                  </a:lnTo>
                  <a:lnTo>
                    <a:pt x="28" y="19"/>
                  </a:lnTo>
                  <a:lnTo>
                    <a:pt x="28" y="18"/>
                  </a:lnTo>
                  <a:lnTo>
                    <a:pt x="22" y="16"/>
                  </a:lnTo>
                  <a:lnTo>
                    <a:pt x="24" y="16"/>
                  </a:lnTo>
                  <a:lnTo>
                    <a:pt x="24" y="15"/>
                  </a:lnTo>
                  <a:close/>
                  <a:moveTo>
                    <a:pt x="1429" y="13"/>
                  </a:moveTo>
                  <a:lnTo>
                    <a:pt x="1432" y="13"/>
                  </a:lnTo>
                  <a:lnTo>
                    <a:pt x="1432" y="16"/>
                  </a:lnTo>
                  <a:lnTo>
                    <a:pt x="1429" y="16"/>
                  </a:lnTo>
                  <a:lnTo>
                    <a:pt x="1429" y="13"/>
                  </a:lnTo>
                  <a:close/>
                  <a:moveTo>
                    <a:pt x="1008" y="13"/>
                  </a:moveTo>
                  <a:lnTo>
                    <a:pt x="1009" y="13"/>
                  </a:lnTo>
                  <a:lnTo>
                    <a:pt x="1009" y="15"/>
                  </a:lnTo>
                  <a:lnTo>
                    <a:pt x="1011" y="16"/>
                  </a:lnTo>
                  <a:lnTo>
                    <a:pt x="1012" y="16"/>
                  </a:lnTo>
                  <a:lnTo>
                    <a:pt x="1012" y="18"/>
                  </a:lnTo>
                  <a:lnTo>
                    <a:pt x="1011" y="18"/>
                  </a:lnTo>
                  <a:lnTo>
                    <a:pt x="1008" y="15"/>
                  </a:lnTo>
                  <a:lnTo>
                    <a:pt x="1008" y="13"/>
                  </a:lnTo>
                  <a:close/>
                  <a:moveTo>
                    <a:pt x="1447" y="7"/>
                  </a:moveTo>
                  <a:lnTo>
                    <a:pt x="1449" y="7"/>
                  </a:lnTo>
                  <a:lnTo>
                    <a:pt x="1449" y="12"/>
                  </a:lnTo>
                  <a:lnTo>
                    <a:pt x="1447" y="13"/>
                  </a:lnTo>
                  <a:lnTo>
                    <a:pt x="1447" y="12"/>
                  </a:lnTo>
                  <a:lnTo>
                    <a:pt x="1446" y="10"/>
                  </a:lnTo>
                  <a:lnTo>
                    <a:pt x="1446" y="9"/>
                  </a:lnTo>
                  <a:lnTo>
                    <a:pt x="1447" y="9"/>
                  </a:lnTo>
                  <a:lnTo>
                    <a:pt x="1447" y="7"/>
                  </a:lnTo>
                  <a:close/>
                  <a:moveTo>
                    <a:pt x="1322" y="7"/>
                  </a:moveTo>
                  <a:lnTo>
                    <a:pt x="1323" y="7"/>
                  </a:lnTo>
                  <a:lnTo>
                    <a:pt x="1323" y="10"/>
                  </a:lnTo>
                  <a:lnTo>
                    <a:pt x="1322" y="12"/>
                  </a:lnTo>
                  <a:lnTo>
                    <a:pt x="1320" y="10"/>
                  </a:lnTo>
                  <a:lnTo>
                    <a:pt x="1320" y="9"/>
                  </a:lnTo>
                  <a:lnTo>
                    <a:pt x="1322" y="7"/>
                  </a:lnTo>
                  <a:close/>
                  <a:moveTo>
                    <a:pt x="568" y="0"/>
                  </a:moveTo>
                  <a:lnTo>
                    <a:pt x="570" y="0"/>
                  </a:lnTo>
                  <a:lnTo>
                    <a:pt x="571" y="1"/>
                  </a:lnTo>
                  <a:lnTo>
                    <a:pt x="574" y="1"/>
                  </a:lnTo>
                  <a:lnTo>
                    <a:pt x="574" y="3"/>
                  </a:lnTo>
                  <a:lnTo>
                    <a:pt x="570" y="3"/>
                  </a:lnTo>
                  <a:lnTo>
                    <a:pt x="570" y="1"/>
                  </a:lnTo>
                  <a:lnTo>
                    <a:pt x="567" y="1"/>
                  </a:lnTo>
                  <a:lnTo>
                    <a:pt x="568"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32">
              <a:extLst>
                <a:ext uri="{FF2B5EF4-FFF2-40B4-BE49-F238E27FC236}">
                  <a16:creationId xmlns:a16="http://schemas.microsoft.com/office/drawing/2014/main" id="{276448DA-3F07-B0D0-FE51-90D692AB10DB}"/>
                </a:ext>
              </a:extLst>
            </p:cNvPr>
            <p:cNvSpPr>
              <a:spLocks noEditPoints="1"/>
            </p:cNvSpPr>
            <p:nvPr/>
          </p:nvSpPr>
          <p:spPr bwMode="auto">
            <a:xfrm>
              <a:off x="2507527" y="4956238"/>
              <a:ext cx="1621485" cy="567782"/>
            </a:xfrm>
            <a:custGeom>
              <a:avLst/>
              <a:gdLst/>
              <a:ahLst/>
              <a:cxnLst>
                <a:cxn ang="0">
                  <a:pos x="1537" y="150"/>
                </a:cxn>
                <a:cxn ang="0">
                  <a:pos x="49" y="144"/>
                </a:cxn>
                <a:cxn ang="0">
                  <a:pos x="33" y="144"/>
                </a:cxn>
                <a:cxn ang="0">
                  <a:pos x="491" y="133"/>
                </a:cxn>
                <a:cxn ang="0">
                  <a:pos x="514" y="121"/>
                </a:cxn>
                <a:cxn ang="0">
                  <a:pos x="1030" y="109"/>
                </a:cxn>
                <a:cxn ang="0">
                  <a:pos x="1457" y="94"/>
                </a:cxn>
                <a:cxn ang="0">
                  <a:pos x="1042" y="84"/>
                </a:cxn>
                <a:cxn ang="0">
                  <a:pos x="610" y="102"/>
                </a:cxn>
                <a:cxn ang="0">
                  <a:pos x="956" y="69"/>
                </a:cxn>
                <a:cxn ang="0">
                  <a:pos x="1033" y="79"/>
                </a:cxn>
                <a:cxn ang="0">
                  <a:pos x="1033" y="103"/>
                </a:cxn>
                <a:cxn ang="0">
                  <a:pos x="1023" y="121"/>
                </a:cxn>
                <a:cxn ang="0">
                  <a:pos x="1054" y="159"/>
                </a:cxn>
                <a:cxn ang="0">
                  <a:pos x="1056" y="190"/>
                </a:cxn>
                <a:cxn ang="0">
                  <a:pos x="1089" y="234"/>
                </a:cxn>
                <a:cxn ang="0">
                  <a:pos x="1056" y="231"/>
                </a:cxn>
                <a:cxn ang="0">
                  <a:pos x="1030" y="285"/>
                </a:cxn>
                <a:cxn ang="0">
                  <a:pos x="1023" y="312"/>
                </a:cxn>
                <a:cxn ang="0">
                  <a:pos x="988" y="343"/>
                </a:cxn>
                <a:cxn ang="0">
                  <a:pos x="987" y="371"/>
                </a:cxn>
                <a:cxn ang="0">
                  <a:pos x="969" y="407"/>
                </a:cxn>
                <a:cxn ang="0">
                  <a:pos x="897" y="446"/>
                </a:cxn>
                <a:cxn ang="0">
                  <a:pos x="861" y="428"/>
                </a:cxn>
                <a:cxn ang="0">
                  <a:pos x="809" y="425"/>
                </a:cxn>
                <a:cxn ang="0">
                  <a:pos x="754" y="404"/>
                </a:cxn>
                <a:cxn ang="0">
                  <a:pos x="697" y="391"/>
                </a:cxn>
                <a:cxn ang="0">
                  <a:pos x="688" y="341"/>
                </a:cxn>
                <a:cxn ang="0">
                  <a:pos x="658" y="312"/>
                </a:cxn>
                <a:cxn ang="0">
                  <a:pos x="645" y="280"/>
                </a:cxn>
                <a:cxn ang="0">
                  <a:pos x="639" y="228"/>
                </a:cxn>
                <a:cxn ang="0">
                  <a:pos x="654" y="189"/>
                </a:cxn>
                <a:cxn ang="0">
                  <a:pos x="704" y="226"/>
                </a:cxn>
                <a:cxn ang="0">
                  <a:pos x="782" y="219"/>
                </a:cxn>
                <a:cxn ang="0">
                  <a:pos x="845" y="211"/>
                </a:cxn>
                <a:cxn ang="0">
                  <a:pos x="908" y="180"/>
                </a:cxn>
                <a:cxn ang="0">
                  <a:pos x="923" y="136"/>
                </a:cxn>
                <a:cxn ang="0">
                  <a:pos x="950" y="76"/>
                </a:cxn>
                <a:cxn ang="0">
                  <a:pos x="595" y="56"/>
                </a:cxn>
                <a:cxn ang="0">
                  <a:pos x="66" y="30"/>
                </a:cxn>
                <a:cxn ang="0">
                  <a:pos x="148" y="69"/>
                </a:cxn>
                <a:cxn ang="0">
                  <a:pos x="187" y="106"/>
                </a:cxn>
                <a:cxn ang="0">
                  <a:pos x="232" y="147"/>
                </a:cxn>
                <a:cxn ang="0">
                  <a:pos x="277" y="169"/>
                </a:cxn>
                <a:cxn ang="0">
                  <a:pos x="356" y="237"/>
                </a:cxn>
                <a:cxn ang="0">
                  <a:pos x="384" y="247"/>
                </a:cxn>
                <a:cxn ang="0">
                  <a:pos x="381" y="286"/>
                </a:cxn>
                <a:cxn ang="0">
                  <a:pos x="401" y="316"/>
                </a:cxn>
                <a:cxn ang="0">
                  <a:pos x="440" y="361"/>
                </a:cxn>
                <a:cxn ang="0">
                  <a:pos x="444" y="389"/>
                </a:cxn>
                <a:cxn ang="0">
                  <a:pos x="494" y="392"/>
                </a:cxn>
                <a:cxn ang="0">
                  <a:pos x="498" y="479"/>
                </a:cxn>
                <a:cxn ang="0">
                  <a:pos x="471" y="520"/>
                </a:cxn>
                <a:cxn ang="0">
                  <a:pos x="437" y="538"/>
                </a:cxn>
                <a:cxn ang="0">
                  <a:pos x="390" y="494"/>
                </a:cxn>
                <a:cxn ang="0">
                  <a:pos x="302" y="418"/>
                </a:cxn>
                <a:cxn ang="0">
                  <a:pos x="247" y="328"/>
                </a:cxn>
                <a:cxn ang="0">
                  <a:pos x="205" y="264"/>
                </a:cxn>
                <a:cxn ang="0">
                  <a:pos x="169" y="198"/>
                </a:cxn>
                <a:cxn ang="0">
                  <a:pos x="121" y="162"/>
                </a:cxn>
                <a:cxn ang="0">
                  <a:pos x="48" y="78"/>
                </a:cxn>
                <a:cxn ang="0">
                  <a:pos x="14" y="14"/>
                </a:cxn>
                <a:cxn ang="0">
                  <a:pos x="12" y="5"/>
                </a:cxn>
              </a:cxnLst>
              <a:rect l="0" t="0" r="r" b="b"/>
              <a:pathLst>
                <a:path w="1545" h="541">
                  <a:moveTo>
                    <a:pt x="1537" y="150"/>
                  </a:moveTo>
                  <a:lnTo>
                    <a:pt x="1539" y="150"/>
                  </a:lnTo>
                  <a:lnTo>
                    <a:pt x="1542" y="153"/>
                  </a:lnTo>
                  <a:lnTo>
                    <a:pt x="1542" y="154"/>
                  </a:lnTo>
                  <a:lnTo>
                    <a:pt x="1545" y="157"/>
                  </a:lnTo>
                  <a:lnTo>
                    <a:pt x="1545" y="159"/>
                  </a:lnTo>
                  <a:lnTo>
                    <a:pt x="1543" y="160"/>
                  </a:lnTo>
                  <a:lnTo>
                    <a:pt x="1543" y="162"/>
                  </a:lnTo>
                  <a:lnTo>
                    <a:pt x="1542" y="163"/>
                  </a:lnTo>
                  <a:lnTo>
                    <a:pt x="1542" y="166"/>
                  </a:lnTo>
                  <a:lnTo>
                    <a:pt x="1539" y="172"/>
                  </a:lnTo>
                  <a:lnTo>
                    <a:pt x="1539" y="174"/>
                  </a:lnTo>
                  <a:lnTo>
                    <a:pt x="1536" y="175"/>
                  </a:lnTo>
                  <a:lnTo>
                    <a:pt x="1536" y="177"/>
                  </a:lnTo>
                  <a:lnTo>
                    <a:pt x="1528" y="177"/>
                  </a:lnTo>
                  <a:lnTo>
                    <a:pt x="1527" y="178"/>
                  </a:lnTo>
                  <a:lnTo>
                    <a:pt x="1525" y="178"/>
                  </a:lnTo>
                  <a:lnTo>
                    <a:pt x="1525" y="177"/>
                  </a:lnTo>
                  <a:lnTo>
                    <a:pt x="1524" y="175"/>
                  </a:lnTo>
                  <a:lnTo>
                    <a:pt x="1524" y="168"/>
                  </a:lnTo>
                  <a:lnTo>
                    <a:pt x="1522" y="166"/>
                  </a:lnTo>
                  <a:lnTo>
                    <a:pt x="1524" y="163"/>
                  </a:lnTo>
                  <a:lnTo>
                    <a:pt x="1525" y="162"/>
                  </a:lnTo>
                  <a:lnTo>
                    <a:pt x="1527" y="157"/>
                  </a:lnTo>
                  <a:lnTo>
                    <a:pt x="1528" y="156"/>
                  </a:lnTo>
                  <a:lnTo>
                    <a:pt x="1531" y="154"/>
                  </a:lnTo>
                  <a:lnTo>
                    <a:pt x="1534" y="151"/>
                  </a:lnTo>
                  <a:lnTo>
                    <a:pt x="1534" y="153"/>
                  </a:lnTo>
                  <a:lnTo>
                    <a:pt x="1537" y="153"/>
                  </a:lnTo>
                  <a:lnTo>
                    <a:pt x="1537" y="150"/>
                  </a:lnTo>
                  <a:close/>
                  <a:moveTo>
                    <a:pt x="51" y="148"/>
                  </a:moveTo>
                  <a:lnTo>
                    <a:pt x="52" y="148"/>
                  </a:lnTo>
                  <a:lnTo>
                    <a:pt x="52" y="150"/>
                  </a:lnTo>
                  <a:lnTo>
                    <a:pt x="51" y="148"/>
                  </a:lnTo>
                  <a:close/>
                  <a:moveTo>
                    <a:pt x="1392" y="142"/>
                  </a:moveTo>
                  <a:lnTo>
                    <a:pt x="1395" y="142"/>
                  </a:lnTo>
                  <a:lnTo>
                    <a:pt x="1395" y="144"/>
                  </a:lnTo>
                  <a:lnTo>
                    <a:pt x="1394" y="145"/>
                  </a:lnTo>
                  <a:lnTo>
                    <a:pt x="1394" y="150"/>
                  </a:lnTo>
                  <a:lnTo>
                    <a:pt x="1392" y="150"/>
                  </a:lnTo>
                  <a:lnTo>
                    <a:pt x="1392" y="147"/>
                  </a:lnTo>
                  <a:lnTo>
                    <a:pt x="1391" y="145"/>
                  </a:lnTo>
                  <a:lnTo>
                    <a:pt x="1391" y="144"/>
                  </a:lnTo>
                  <a:lnTo>
                    <a:pt x="1392" y="142"/>
                  </a:lnTo>
                  <a:close/>
                  <a:moveTo>
                    <a:pt x="513" y="141"/>
                  </a:moveTo>
                  <a:lnTo>
                    <a:pt x="514" y="142"/>
                  </a:lnTo>
                  <a:lnTo>
                    <a:pt x="514" y="145"/>
                  </a:lnTo>
                  <a:lnTo>
                    <a:pt x="513" y="144"/>
                  </a:lnTo>
                  <a:lnTo>
                    <a:pt x="513" y="141"/>
                  </a:lnTo>
                  <a:close/>
                  <a:moveTo>
                    <a:pt x="34" y="136"/>
                  </a:moveTo>
                  <a:lnTo>
                    <a:pt x="39" y="136"/>
                  </a:lnTo>
                  <a:lnTo>
                    <a:pt x="40" y="138"/>
                  </a:lnTo>
                  <a:lnTo>
                    <a:pt x="40" y="139"/>
                  </a:lnTo>
                  <a:lnTo>
                    <a:pt x="39" y="138"/>
                  </a:lnTo>
                  <a:lnTo>
                    <a:pt x="39" y="139"/>
                  </a:lnTo>
                  <a:lnTo>
                    <a:pt x="40" y="139"/>
                  </a:lnTo>
                  <a:lnTo>
                    <a:pt x="40" y="141"/>
                  </a:lnTo>
                  <a:lnTo>
                    <a:pt x="42" y="141"/>
                  </a:lnTo>
                  <a:lnTo>
                    <a:pt x="45" y="144"/>
                  </a:lnTo>
                  <a:lnTo>
                    <a:pt x="49" y="144"/>
                  </a:lnTo>
                  <a:lnTo>
                    <a:pt x="49" y="145"/>
                  </a:lnTo>
                  <a:lnTo>
                    <a:pt x="51" y="145"/>
                  </a:lnTo>
                  <a:lnTo>
                    <a:pt x="49" y="148"/>
                  </a:lnTo>
                  <a:lnTo>
                    <a:pt x="51" y="148"/>
                  </a:lnTo>
                  <a:lnTo>
                    <a:pt x="52" y="150"/>
                  </a:lnTo>
                  <a:lnTo>
                    <a:pt x="55" y="151"/>
                  </a:lnTo>
                  <a:lnTo>
                    <a:pt x="57" y="153"/>
                  </a:lnTo>
                  <a:lnTo>
                    <a:pt x="60" y="153"/>
                  </a:lnTo>
                  <a:lnTo>
                    <a:pt x="61" y="154"/>
                  </a:lnTo>
                  <a:lnTo>
                    <a:pt x="61" y="157"/>
                  </a:lnTo>
                  <a:lnTo>
                    <a:pt x="63" y="157"/>
                  </a:lnTo>
                  <a:lnTo>
                    <a:pt x="63" y="156"/>
                  </a:lnTo>
                  <a:lnTo>
                    <a:pt x="64" y="156"/>
                  </a:lnTo>
                  <a:lnTo>
                    <a:pt x="66" y="159"/>
                  </a:lnTo>
                  <a:lnTo>
                    <a:pt x="66" y="162"/>
                  </a:lnTo>
                  <a:lnTo>
                    <a:pt x="64" y="163"/>
                  </a:lnTo>
                  <a:lnTo>
                    <a:pt x="63" y="163"/>
                  </a:lnTo>
                  <a:lnTo>
                    <a:pt x="61" y="162"/>
                  </a:lnTo>
                  <a:lnTo>
                    <a:pt x="58" y="162"/>
                  </a:lnTo>
                  <a:lnTo>
                    <a:pt x="58" y="160"/>
                  </a:lnTo>
                  <a:lnTo>
                    <a:pt x="57" y="159"/>
                  </a:lnTo>
                  <a:lnTo>
                    <a:pt x="55" y="159"/>
                  </a:lnTo>
                  <a:lnTo>
                    <a:pt x="48" y="153"/>
                  </a:lnTo>
                  <a:lnTo>
                    <a:pt x="46" y="151"/>
                  </a:lnTo>
                  <a:lnTo>
                    <a:pt x="40" y="151"/>
                  </a:lnTo>
                  <a:lnTo>
                    <a:pt x="37" y="148"/>
                  </a:lnTo>
                  <a:lnTo>
                    <a:pt x="34" y="148"/>
                  </a:lnTo>
                  <a:lnTo>
                    <a:pt x="34" y="147"/>
                  </a:lnTo>
                  <a:lnTo>
                    <a:pt x="33" y="145"/>
                  </a:lnTo>
                  <a:lnTo>
                    <a:pt x="33" y="144"/>
                  </a:lnTo>
                  <a:lnTo>
                    <a:pt x="30" y="144"/>
                  </a:lnTo>
                  <a:lnTo>
                    <a:pt x="30" y="141"/>
                  </a:lnTo>
                  <a:lnTo>
                    <a:pt x="33" y="141"/>
                  </a:lnTo>
                  <a:lnTo>
                    <a:pt x="34" y="139"/>
                  </a:lnTo>
                  <a:lnTo>
                    <a:pt x="33" y="139"/>
                  </a:lnTo>
                  <a:lnTo>
                    <a:pt x="33" y="138"/>
                  </a:lnTo>
                  <a:lnTo>
                    <a:pt x="34" y="138"/>
                  </a:lnTo>
                  <a:lnTo>
                    <a:pt x="34" y="136"/>
                  </a:lnTo>
                  <a:close/>
                  <a:moveTo>
                    <a:pt x="634" y="133"/>
                  </a:moveTo>
                  <a:lnTo>
                    <a:pt x="636" y="133"/>
                  </a:lnTo>
                  <a:lnTo>
                    <a:pt x="636" y="138"/>
                  </a:lnTo>
                  <a:lnTo>
                    <a:pt x="634" y="139"/>
                  </a:lnTo>
                  <a:lnTo>
                    <a:pt x="631" y="139"/>
                  </a:lnTo>
                  <a:lnTo>
                    <a:pt x="631" y="138"/>
                  </a:lnTo>
                  <a:lnTo>
                    <a:pt x="633" y="136"/>
                  </a:lnTo>
                  <a:lnTo>
                    <a:pt x="633" y="135"/>
                  </a:lnTo>
                  <a:lnTo>
                    <a:pt x="634" y="135"/>
                  </a:lnTo>
                  <a:lnTo>
                    <a:pt x="634" y="133"/>
                  </a:lnTo>
                  <a:close/>
                  <a:moveTo>
                    <a:pt x="491" y="133"/>
                  </a:moveTo>
                  <a:lnTo>
                    <a:pt x="495" y="133"/>
                  </a:lnTo>
                  <a:lnTo>
                    <a:pt x="495" y="138"/>
                  </a:lnTo>
                  <a:lnTo>
                    <a:pt x="491" y="138"/>
                  </a:lnTo>
                  <a:lnTo>
                    <a:pt x="491" y="139"/>
                  </a:lnTo>
                  <a:lnTo>
                    <a:pt x="492" y="139"/>
                  </a:lnTo>
                  <a:lnTo>
                    <a:pt x="492" y="141"/>
                  </a:lnTo>
                  <a:lnTo>
                    <a:pt x="491" y="141"/>
                  </a:lnTo>
                  <a:lnTo>
                    <a:pt x="489" y="139"/>
                  </a:lnTo>
                  <a:lnTo>
                    <a:pt x="489" y="136"/>
                  </a:lnTo>
                  <a:lnTo>
                    <a:pt x="491" y="135"/>
                  </a:lnTo>
                  <a:lnTo>
                    <a:pt x="491" y="133"/>
                  </a:lnTo>
                  <a:close/>
                  <a:moveTo>
                    <a:pt x="583" y="132"/>
                  </a:moveTo>
                  <a:lnTo>
                    <a:pt x="586" y="132"/>
                  </a:lnTo>
                  <a:lnTo>
                    <a:pt x="586" y="133"/>
                  </a:lnTo>
                  <a:lnTo>
                    <a:pt x="583" y="133"/>
                  </a:lnTo>
                  <a:lnTo>
                    <a:pt x="583" y="132"/>
                  </a:lnTo>
                  <a:close/>
                  <a:moveTo>
                    <a:pt x="489" y="130"/>
                  </a:moveTo>
                  <a:lnTo>
                    <a:pt x="491" y="130"/>
                  </a:lnTo>
                  <a:lnTo>
                    <a:pt x="491" y="133"/>
                  </a:lnTo>
                  <a:lnTo>
                    <a:pt x="489" y="133"/>
                  </a:lnTo>
                  <a:lnTo>
                    <a:pt x="489" y="130"/>
                  </a:lnTo>
                  <a:close/>
                  <a:moveTo>
                    <a:pt x="513" y="123"/>
                  </a:moveTo>
                  <a:lnTo>
                    <a:pt x="514" y="123"/>
                  </a:lnTo>
                  <a:lnTo>
                    <a:pt x="516" y="124"/>
                  </a:lnTo>
                  <a:lnTo>
                    <a:pt x="516" y="129"/>
                  </a:lnTo>
                  <a:lnTo>
                    <a:pt x="514" y="127"/>
                  </a:lnTo>
                  <a:lnTo>
                    <a:pt x="513" y="127"/>
                  </a:lnTo>
                  <a:lnTo>
                    <a:pt x="513" y="123"/>
                  </a:lnTo>
                  <a:close/>
                  <a:moveTo>
                    <a:pt x="1027" y="117"/>
                  </a:moveTo>
                  <a:lnTo>
                    <a:pt x="1030" y="117"/>
                  </a:lnTo>
                  <a:lnTo>
                    <a:pt x="1030" y="118"/>
                  </a:lnTo>
                  <a:lnTo>
                    <a:pt x="1032" y="118"/>
                  </a:lnTo>
                  <a:lnTo>
                    <a:pt x="1032" y="120"/>
                  </a:lnTo>
                  <a:lnTo>
                    <a:pt x="1027" y="120"/>
                  </a:lnTo>
                  <a:lnTo>
                    <a:pt x="1027" y="117"/>
                  </a:lnTo>
                  <a:close/>
                  <a:moveTo>
                    <a:pt x="514" y="117"/>
                  </a:moveTo>
                  <a:lnTo>
                    <a:pt x="517" y="117"/>
                  </a:lnTo>
                  <a:lnTo>
                    <a:pt x="516" y="118"/>
                  </a:lnTo>
                  <a:lnTo>
                    <a:pt x="516" y="123"/>
                  </a:lnTo>
                  <a:lnTo>
                    <a:pt x="513" y="121"/>
                  </a:lnTo>
                  <a:lnTo>
                    <a:pt x="514" y="121"/>
                  </a:lnTo>
                  <a:lnTo>
                    <a:pt x="514" y="117"/>
                  </a:lnTo>
                  <a:close/>
                  <a:moveTo>
                    <a:pt x="1033" y="112"/>
                  </a:moveTo>
                  <a:lnTo>
                    <a:pt x="1038" y="112"/>
                  </a:lnTo>
                  <a:lnTo>
                    <a:pt x="1038" y="114"/>
                  </a:lnTo>
                  <a:lnTo>
                    <a:pt x="1039" y="114"/>
                  </a:lnTo>
                  <a:lnTo>
                    <a:pt x="1039" y="117"/>
                  </a:lnTo>
                  <a:lnTo>
                    <a:pt x="1038" y="118"/>
                  </a:lnTo>
                  <a:lnTo>
                    <a:pt x="1038" y="121"/>
                  </a:lnTo>
                  <a:lnTo>
                    <a:pt x="1036" y="121"/>
                  </a:lnTo>
                  <a:lnTo>
                    <a:pt x="1036" y="120"/>
                  </a:lnTo>
                  <a:lnTo>
                    <a:pt x="1033" y="118"/>
                  </a:lnTo>
                  <a:lnTo>
                    <a:pt x="1033" y="117"/>
                  </a:lnTo>
                  <a:lnTo>
                    <a:pt x="1032" y="115"/>
                  </a:lnTo>
                  <a:lnTo>
                    <a:pt x="1032" y="114"/>
                  </a:lnTo>
                  <a:lnTo>
                    <a:pt x="1033" y="114"/>
                  </a:lnTo>
                  <a:lnTo>
                    <a:pt x="1033" y="112"/>
                  </a:lnTo>
                  <a:close/>
                  <a:moveTo>
                    <a:pt x="1044" y="106"/>
                  </a:moveTo>
                  <a:lnTo>
                    <a:pt x="1047" y="106"/>
                  </a:lnTo>
                  <a:lnTo>
                    <a:pt x="1047" y="108"/>
                  </a:lnTo>
                  <a:lnTo>
                    <a:pt x="1048" y="108"/>
                  </a:lnTo>
                  <a:lnTo>
                    <a:pt x="1048" y="112"/>
                  </a:lnTo>
                  <a:lnTo>
                    <a:pt x="1045" y="111"/>
                  </a:lnTo>
                  <a:lnTo>
                    <a:pt x="1045" y="109"/>
                  </a:lnTo>
                  <a:lnTo>
                    <a:pt x="1044" y="108"/>
                  </a:lnTo>
                  <a:lnTo>
                    <a:pt x="1044" y="106"/>
                  </a:lnTo>
                  <a:close/>
                  <a:moveTo>
                    <a:pt x="1018" y="106"/>
                  </a:moveTo>
                  <a:lnTo>
                    <a:pt x="1026" y="106"/>
                  </a:lnTo>
                  <a:lnTo>
                    <a:pt x="1026" y="108"/>
                  </a:lnTo>
                  <a:lnTo>
                    <a:pt x="1027" y="109"/>
                  </a:lnTo>
                  <a:lnTo>
                    <a:pt x="1030" y="109"/>
                  </a:lnTo>
                  <a:lnTo>
                    <a:pt x="1032" y="111"/>
                  </a:lnTo>
                  <a:lnTo>
                    <a:pt x="1030" y="112"/>
                  </a:lnTo>
                  <a:lnTo>
                    <a:pt x="1029" y="112"/>
                  </a:lnTo>
                  <a:lnTo>
                    <a:pt x="1024" y="111"/>
                  </a:lnTo>
                  <a:lnTo>
                    <a:pt x="1021" y="111"/>
                  </a:lnTo>
                  <a:lnTo>
                    <a:pt x="1020" y="109"/>
                  </a:lnTo>
                  <a:lnTo>
                    <a:pt x="1018" y="109"/>
                  </a:lnTo>
                  <a:lnTo>
                    <a:pt x="1018" y="106"/>
                  </a:lnTo>
                  <a:close/>
                  <a:moveTo>
                    <a:pt x="1395" y="99"/>
                  </a:moveTo>
                  <a:lnTo>
                    <a:pt x="1397" y="99"/>
                  </a:lnTo>
                  <a:lnTo>
                    <a:pt x="1400" y="102"/>
                  </a:lnTo>
                  <a:lnTo>
                    <a:pt x="1401" y="105"/>
                  </a:lnTo>
                  <a:lnTo>
                    <a:pt x="1401" y="106"/>
                  </a:lnTo>
                  <a:lnTo>
                    <a:pt x="1403" y="108"/>
                  </a:lnTo>
                  <a:lnTo>
                    <a:pt x="1403" y="109"/>
                  </a:lnTo>
                  <a:lnTo>
                    <a:pt x="1404" y="109"/>
                  </a:lnTo>
                  <a:lnTo>
                    <a:pt x="1404" y="111"/>
                  </a:lnTo>
                  <a:lnTo>
                    <a:pt x="1406" y="112"/>
                  </a:lnTo>
                  <a:lnTo>
                    <a:pt x="1406" y="114"/>
                  </a:lnTo>
                  <a:lnTo>
                    <a:pt x="1404" y="115"/>
                  </a:lnTo>
                  <a:lnTo>
                    <a:pt x="1403" y="115"/>
                  </a:lnTo>
                  <a:lnTo>
                    <a:pt x="1403" y="114"/>
                  </a:lnTo>
                  <a:lnTo>
                    <a:pt x="1401" y="112"/>
                  </a:lnTo>
                  <a:lnTo>
                    <a:pt x="1398" y="112"/>
                  </a:lnTo>
                  <a:lnTo>
                    <a:pt x="1398" y="106"/>
                  </a:lnTo>
                  <a:lnTo>
                    <a:pt x="1394" y="102"/>
                  </a:lnTo>
                  <a:lnTo>
                    <a:pt x="1394" y="100"/>
                  </a:lnTo>
                  <a:lnTo>
                    <a:pt x="1395" y="99"/>
                  </a:lnTo>
                  <a:close/>
                  <a:moveTo>
                    <a:pt x="1455" y="94"/>
                  </a:moveTo>
                  <a:lnTo>
                    <a:pt x="1457" y="94"/>
                  </a:lnTo>
                  <a:lnTo>
                    <a:pt x="1458" y="96"/>
                  </a:lnTo>
                  <a:lnTo>
                    <a:pt x="1460" y="96"/>
                  </a:lnTo>
                  <a:lnTo>
                    <a:pt x="1460" y="99"/>
                  </a:lnTo>
                  <a:lnTo>
                    <a:pt x="1458" y="99"/>
                  </a:lnTo>
                  <a:lnTo>
                    <a:pt x="1455" y="96"/>
                  </a:lnTo>
                  <a:lnTo>
                    <a:pt x="1455" y="94"/>
                  </a:lnTo>
                  <a:close/>
                  <a:moveTo>
                    <a:pt x="1041" y="93"/>
                  </a:moveTo>
                  <a:lnTo>
                    <a:pt x="1044" y="93"/>
                  </a:lnTo>
                  <a:lnTo>
                    <a:pt x="1045" y="94"/>
                  </a:lnTo>
                  <a:lnTo>
                    <a:pt x="1047" y="94"/>
                  </a:lnTo>
                  <a:lnTo>
                    <a:pt x="1047" y="96"/>
                  </a:lnTo>
                  <a:lnTo>
                    <a:pt x="1044" y="96"/>
                  </a:lnTo>
                  <a:lnTo>
                    <a:pt x="1044" y="94"/>
                  </a:lnTo>
                  <a:lnTo>
                    <a:pt x="1042" y="94"/>
                  </a:lnTo>
                  <a:lnTo>
                    <a:pt x="1041" y="93"/>
                  </a:lnTo>
                  <a:close/>
                  <a:moveTo>
                    <a:pt x="1449" y="85"/>
                  </a:moveTo>
                  <a:lnTo>
                    <a:pt x="1451" y="85"/>
                  </a:lnTo>
                  <a:lnTo>
                    <a:pt x="1451" y="88"/>
                  </a:lnTo>
                  <a:lnTo>
                    <a:pt x="1454" y="90"/>
                  </a:lnTo>
                  <a:lnTo>
                    <a:pt x="1454" y="93"/>
                  </a:lnTo>
                  <a:lnTo>
                    <a:pt x="1452" y="94"/>
                  </a:lnTo>
                  <a:lnTo>
                    <a:pt x="1451" y="91"/>
                  </a:lnTo>
                  <a:lnTo>
                    <a:pt x="1452" y="90"/>
                  </a:lnTo>
                  <a:lnTo>
                    <a:pt x="1451" y="90"/>
                  </a:lnTo>
                  <a:lnTo>
                    <a:pt x="1449" y="88"/>
                  </a:lnTo>
                  <a:lnTo>
                    <a:pt x="1449" y="85"/>
                  </a:lnTo>
                  <a:close/>
                  <a:moveTo>
                    <a:pt x="1038" y="81"/>
                  </a:moveTo>
                  <a:lnTo>
                    <a:pt x="1039" y="81"/>
                  </a:lnTo>
                  <a:lnTo>
                    <a:pt x="1039" y="82"/>
                  </a:lnTo>
                  <a:lnTo>
                    <a:pt x="1042" y="84"/>
                  </a:lnTo>
                  <a:lnTo>
                    <a:pt x="1042" y="85"/>
                  </a:lnTo>
                  <a:lnTo>
                    <a:pt x="1041" y="88"/>
                  </a:lnTo>
                  <a:lnTo>
                    <a:pt x="1038" y="88"/>
                  </a:lnTo>
                  <a:lnTo>
                    <a:pt x="1036" y="87"/>
                  </a:lnTo>
                  <a:lnTo>
                    <a:pt x="1035" y="84"/>
                  </a:lnTo>
                  <a:lnTo>
                    <a:pt x="1038" y="81"/>
                  </a:lnTo>
                  <a:close/>
                  <a:moveTo>
                    <a:pt x="1041" y="79"/>
                  </a:moveTo>
                  <a:lnTo>
                    <a:pt x="1050" y="79"/>
                  </a:lnTo>
                  <a:lnTo>
                    <a:pt x="1050" y="82"/>
                  </a:lnTo>
                  <a:lnTo>
                    <a:pt x="1051" y="84"/>
                  </a:lnTo>
                  <a:lnTo>
                    <a:pt x="1050" y="85"/>
                  </a:lnTo>
                  <a:lnTo>
                    <a:pt x="1047" y="85"/>
                  </a:lnTo>
                  <a:lnTo>
                    <a:pt x="1045" y="84"/>
                  </a:lnTo>
                  <a:lnTo>
                    <a:pt x="1042" y="82"/>
                  </a:lnTo>
                  <a:lnTo>
                    <a:pt x="1042" y="81"/>
                  </a:lnTo>
                  <a:lnTo>
                    <a:pt x="1041" y="79"/>
                  </a:lnTo>
                  <a:close/>
                  <a:moveTo>
                    <a:pt x="604" y="76"/>
                  </a:moveTo>
                  <a:lnTo>
                    <a:pt x="606" y="76"/>
                  </a:lnTo>
                  <a:lnTo>
                    <a:pt x="606" y="78"/>
                  </a:lnTo>
                  <a:lnTo>
                    <a:pt x="607" y="79"/>
                  </a:lnTo>
                  <a:lnTo>
                    <a:pt x="607" y="82"/>
                  </a:lnTo>
                  <a:lnTo>
                    <a:pt x="612" y="87"/>
                  </a:lnTo>
                  <a:lnTo>
                    <a:pt x="613" y="87"/>
                  </a:lnTo>
                  <a:lnTo>
                    <a:pt x="613" y="91"/>
                  </a:lnTo>
                  <a:lnTo>
                    <a:pt x="612" y="91"/>
                  </a:lnTo>
                  <a:lnTo>
                    <a:pt x="612" y="93"/>
                  </a:lnTo>
                  <a:lnTo>
                    <a:pt x="613" y="93"/>
                  </a:lnTo>
                  <a:lnTo>
                    <a:pt x="613" y="96"/>
                  </a:lnTo>
                  <a:lnTo>
                    <a:pt x="610" y="99"/>
                  </a:lnTo>
                  <a:lnTo>
                    <a:pt x="610" y="102"/>
                  </a:lnTo>
                  <a:lnTo>
                    <a:pt x="606" y="102"/>
                  </a:lnTo>
                  <a:lnTo>
                    <a:pt x="604" y="103"/>
                  </a:lnTo>
                  <a:lnTo>
                    <a:pt x="603" y="103"/>
                  </a:lnTo>
                  <a:lnTo>
                    <a:pt x="601" y="102"/>
                  </a:lnTo>
                  <a:lnTo>
                    <a:pt x="600" y="102"/>
                  </a:lnTo>
                  <a:lnTo>
                    <a:pt x="600" y="100"/>
                  </a:lnTo>
                  <a:lnTo>
                    <a:pt x="601" y="99"/>
                  </a:lnTo>
                  <a:lnTo>
                    <a:pt x="603" y="99"/>
                  </a:lnTo>
                  <a:lnTo>
                    <a:pt x="603" y="97"/>
                  </a:lnTo>
                  <a:lnTo>
                    <a:pt x="606" y="97"/>
                  </a:lnTo>
                  <a:lnTo>
                    <a:pt x="607" y="99"/>
                  </a:lnTo>
                  <a:lnTo>
                    <a:pt x="607" y="96"/>
                  </a:lnTo>
                  <a:lnTo>
                    <a:pt x="603" y="96"/>
                  </a:lnTo>
                  <a:lnTo>
                    <a:pt x="600" y="94"/>
                  </a:lnTo>
                  <a:lnTo>
                    <a:pt x="598" y="94"/>
                  </a:lnTo>
                  <a:lnTo>
                    <a:pt x="597" y="93"/>
                  </a:lnTo>
                  <a:lnTo>
                    <a:pt x="597" y="90"/>
                  </a:lnTo>
                  <a:lnTo>
                    <a:pt x="595" y="90"/>
                  </a:lnTo>
                  <a:lnTo>
                    <a:pt x="595" y="87"/>
                  </a:lnTo>
                  <a:lnTo>
                    <a:pt x="594" y="87"/>
                  </a:lnTo>
                  <a:lnTo>
                    <a:pt x="595" y="85"/>
                  </a:lnTo>
                  <a:lnTo>
                    <a:pt x="595" y="84"/>
                  </a:lnTo>
                  <a:lnTo>
                    <a:pt x="598" y="84"/>
                  </a:lnTo>
                  <a:lnTo>
                    <a:pt x="598" y="82"/>
                  </a:lnTo>
                  <a:lnTo>
                    <a:pt x="600" y="82"/>
                  </a:lnTo>
                  <a:lnTo>
                    <a:pt x="603" y="79"/>
                  </a:lnTo>
                  <a:lnTo>
                    <a:pt x="603" y="78"/>
                  </a:lnTo>
                  <a:lnTo>
                    <a:pt x="604" y="76"/>
                  </a:lnTo>
                  <a:close/>
                  <a:moveTo>
                    <a:pt x="954" y="69"/>
                  </a:moveTo>
                  <a:lnTo>
                    <a:pt x="956" y="69"/>
                  </a:lnTo>
                  <a:lnTo>
                    <a:pt x="956" y="70"/>
                  </a:lnTo>
                  <a:lnTo>
                    <a:pt x="957" y="70"/>
                  </a:lnTo>
                  <a:lnTo>
                    <a:pt x="957" y="72"/>
                  </a:lnTo>
                  <a:lnTo>
                    <a:pt x="962" y="72"/>
                  </a:lnTo>
                  <a:lnTo>
                    <a:pt x="962" y="75"/>
                  </a:lnTo>
                  <a:lnTo>
                    <a:pt x="963" y="75"/>
                  </a:lnTo>
                  <a:lnTo>
                    <a:pt x="966" y="72"/>
                  </a:lnTo>
                  <a:lnTo>
                    <a:pt x="968" y="72"/>
                  </a:lnTo>
                  <a:lnTo>
                    <a:pt x="968" y="70"/>
                  </a:lnTo>
                  <a:lnTo>
                    <a:pt x="978" y="70"/>
                  </a:lnTo>
                  <a:lnTo>
                    <a:pt x="978" y="72"/>
                  </a:lnTo>
                  <a:lnTo>
                    <a:pt x="979" y="73"/>
                  </a:lnTo>
                  <a:lnTo>
                    <a:pt x="984" y="73"/>
                  </a:lnTo>
                  <a:lnTo>
                    <a:pt x="984" y="70"/>
                  </a:lnTo>
                  <a:lnTo>
                    <a:pt x="985" y="69"/>
                  </a:lnTo>
                  <a:lnTo>
                    <a:pt x="987" y="69"/>
                  </a:lnTo>
                  <a:lnTo>
                    <a:pt x="988" y="72"/>
                  </a:lnTo>
                  <a:lnTo>
                    <a:pt x="993" y="72"/>
                  </a:lnTo>
                  <a:lnTo>
                    <a:pt x="994" y="70"/>
                  </a:lnTo>
                  <a:lnTo>
                    <a:pt x="996" y="70"/>
                  </a:lnTo>
                  <a:lnTo>
                    <a:pt x="997" y="72"/>
                  </a:lnTo>
                  <a:lnTo>
                    <a:pt x="1015" y="72"/>
                  </a:lnTo>
                  <a:lnTo>
                    <a:pt x="1017" y="70"/>
                  </a:lnTo>
                  <a:lnTo>
                    <a:pt x="1018" y="70"/>
                  </a:lnTo>
                  <a:lnTo>
                    <a:pt x="1018" y="72"/>
                  </a:lnTo>
                  <a:lnTo>
                    <a:pt x="1020" y="73"/>
                  </a:lnTo>
                  <a:lnTo>
                    <a:pt x="1024" y="75"/>
                  </a:lnTo>
                  <a:lnTo>
                    <a:pt x="1027" y="78"/>
                  </a:lnTo>
                  <a:lnTo>
                    <a:pt x="1027" y="79"/>
                  </a:lnTo>
                  <a:lnTo>
                    <a:pt x="1033" y="79"/>
                  </a:lnTo>
                  <a:lnTo>
                    <a:pt x="1033" y="81"/>
                  </a:lnTo>
                  <a:lnTo>
                    <a:pt x="1032" y="81"/>
                  </a:lnTo>
                  <a:lnTo>
                    <a:pt x="1024" y="79"/>
                  </a:lnTo>
                  <a:lnTo>
                    <a:pt x="1026" y="81"/>
                  </a:lnTo>
                  <a:lnTo>
                    <a:pt x="1026" y="82"/>
                  </a:lnTo>
                  <a:lnTo>
                    <a:pt x="1027" y="82"/>
                  </a:lnTo>
                  <a:lnTo>
                    <a:pt x="1029" y="84"/>
                  </a:lnTo>
                  <a:lnTo>
                    <a:pt x="1030" y="84"/>
                  </a:lnTo>
                  <a:lnTo>
                    <a:pt x="1029" y="85"/>
                  </a:lnTo>
                  <a:lnTo>
                    <a:pt x="1032" y="85"/>
                  </a:lnTo>
                  <a:lnTo>
                    <a:pt x="1036" y="90"/>
                  </a:lnTo>
                  <a:lnTo>
                    <a:pt x="1039" y="90"/>
                  </a:lnTo>
                  <a:lnTo>
                    <a:pt x="1039" y="91"/>
                  </a:lnTo>
                  <a:lnTo>
                    <a:pt x="1036" y="91"/>
                  </a:lnTo>
                  <a:lnTo>
                    <a:pt x="1035" y="90"/>
                  </a:lnTo>
                  <a:lnTo>
                    <a:pt x="1033" y="90"/>
                  </a:lnTo>
                  <a:lnTo>
                    <a:pt x="1036" y="93"/>
                  </a:lnTo>
                  <a:lnTo>
                    <a:pt x="1041" y="93"/>
                  </a:lnTo>
                  <a:lnTo>
                    <a:pt x="1041" y="94"/>
                  </a:lnTo>
                  <a:lnTo>
                    <a:pt x="1044" y="96"/>
                  </a:lnTo>
                  <a:lnTo>
                    <a:pt x="1044" y="97"/>
                  </a:lnTo>
                  <a:lnTo>
                    <a:pt x="1041" y="97"/>
                  </a:lnTo>
                  <a:lnTo>
                    <a:pt x="1041" y="99"/>
                  </a:lnTo>
                  <a:lnTo>
                    <a:pt x="1045" y="99"/>
                  </a:lnTo>
                  <a:lnTo>
                    <a:pt x="1045" y="102"/>
                  </a:lnTo>
                  <a:lnTo>
                    <a:pt x="1044" y="102"/>
                  </a:lnTo>
                  <a:lnTo>
                    <a:pt x="1042" y="103"/>
                  </a:lnTo>
                  <a:lnTo>
                    <a:pt x="1038" y="105"/>
                  </a:lnTo>
                  <a:lnTo>
                    <a:pt x="1036" y="103"/>
                  </a:lnTo>
                  <a:lnTo>
                    <a:pt x="1033" y="103"/>
                  </a:lnTo>
                  <a:lnTo>
                    <a:pt x="1033" y="102"/>
                  </a:lnTo>
                  <a:lnTo>
                    <a:pt x="1032" y="102"/>
                  </a:lnTo>
                  <a:lnTo>
                    <a:pt x="1032" y="99"/>
                  </a:lnTo>
                  <a:lnTo>
                    <a:pt x="1030" y="99"/>
                  </a:lnTo>
                  <a:lnTo>
                    <a:pt x="1030" y="102"/>
                  </a:lnTo>
                  <a:lnTo>
                    <a:pt x="1032" y="102"/>
                  </a:lnTo>
                  <a:lnTo>
                    <a:pt x="1032" y="105"/>
                  </a:lnTo>
                  <a:lnTo>
                    <a:pt x="1029" y="105"/>
                  </a:lnTo>
                  <a:lnTo>
                    <a:pt x="1027" y="103"/>
                  </a:lnTo>
                  <a:lnTo>
                    <a:pt x="1011" y="103"/>
                  </a:lnTo>
                  <a:lnTo>
                    <a:pt x="1009" y="106"/>
                  </a:lnTo>
                  <a:lnTo>
                    <a:pt x="1011" y="105"/>
                  </a:lnTo>
                  <a:lnTo>
                    <a:pt x="1018" y="105"/>
                  </a:lnTo>
                  <a:lnTo>
                    <a:pt x="1017" y="106"/>
                  </a:lnTo>
                  <a:lnTo>
                    <a:pt x="1017" y="109"/>
                  </a:lnTo>
                  <a:lnTo>
                    <a:pt x="1018" y="109"/>
                  </a:lnTo>
                  <a:lnTo>
                    <a:pt x="1018" y="111"/>
                  </a:lnTo>
                  <a:lnTo>
                    <a:pt x="1021" y="111"/>
                  </a:lnTo>
                  <a:lnTo>
                    <a:pt x="1023" y="112"/>
                  </a:lnTo>
                  <a:lnTo>
                    <a:pt x="1027" y="112"/>
                  </a:lnTo>
                  <a:lnTo>
                    <a:pt x="1027" y="114"/>
                  </a:lnTo>
                  <a:lnTo>
                    <a:pt x="1029" y="112"/>
                  </a:lnTo>
                  <a:lnTo>
                    <a:pt x="1029" y="115"/>
                  </a:lnTo>
                  <a:lnTo>
                    <a:pt x="1027" y="117"/>
                  </a:lnTo>
                  <a:lnTo>
                    <a:pt x="1026" y="117"/>
                  </a:lnTo>
                  <a:lnTo>
                    <a:pt x="1026" y="118"/>
                  </a:lnTo>
                  <a:lnTo>
                    <a:pt x="1024" y="118"/>
                  </a:lnTo>
                  <a:lnTo>
                    <a:pt x="1024" y="123"/>
                  </a:lnTo>
                  <a:lnTo>
                    <a:pt x="1023" y="123"/>
                  </a:lnTo>
                  <a:lnTo>
                    <a:pt x="1023" y="121"/>
                  </a:lnTo>
                  <a:lnTo>
                    <a:pt x="1020" y="121"/>
                  </a:lnTo>
                  <a:lnTo>
                    <a:pt x="1020" y="123"/>
                  </a:lnTo>
                  <a:lnTo>
                    <a:pt x="1021" y="123"/>
                  </a:lnTo>
                  <a:lnTo>
                    <a:pt x="1024" y="124"/>
                  </a:lnTo>
                  <a:lnTo>
                    <a:pt x="1027" y="124"/>
                  </a:lnTo>
                  <a:lnTo>
                    <a:pt x="1029" y="126"/>
                  </a:lnTo>
                  <a:lnTo>
                    <a:pt x="1029" y="127"/>
                  </a:lnTo>
                  <a:lnTo>
                    <a:pt x="1030" y="129"/>
                  </a:lnTo>
                  <a:lnTo>
                    <a:pt x="1036" y="129"/>
                  </a:lnTo>
                  <a:lnTo>
                    <a:pt x="1036" y="132"/>
                  </a:lnTo>
                  <a:lnTo>
                    <a:pt x="1035" y="132"/>
                  </a:lnTo>
                  <a:lnTo>
                    <a:pt x="1035" y="133"/>
                  </a:lnTo>
                  <a:lnTo>
                    <a:pt x="1039" y="133"/>
                  </a:lnTo>
                  <a:lnTo>
                    <a:pt x="1039" y="135"/>
                  </a:lnTo>
                  <a:lnTo>
                    <a:pt x="1038" y="135"/>
                  </a:lnTo>
                  <a:lnTo>
                    <a:pt x="1036" y="136"/>
                  </a:lnTo>
                  <a:lnTo>
                    <a:pt x="1033" y="136"/>
                  </a:lnTo>
                  <a:lnTo>
                    <a:pt x="1038" y="138"/>
                  </a:lnTo>
                  <a:lnTo>
                    <a:pt x="1041" y="138"/>
                  </a:lnTo>
                  <a:lnTo>
                    <a:pt x="1039" y="139"/>
                  </a:lnTo>
                  <a:lnTo>
                    <a:pt x="1038" y="139"/>
                  </a:lnTo>
                  <a:lnTo>
                    <a:pt x="1036" y="141"/>
                  </a:lnTo>
                  <a:lnTo>
                    <a:pt x="1039" y="142"/>
                  </a:lnTo>
                  <a:lnTo>
                    <a:pt x="1042" y="142"/>
                  </a:lnTo>
                  <a:lnTo>
                    <a:pt x="1044" y="144"/>
                  </a:lnTo>
                  <a:lnTo>
                    <a:pt x="1044" y="145"/>
                  </a:lnTo>
                  <a:lnTo>
                    <a:pt x="1045" y="148"/>
                  </a:lnTo>
                  <a:lnTo>
                    <a:pt x="1045" y="151"/>
                  </a:lnTo>
                  <a:lnTo>
                    <a:pt x="1048" y="153"/>
                  </a:lnTo>
                  <a:lnTo>
                    <a:pt x="1054" y="159"/>
                  </a:lnTo>
                  <a:lnTo>
                    <a:pt x="1054" y="162"/>
                  </a:lnTo>
                  <a:lnTo>
                    <a:pt x="1057" y="162"/>
                  </a:lnTo>
                  <a:lnTo>
                    <a:pt x="1057" y="163"/>
                  </a:lnTo>
                  <a:lnTo>
                    <a:pt x="1059" y="165"/>
                  </a:lnTo>
                  <a:lnTo>
                    <a:pt x="1059" y="166"/>
                  </a:lnTo>
                  <a:lnTo>
                    <a:pt x="1057" y="166"/>
                  </a:lnTo>
                  <a:lnTo>
                    <a:pt x="1056" y="169"/>
                  </a:lnTo>
                  <a:lnTo>
                    <a:pt x="1053" y="169"/>
                  </a:lnTo>
                  <a:lnTo>
                    <a:pt x="1051" y="171"/>
                  </a:lnTo>
                  <a:lnTo>
                    <a:pt x="1051" y="172"/>
                  </a:lnTo>
                  <a:lnTo>
                    <a:pt x="1050" y="174"/>
                  </a:lnTo>
                  <a:lnTo>
                    <a:pt x="1045" y="174"/>
                  </a:lnTo>
                  <a:lnTo>
                    <a:pt x="1047" y="175"/>
                  </a:lnTo>
                  <a:lnTo>
                    <a:pt x="1048" y="175"/>
                  </a:lnTo>
                  <a:lnTo>
                    <a:pt x="1050" y="177"/>
                  </a:lnTo>
                  <a:lnTo>
                    <a:pt x="1042" y="177"/>
                  </a:lnTo>
                  <a:lnTo>
                    <a:pt x="1042" y="178"/>
                  </a:lnTo>
                  <a:lnTo>
                    <a:pt x="1045" y="178"/>
                  </a:lnTo>
                  <a:lnTo>
                    <a:pt x="1047" y="180"/>
                  </a:lnTo>
                  <a:lnTo>
                    <a:pt x="1048" y="180"/>
                  </a:lnTo>
                  <a:lnTo>
                    <a:pt x="1048" y="183"/>
                  </a:lnTo>
                  <a:lnTo>
                    <a:pt x="1047" y="183"/>
                  </a:lnTo>
                  <a:lnTo>
                    <a:pt x="1047" y="184"/>
                  </a:lnTo>
                  <a:lnTo>
                    <a:pt x="1048" y="184"/>
                  </a:lnTo>
                  <a:lnTo>
                    <a:pt x="1050" y="186"/>
                  </a:lnTo>
                  <a:lnTo>
                    <a:pt x="1050" y="187"/>
                  </a:lnTo>
                  <a:lnTo>
                    <a:pt x="1053" y="187"/>
                  </a:lnTo>
                  <a:lnTo>
                    <a:pt x="1053" y="189"/>
                  </a:lnTo>
                  <a:lnTo>
                    <a:pt x="1056" y="189"/>
                  </a:lnTo>
                  <a:lnTo>
                    <a:pt x="1056" y="190"/>
                  </a:lnTo>
                  <a:lnTo>
                    <a:pt x="1062" y="196"/>
                  </a:lnTo>
                  <a:lnTo>
                    <a:pt x="1066" y="199"/>
                  </a:lnTo>
                  <a:lnTo>
                    <a:pt x="1069" y="199"/>
                  </a:lnTo>
                  <a:lnTo>
                    <a:pt x="1072" y="202"/>
                  </a:lnTo>
                  <a:lnTo>
                    <a:pt x="1072" y="204"/>
                  </a:lnTo>
                  <a:lnTo>
                    <a:pt x="1074" y="204"/>
                  </a:lnTo>
                  <a:lnTo>
                    <a:pt x="1074" y="205"/>
                  </a:lnTo>
                  <a:lnTo>
                    <a:pt x="1075" y="205"/>
                  </a:lnTo>
                  <a:lnTo>
                    <a:pt x="1075" y="207"/>
                  </a:lnTo>
                  <a:lnTo>
                    <a:pt x="1078" y="207"/>
                  </a:lnTo>
                  <a:lnTo>
                    <a:pt x="1081" y="208"/>
                  </a:lnTo>
                  <a:lnTo>
                    <a:pt x="1084" y="211"/>
                  </a:lnTo>
                  <a:lnTo>
                    <a:pt x="1087" y="213"/>
                  </a:lnTo>
                  <a:lnTo>
                    <a:pt x="1089" y="214"/>
                  </a:lnTo>
                  <a:lnTo>
                    <a:pt x="1089" y="217"/>
                  </a:lnTo>
                  <a:lnTo>
                    <a:pt x="1090" y="217"/>
                  </a:lnTo>
                  <a:lnTo>
                    <a:pt x="1090" y="219"/>
                  </a:lnTo>
                  <a:lnTo>
                    <a:pt x="1092" y="219"/>
                  </a:lnTo>
                  <a:lnTo>
                    <a:pt x="1093" y="222"/>
                  </a:lnTo>
                  <a:lnTo>
                    <a:pt x="1095" y="222"/>
                  </a:lnTo>
                  <a:lnTo>
                    <a:pt x="1095" y="220"/>
                  </a:lnTo>
                  <a:lnTo>
                    <a:pt x="1096" y="220"/>
                  </a:lnTo>
                  <a:lnTo>
                    <a:pt x="1099" y="222"/>
                  </a:lnTo>
                  <a:lnTo>
                    <a:pt x="1099" y="225"/>
                  </a:lnTo>
                  <a:lnTo>
                    <a:pt x="1101" y="225"/>
                  </a:lnTo>
                  <a:lnTo>
                    <a:pt x="1096" y="229"/>
                  </a:lnTo>
                  <a:lnTo>
                    <a:pt x="1093" y="231"/>
                  </a:lnTo>
                  <a:lnTo>
                    <a:pt x="1092" y="232"/>
                  </a:lnTo>
                  <a:lnTo>
                    <a:pt x="1092" y="234"/>
                  </a:lnTo>
                  <a:lnTo>
                    <a:pt x="1089" y="234"/>
                  </a:lnTo>
                  <a:lnTo>
                    <a:pt x="1087" y="232"/>
                  </a:lnTo>
                  <a:lnTo>
                    <a:pt x="1086" y="232"/>
                  </a:lnTo>
                  <a:lnTo>
                    <a:pt x="1086" y="231"/>
                  </a:lnTo>
                  <a:lnTo>
                    <a:pt x="1084" y="231"/>
                  </a:lnTo>
                  <a:lnTo>
                    <a:pt x="1083" y="232"/>
                  </a:lnTo>
                  <a:lnTo>
                    <a:pt x="1081" y="232"/>
                  </a:lnTo>
                  <a:lnTo>
                    <a:pt x="1080" y="234"/>
                  </a:lnTo>
                  <a:lnTo>
                    <a:pt x="1078" y="232"/>
                  </a:lnTo>
                  <a:lnTo>
                    <a:pt x="1072" y="232"/>
                  </a:lnTo>
                  <a:lnTo>
                    <a:pt x="1072" y="234"/>
                  </a:lnTo>
                  <a:lnTo>
                    <a:pt x="1071" y="234"/>
                  </a:lnTo>
                  <a:lnTo>
                    <a:pt x="1071" y="232"/>
                  </a:lnTo>
                  <a:lnTo>
                    <a:pt x="1069" y="232"/>
                  </a:lnTo>
                  <a:lnTo>
                    <a:pt x="1069" y="231"/>
                  </a:lnTo>
                  <a:lnTo>
                    <a:pt x="1062" y="231"/>
                  </a:lnTo>
                  <a:lnTo>
                    <a:pt x="1060" y="229"/>
                  </a:lnTo>
                  <a:lnTo>
                    <a:pt x="1059" y="229"/>
                  </a:lnTo>
                  <a:lnTo>
                    <a:pt x="1056" y="226"/>
                  </a:lnTo>
                  <a:lnTo>
                    <a:pt x="1056" y="225"/>
                  </a:lnTo>
                  <a:lnTo>
                    <a:pt x="1054" y="222"/>
                  </a:lnTo>
                  <a:lnTo>
                    <a:pt x="1051" y="219"/>
                  </a:lnTo>
                  <a:lnTo>
                    <a:pt x="1048" y="219"/>
                  </a:lnTo>
                  <a:lnTo>
                    <a:pt x="1048" y="220"/>
                  </a:lnTo>
                  <a:lnTo>
                    <a:pt x="1050" y="220"/>
                  </a:lnTo>
                  <a:lnTo>
                    <a:pt x="1051" y="223"/>
                  </a:lnTo>
                  <a:lnTo>
                    <a:pt x="1053" y="225"/>
                  </a:lnTo>
                  <a:lnTo>
                    <a:pt x="1053" y="228"/>
                  </a:lnTo>
                  <a:lnTo>
                    <a:pt x="1054" y="229"/>
                  </a:lnTo>
                  <a:lnTo>
                    <a:pt x="1054" y="231"/>
                  </a:lnTo>
                  <a:lnTo>
                    <a:pt x="1056" y="231"/>
                  </a:lnTo>
                  <a:lnTo>
                    <a:pt x="1056" y="234"/>
                  </a:lnTo>
                  <a:lnTo>
                    <a:pt x="1053" y="234"/>
                  </a:lnTo>
                  <a:lnTo>
                    <a:pt x="1051" y="232"/>
                  </a:lnTo>
                  <a:lnTo>
                    <a:pt x="1045" y="232"/>
                  </a:lnTo>
                  <a:lnTo>
                    <a:pt x="1045" y="234"/>
                  </a:lnTo>
                  <a:lnTo>
                    <a:pt x="1044" y="234"/>
                  </a:lnTo>
                  <a:lnTo>
                    <a:pt x="1042" y="237"/>
                  </a:lnTo>
                  <a:lnTo>
                    <a:pt x="1041" y="237"/>
                  </a:lnTo>
                  <a:lnTo>
                    <a:pt x="1041" y="241"/>
                  </a:lnTo>
                  <a:lnTo>
                    <a:pt x="1039" y="241"/>
                  </a:lnTo>
                  <a:lnTo>
                    <a:pt x="1039" y="244"/>
                  </a:lnTo>
                  <a:lnTo>
                    <a:pt x="1036" y="247"/>
                  </a:lnTo>
                  <a:lnTo>
                    <a:pt x="1036" y="252"/>
                  </a:lnTo>
                  <a:lnTo>
                    <a:pt x="1033" y="252"/>
                  </a:lnTo>
                  <a:lnTo>
                    <a:pt x="1033" y="255"/>
                  </a:lnTo>
                  <a:lnTo>
                    <a:pt x="1032" y="256"/>
                  </a:lnTo>
                  <a:lnTo>
                    <a:pt x="1032" y="261"/>
                  </a:lnTo>
                  <a:lnTo>
                    <a:pt x="1030" y="261"/>
                  </a:lnTo>
                  <a:lnTo>
                    <a:pt x="1030" y="265"/>
                  </a:lnTo>
                  <a:lnTo>
                    <a:pt x="1029" y="265"/>
                  </a:lnTo>
                  <a:lnTo>
                    <a:pt x="1030" y="267"/>
                  </a:lnTo>
                  <a:lnTo>
                    <a:pt x="1030" y="268"/>
                  </a:lnTo>
                  <a:lnTo>
                    <a:pt x="1032" y="268"/>
                  </a:lnTo>
                  <a:lnTo>
                    <a:pt x="1032" y="273"/>
                  </a:lnTo>
                  <a:lnTo>
                    <a:pt x="1029" y="276"/>
                  </a:lnTo>
                  <a:lnTo>
                    <a:pt x="1029" y="280"/>
                  </a:lnTo>
                  <a:lnTo>
                    <a:pt x="1027" y="282"/>
                  </a:lnTo>
                  <a:lnTo>
                    <a:pt x="1029" y="283"/>
                  </a:lnTo>
                  <a:lnTo>
                    <a:pt x="1029" y="285"/>
                  </a:lnTo>
                  <a:lnTo>
                    <a:pt x="1030" y="285"/>
                  </a:lnTo>
                  <a:lnTo>
                    <a:pt x="1030" y="288"/>
                  </a:lnTo>
                  <a:lnTo>
                    <a:pt x="1029" y="289"/>
                  </a:lnTo>
                  <a:lnTo>
                    <a:pt x="1029" y="294"/>
                  </a:lnTo>
                  <a:lnTo>
                    <a:pt x="1030" y="294"/>
                  </a:lnTo>
                  <a:lnTo>
                    <a:pt x="1035" y="289"/>
                  </a:lnTo>
                  <a:lnTo>
                    <a:pt x="1036" y="289"/>
                  </a:lnTo>
                  <a:lnTo>
                    <a:pt x="1038" y="291"/>
                  </a:lnTo>
                  <a:lnTo>
                    <a:pt x="1036" y="291"/>
                  </a:lnTo>
                  <a:lnTo>
                    <a:pt x="1036" y="292"/>
                  </a:lnTo>
                  <a:lnTo>
                    <a:pt x="1033" y="292"/>
                  </a:lnTo>
                  <a:lnTo>
                    <a:pt x="1033" y="294"/>
                  </a:lnTo>
                  <a:lnTo>
                    <a:pt x="1035" y="294"/>
                  </a:lnTo>
                  <a:lnTo>
                    <a:pt x="1035" y="298"/>
                  </a:lnTo>
                  <a:lnTo>
                    <a:pt x="1033" y="300"/>
                  </a:lnTo>
                  <a:lnTo>
                    <a:pt x="1033" y="301"/>
                  </a:lnTo>
                  <a:lnTo>
                    <a:pt x="1030" y="301"/>
                  </a:lnTo>
                  <a:lnTo>
                    <a:pt x="1030" y="303"/>
                  </a:lnTo>
                  <a:lnTo>
                    <a:pt x="1035" y="303"/>
                  </a:lnTo>
                  <a:lnTo>
                    <a:pt x="1035" y="304"/>
                  </a:lnTo>
                  <a:lnTo>
                    <a:pt x="1036" y="304"/>
                  </a:lnTo>
                  <a:lnTo>
                    <a:pt x="1036" y="306"/>
                  </a:lnTo>
                  <a:lnTo>
                    <a:pt x="1033" y="306"/>
                  </a:lnTo>
                  <a:lnTo>
                    <a:pt x="1033" y="307"/>
                  </a:lnTo>
                  <a:lnTo>
                    <a:pt x="1029" y="307"/>
                  </a:lnTo>
                  <a:lnTo>
                    <a:pt x="1029" y="310"/>
                  </a:lnTo>
                  <a:lnTo>
                    <a:pt x="1027" y="310"/>
                  </a:lnTo>
                  <a:lnTo>
                    <a:pt x="1026" y="309"/>
                  </a:lnTo>
                  <a:lnTo>
                    <a:pt x="1024" y="309"/>
                  </a:lnTo>
                  <a:lnTo>
                    <a:pt x="1024" y="312"/>
                  </a:lnTo>
                  <a:lnTo>
                    <a:pt x="1023" y="312"/>
                  </a:lnTo>
                  <a:lnTo>
                    <a:pt x="1023" y="309"/>
                  </a:lnTo>
                  <a:lnTo>
                    <a:pt x="1021" y="307"/>
                  </a:lnTo>
                  <a:lnTo>
                    <a:pt x="1020" y="307"/>
                  </a:lnTo>
                  <a:lnTo>
                    <a:pt x="1020" y="312"/>
                  </a:lnTo>
                  <a:lnTo>
                    <a:pt x="1018" y="312"/>
                  </a:lnTo>
                  <a:lnTo>
                    <a:pt x="1015" y="315"/>
                  </a:lnTo>
                  <a:lnTo>
                    <a:pt x="1011" y="321"/>
                  </a:lnTo>
                  <a:lnTo>
                    <a:pt x="1009" y="322"/>
                  </a:lnTo>
                  <a:lnTo>
                    <a:pt x="1009" y="325"/>
                  </a:lnTo>
                  <a:lnTo>
                    <a:pt x="1008" y="325"/>
                  </a:lnTo>
                  <a:lnTo>
                    <a:pt x="1006" y="326"/>
                  </a:lnTo>
                  <a:lnTo>
                    <a:pt x="1000" y="328"/>
                  </a:lnTo>
                  <a:lnTo>
                    <a:pt x="999" y="328"/>
                  </a:lnTo>
                  <a:lnTo>
                    <a:pt x="999" y="324"/>
                  </a:lnTo>
                  <a:lnTo>
                    <a:pt x="997" y="324"/>
                  </a:lnTo>
                  <a:lnTo>
                    <a:pt x="996" y="321"/>
                  </a:lnTo>
                  <a:lnTo>
                    <a:pt x="996" y="318"/>
                  </a:lnTo>
                  <a:lnTo>
                    <a:pt x="994" y="319"/>
                  </a:lnTo>
                  <a:lnTo>
                    <a:pt x="994" y="322"/>
                  </a:lnTo>
                  <a:lnTo>
                    <a:pt x="996" y="324"/>
                  </a:lnTo>
                  <a:lnTo>
                    <a:pt x="997" y="324"/>
                  </a:lnTo>
                  <a:lnTo>
                    <a:pt x="996" y="325"/>
                  </a:lnTo>
                  <a:lnTo>
                    <a:pt x="997" y="326"/>
                  </a:lnTo>
                  <a:lnTo>
                    <a:pt x="997" y="332"/>
                  </a:lnTo>
                  <a:lnTo>
                    <a:pt x="994" y="332"/>
                  </a:lnTo>
                  <a:lnTo>
                    <a:pt x="990" y="335"/>
                  </a:lnTo>
                  <a:lnTo>
                    <a:pt x="988" y="335"/>
                  </a:lnTo>
                  <a:lnTo>
                    <a:pt x="987" y="337"/>
                  </a:lnTo>
                  <a:lnTo>
                    <a:pt x="987" y="341"/>
                  </a:lnTo>
                  <a:lnTo>
                    <a:pt x="988" y="343"/>
                  </a:lnTo>
                  <a:lnTo>
                    <a:pt x="987" y="343"/>
                  </a:lnTo>
                  <a:lnTo>
                    <a:pt x="987" y="344"/>
                  </a:lnTo>
                  <a:lnTo>
                    <a:pt x="985" y="344"/>
                  </a:lnTo>
                  <a:lnTo>
                    <a:pt x="981" y="346"/>
                  </a:lnTo>
                  <a:lnTo>
                    <a:pt x="979" y="347"/>
                  </a:lnTo>
                  <a:lnTo>
                    <a:pt x="977" y="347"/>
                  </a:lnTo>
                  <a:lnTo>
                    <a:pt x="975" y="350"/>
                  </a:lnTo>
                  <a:lnTo>
                    <a:pt x="972" y="350"/>
                  </a:lnTo>
                  <a:lnTo>
                    <a:pt x="972" y="352"/>
                  </a:lnTo>
                  <a:lnTo>
                    <a:pt x="977" y="352"/>
                  </a:lnTo>
                  <a:lnTo>
                    <a:pt x="977" y="350"/>
                  </a:lnTo>
                  <a:lnTo>
                    <a:pt x="982" y="350"/>
                  </a:lnTo>
                  <a:lnTo>
                    <a:pt x="982" y="353"/>
                  </a:lnTo>
                  <a:lnTo>
                    <a:pt x="981" y="355"/>
                  </a:lnTo>
                  <a:lnTo>
                    <a:pt x="982" y="356"/>
                  </a:lnTo>
                  <a:lnTo>
                    <a:pt x="984" y="356"/>
                  </a:lnTo>
                  <a:lnTo>
                    <a:pt x="982" y="359"/>
                  </a:lnTo>
                  <a:lnTo>
                    <a:pt x="982" y="364"/>
                  </a:lnTo>
                  <a:lnTo>
                    <a:pt x="981" y="365"/>
                  </a:lnTo>
                  <a:lnTo>
                    <a:pt x="978" y="365"/>
                  </a:lnTo>
                  <a:lnTo>
                    <a:pt x="978" y="367"/>
                  </a:lnTo>
                  <a:lnTo>
                    <a:pt x="977" y="367"/>
                  </a:lnTo>
                  <a:lnTo>
                    <a:pt x="975" y="368"/>
                  </a:lnTo>
                  <a:lnTo>
                    <a:pt x="978" y="368"/>
                  </a:lnTo>
                  <a:lnTo>
                    <a:pt x="979" y="367"/>
                  </a:lnTo>
                  <a:lnTo>
                    <a:pt x="979" y="370"/>
                  </a:lnTo>
                  <a:lnTo>
                    <a:pt x="982" y="370"/>
                  </a:lnTo>
                  <a:lnTo>
                    <a:pt x="985" y="368"/>
                  </a:lnTo>
                  <a:lnTo>
                    <a:pt x="987" y="368"/>
                  </a:lnTo>
                  <a:lnTo>
                    <a:pt x="987" y="371"/>
                  </a:lnTo>
                  <a:lnTo>
                    <a:pt x="988" y="370"/>
                  </a:lnTo>
                  <a:lnTo>
                    <a:pt x="990" y="370"/>
                  </a:lnTo>
                  <a:lnTo>
                    <a:pt x="990" y="371"/>
                  </a:lnTo>
                  <a:lnTo>
                    <a:pt x="988" y="377"/>
                  </a:lnTo>
                  <a:lnTo>
                    <a:pt x="987" y="385"/>
                  </a:lnTo>
                  <a:lnTo>
                    <a:pt x="985" y="386"/>
                  </a:lnTo>
                  <a:lnTo>
                    <a:pt x="984" y="386"/>
                  </a:lnTo>
                  <a:lnTo>
                    <a:pt x="984" y="385"/>
                  </a:lnTo>
                  <a:lnTo>
                    <a:pt x="982" y="385"/>
                  </a:lnTo>
                  <a:lnTo>
                    <a:pt x="982" y="383"/>
                  </a:lnTo>
                  <a:lnTo>
                    <a:pt x="981" y="383"/>
                  </a:lnTo>
                  <a:lnTo>
                    <a:pt x="979" y="385"/>
                  </a:lnTo>
                  <a:lnTo>
                    <a:pt x="977" y="385"/>
                  </a:lnTo>
                  <a:lnTo>
                    <a:pt x="977" y="388"/>
                  </a:lnTo>
                  <a:lnTo>
                    <a:pt x="975" y="389"/>
                  </a:lnTo>
                  <a:lnTo>
                    <a:pt x="977" y="389"/>
                  </a:lnTo>
                  <a:lnTo>
                    <a:pt x="979" y="386"/>
                  </a:lnTo>
                  <a:lnTo>
                    <a:pt x="979" y="391"/>
                  </a:lnTo>
                  <a:lnTo>
                    <a:pt x="978" y="391"/>
                  </a:lnTo>
                  <a:lnTo>
                    <a:pt x="979" y="398"/>
                  </a:lnTo>
                  <a:lnTo>
                    <a:pt x="978" y="400"/>
                  </a:lnTo>
                  <a:lnTo>
                    <a:pt x="978" y="403"/>
                  </a:lnTo>
                  <a:lnTo>
                    <a:pt x="974" y="407"/>
                  </a:lnTo>
                  <a:lnTo>
                    <a:pt x="972" y="407"/>
                  </a:lnTo>
                  <a:lnTo>
                    <a:pt x="972" y="403"/>
                  </a:lnTo>
                  <a:lnTo>
                    <a:pt x="971" y="403"/>
                  </a:lnTo>
                  <a:lnTo>
                    <a:pt x="969" y="401"/>
                  </a:lnTo>
                  <a:lnTo>
                    <a:pt x="968" y="401"/>
                  </a:lnTo>
                  <a:lnTo>
                    <a:pt x="968" y="407"/>
                  </a:lnTo>
                  <a:lnTo>
                    <a:pt x="969" y="407"/>
                  </a:lnTo>
                  <a:lnTo>
                    <a:pt x="969" y="409"/>
                  </a:lnTo>
                  <a:lnTo>
                    <a:pt x="971" y="409"/>
                  </a:lnTo>
                  <a:lnTo>
                    <a:pt x="971" y="410"/>
                  </a:lnTo>
                  <a:lnTo>
                    <a:pt x="974" y="412"/>
                  </a:lnTo>
                  <a:lnTo>
                    <a:pt x="974" y="413"/>
                  </a:lnTo>
                  <a:lnTo>
                    <a:pt x="972" y="413"/>
                  </a:lnTo>
                  <a:lnTo>
                    <a:pt x="971" y="415"/>
                  </a:lnTo>
                  <a:lnTo>
                    <a:pt x="969" y="415"/>
                  </a:lnTo>
                  <a:lnTo>
                    <a:pt x="971" y="416"/>
                  </a:lnTo>
                  <a:lnTo>
                    <a:pt x="971" y="419"/>
                  </a:lnTo>
                  <a:lnTo>
                    <a:pt x="968" y="419"/>
                  </a:lnTo>
                  <a:lnTo>
                    <a:pt x="968" y="418"/>
                  </a:lnTo>
                  <a:lnTo>
                    <a:pt x="966" y="419"/>
                  </a:lnTo>
                  <a:lnTo>
                    <a:pt x="966" y="421"/>
                  </a:lnTo>
                  <a:lnTo>
                    <a:pt x="963" y="425"/>
                  </a:lnTo>
                  <a:lnTo>
                    <a:pt x="963" y="428"/>
                  </a:lnTo>
                  <a:lnTo>
                    <a:pt x="962" y="431"/>
                  </a:lnTo>
                  <a:lnTo>
                    <a:pt x="962" y="434"/>
                  </a:lnTo>
                  <a:lnTo>
                    <a:pt x="960" y="434"/>
                  </a:lnTo>
                  <a:lnTo>
                    <a:pt x="957" y="436"/>
                  </a:lnTo>
                  <a:lnTo>
                    <a:pt x="954" y="436"/>
                  </a:lnTo>
                  <a:lnTo>
                    <a:pt x="951" y="439"/>
                  </a:lnTo>
                  <a:lnTo>
                    <a:pt x="942" y="443"/>
                  </a:lnTo>
                  <a:lnTo>
                    <a:pt x="918" y="452"/>
                  </a:lnTo>
                  <a:lnTo>
                    <a:pt x="911" y="455"/>
                  </a:lnTo>
                  <a:lnTo>
                    <a:pt x="903" y="460"/>
                  </a:lnTo>
                  <a:lnTo>
                    <a:pt x="900" y="461"/>
                  </a:lnTo>
                  <a:lnTo>
                    <a:pt x="899" y="460"/>
                  </a:lnTo>
                  <a:lnTo>
                    <a:pt x="899" y="449"/>
                  </a:lnTo>
                  <a:lnTo>
                    <a:pt x="897" y="446"/>
                  </a:lnTo>
                  <a:lnTo>
                    <a:pt x="899" y="439"/>
                  </a:lnTo>
                  <a:lnTo>
                    <a:pt x="897" y="436"/>
                  </a:lnTo>
                  <a:lnTo>
                    <a:pt x="894" y="433"/>
                  </a:lnTo>
                  <a:lnTo>
                    <a:pt x="894" y="428"/>
                  </a:lnTo>
                  <a:lnTo>
                    <a:pt x="896" y="422"/>
                  </a:lnTo>
                  <a:lnTo>
                    <a:pt x="894" y="424"/>
                  </a:lnTo>
                  <a:lnTo>
                    <a:pt x="893" y="424"/>
                  </a:lnTo>
                  <a:lnTo>
                    <a:pt x="893" y="430"/>
                  </a:lnTo>
                  <a:lnTo>
                    <a:pt x="890" y="430"/>
                  </a:lnTo>
                  <a:lnTo>
                    <a:pt x="884" y="427"/>
                  </a:lnTo>
                  <a:lnTo>
                    <a:pt x="882" y="425"/>
                  </a:lnTo>
                  <a:lnTo>
                    <a:pt x="882" y="424"/>
                  </a:lnTo>
                  <a:lnTo>
                    <a:pt x="884" y="424"/>
                  </a:lnTo>
                  <a:lnTo>
                    <a:pt x="884" y="422"/>
                  </a:lnTo>
                  <a:lnTo>
                    <a:pt x="885" y="419"/>
                  </a:lnTo>
                  <a:lnTo>
                    <a:pt x="887" y="418"/>
                  </a:lnTo>
                  <a:lnTo>
                    <a:pt x="887" y="416"/>
                  </a:lnTo>
                  <a:lnTo>
                    <a:pt x="885" y="418"/>
                  </a:lnTo>
                  <a:lnTo>
                    <a:pt x="882" y="424"/>
                  </a:lnTo>
                  <a:lnTo>
                    <a:pt x="876" y="424"/>
                  </a:lnTo>
                  <a:lnTo>
                    <a:pt x="875" y="422"/>
                  </a:lnTo>
                  <a:lnTo>
                    <a:pt x="875" y="421"/>
                  </a:lnTo>
                  <a:lnTo>
                    <a:pt x="876" y="416"/>
                  </a:lnTo>
                  <a:lnTo>
                    <a:pt x="875" y="416"/>
                  </a:lnTo>
                  <a:lnTo>
                    <a:pt x="875" y="419"/>
                  </a:lnTo>
                  <a:lnTo>
                    <a:pt x="873" y="421"/>
                  </a:lnTo>
                  <a:lnTo>
                    <a:pt x="872" y="424"/>
                  </a:lnTo>
                  <a:lnTo>
                    <a:pt x="869" y="424"/>
                  </a:lnTo>
                  <a:lnTo>
                    <a:pt x="867" y="425"/>
                  </a:lnTo>
                  <a:lnTo>
                    <a:pt x="861" y="428"/>
                  </a:lnTo>
                  <a:lnTo>
                    <a:pt x="854" y="428"/>
                  </a:lnTo>
                  <a:lnTo>
                    <a:pt x="852" y="424"/>
                  </a:lnTo>
                  <a:lnTo>
                    <a:pt x="854" y="422"/>
                  </a:lnTo>
                  <a:lnTo>
                    <a:pt x="854" y="419"/>
                  </a:lnTo>
                  <a:lnTo>
                    <a:pt x="852" y="415"/>
                  </a:lnTo>
                  <a:lnTo>
                    <a:pt x="846" y="415"/>
                  </a:lnTo>
                  <a:lnTo>
                    <a:pt x="845" y="416"/>
                  </a:lnTo>
                  <a:lnTo>
                    <a:pt x="845" y="418"/>
                  </a:lnTo>
                  <a:lnTo>
                    <a:pt x="840" y="418"/>
                  </a:lnTo>
                  <a:lnTo>
                    <a:pt x="840" y="416"/>
                  </a:lnTo>
                  <a:lnTo>
                    <a:pt x="839" y="415"/>
                  </a:lnTo>
                  <a:lnTo>
                    <a:pt x="840" y="418"/>
                  </a:lnTo>
                  <a:lnTo>
                    <a:pt x="840" y="419"/>
                  </a:lnTo>
                  <a:lnTo>
                    <a:pt x="836" y="415"/>
                  </a:lnTo>
                  <a:lnTo>
                    <a:pt x="834" y="415"/>
                  </a:lnTo>
                  <a:lnTo>
                    <a:pt x="834" y="412"/>
                  </a:lnTo>
                  <a:lnTo>
                    <a:pt x="833" y="412"/>
                  </a:lnTo>
                  <a:lnTo>
                    <a:pt x="833" y="410"/>
                  </a:lnTo>
                  <a:lnTo>
                    <a:pt x="831" y="410"/>
                  </a:lnTo>
                  <a:lnTo>
                    <a:pt x="830" y="409"/>
                  </a:lnTo>
                  <a:lnTo>
                    <a:pt x="828" y="409"/>
                  </a:lnTo>
                  <a:lnTo>
                    <a:pt x="825" y="403"/>
                  </a:lnTo>
                  <a:lnTo>
                    <a:pt x="825" y="409"/>
                  </a:lnTo>
                  <a:lnTo>
                    <a:pt x="822" y="409"/>
                  </a:lnTo>
                  <a:lnTo>
                    <a:pt x="822" y="410"/>
                  </a:lnTo>
                  <a:lnTo>
                    <a:pt x="821" y="412"/>
                  </a:lnTo>
                  <a:lnTo>
                    <a:pt x="822" y="413"/>
                  </a:lnTo>
                  <a:lnTo>
                    <a:pt x="825" y="413"/>
                  </a:lnTo>
                  <a:lnTo>
                    <a:pt x="825" y="415"/>
                  </a:lnTo>
                  <a:lnTo>
                    <a:pt x="809" y="425"/>
                  </a:lnTo>
                  <a:lnTo>
                    <a:pt x="808" y="425"/>
                  </a:lnTo>
                  <a:lnTo>
                    <a:pt x="806" y="427"/>
                  </a:lnTo>
                  <a:lnTo>
                    <a:pt x="805" y="425"/>
                  </a:lnTo>
                  <a:lnTo>
                    <a:pt x="805" y="427"/>
                  </a:lnTo>
                  <a:lnTo>
                    <a:pt x="803" y="427"/>
                  </a:lnTo>
                  <a:lnTo>
                    <a:pt x="797" y="422"/>
                  </a:lnTo>
                  <a:lnTo>
                    <a:pt x="794" y="422"/>
                  </a:lnTo>
                  <a:lnTo>
                    <a:pt x="793" y="421"/>
                  </a:lnTo>
                  <a:lnTo>
                    <a:pt x="784" y="424"/>
                  </a:lnTo>
                  <a:lnTo>
                    <a:pt x="778" y="431"/>
                  </a:lnTo>
                  <a:lnTo>
                    <a:pt x="775" y="433"/>
                  </a:lnTo>
                  <a:lnTo>
                    <a:pt x="773" y="433"/>
                  </a:lnTo>
                  <a:lnTo>
                    <a:pt x="770" y="431"/>
                  </a:lnTo>
                  <a:lnTo>
                    <a:pt x="770" y="427"/>
                  </a:lnTo>
                  <a:lnTo>
                    <a:pt x="772" y="424"/>
                  </a:lnTo>
                  <a:lnTo>
                    <a:pt x="770" y="416"/>
                  </a:lnTo>
                  <a:lnTo>
                    <a:pt x="770" y="407"/>
                  </a:lnTo>
                  <a:lnTo>
                    <a:pt x="767" y="403"/>
                  </a:lnTo>
                  <a:lnTo>
                    <a:pt x="767" y="398"/>
                  </a:lnTo>
                  <a:lnTo>
                    <a:pt x="766" y="398"/>
                  </a:lnTo>
                  <a:lnTo>
                    <a:pt x="766" y="400"/>
                  </a:lnTo>
                  <a:lnTo>
                    <a:pt x="763" y="403"/>
                  </a:lnTo>
                  <a:lnTo>
                    <a:pt x="764" y="403"/>
                  </a:lnTo>
                  <a:lnTo>
                    <a:pt x="764" y="404"/>
                  </a:lnTo>
                  <a:lnTo>
                    <a:pt x="763" y="406"/>
                  </a:lnTo>
                  <a:lnTo>
                    <a:pt x="760" y="407"/>
                  </a:lnTo>
                  <a:lnTo>
                    <a:pt x="757" y="407"/>
                  </a:lnTo>
                  <a:lnTo>
                    <a:pt x="757" y="406"/>
                  </a:lnTo>
                  <a:lnTo>
                    <a:pt x="755" y="404"/>
                  </a:lnTo>
                  <a:lnTo>
                    <a:pt x="754" y="404"/>
                  </a:lnTo>
                  <a:lnTo>
                    <a:pt x="749" y="403"/>
                  </a:lnTo>
                  <a:lnTo>
                    <a:pt x="748" y="403"/>
                  </a:lnTo>
                  <a:lnTo>
                    <a:pt x="746" y="404"/>
                  </a:lnTo>
                  <a:lnTo>
                    <a:pt x="736" y="410"/>
                  </a:lnTo>
                  <a:lnTo>
                    <a:pt x="731" y="410"/>
                  </a:lnTo>
                  <a:lnTo>
                    <a:pt x="730" y="412"/>
                  </a:lnTo>
                  <a:lnTo>
                    <a:pt x="728" y="410"/>
                  </a:lnTo>
                  <a:lnTo>
                    <a:pt x="724" y="409"/>
                  </a:lnTo>
                  <a:lnTo>
                    <a:pt x="721" y="409"/>
                  </a:lnTo>
                  <a:lnTo>
                    <a:pt x="721" y="407"/>
                  </a:lnTo>
                  <a:lnTo>
                    <a:pt x="722" y="407"/>
                  </a:lnTo>
                  <a:lnTo>
                    <a:pt x="722" y="406"/>
                  </a:lnTo>
                  <a:lnTo>
                    <a:pt x="724" y="404"/>
                  </a:lnTo>
                  <a:lnTo>
                    <a:pt x="722" y="404"/>
                  </a:lnTo>
                  <a:lnTo>
                    <a:pt x="719" y="410"/>
                  </a:lnTo>
                  <a:lnTo>
                    <a:pt x="716" y="410"/>
                  </a:lnTo>
                  <a:lnTo>
                    <a:pt x="716" y="404"/>
                  </a:lnTo>
                  <a:lnTo>
                    <a:pt x="713" y="401"/>
                  </a:lnTo>
                  <a:lnTo>
                    <a:pt x="710" y="401"/>
                  </a:lnTo>
                  <a:lnTo>
                    <a:pt x="706" y="403"/>
                  </a:lnTo>
                  <a:lnTo>
                    <a:pt x="700" y="407"/>
                  </a:lnTo>
                  <a:lnTo>
                    <a:pt x="698" y="407"/>
                  </a:lnTo>
                  <a:lnTo>
                    <a:pt x="698" y="406"/>
                  </a:lnTo>
                  <a:lnTo>
                    <a:pt x="695" y="403"/>
                  </a:lnTo>
                  <a:lnTo>
                    <a:pt x="697" y="401"/>
                  </a:lnTo>
                  <a:lnTo>
                    <a:pt x="697" y="400"/>
                  </a:lnTo>
                  <a:lnTo>
                    <a:pt x="698" y="398"/>
                  </a:lnTo>
                  <a:lnTo>
                    <a:pt x="698" y="397"/>
                  </a:lnTo>
                  <a:lnTo>
                    <a:pt x="697" y="395"/>
                  </a:lnTo>
                  <a:lnTo>
                    <a:pt x="697" y="391"/>
                  </a:lnTo>
                  <a:lnTo>
                    <a:pt x="694" y="391"/>
                  </a:lnTo>
                  <a:lnTo>
                    <a:pt x="694" y="389"/>
                  </a:lnTo>
                  <a:lnTo>
                    <a:pt x="695" y="388"/>
                  </a:lnTo>
                  <a:lnTo>
                    <a:pt x="695" y="386"/>
                  </a:lnTo>
                  <a:lnTo>
                    <a:pt x="698" y="386"/>
                  </a:lnTo>
                  <a:lnTo>
                    <a:pt x="697" y="385"/>
                  </a:lnTo>
                  <a:lnTo>
                    <a:pt x="695" y="385"/>
                  </a:lnTo>
                  <a:lnTo>
                    <a:pt x="694" y="382"/>
                  </a:lnTo>
                  <a:lnTo>
                    <a:pt x="694" y="379"/>
                  </a:lnTo>
                  <a:lnTo>
                    <a:pt x="692" y="374"/>
                  </a:lnTo>
                  <a:lnTo>
                    <a:pt x="692" y="373"/>
                  </a:lnTo>
                  <a:lnTo>
                    <a:pt x="691" y="373"/>
                  </a:lnTo>
                  <a:lnTo>
                    <a:pt x="691" y="368"/>
                  </a:lnTo>
                  <a:lnTo>
                    <a:pt x="692" y="367"/>
                  </a:lnTo>
                  <a:lnTo>
                    <a:pt x="692" y="362"/>
                  </a:lnTo>
                  <a:lnTo>
                    <a:pt x="691" y="359"/>
                  </a:lnTo>
                  <a:lnTo>
                    <a:pt x="688" y="356"/>
                  </a:lnTo>
                  <a:lnTo>
                    <a:pt x="685" y="356"/>
                  </a:lnTo>
                  <a:lnTo>
                    <a:pt x="685" y="355"/>
                  </a:lnTo>
                  <a:lnTo>
                    <a:pt x="682" y="353"/>
                  </a:lnTo>
                  <a:lnTo>
                    <a:pt x="683" y="353"/>
                  </a:lnTo>
                  <a:lnTo>
                    <a:pt x="683" y="352"/>
                  </a:lnTo>
                  <a:lnTo>
                    <a:pt x="682" y="352"/>
                  </a:lnTo>
                  <a:lnTo>
                    <a:pt x="682" y="350"/>
                  </a:lnTo>
                  <a:lnTo>
                    <a:pt x="683" y="350"/>
                  </a:lnTo>
                  <a:lnTo>
                    <a:pt x="685" y="349"/>
                  </a:lnTo>
                  <a:lnTo>
                    <a:pt x="686" y="349"/>
                  </a:lnTo>
                  <a:lnTo>
                    <a:pt x="686" y="347"/>
                  </a:lnTo>
                  <a:lnTo>
                    <a:pt x="688" y="344"/>
                  </a:lnTo>
                  <a:lnTo>
                    <a:pt x="688" y="341"/>
                  </a:lnTo>
                  <a:lnTo>
                    <a:pt x="689" y="335"/>
                  </a:lnTo>
                  <a:lnTo>
                    <a:pt x="689" y="329"/>
                  </a:lnTo>
                  <a:lnTo>
                    <a:pt x="688" y="328"/>
                  </a:lnTo>
                  <a:lnTo>
                    <a:pt x="685" y="328"/>
                  </a:lnTo>
                  <a:lnTo>
                    <a:pt x="685" y="326"/>
                  </a:lnTo>
                  <a:lnTo>
                    <a:pt x="683" y="326"/>
                  </a:lnTo>
                  <a:lnTo>
                    <a:pt x="683" y="321"/>
                  </a:lnTo>
                  <a:lnTo>
                    <a:pt x="682" y="321"/>
                  </a:lnTo>
                  <a:lnTo>
                    <a:pt x="680" y="319"/>
                  </a:lnTo>
                  <a:lnTo>
                    <a:pt x="679" y="319"/>
                  </a:lnTo>
                  <a:lnTo>
                    <a:pt x="676" y="316"/>
                  </a:lnTo>
                  <a:lnTo>
                    <a:pt x="676" y="315"/>
                  </a:lnTo>
                  <a:lnTo>
                    <a:pt x="674" y="315"/>
                  </a:lnTo>
                  <a:lnTo>
                    <a:pt x="674" y="312"/>
                  </a:lnTo>
                  <a:lnTo>
                    <a:pt x="676" y="312"/>
                  </a:lnTo>
                  <a:lnTo>
                    <a:pt x="676" y="310"/>
                  </a:lnTo>
                  <a:lnTo>
                    <a:pt x="674" y="310"/>
                  </a:lnTo>
                  <a:lnTo>
                    <a:pt x="674" y="312"/>
                  </a:lnTo>
                  <a:lnTo>
                    <a:pt x="673" y="313"/>
                  </a:lnTo>
                  <a:lnTo>
                    <a:pt x="673" y="315"/>
                  </a:lnTo>
                  <a:lnTo>
                    <a:pt x="670" y="315"/>
                  </a:lnTo>
                  <a:lnTo>
                    <a:pt x="670" y="313"/>
                  </a:lnTo>
                  <a:lnTo>
                    <a:pt x="668" y="313"/>
                  </a:lnTo>
                  <a:lnTo>
                    <a:pt x="667" y="312"/>
                  </a:lnTo>
                  <a:lnTo>
                    <a:pt x="667" y="310"/>
                  </a:lnTo>
                  <a:lnTo>
                    <a:pt x="665" y="310"/>
                  </a:lnTo>
                  <a:lnTo>
                    <a:pt x="662" y="309"/>
                  </a:lnTo>
                  <a:lnTo>
                    <a:pt x="659" y="309"/>
                  </a:lnTo>
                  <a:lnTo>
                    <a:pt x="659" y="312"/>
                  </a:lnTo>
                  <a:lnTo>
                    <a:pt x="658" y="312"/>
                  </a:lnTo>
                  <a:lnTo>
                    <a:pt x="657" y="310"/>
                  </a:lnTo>
                  <a:lnTo>
                    <a:pt x="654" y="310"/>
                  </a:lnTo>
                  <a:lnTo>
                    <a:pt x="654" y="309"/>
                  </a:lnTo>
                  <a:lnTo>
                    <a:pt x="652" y="301"/>
                  </a:lnTo>
                  <a:lnTo>
                    <a:pt x="658" y="301"/>
                  </a:lnTo>
                  <a:lnTo>
                    <a:pt x="659" y="303"/>
                  </a:lnTo>
                  <a:lnTo>
                    <a:pt x="661" y="303"/>
                  </a:lnTo>
                  <a:lnTo>
                    <a:pt x="661" y="304"/>
                  </a:lnTo>
                  <a:lnTo>
                    <a:pt x="664" y="304"/>
                  </a:lnTo>
                  <a:lnTo>
                    <a:pt x="664" y="303"/>
                  </a:lnTo>
                  <a:lnTo>
                    <a:pt x="662" y="303"/>
                  </a:lnTo>
                  <a:lnTo>
                    <a:pt x="659" y="300"/>
                  </a:lnTo>
                  <a:lnTo>
                    <a:pt x="658" y="300"/>
                  </a:lnTo>
                  <a:lnTo>
                    <a:pt x="658" y="298"/>
                  </a:lnTo>
                  <a:lnTo>
                    <a:pt x="659" y="298"/>
                  </a:lnTo>
                  <a:lnTo>
                    <a:pt x="659" y="297"/>
                  </a:lnTo>
                  <a:lnTo>
                    <a:pt x="652" y="297"/>
                  </a:lnTo>
                  <a:lnTo>
                    <a:pt x="651" y="295"/>
                  </a:lnTo>
                  <a:lnTo>
                    <a:pt x="648" y="295"/>
                  </a:lnTo>
                  <a:lnTo>
                    <a:pt x="648" y="294"/>
                  </a:lnTo>
                  <a:lnTo>
                    <a:pt x="646" y="294"/>
                  </a:lnTo>
                  <a:lnTo>
                    <a:pt x="646" y="286"/>
                  </a:lnTo>
                  <a:lnTo>
                    <a:pt x="648" y="286"/>
                  </a:lnTo>
                  <a:lnTo>
                    <a:pt x="645" y="283"/>
                  </a:lnTo>
                  <a:lnTo>
                    <a:pt x="646" y="282"/>
                  </a:lnTo>
                  <a:lnTo>
                    <a:pt x="645" y="282"/>
                  </a:lnTo>
                  <a:lnTo>
                    <a:pt x="645" y="283"/>
                  </a:lnTo>
                  <a:lnTo>
                    <a:pt x="643" y="282"/>
                  </a:lnTo>
                  <a:lnTo>
                    <a:pt x="643" y="280"/>
                  </a:lnTo>
                  <a:lnTo>
                    <a:pt x="645" y="280"/>
                  </a:lnTo>
                  <a:lnTo>
                    <a:pt x="646" y="279"/>
                  </a:lnTo>
                  <a:lnTo>
                    <a:pt x="648" y="280"/>
                  </a:lnTo>
                  <a:lnTo>
                    <a:pt x="651" y="280"/>
                  </a:lnTo>
                  <a:lnTo>
                    <a:pt x="651" y="279"/>
                  </a:lnTo>
                  <a:lnTo>
                    <a:pt x="649" y="279"/>
                  </a:lnTo>
                  <a:lnTo>
                    <a:pt x="649" y="273"/>
                  </a:lnTo>
                  <a:lnTo>
                    <a:pt x="648" y="271"/>
                  </a:lnTo>
                  <a:lnTo>
                    <a:pt x="648" y="268"/>
                  </a:lnTo>
                  <a:lnTo>
                    <a:pt x="649" y="268"/>
                  </a:lnTo>
                  <a:lnTo>
                    <a:pt x="651" y="270"/>
                  </a:lnTo>
                  <a:lnTo>
                    <a:pt x="655" y="270"/>
                  </a:lnTo>
                  <a:lnTo>
                    <a:pt x="654" y="268"/>
                  </a:lnTo>
                  <a:lnTo>
                    <a:pt x="652" y="268"/>
                  </a:lnTo>
                  <a:lnTo>
                    <a:pt x="649" y="265"/>
                  </a:lnTo>
                  <a:lnTo>
                    <a:pt x="646" y="259"/>
                  </a:lnTo>
                  <a:lnTo>
                    <a:pt x="643" y="256"/>
                  </a:lnTo>
                  <a:lnTo>
                    <a:pt x="637" y="256"/>
                  </a:lnTo>
                  <a:lnTo>
                    <a:pt x="637" y="253"/>
                  </a:lnTo>
                  <a:lnTo>
                    <a:pt x="639" y="252"/>
                  </a:lnTo>
                  <a:lnTo>
                    <a:pt x="639" y="249"/>
                  </a:lnTo>
                  <a:lnTo>
                    <a:pt x="637" y="247"/>
                  </a:lnTo>
                  <a:lnTo>
                    <a:pt x="637" y="240"/>
                  </a:lnTo>
                  <a:lnTo>
                    <a:pt x="636" y="237"/>
                  </a:lnTo>
                  <a:lnTo>
                    <a:pt x="636" y="235"/>
                  </a:lnTo>
                  <a:lnTo>
                    <a:pt x="634" y="234"/>
                  </a:lnTo>
                  <a:lnTo>
                    <a:pt x="634" y="232"/>
                  </a:lnTo>
                  <a:lnTo>
                    <a:pt x="636" y="231"/>
                  </a:lnTo>
                  <a:lnTo>
                    <a:pt x="637" y="231"/>
                  </a:lnTo>
                  <a:lnTo>
                    <a:pt x="639" y="229"/>
                  </a:lnTo>
                  <a:lnTo>
                    <a:pt x="639" y="228"/>
                  </a:lnTo>
                  <a:lnTo>
                    <a:pt x="640" y="226"/>
                  </a:lnTo>
                  <a:lnTo>
                    <a:pt x="640" y="225"/>
                  </a:lnTo>
                  <a:lnTo>
                    <a:pt x="637" y="217"/>
                  </a:lnTo>
                  <a:lnTo>
                    <a:pt x="637" y="216"/>
                  </a:lnTo>
                  <a:lnTo>
                    <a:pt x="642" y="216"/>
                  </a:lnTo>
                  <a:lnTo>
                    <a:pt x="646" y="214"/>
                  </a:lnTo>
                  <a:lnTo>
                    <a:pt x="651" y="210"/>
                  </a:lnTo>
                  <a:lnTo>
                    <a:pt x="651" y="208"/>
                  </a:lnTo>
                  <a:lnTo>
                    <a:pt x="652" y="207"/>
                  </a:lnTo>
                  <a:lnTo>
                    <a:pt x="654" y="207"/>
                  </a:lnTo>
                  <a:lnTo>
                    <a:pt x="652" y="205"/>
                  </a:lnTo>
                  <a:lnTo>
                    <a:pt x="651" y="207"/>
                  </a:lnTo>
                  <a:lnTo>
                    <a:pt x="651" y="208"/>
                  </a:lnTo>
                  <a:lnTo>
                    <a:pt x="649" y="208"/>
                  </a:lnTo>
                  <a:lnTo>
                    <a:pt x="649" y="211"/>
                  </a:lnTo>
                  <a:lnTo>
                    <a:pt x="648" y="211"/>
                  </a:lnTo>
                  <a:lnTo>
                    <a:pt x="648" y="213"/>
                  </a:lnTo>
                  <a:lnTo>
                    <a:pt x="646" y="213"/>
                  </a:lnTo>
                  <a:lnTo>
                    <a:pt x="645" y="214"/>
                  </a:lnTo>
                  <a:lnTo>
                    <a:pt x="640" y="214"/>
                  </a:lnTo>
                  <a:lnTo>
                    <a:pt x="640" y="213"/>
                  </a:lnTo>
                  <a:lnTo>
                    <a:pt x="643" y="210"/>
                  </a:lnTo>
                  <a:lnTo>
                    <a:pt x="643" y="202"/>
                  </a:lnTo>
                  <a:lnTo>
                    <a:pt x="645" y="199"/>
                  </a:lnTo>
                  <a:lnTo>
                    <a:pt x="652" y="193"/>
                  </a:lnTo>
                  <a:lnTo>
                    <a:pt x="654" y="193"/>
                  </a:lnTo>
                  <a:lnTo>
                    <a:pt x="655" y="190"/>
                  </a:lnTo>
                  <a:lnTo>
                    <a:pt x="655" y="189"/>
                  </a:lnTo>
                  <a:lnTo>
                    <a:pt x="657" y="187"/>
                  </a:lnTo>
                  <a:lnTo>
                    <a:pt x="654" y="189"/>
                  </a:lnTo>
                  <a:lnTo>
                    <a:pt x="654" y="187"/>
                  </a:lnTo>
                  <a:lnTo>
                    <a:pt x="655" y="187"/>
                  </a:lnTo>
                  <a:lnTo>
                    <a:pt x="657" y="186"/>
                  </a:lnTo>
                  <a:lnTo>
                    <a:pt x="657" y="181"/>
                  </a:lnTo>
                  <a:lnTo>
                    <a:pt x="659" y="181"/>
                  </a:lnTo>
                  <a:lnTo>
                    <a:pt x="667" y="180"/>
                  </a:lnTo>
                  <a:lnTo>
                    <a:pt x="667" y="181"/>
                  </a:lnTo>
                  <a:lnTo>
                    <a:pt x="665" y="183"/>
                  </a:lnTo>
                  <a:lnTo>
                    <a:pt x="665" y="187"/>
                  </a:lnTo>
                  <a:lnTo>
                    <a:pt x="667" y="187"/>
                  </a:lnTo>
                  <a:lnTo>
                    <a:pt x="667" y="189"/>
                  </a:lnTo>
                  <a:lnTo>
                    <a:pt x="670" y="189"/>
                  </a:lnTo>
                  <a:lnTo>
                    <a:pt x="670" y="196"/>
                  </a:lnTo>
                  <a:lnTo>
                    <a:pt x="676" y="202"/>
                  </a:lnTo>
                  <a:lnTo>
                    <a:pt x="676" y="204"/>
                  </a:lnTo>
                  <a:lnTo>
                    <a:pt x="677" y="204"/>
                  </a:lnTo>
                  <a:lnTo>
                    <a:pt x="680" y="207"/>
                  </a:lnTo>
                  <a:lnTo>
                    <a:pt x="682" y="205"/>
                  </a:lnTo>
                  <a:lnTo>
                    <a:pt x="683" y="207"/>
                  </a:lnTo>
                  <a:lnTo>
                    <a:pt x="685" y="210"/>
                  </a:lnTo>
                  <a:lnTo>
                    <a:pt x="685" y="211"/>
                  </a:lnTo>
                  <a:lnTo>
                    <a:pt x="688" y="213"/>
                  </a:lnTo>
                  <a:lnTo>
                    <a:pt x="689" y="214"/>
                  </a:lnTo>
                  <a:lnTo>
                    <a:pt x="689" y="216"/>
                  </a:lnTo>
                  <a:lnTo>
                    <a:pt x="694" y="216"/>
                  </a:lnTo>
                  <a:lnTo>
                    <a:pt x="697" y="219"/>
                  </a:lnTo>
                  <a:lnTo>
                    <a:pt x="698" y="223"/>
                  </a:lnTo>
                  <a:lnTo>
                    <a:pt x="698" y="225"/>
                  </a:lnTo>
                  <a:lnTo>
                    <a:pt x="703" y="225"/>
                  </a:lnTo>
                  <a:lnTo>
                    <a:pt x="704" y="226"/>
                  </a:lnTo>
                  <a:lnTo>
                    <a:pt x="706" y="229"/>
                  </a:lnTo>
                  <a:lnTo>
                    <a:pt x="707" y="229"/>
                  </a:lnTo>
                  <a:lnTo>
                    <a:pt x="710" y="231"/>
                  </a:lnTo>
                  <a:lnTo>
                    <a:pt x="713" y="231"/>
                  </a:lnTo>
                  <a:lnTo>
                    <a:pt x="715" y="229"/>
                  </a:lnTo>
                  <a:lnTo>
                    <a:pt x="716" y="229"/>
                  </a:lnTo>
                  <a:lnTo>
                    <a:pt x="716" y="231"/>
                  </a:lnTo>
                  <a:lnTo>
                    <a:pt x="718" y="231"/>
                  </a:lnTo>
                  <a:lnTo>
                    <a:pt x="718" y="229"/>
                  </a:lnTo>
                  <a:lnTo>
                    <a:pt x="721" y="229"/>
                  </a:lnTo>
                  <a:lnTo>
                    <a:pt x="721" y="228"/>
                  </a:lnTo>
                  <a:lnTo>
                    <a:pt x="722" y="228"/>
                  </a:lnTo>
                  <a:lnTo>
                    <a:pt x="727" y="223"/>
                  </a:lnTo>
                  <a:lnTo>
                    <a:pt x="731" y="223"/>
                  </a:lnTo>
                  <a:lnTo>
                    <a:pt x="742" y="220"/>
                  </a:lnTo>
                  <a:lnTo>
                    <a:pt x="743" y="222"/>
                  </a:lnTo>
                  <a:lnTo>
                    <a:pt x="749" y="223"/>
                  </a:lnTo>
                  <a:lnTo>
                    <a:pt x="749" y="225"/>
                  </a:lnTo>
                  <a:lnTo>
                    <a:pt x="751" y="225"/>
                  </a:lnTo>
                  <a:lnTo>
                    <a:pt x="752" y="223"/>
                  </a:lnTo>
                  <a:lnTo>
                    <a:pt x="755" y="223"/>
                  </a:lnTo>
                  <a:lnTo>
                    <a:pt x="755" y="226"/>
                  </a:lnTo>
                  <a:lnTo>
                    <a:pt x="757" y="226"/>
                  </a:lnTo>
                  <a:lnTo>
                    <a:pt x="757" y="225"/>
                  </a:lnTo>
                  <a:lnTo>
                    <a:pt x="761" y="223"/>
                  </a:lnTo>
                  <a:lnTo>
                    <a:pt x="764" y="223"/>
                  </a:lnTo>
                  <a:lnTo>
                    <a:pt x="766" y="225"/>
                  </a:lnTo>
                  <a:lnTo>
                    <a:pt x="770" y="225"/>
                  </a:lnTo>
                  <a:lnTo>
                    <a:pt x="775" y="219"/>
                  </a:lnTo>
                  <a:lnTo>
                    <a:pt x="782" y="219"/>
                  </a:lnTo>
                  <a:lnTo>
                    <a:pt x="782" y="217"/>
                  </a:lnTo>
                  <a:lnTo>
                    <a:pt x="784" y="217"/>
                  </a:lnTo>
                  <a:lnTo>
                    <a:pt x="785" y="210"/>
                  </a:lnTo>
                  <a:lnTo>
                    <a:pt x="787" y="208"/>
                  </a:lnTo>
                  <a:lnTo>
                    <a:pt x="787" y="207"/>
                  </a:lnTo>
                  <a:lnTo>
                    <a:pt x="785" y="207"/>
                  </a:lnTo>
                  <a:lnTo>
                    <a:pt x="785" y="205"/>
                  </a:lnTo>
                  <a:lnTo>
                    <a:pt x="787" y="204"/>
                  </a:lnTo>
                  <a:lnTo>
                    <a:pt x="793" y="201"/>
                  </a:lnTo>
                  <a:lnTo>
                    <a:pt x="797" y="201"/>
                  </a:lnTo>
                  <a:lnTo>
                    <a:pt x="797" y="199"/>
                  </a:lnTo>
                  <a:lnTo>
                    <a:pt x="799" y="199"/>
                  </a:lnTo>
                  <a:lnTo>
                    <a:pt x="800" y="198"/>
                  </a:lnTo>
                  <a:lnTo>
                    <a:pt x="814" y="199"/>
                  </a:lnTo>
                  <a:lnTo>
                    <a:pt x="817" y="199"/>
                  </a:lnTo>
                  <a:lnTo>
                    <a:pt x="817" y="198"/>
                  </a:lnTo>
                  <a:lnTo>
                    <a:pt x="822" y="198"/>
                  </a:lnTo>
                  <a:lnTo>
                    <a:pt x="824" y="199"/>
                  </a:lnTo>
                  <a:lnTo>
                    <a:pt x="825" y="199"/>
                  </a:lnTo>
                  <a:lnTo>
                    <a:pt x="825" y="202"/>
                  </a:lnTo>
                  <a:lnTo>
                    <a:pt x="824" y="202"/>
                  </a:lnTo>
                  <a:lnTo>
                    <a:pt x="824" y="204"/>
                  </a:lnTo>
                  <a:lnTo>
                    <a:pt x="822" y="205"/>
                  </a:lnTo>
                  <a:lnTo>
                    <a:pt x="830" y="205"/>
                  </a:lnTo>
                  <a:lnTo>
                    <a:pt x="831" y="207"/>
                  </a:lnTo>
                  <a:lnTo>
                    <a:pt x="834" y="207"/>
                  </a:lnTo>
                  <a:lnTo>
                    <a:pt x="837" y="208"/>
                  </a:lnTo>
                  <a:lnTo>
                    <a:pt x="839" y="208"/>
                  </a:lnTo>
                  <a:lnTo>
                    <a:pt x="842" y="211"/>
                  </a:lnTo>
                  <a:lnTo>
                    <a:pt x="845" y="211"/>
                  </a:lnTo>
                  <a:lnTo>
                    <a:pt x="846" y="210"/>
                  </a:lnTo>
                  <a:lnTo>
                    <a:pt x="848" y="210"/>
                  </a:lnTo>
                  <a:lnTo>
                    <a:pt x="849" y="211"/>
                  </a:lnTo>
                  <a:lnTo>
                    <a:pt x="852" y="213"/>
                  </a:lnTo>
                  <a:lnTo>
                    <a:pt x="852" y="214"/>
                  </a:lnTo>
                  <a:lnTo>
                    <a:pt x="854" y="214"/>
                  </a:lnTo>
                  <a:lnTo>
                    <a:pt x="861" y="208"/>
                  </a:lnTo>
                  <a:lnTo>
                    <a:pt x="864" y="205"/>
                  </a:lnTo>
                  <a:lnTo>
                    <a:pt x="866" y="205"/>
                  </a:lnTo>
                  <a:lnTo>
                    <a:pt x="866" y="204"/>
                  </a:lnTo>
                  <a:lnTo>
                    <a:pt x="876" y="204"/>
                  </a:lnTo>
                  <a:lnTo>
                    <a:pt x="878" y="205"/>
                  </a:lnTo>
                  <a:lnTo>
                    <a:pt x="879" y="205"/>
                  </a:lnTo>
                  <a:lnTo>
                    <a:pt x="879" y="204"/>
                  </a:lnTo>
                  <a:lnTo>
                    <a:pt x="887" y="201"/>
                  </a:lnTo>
                  <a:lnTo>
                    <a:pt x="888" y="201"/>
                  </a:lnTo>
                  <a:lnTo>
                    <a:pt x="890" y="202"/>
                  </a:lnTo>
                  <a:lnTo>
                    <a:pt x="893" y="204"/>
                  </a:lnTo>
                  <a:lnTo>
                    <a:pt x="894" y="205"/>
                  </a:lnTo>
                  <a:lnTo>
                    <a:pt x="896" y="205"/>
                  </a:lnTo>
                  <a:lnTo>
                    <a:pt x="896" y="199"/>
                  </a:lnTo>
                  <a:lnTo>
                    <a:pt x="897" y="199"/>
                  </a:lnTo>
                  <a:lnTo>
                    <a:pt x="899" y="198"/>
                  </a:lnTo>
                  <a:lnTo>
                    <a:pt x="900" y="195"/>
                  </a:lnTo>
                  <a:lnTo>
                    <a:pt x="900" y="193"/>
                  </a:lnTo>
                  <a:lnTo>
                    <a:pt x="902" y="189"/>
                  </a:lnTo>
                  <a:lnTo>
                    <a:pt x="902" y="186"/>
                  </a:lnTo>
                  <a:lnTo>
                    <a:pt x="903" y="184"/>
                  </a:lnTo>
                  <a:lnTo>
                    <a:pt x="908" y="184"/>
                  </a:lnTo>
                  <a:lnTo>
                    <a:pt x="908" y="180"/>
                  </a:lnTo>
                  <a:lnTo>
                    <a:pt x="909" y="178"/>
                  </a:lnTo>
                  <a:lnTo>
                    <a:pt x="909" y="177"/>
                  </a:lnTo>
                  <a:lnTo>
                    <a:pt x="906" y="177"/>
                  </a:lnTo>
                  <a:lnTo>
                    <a:pt x="906" y="174"/>
                  </a:lnTo>
                  <a:lnTo>
                    <a:pt x="905" y="174"/>
                  </a:lnTo>
                  <a:lnTo>
                    <a:pt x="905" y="169"/>
                  </a:lnTo>
                  <a:lnTo>
                    <a:pt x="908" y="166"/>
                  </a:lnTo>
                  <a:lnTo>
                    <a:pt x="912" y="166"/>
                  </a:lnTo>
                  <a:lnTo>
                    <a:pt x="912" y="162"/>
                  </a:lnTo>
                  <a:lnTo>
                    <a:pt x="915" y="162"/>
                  </a:lnTo>
                  <a:lnTo>
                    <a:pt x="918" y="160"/>
                  </a:lnTo>
                  <a:lnTo>
                    <a:pt x="921" y="157"/>
                  </a:lnTo>
                  <a:lnTo>
                    <a:pt x="924" y="157"/>
                  </a:lnTo>
                  <a:lnTo>
                    <a:pt x="924" y="156"/>
                  </a:lnTo>
                  <a:lnTo>
                    <a:pt x="926" y="156"/>
                  </a:lnTo>
                  <a:lnTo>
                    <a:pt x="926" y="154"/>
                  </a:lnTo>
                  <a:lnTo>
                    <a:pt x="924" y="153"/>
                  </a:lnTo>
                  <a:lnTo>
                    <a:pt x="924" y="151"/>
                  </a:lnTo>
                  <a:lnTo>
                    <a:pt x="918" y="151"/>
                  </a:lnTo>
                  <a:lnTo>
                    <a:pt x="918" y="150"/>
                  </a:lnTo>
                  <a:lnTo>
                    <a:pt x="920" y="148"/>
                  </a:lnTo>
                  <a:lnTo>
                    <a:pt x="920" y="147"/>
                  </a:lnTo>
                  <a:lnTo>
                    <a:pt x="918" y="147"/>
                  </a:lnTo>
                  <a:lnTo>
                    <a:pt x="921" y="144"/>
                  </a:lnTo>
                  <a:lnTo>
                    <a:pt x="921" y="142"/>
                  </a:lnTo>
                  <a:lnTo>
                    <a:pt x="920" y="141"/>
                  </a:lnTo>
                  <a:lnTo>
                    <a:pt x="920" y="139"/>
                  </a:lnTo>
                  <a:lnTo>
                    <a:pt x="921" y="139"/>
                  </a:lnTo>
                  <a:lnTo>
                    <a:pt x="921" y="136"/>
                  </a:lnTo>
                  <a:lnTo>
                    <a:pt x="923" y="136"/>
                  </a:lnTo>
                  <a:lnTo>
                    <a:pt x="926" y="135"/>
                  </a:lnTo>
                  <a:lnTo>
                    <a:pt x="926" y="132"/>
                  </a:lnTo>
                  <a:lnTo>
                    <a:pt x="927" y="130"/>
                  </a:lnTo>
                  <a:lnTo>
                    <a:pt x="927" y="132"/>
                  </a:lnTo>
                  <a:lnTo>
                    <a:pt x="929" y="133"/>
                  </a:lnTo>
                  <a:lnTo>
                    <a:pt x="932" y="133"/>
                  </a:lnTo>
                  <a:lnTo>
                    <a:pt x="935" y="132"/>
                  </a:lnTo>
                  <a:lnTo>
                    <a:pt x="938" y="132"/>
                  </a:lnTo>
                  <a:lnTo>
                    <a:pt x="938" y="127"/>
                  </a:lnTo>
                  <a:lnTo>
                    <a:pt x="939" y="126"/>
                  </a:lnTo>
                  <a:lnTo>
                    <a:pt x="938" y="124"/>
                  </a:lnTo>
                  <a:lnTo>
                    <a:pt x="938" y="123"/>
                  </a:lnTo>
                  <a:lnTo>
                    <a:pt x="939" y="117"/>
                  </a:lnTo>
                  <a:lnTo>
                    <a:pt x="941" y="114"/>
                  </a:lnTo>
                  <a:lnTo>
                    <a:pt x="944" y="114"/>
                  </a:lnTo>
                  <a:lnTo>
                    <a:pt x="944" y="112"/>
                  </a:lnTo>
                  <a:lnTo>
                    <a:pt x="942" y="111"/>
                  </a:lnTo>
                  <a:lnTo>
                    <a:pt x="942" y="108"/>
                  </a:lnTo>
                  <a:lnTo>
                    <a:pt x="941" y="105"/>
                  </a:lnTo>
                  <a:lnTo>
                    <a:pt x="941" y="100"/>
                  </a:lnTo>
                  <a:lnTo>
                    <a:pt x="944" y="96"/>
                  </a:lnTo>
                  <a:lnTo>
                    <a:pt x="944" y="94"/>
                  </a:lnTo>
                  <a:lnTo>
                    <a:pt x="941" y="91"/>
                  </a:lnTo>
                  <a:lnTo>
                    <a:pt x="941" y="90"/>
                  </a:lnTo>
                  <a:lnTo>
                    <a:pt x="944" y="90"/>
                  </a:lnTo>
                  <a:lnTo>
                    <a:pt x="944" y="87"/>
                  </a:lnTo>
                  <a:lnTo>
                    <a:pt x="945" y="85"/>
                  </a:lnTo>
                  <a:lnTo>
                    <a:pt x="945" y="79"/>
                  </a:lnTo>
                  <a:lnTo>
                    <a:pt x="947" y="79"/>
                  </a:lnTo>
                  <a:lnTo>
                    <a:pt x="950" y="76"/>
                  </a:lnTo>
                  <a:lnTo>
                    <a:pt x="953" y="76"/>
                  </a:lnTo>
                  <a:lnTo>
                    <a:pt x="954" y="75"/>
                  </a:lnTo>
                  <a:lnTo>
                    <a:pt x="954" y="69"/>
                  </a:lnTo>
                  <a:close/>
                  <a:moveTo>
                    <a:pt x="1457" y="62"/>
                  </a:moveTo>
                  <a:lnTo>
                    <a:pt x="1458" y="62"/>
                  </a:lnTo>
                  <a:lnTo>
                    <a:pt x="1458" y="63"/>
                  </a:lnTo>
                  <a:lnTo>
                    <a:pt x="1460" y="63"/>
                  </a:lnTo>
                  <a:lnTo>
                    <a:pt x="1460" y="65"/>
                  </a:lnTo>
                  <a:lnTo>
                    <a:pt x="1461" y="65"/>
                  </a:lnTo>
                  <a:lnTo>
                    <a:pt x="1461" y="69"/>
                  </a:lnTo>
                  <a:lnTo>
                    <a:pt x="1460" y="70"/>
                  </a:lnTo>
                  <a:lnTo>
                    <a:pt x="1462" y="73"/>
                  </a:lnTo>
                  <a:lnTo>
                    <a:pt x="1462" y="75"/>
                  </a:lnTo>
                  <a:lnTo>
                    <a:pt x="1461" y="78"/>
                  </a:lnTo>
                  <a:lnTo>
                    <a:pt x="1458" y="79"/>
                  </a:lnTo>
                  <a:lnTo>
                    <a:pt x="1458" y="87"/>
                  </a:lnTo>
                  <a:lnTo>
                    <a:pt x="1452" y="87"/>
                  </a:lnTo>
                  <a:lnTo>
                    <a:pt x="1452" y="84"/>
                  </a:lnTo>
                  <a:lnTo>
                    <a:pt x="1454" y="82"/>
                  </a:lnTo>
                  <a:lnTo>
                    <a:pt x="1455" y="79"/>
                  </a:lnTo>
                  <a:lnTo>
                    <a:pt x="1458" y="76"/>
                  </a:lnTo>
                  <a:lnTo>
                    <a:pt x="1455" y="76"/>
                  </a:lnTo>
                  <a:lnTo>
                    <a:pt x="1454" y="75"/>
                  </a:lnTo>
                  <a:lnTo>
                    <a:pt x="1454" y="67"/>
                  </a:lnTo>
                  <a:lnTo>
                    <a:pt x="1455" y="66"/>
                  </a:lnTo>
                  <a:lnTo>
                    <a:pt x="1455" y="63"/>
                  </a:lnTo>
                  <a:lnTo>
                    <a:pt x="1457" y="62"/>
                  </a:lnTo>
                  <a:close/>
                  <a:moveTo>
                    <a:pt x="594" y="53"/>
                  </a:moveTo>
                  <a:lnTo>
                    <a:pt x="595" y="53"/>
                  </a:lnTo>
                  <a:lnTo>
                    <a:pt x="595" y="56"/>
                  </a:lnTo>
                  <a:lnTo>
                    <a:pt x="592" y="56"/>
                  </a:lnTo>
                  <a:lnTo>
                    <a:pt x="592" y="54"/>
                  </a:lnTo>
                  <a:lnTo>
                    <a:pt x="594" y="54"/>
                  </a:lnTo>
                  <a:lnTo>
                    <a:pt x="594" y="53"/>
                  </a:lnTo>
                  <a:close/>
                  <a:moveTo>
                    <a:pt x="1448" y="15"/>
                  </a:moveTo>
                  <a:lnTo>
                    <a:pt x="1449" y="15"/>
                  </a:lnTo>
                  <a:lnTo>
                    <a:pt x="1449" y="17"/>
                  </a:lnTo>
                  <a:lnTo>
                    <a:pt x="1448" y="17"/>
                  </a:lnTo>
                  <a:lnTo>
                    <a:pt x="1448" y="15"/>
                  </a:lnTo>
                  <a:close/>
                  <a:moveTo>
                    <a:pt x="18" y="12"/>
                  </a:moveTo>
                  <a:lnTo>
                    <a:pt x="19" y="12"/>
                  </a:lnTo>
                  <a:lnTo>
                    <a:pt x="21" y="14"/>
                  </a:lnTo>
                  <a:lnTo>
                    <a:pt x="22" y="14"/>
                  </a:lnTo>
                  <a:lnTo>
                    <a:pt x="25" y="12"/>
                  </a:lnTo>
                  <a:lnTo>
                    <a:pt x="27" y="12"/>
                  </a:lnTo>
                  <a:lnTo>
                    <a:pt x="33" y="15"/>
                  </a:lnTo>
                  <a:lnTo>
                    <a:pt x="37" y="17"/>
                  </a:lnTo>
                  <a:lnTo>
                    <a:pt x="37" y="18"/>
                  </a:lnTo>
                  <a:lnTo>
                    <a:pt x="39" y="18"/>
                  </a:lnTo>
                  <a:lnTo>
                    <a:pt x="39" y="20"/>
                  </a:lnTo>
                  <a:lnTo>
                    <a:pt x="40" y="21"/>
                  </a:lnTo>
                  <a:lnTo>
                    <a:pt x="40" y="23"/>
                  </a:lnTo>
                  <a:lnTo>
                    <a:pt x="46" y="27"/>
                  </a:lnTo>
                  <a:lnTo>
                    <a:pt x="48" y="29"/>
                  </a:lnTo>
                  <a:lnTo>
                    <a:pt x="49" y="29"/>
                  </a:lnTo>
                  <a:lnTo>
                    <a:pt x="57" y="30"/>
                  </a:lnTo>
                  <a:lnTo>
                    <a:pt x="58" y="30"/>
                  </a:lnTo>
                  <a:lnTo>
                    <a:pt x="60" y="32"/>
                  </a:lnTo>
                  <a:lnTo>
                    <a:pt x="64" y="32"/>
                  </a:lnTo>
                  <a:lnTo>
                    <a:pt x="66" y="30"/>
                  </a:lnTo>
                  <a:lnTo>
                    <a:pt x="66" y="32"/>
                  </a:lnTo>
                  <a:lnTo>
                    <a:pt x="76" y="32"/>
                  </a:lnTo>
                  <a:lnTo>
                    <a:pt x="81" y="30"/>
                  </a:lnTo>
                  <a:lnTo>
                    <a:pt x="82" y="29"/>
                  </a:lnTo>
                  <a:lnTo>
                    <a:pt x="84" y="29"/>
                  </a:lnTo>
                  <a:lnTo>
                    <a:pt x="85" y="30"/>
                  </a:lnTo>
                  <a:lnTo>
                    <a:pt x="87" y="29"/>
                  </a:lnTo>
                  <a:lnTo>
                    <a:pt x="88" y="29"/>
                  </a:lnTo>
                  <a:lnTo>
                    <a:pt x="91" y="30"/>
                  </a:lnTo>
                  <a:lnTo>
                    <a:pt x="94" y="30"/>
                  </a:lnTo>
                  <a:lnTo>
                    <a:pt x="99" y="35"/>
                  </a:lnTo>
                  <a:lnTo>
                    <a:pt x="102" y="35"/>
                  </a:lnTo>
                  <a:lnTo>
                    <a:pt x="114" y="30"/>
                  </a:lnTo>
                  <a:lnTo>
                    <a:pt x="129" y="45"/>
                  </a:lnTo>
                  <a:lnTo>
                    <a:pt x="130" y="45"/>
                  </a:lnTo>
                  <a:lnTo>
                    <a:pt x="132" y="47"/>
                  </a:lnTo>
                  <a:lnTo>
                    <a:pt x="135" y="51"/>
                  </a:lnTo>
                  <a:lnTo>
                    <a:pt x="135" y="56"/>
                  </a:lnTo>
                  <a:lnTo>
                    <a:pt x="136" y="59"/>
                  </a:lnTo>
                  <a:lnTo>
                    <a:pt x="136" y="63"/>
                  </a:lnTo>
                  <a:lnTo>
                    <a:pt x="138" y="62"/>
                  </a:lnTo>
                  <a:lnTo>
                    <a:pt x="138" y="63"/>
                  </a:lnTo>
                  <a:lnTo>
                    <a:pt x="139" y="62"/>
                  </a:lnTo>
                  <a:lnTo>
                    <a:pt x="139" y="63"/>
                  </a:lnTo>
                  <a:lnTo>
                    <a:pt x="144" y="63"/>
                  </a:lnTo>
                  <a:lnTo>
                    <a:pt x="144" y="65"/>
                  </a:lnTo>
                  <a:lnTo>
                    <a:pt x="147" y="65"/>
                  </a:lnTo>
                  <a:lnTo>
                    <a:pt x="147" y="66"/>
                  </a:lnTo>
                  <a:lnTo>
                    <a:pt x="148" y="67"/>
                  </a:lnTo>
                  <a:lnTo>
                    <a:pt x="148" y="69"/>
                  </a:lnTo>
                  <a:lnTo>
                    <a:pt x="150" y="70"/>
                  </a:lnTo>
                  <a:lnTo>
                    <a:pt x="148" y="73"/>
                  </a:lnTo>
                  <a:lnTo>
                    <a:pt x="148" y="78"/>
                  </a:lnTo>
                  <a:lnTo>
                    <a:pt x="147" y="78"/>
                  </a:lnTo>
                  <a:lnTo>
                    <a:pt x="145" y="79"/>
                  </a:lnTo>
                  <a:lnTo>
                    <a:pt x="144" y="79"/>
                  </a:lnTo>
                  <a:lnTo>
                    <a:pt x="144" y="82"/>
                  </a:lnTo>
                  <a:lnTo>
                    <a:pt x="145" y="81"/>
                  </a:lnTo>
                  <a:lnTo>
                    <a:pt x="147" y="81"/>
                  </a:lnTo>
                  <a:lnTo>
                    <a:pt x="148" y="79"/>
                  </a:lnTo>
                  <a:lnTo>
                    <a:pt x="150" y="84"/>
                  </a:lnTo>
                  <a:lnTo>
                    <a:pt x="156" y="84"/>
                  </a:lnTo>
                  <a:lnTo>
                    <a:pt x="157" y="85"/>
                  </a:lnTo>
                  <a:lnTo>
                    <a:pt x="159" y="85"/>
                  </a:lnTo>
                  <a:lnTo>
                    <a:pt x="159" y="87"/>
                  </a:lnTo>
                  <a:lnTo>
                    <a:pt x="162" y="87"/>
                  </a:lnTo>
                  <a:lnTo>
                    <a:pt x="162" y="88"/>
                  </a:lnTo>
                  <a:lnTo>
                    <a:pt x="163" y="90"/>
                  </a:lnTo>
                  <a:lnTo>
                    <a:pt x="165" y="90"/>
                  </a:lnTo>
                  <a:lnTo>
                    <a:pt x="168" y="91"/>
                  </a:lnTo>
                  <a:lnTo>
                    <a:pt x="168" y="94"/>
                  </a:lnTo>
                  <a:lnTo>
                    <a:pt x="169" y="96"/>
                  </a:lnTo>
                  <a:lnTo>
                    <a:pt x="172" y="100"/>
                  </a:lnTo>
                  <a:lnTo>
                    <a:pt x="177" y="102"/>
                  </a:lnTo>
                  <a:lnTo>
                    <a:pt x="179" y="102"/>
                  </a:lnTo>
                  <a:lnTo>
                    <a:pt x="181" y="103"/>
                  </a:lnTo>
                  <a:lnTo>
                    <a:pt x="182" y="103"/>
                  </a:lnTo>
                  <a:lnTo>
                    <a:pt x="182" y="105"/>
                  </a:lnTo>
                  <a:lnTo>
                    <a:pt x="185" y="105"/>
                  </a:lnTo>
                  <a:lnTo>
                    <a:pt x="187" y="106"/>
                  </a:lnTo>
                  <a:lnTo>
                    <a:pt x="190" y="108"/>
                  </a:lnTo>
                  <a:lnTo>
                    <a:pt x="199" y="114"/>
                  </a:lnTo>
                  <a:lnTo>
                    <a:pt x="199" y="115"/>
                  </a:lnTo>
                  <a:lnTo>
                    <a:pt x="202" y="115"/>
                  </a:lnTo>
                  <a:lnTo>
                    <a:pt x="205" y="118"/>
                  </a:lnTo>
                  <a:lnTo>
                    <a:pt x="205" y="120"/>
                  </a:lnTo>
                  <a:lnTo>
                    <a:pt x="206" y="120"/>
                  </a:lnTo>
                  <a:lnTo>
                    <a:pt x="209" y="123"/>
                  </a:lnTo>
                  <a:lnTo>
                    <a:pt x="214" y="124"/>
                  </a:lnTo>
                  <a:lnTo>
                    <a:pt x="217" y="124"/>
                  </a:lnTo>
                  <a:lnTo>
                    <a:pt x="220" y="130"/>
                  </a:lnTo>
                  <a:lnTo>
                    <a:pt x="221" y="130"/>
                  </a:lnTo>
                  <a:lnTo>
                    <a:pt x="221" y="132"/>
                  </a:lnTo>
                  <a:lnTo>
                    <a:pt x="223" y="132"/>
                  </a:lnTo>
                  <a:lnTo>
                    <a:pt x="224" y="133"/>
                  </a:lnTo>
                  <a:lnTo>
                    <a:pt x="224" y="135"/>
                  </a:lnTo>
                  <a:lnTo>
                    <a:pt x="227" y="135"/>
                  </a:lnTo>
                  <a:lnTo>
                    <a:pt x="227" y="144"/>
                  </a:lnTo>
                  <a:lnTo>
                    <a:pt x="226" y="145"/>
                  </a:lnTo>
                  <a:lnTo>
                    <a:pt x="226" y="147"/>
                  </a:lnTo>
                  <a:lnTo>
                    <a:pt x="227" y="147"/>
                  </a:lnTo>
                  <a:lnTo>
                    <a:pt x="227" y="148"/>
                  </a:lnTo>
                  <a:lnTo>
                    <a:pt x="229" y="150"/>
                  </a:lnTo>
                  <a:lnTo>
                    <a:pt x="227" y="151"/>
                  </a:lnTo>
                  <a:lnTo>
                    <a:pt x="229" y="151"/>
                  </a:lnTo>
                  <a:lnTo>
                    <a:pt x="229" y="148"/>
                  </a:lnTo>
                  <a:lnTo>
                    <a:pt x="227" y="147"/>
                  </a:lnTo>
                  <a:lnTo>
                    <a:pt x="227" y="145"/>
                  </a:lnTo>
                  <a:lnTo>
                    <a:pt x="230" y="145"/>
                  </a:lnTo>
                  <a:lnTo>
                    <a:pt x="232" y="147"/>
                  </a:lnTo>
                  <a:lnTo>
                    <a:pt x="232" y="153"/>
                  </a:lnTo>
                  <a:lnTo>
                    <a:pt x="233" y="154"/>
                  </a:lnTo>
                  <a:lnTo>
                    <a:pt x="235" y="154"/>
                  </a:lnTo>
                  <a:lnTo>
                    <a:pt x="235" y="153"/>
                  </a:lnTo>
                  <a:lnTo>
                    <a:pt x="233" y="151"/>
                  </a:lnTo>
                  <a:lnTo>
                    <a:pt x="233" y="147"/>
                  </a:lnTo>
                  <a:lnTo>
                    <a:pt x="238" y="147"/>
                  </a:lnTo>
                  <a:lnTo>
                    <a:pt x="238" y="150"/>
                  </a:lnTo>
                  <a:lnTo>
                    <a:pt x="242" y="153"/>
                  </a:lnTo>
                  <a:lnTo>
                    <a:pt x="245" y="162"/>
                  </a:lnTo>
                  <a:lnTo>
                    <a:pt x="247" y="165"/>
                  </a:lnTo>
                  <a:lnTo>
                    <a:pt x="251" y="169"/>
                  </a:lnTo>
                  <a:lnTo>
                    <a:pt x="254" y="171"/>
                  </a:lnTo>
                  <a:lnTo>
                    <a:pt x="256" y="172"/>
                  </a:lnTo>
                  <a:lnTo>
                    <a:pt x="259" y="172"/>
                  </a:lnTo>
                  <a:lnTo>
                    <a:pt x="265" y="177"/>
                  </a:lnTo>
                  <a:lnTo>
                    <a:pt x="266" y="178"/>
                  </a:lnTo>
                  <a:lnTo>
                    <a:pt x="268" y="178"/>
                  </a:lnTo>
                  <a:lnTo>
                    <a:pt x="268" y="180"/>
                  </a:lnTo>
                  <a:lnTo>
                    <a:pt x="269" y="181"/>
                  </a:lnTo>
                  <a:lnTo>
                    <a:pt x="269" y="186"/>
                  </a:lnTo>
                  <a:lnTo>
                    <a:pt x="271" y="186"/>
                  </a:lnTo>
                  <a:lnTo>
                    <a:pt x="271" y="183"/>
                  </a:lnTo>
                  <a:lnTo>
                    <a:pt x="269" y="181"/>
                  </a:lnTo>
                  <a:lnTo>
                    <a:pt x="269" y="180"/>
                  </a:lnTo>
                  <a:lnTo>
                    <a:pt x="265" y="171"/>
                  </a:lnTo>
                  <a:lnTo>
                    <a:pt x="265" y="168"/>
                  </a:lnTo>
                  <a:lnTo>
                    <a:pt x="268" y="165"/>
                  </a:lnTo>
                  <a:lnTo>
                    <a:pt x="277" y="165"/>
                  </a:lnTo>
                  <a:lnTo>
                    <a:pt x="277" y="169"/>
                  </a:lnTo>
                  <a:lnTo>
                    <a:pt x="283" y="172"/>
                  </a:lnTo>
                  <a:lnTo>
                    <a:pt x="289" y="178"/>
                  </a:lnTo>
                  <a:lnTo>
                    <a:pt x="289" y="183"/>
                  </a:lnTo>
                  <a:lnTo>
                    <a:pt x="292" y="189"/>
                  </a:lnTo>
                  <a:lnTo>
                    <a:pt x="292" y="190"/>
                  </a:lnTo>
                  <a:lnTo>
                    <a:pt x="293" y="192"/>
                  </a:lnTo>
                  <a:lnTo>
                    <a:pt x="296" y="193"/>
                  </a:lnTo>
                  <a:lnTo>
                    <a:pt x="298" y="193"/>
                  </a:lnTo>
                  <a:lnTo>
                    <a:pt x="299" y="195"/>
                  </a:lnTo>
                  <a:lnTo>
                    <a:pt x="301" y="195"/>
                  </a:lnTo>
                  <a:lnTo>
                    <a:pt x="305" y="193"/>
                  </a:lnTo>
                  <a:lnTo>
                    <a:pt x="307" y="193"/>
                  </a:lnTo>
                  <a:lnTo>
                    <a:pt x="308" y="195"/>
                  </a:lnTo>
                  <a:lnTo>
                    <a:pt x="310" y="195"/>
                  </a:lnTo>
                  <a:lnTo>
                    <a:pt x="320" y="204"/>
                  </a:lnTo>
                  <a:lnTo>
                    <a:pt x="325" y="207"/>
                  </a:lnTo>
                  <a:lnTo>
                    <a:pt x="326" y="208"/>
                  </a:lnTo>
                  <a:lnTo>
                    <a:pt x="326" y="214"/>
                  </a:lnTo>
                  <a:lnTo>
                    <a:pt x="328" y="214"/>
                  </a:lnTo>
                  <a:lnTo>
                    <a:pt x="329" y="216"/>
                  </a:lnTo>
                  <a:lnTo>
                    <a:pt x="329" y="223"/>
                  </a:lnTo>
                  <a:lnTo>
                    <a:pt x="331" y="225"/>
                  </a:lnTo>
                  <a:lnTo>
                    <a:pt x="335" y="228"/>
                  </a:lnTo>
                  <a:lnTo>
                    <a:pt x="339" y="234"/>
                  </a:lnTo>
                  <a:lnTo>
                    <a:pt x="341" y="235"/>
                  </a:lnTo>
                  <a:lnTo>
                    <a:pt x="342" y="235"/>
                  </a:lnTo>
                  <a:lnTo>
                    <a:pt x="344" y="237"/>
                  </a:lnTo>
                  <a:lnTo>
                    <a:pt x="348" y="237"/>
                  </a:lnTo>
                  <a:lnTo>
                    <a:pt x="350" y="235"/>
                  </a:lnTo>
                  <a:lnTo>
                    <a:pt x="356" y="237"/>
                  </a:lnTo>
                  <a:lnTo>
                    <a:pt x="360" y="237"/>
                  </a:lnTo>
                  <a:lnTo>
                    <a:pt x="368" y="244"/>
                  </a:lnTo>
                  <a:lnTo>
                    <a:pt x="369" y="247"/>
                  </a:lnTo>
                  <a:lnTo>
                    <a:pt x="369" y="250"/>
                  </a:lnTo>
                  <a:lnTo>
                    <a:pt x="368" y="250"/>
                  </a:lnTo>
                  <a:lnTo>
                    <a:pt x="363" y="252"/>
                  </a:lnTo>
                  <a:lnTo>
                    <a:pt x="360" y="255"/>
                  </a:lnTo>
                  <a:lnTo>
                    <a:pt x="359" y="255"/>
                  </a:lnTo>
                  <a:lnTo>
                    <a:pt x="354" y="258"/>
                  </a:lnTo>
                  <a:lnTo>
                    <a:pt x="353" y="258"/>
                  </a:lnTo>
                  <a:lnTo>
                    <a:pt x="350" y="259"/>
                  </a:lnTo>
                  <a:lnTo>
                    <a:pt x="347" y="259"/>
                  </a:lnTo>
                  <a:lnTo>
                    <a:pt x="347" y="262"/>
                  </a:lnTo>
                  <a:lnTo>
                    <a:pt x="348" y="262"/>
                  </a:lnTo>
                  <a:lnTo>
                    <a:pt x="348" y="261"/>
                  </a:lnTo>
                  <a:lnTo>
                    <a:pt x="350" y="261"/>
                  </a:lnTo>
                  <a:lnTo>
                    <a:pt x="350" y="259"/>
                  </a:lnTo>
                  <a:lnTo>
                    <a:pt x="357" y="259"/>
                  </a:lnTo>
                  <a:lnTo>
                    <a:pt x="360" y="258"/>
                  </a:lnTo>
                  <a:lnTo>
                    <a:pt x="365" y="256"/>
                  </a:lnTo>
                  <a:lnTo>
                    <a:pt x="368" y="253"/>
                  </a:lnTo>
                  <a:lnTo>
                    <a:pt x="369" y="253"/>
                  </a:lnTo>
                  <a:lnTo>
                    <a:pt x="369" y="252"/>
                  </a:lnTo>
                  <a:lnTo>
                    <a:pt x="372" y="252"/>
                  </a:lnTo>
                  <a:lnTo>
                    <a:pt x="375" y="249"/>
                  </a:lnTo>
                  <a:lnTo>
                    <a:pt x="375" y="247"/>
                  </a:lnTo>
                  <a:lnTo>
                    <a:pt x="380" y="247"/>
                  </a:lnTo>
                  <a:lnTo>
                    <a:pt x="381" y="246"/>
                  </a:lnTo>
                  <a:lnTo>
                    <a:pt x="383" y="246"/>
                  </a:lnTo>
                  <a:lnTo>
                    <a:pt x="384" y="247"/>
                  </a:lnTo>
                  <a:lnTo>
                    <a:pt x="390" y="250"/>
                  </a:lnTo>
                  <a:lnTo>
                    <a:pt x="393" y="256"/>
                  </a:lnTo>
                  <a:lnTo>
                    <a:pt x="393" y="255"/>
                  </a:lnTo>
                  <a:lnTo>
                    <a:pt x="398" y="255"/>
                  </a:lnTo>
                  <a:lnTo>
                    <a:pt x="398" y="256"/>
                  </a:lnTo>
                  <a:lnTo>
                    <a:pt x="399" y="256"/>
                  </a:lnTo>
                  <a:lnTo>
                    <a:pt x="399" y="258"/>
                  </a:lnTo>
                  <a:lnTo>
                    <a:pt x="401" y="259"/>
                  </a:lnTo>
                  <a:lnTo>
                    <a:pt x="402" y="268"/>
                  </a:lnTo>
                  <a:lnTo>
                    <a:pt x="402" y="271"/>
                  </a:lnTo>
                  <a:lnTo>
                    <a:pt x="396" y="271"/>
                  </a:lnTo>
                  <a:lnTo>
                    <a:pt x="396" y="273"/>
                  </a:lnTo>
                  <a:lnTo>
                    <a:pt x="393" y="273"/>
                  </a:lnTo>
                  <a:lnTo>
                    <a:pt x="393" y="271"/>
                  </a:lnTo>
                  <a:lnTo>
                    <a:pt x="392" y="271"/>
                  </a:lnTo>
                  <a:lnTo>
                    <a:pt x="392" y="274"/>
                  </a:lnTo>
                  <a:lnTo>
                    <a:pt x="390" y="276"/>
                  </a:lnTo>
                  <a:lnTo>
                    <a:pt x="387" y="276"/>
                  </a:lnTo>
                  <a:lnTo>
                    <a:pt x="387" y="279"/>
                  </a:lnTo>
                  <a:lnTo>
                    <a:pt x="386" y="279"/>
                  </a:lnTo>
                  <a:lnTo>
                    <a:pt x="384" y="280"/>
                  </a:lnTo>
                  <a:lnTo>
                    <a:pt x="380" y="280"/>
                  </a:lnTo>
                  <a:lnTo>
                    <a:pt x="378" y="282"/>
                  </a:lnTo>
                  <a:lnTo>
                    <a:pt x="384" y="282"/>
                  </a:lnTo>
                  <a:lnTo>
                    <a:pt x="384" y="280"/>
                  </a:lnTo>
                  <a:lnTo>
                    <a:pt x="389" y="280"/>
                  </a:lnTo>
                  <a:lnTo>
                    <a:pt x="389" y="282"/>
                  </a:lnTo>
                  <a:lnTo>
                    <a:pt x="386" y="283"/>
                  </a:lnTo>
                  <a:lnTo>
                    <a:pt x="386" y="286"/>
                  </a:lnTo>
                  <a:lnTo>
                    <a:pt x="381" y="286"/>
                  </a:lnTo>
                  <a:lnTo>
                    <a:pt x="383" y="288"/>
                  </a:lnTo>
                  <a:lnTo>
                    <a:pt x="390" y="288"/>
                  </a:lnTo>
                  <a:lnTo>
                    <a:pt x="393" y="291"/>
                  </a:lnTo>
                  <a:lnTo>
                    <a:pt x="392" y="292"/>
                  </a:lnTo>
                  <a:lnTo>
                    <a:pt x="389" y="292"/>
                  </a:lnTo>
                  <a:lnTo>
                    <a:pt x="384" y="294"/>
                  </a:lnTo>
                  <a:lnTo>
                    <a:pt x="383" y="292"/>
                  </a:lnTo>
                  <a:lnTo>
                    <a:pt x="383" y="294"/>
                  </a:lnTo>
                  <a:lnTo>
                    <a:pt x="384" y="295"/>
                  </a:lnTo>
                  <a:lnTo>
                    <a:pt x="384" y="298"/>
                  </a:lnTo>
                  <a:lnTo>
                    <a:pt x="383" y="300"/>
                  </a:lnTo>
                  <a:lnTo>
                    <a:pt x="383" y="301"/>
                  </a:lnTo>
                  <a:lnTo>
                    <a:pt x="381" y="301"/>
                  </a:lnTo>
                  <a:lnTo>
                    <a:pt x="381" y="303"/>
                  </a:lnTo>
                  <a:lnTo>
                    <a:pt x="383" y="303"/>
                  </a:lnTo>
                  <a:lnTo>
                    <a:pt x="384" y="304"/>
                  </a:lnTo>
                  <a:lnTo>
                    <a:pt x="387" y="304"/>
                  </a:lnTo>
                  <a:lnTo>
                    <a:pt x="387" y="306"/>
                  </a:lnTo>
                  <a:lnTo>
                    <a:pt x="386" y="307"/>
                  </a:lnTo>
                  <a:lnTo>
                    <a:pt x="390" y="307"/>
                  </a:lnTo>
                  <a:lnTo>
                    <a:pt x="390" y="309"/>
                  </a:lnTo>
                  <a:lnTo>
                    <a:pt x="392" y="310"/>
                  </a:lnTo>
                  <a:lnTo>
                    <a:pt x="393" y="310"/>
                  </a:lnTo>
                  <a:lnTo>
                    <a:pt x="393" y="312"/>
                  </a:lnTo>
                  <a:lnTo>
                    <a:pt x="395" y="312"/>
                  </a:lnTo>
                  <a:lnTo>
                    <a:pt x="395" y="313"/>
                  </a:lnTo>
                  <a:lnTo>
                    <a:pt x="398" y="313"/>
                  </a:lnTo>
                  <a:lnTo>
                    <a:pt x="398" y="315"/>
                  </a:lnTo>
                  <a:lnTo>
                    <a:pt x="399" y="315"/>
                  </a:lnTo>
                  <a:lnTo>
                    <a:pt x="401" y="316"/>
                  </a:lnTo>
                  <a:lnTo>
                    <a:pt x="402" y="316"/>
                  </a:lnTo>
                  <a:lnTo>
                    <a:pt x="404" y="319"/>
                  </a:lnTo>
                  <a:lnTo>
                    <a:pt x="404" y="318"/>
                  </a:lnTo>
                  <a:lnTo>
                    <a:pt x="407" y="315"/>
                  </a:lnTo>
                  <a:lnTo>
                    <a:pt x="410" y="315"/>
                  </a:lnTo>
                  <a:lnTo>
                    <a:pt x="413" y="316"/>
                  </a:lnTo>
                  <a:lnTo>
                    <a:pt x="414" y="318"/>
                  </a:lnTo>
                  <a:lnTo>
                    <a:pt x="417" y="318"/>
                  </a:lnTo>
                  <a:lnTo>
                    <a:pt x="420" y="319"/>
                  </a:lnTo>
                  <a:lnTo>
                    <a:pt x="422" y="319"/>
                  </a:lnTo>
                  <a:lnTo>
                    <a:pt x="423" y="318"/>
                  </a:lnTo>
                  <a:lnTo>
                    <a:pt x="429" y="318"/>
                  </a:lnTo>
                  <a:lnTo>
                    <a:pt x="431" y="322"/>
                  </a:lnTo>
                  <a:lnTo>
                    <a:pt x="429" y="325"/>
                  </a:lnTo>
                  <a:lnTo>
                    <a:pt x="429" y="326"/>
                  </a:lnTo>
                  <a:lnTo>
                    <a:pt x="432" y="329"/>
                  </a:lnTo>
                  <a:lnTo>
                    <a:pt x="432" y="341"/>
                  </a:lnTo>
                  <a:lnTo>
                    <a:pt x="435" y="347"/>
                  </a:lnTo>
                  <a:lnTo>
                    <a:pt x="435" y="349"/>
                  </a:lnTo>
                  <a:lnTo>
                    <a:pt x="437" y="350"/>
                  </a:lnTo>
                  <a:lnTo>
                    <a:pt x="435" y="352"/>
                  </a:lnTo>
                  <a:lnTo>
                    <a:pt x="435" y="353"/>
                  </a:lnTo>
                  <a:lnTo>
                    <a:pt x="434" y="355"/>
                  </a:lnTo>
                  <a:lnTo>
                    <a:pt x="434" y="358"/>
                  </a:lnTo>
                  <a:lnTo>
                    <a:pt x="435" y="358"/>
                  </a:lnTo>
                  <a:lnTo>
                    <a:pt x="435" y="355"/>
                  </a:lnTo>
                  <a:lnTo>
                    <a:pt x="438" y="355"/>
                  </a:lnTo>
                  <a:lnTo>
                    <a:pt x="441" y="358"/>
                  </a:lnTo>
                  <a:lnTo>
                    <a:pt x="440" y="359"/>
                  </a:lnTo>
                  <a:lnTo>
                    <a:pt x="440" y="361"/>
                  </a:lnTo>
                  <a:lnTo>
                    <a:pt x="438" y="361"/>
                  </a:lnTo>
                  <a:lnTo>
                    <a:pt x="438" y="362"/>
                  </a:lnTo>
                  <a:lnTo>
                    <a:pt x="440" y="362"/>
                  </a:lnTo>
                  <a:lnTo>
                    <a:pt x="441" y="361"/>
                  </a:lnTo>
                  <a:lnTo>
                    <a:pt x="441" y="362"/>
                  </a:lnTo>
                  <a:lnTo>
                    <a:pt x="444" y="362"/>
                  </a:lnTo>
                  <a:lnTo>
                    <a:pt x="447" y="361"/>
                  </a:lnTo>
                  <a:lnTo>
                    <a:pt x="449" y="361"/>
                  </a:lnTo>
                  <a:lnTo>
                    <a:pt x="450" y="362"/>
                  </a:lnTo>
                  <a:lnTo>
                    <a:pt x="452" y="365"/>
                  </a:lnTo>
                  <a:lnTo>
                    <a:pt x="452" y="368"/>
                  </a:lnTo>
                  <a:lnTo>
                    <a:pt x="450" y="370"/>
                  </a:lnTo>
                  <a:lnTo>
                    <a:pt x="449" y="373"/>
                  </a:lnTo>
                  <a:lnTo>
                    <a:pt x="446" y="376"/>
                  </a:lnTo>
                  <a:lnTo>
                    <a:pt x="446" y="377"/>
                  </a:lnTo>
                  <a:lnTo>
                    <a:pt x="441" y="377"/>
                  </a:lnTo>
                  <a:lnTo>
                    <a:pt x="440" y="379"/>
                  </a:lnTo>
                  <a:lnTo>
                    <a:pt x="444" y="379"/>
                  </a:lnTo>
                  <a:lnTo>
                    <a:pt x="444" y="388"/>
                  </a:lnTo>
                  <a:lnTo>
                    <a:pt x="441" y="388"/>
                  </a:lnTo>
                  <a:lnTo>
                    <a:pt x="441" y="389"/>
                  </a:lnTo>
                  <a:lnTo>
                    <a:pt x="440" y="389"/>
                  </a:lnTo>
                  <a:lnTo>
                    <a:pt x="435" y="394"/>
                  </a:lnTo>
                  <a:lnTo>
                    <a:pt x="437" y="395"/>
                  </a:lnTo>
                  <a:lnTo>
                    <a:pt x="435" y="395"/>
                  </a:lnTo>
                  <a:lnTo>
                    <a:pt x="435" y="397"/>
                  </a:lnTo>
                  <a:lnTo>
                    <a:pt x="438" y="394"/>
                  </a:lnTo>
                  <a:lnTo>
                    <a:pt x="438" y="391"/>
                  </a:lnTo>
                  <a:lnTo>
                    <a:pt x="440" y="391"/>
                  </a:lnTo>
                  <a:lnTo>
                    <a:pt x="444" y="389"/>
                  </a:lnTo>
                  <a:lnTo>
                    <a:pt x="444" y="388"/>
                  </a:lnTo>
                  <a:lnTo>
                    <a:pt x="446" y="386"/>
                  </a:lnTo>
                  <a:lnTo>
                    <a:pt x="447" y="383"/>
                  </a:lnTo>
                  <a:lnTo>
                    <a:pt x="447" y="379"/>
                  </a:lnTo>
                  <a:lnTo>
                    <a:pt x="449" y="377"/>
                  </a:lnTo>
                  <a:lnTo>
                    <a:pt x="450" y="377"/>
                  </a:lnTo>
                  <a:lnTo>
                    <a:pt x="450" y="374"/>
                  </a:lnTo>
                  <a:lnTo>
                    <a:pt x="453" y="374"/>
                  </a:lnTo>
                  <a:lnTo>
                    <a:pt x="453" y="377"/>
                  </a:lnTo>
                  <a:lnTo>
                    <a:pt x="455" y="379"/>
                  </a:lnTo>
                  <a:lnTo>
                    <a:pt x="455" y="376"/>
                  </a:lnTo>
                  <a:lnTo>
                    <a:pt x="458" y="376"/>
                  </a:lnTo>
                  <a:lnTo>
                    <a:pt x="458" y="377"/>
                  </a:lnTo>
                  <a:lnTo>
                    <a:pt x="462" y="377"/>
                  </a:lnTo>
                  <a:lnTo>
                    <a:pt x="462" y="379"/>
                  </a:lnTo>
                  <a:lnTo>
                    <a:pt x="464" y="379"/>
                  </a:lnTo>
                  <a:lnTo>
                    <a:pt x="467" y="377"/>
                  </a:lnTo>
                  <a:lnTo>
                    <a:pt x="471" y="377"/>
                  </a:lnTo>
                  <a:lnTo>
                    <a:pt x="473" y="379"/>
                  </a:lnTo>
                  <a:lnTo>
                    <a:pt x="483" y="379"/>
                  </a:lnTo>
                  <a:lnTo>
                    <a:pt x="483" y="380"/>
                  </a:lnTo>
                  <a:lnTo>
                    <a:pt x="485" y="379"/>
                  </a:lnTo>
                  <a:lnTo>
                    <a:pt x="486" y="379"/>
                  </a:lnTo>
                  <a:lnTo>
                    <a:pt x="486" y="382"/>
                  </a:lnTo>
                  <a:lnTo>
                    <a:pt x="485" y="385"/>
                  </a:lnTo>
                  <a:lnTo>
                    <a:pt x="485" y="386"/>
                  </a:lnTo>
                  <a:lnTo>
                    <a:pt x="486" y="388"/>
                  </a:lnTo>
                  <a:lnTo>
                    <a:pt x="486" y="389"/>
                  </a:lnTo>
                  <a:lnTo>
                    <a:pt x="489" y="392"/>
                  </a:lnTo>
                  <a:lnTo>
                    <a:pt x="494" y="392"/>
                  </a:lnTo>
                  <a:lnTo>
                    <a:pt x="494" y="401"/>
                  </a:lnTo>
                  <a:lnTo>
                    <a:pt x="497" y="404"/>
                  </a:lnTo>
                  <a:lnTo>
                    <a:pt x="502" y="404"/>
                  </a:lnTo>
                  <a:lnTo>
                    <a:pt x="502" y="406"/>
                  </a:lnTo>
                  <a:lnTo>
                    <a:pt x="504" y="406"/>
                  </a:lnTo>
                  <a:lnTo>
                    <a:pt x="505" y="407"/>
                  </a:lnTo>
                  <a:lnTo>
                    <a:pt x="505" y="415"/>
                  </a:lnTo>
                  <a:lnTo>
                    <a:pt x="507" y="416"/>
                  </a:lnTo>
                  <a:lnTo>
                    <a:pt x="507" y="419"/>
                  </a:lnTo>
                  <a:lnTo>
                    <a:pt x="505" y="419"/>
                  </a:lnTo>
                  <a:lnTo>
                    <a:pt x="502" y="421"/>
                  </a:lnTo>
                  <a:lnTo>
                    <a:pt x="498" y="425"/>
                  </a:lnTo>
                  <a:lnTo>
                    <a:pt x="498" y="428"/>
                  </a:lnTo>
                  <a:lnTo>
                    <a:pt x="495" y="437"/>
                  </a:lnTo>
                  <a:lnTo>
                    <a:pt x="495" y="439"/>
                  </a:lnTo>
                  <a:lnTo>
                    <a:pt x="501" y="445"/>
                  </a:lnTo>
                  <a:lnTo>
                    <a:pt x="501" y="446"/>
                  </a:lnTo>
                  <a:lnTo>
                    <a:pt x="499" y="449"/>
                  </a:lnTo>
                  <a:lnTo>
                    <a:pt x="497" y="452"/>
                  </a:lnTo>
                  <a:lnTo>
                    <a:pt x="497" y="455"/>
                  </a:lnTo>
                  <a:lnTo>
                    <a:pt x="495" y="460"/>
                  </a:lnTo>
                  <a:lnTo>
                    <a:pt x="495" y="467"/>
                  </a:lnTo>
                  <a:lnTo>
                    <a:pt x="497" y="469"/>
                  </a:lnTo>
                  <a:lnTo>
                    <a:pt x="497" y="472"/>
                  </a:lnTo>
                  <a:lnTo>
                    <a:pt x="498" y="472"/>
                  </a:lnTo>
                  <a:lnTo>
                    <a:pt x="498" y="473"/>
                  </a:lnTo>
                  <a:lnTo>
                    <a:pt x="499" y="475"/>
                  </a:lnTo>
                  <a:lnTo>
                    <a:pt x="498" y="476"/>
                  </a:lnTo>
                  <a:lnTo>
                    <a:pt x="499" y="478"/>
                  </a:lnTo>
                  <a:lnTo>
                    <a:pt x="498" y="479"/>
                  </a:lnTo>
                  <a:lnTo>
                    <a:pt x="498" y="481"/>
                  </a:lnTo>
                  <a:lnTo>
                    <a:pt x="499" y="484"/>
                  </a:lnTo>
                  <a:lnTo>
                    <a:pt x="498" y="484"/>
                  </a:lnTo>
                  <a:lnTo>
                    <a:pt x="498" y="485"/>
                  </a:lnTo>
                  <a:lnTo>
                    <a:pt x="497" y="488"/>
                  </a:lnTo>
                  <a:lnTo>
                    <a:pt x="497" y="490"/>
                  </a:lnTo>
                  <a:lnTo>
                    <a:pt x="498" y="491"/>
                  </a:lnTo>
                  <a:lnTo>
                    <a:pt x="499" y="494"/>
                  </a:lnTo>
                  <a:lnTo>
                    <a:pt x="499" y="496"/>
                  </a:lnTo>
                  <a:lnTo>
                    <a:pt x="498" y="497"/>
                  </a:lnTo>
                  <a:lnTo>
                    <a:pt x="498" y="499"/>
                  </a:lnTo>
                  <a:lnTo>
                    <a:pt x="497" y="500"/>
                  </a:lnTo>
                  <a:lnTo>
                    <a:pt x="497" y="511"/>
                  </a:lnTo>
                  <a:lnTo>
                    <a:pt x="495" y="514"/>
                  </a:lnTo>
                  <a:lnTo>
                    <a:pt x="495" y="517"/>
                  </a:lnTo>
                  <a:lnTo>
                    <a:pt x="497" y="520"/>
                  </a:lnTo>
                  <a:lnTo>
                    <a:pt x="495" y="521"/>
                  </a:lnTo>
                  <a:lnTo>
                    <a:pt x="495" y="530"/>
                  </a:lnTo>
                  <a:lnTo>
                    <a:pt x="494" y="532"/>
                  </a:lnTo>
                  <a:lnTo>
                    <a:pt x="494" y="536"/>
                  </a:lnTo>
                  <a:lnTo>
                    <a:pt x="491" y="539"/>
                  </a:lnTo>
                  <a:lnTo>
                    <a:pt x="491" y="536"/>
                  </a:lnTo>
                  <a:lnTo>
                    <a:pt x="485" y="536"/>
                  </a:lnTo>
                  <a:lnTo>
                    <a:pt x="485" y="532"/>
                  </a:lnTo>
                  <a:lnTo>
                    <a:pt x="482" y="529"/>
                  </a:lnTo>
                  <a:lnTo>
                    <a:pt x="482" y="530"/>
                  </a:lnTo>
                  <a:lnTo>
                    <a:pt x="479" y="527"/>
                  </a:lnTo>
                  <a:lnTo>
                    <a:pt x="476" y="526"/>
                  </a:lnTo>
                  <a:lnTo>
                    <a:pt x="474" y="524"/>
                  </a:lnTo>
                  <a:lnTo>
                    <a:pt x="471" y="520"/>
                  </a:lnTo>
                  <a:lnTo>
                    <a:pt x="470" y="518"/>
                  </a:lnTo>
                  <a:lnTo>
                    <a:pt x="468" y="520"/>
                  </a:lnTo>
                  <a:lnTo>
                    <a:pt x="470" y="523"/>
                  </a:lnTo>
                  <a:lnTo>
                    <a:pt x="468" y="523"/>
                  </a:lnTo>
                  <a:lnTo>
                    <a:pt x="468" y="524"/>
                  </a:lnTo>
                  <a:lnTo>
                    <a:pt x="467" y="524"/>
                  </a:lnTo>
                  <a:lnTo>
                    <a:pt x="465" y="526"/>
                  </a:lnTo>
                  <a:lnTo>
                    <a:pt x="467" y="527"/>
                  </a:lnTo>
                  <a:lnTo>
                    <a:pt x="467" y="530"/>
                  </a:lnTo>
                  <a:lnTo>
                    <a:pt x="465" y="532"/>
                  </a:lnTo>
                  <a:lnTo>
                    <a:pt x="464" y="532"/>
                  </a:lnTo>
                  <a:lnTo>
                    <a:pt x="465" y="533"/>
                  </a:lnTo>
                  <a:lnTo>
                    <a:pt x="467" y="533"/>
                  </a:lnTo>
                  <a:lnTo>
                    <a:pt x="467" y="535"/>
                  </a:lnTo>
                  <a:lnTo>
                    <a:pt x="462" y="535"/>
                  </a:lnTo>
                  <a:lnTo>
                    <a:pt x="461" y="533"/>
                  </a:lnTo>
                  <a:lnTo>
                    <a:pt x="453" y="529"/>
                  </a:lnTo>
                  <a:lnTo>
                    <a:pt x="447" y="526"/>
                  </a:lnTo>
                  <a:lnTo>
                    <a:pt x="444" y="523"/>
                  </a:lnTo>
                  <a:lnTo>
                    <a:pt x="443" y="523"/>
                  </a:lnTo>
                  <a:lnTo>
                    <a:pt x="443" y="521"/>
                  </a:lnTo>
                  <a:lnTo>
                    <a:pt x="437" y="521"/>
                  </a:lnTo>
                  <a:lnTo>
                    <a:pt x="435" y="523"/>
                  </a:lnTo>
                  <a:lnTo>
                    <a:pt x="435" y="524"/>
                  </a:lnTo>
                  <a:lnTo>
                    <a:pt x="443" y="536"/>
                  </a:lnTo>
                  <a:lnTo>
                    <a:pt x="443" y="538"/>
                  </a:lnTo>
                  <a:lnTo>
                    <a:pt x="444" y="539"/>
                  </a:lnTo>
                  <a:lnTo>
                    <a:pt x="444" y="541"/>
                  </a:lnTo>
                  <a:lnTo>
                    <a:pt x="437" y="541"/>
                  </a:lnTo>
                  <a:lnTo>
                    <a:pt x="437" y="538"/>
                  </a:lnTo>
                  <a:lnTo>
                    <a:pt x="434" y="535"/>
                  </a:lnTo>
                  <a:lnTo>
                    <a:pt x="432" y="535"/>
                  </a:lnTo>
                  <a:lnTo>
                    <a:pt x="432" y="533"/>
                  </a:lnTo>
                  <a:lnTo>
                    <a:pt x="429" y="530"/>
                  </a:lnTo>
                  <a:lnTo>
                    <a:pt x="428" y="530"/>
                  </a:lnTo>
                  <a:lnTo>
                    <a:pt x="425" y="529"/>
                  </a:lnTo>
                  <a:lnTo>
                    <a:pt x="425" y="527"/>
                  </a:lnTo>
                  <a:lnTo>
                    <a:pt x="426" y="526"/>
                  </a:lnTo>
                  <a:lnTo>
                    <a:pt x="425" y="526"/>
                  </a:lnTo>
                  <a:lnTo>
                    <a:pt x="423" y="523"/>
                  </a:lnTo>
                  <a:lnTo>
                    <a:pt x="420" y="523"/>
                  </a:lnTo>
                  <a:lnTo>
                    <a:pt x="420" y="521"/>
                  </a:lnTo>
                  <a:lnTo>
                    <a:pt x="417" y="520"/>
                  </a:lnTo>
                  <a:lnTo>
                    <a:pt x="413" y="515"/>
                  </a:lnTo>
                  <a:lnTo>
                    <a:pt x="411" y="512"/>
                  </a:lnTo>
                  <a:lnTo>
                    <a:pt x="411" y="509"/>
                  </a:lnTo>
                  <a:lnTo>
                    <a:pt x="407" y="509"/>
                  </a:lnTo>
                  <a:lnTo>
                    <a:pt x="407" y="503"/>
                  </a:lnTo>
                  <a:lnTo>
                    <a:pt x="404" y="502"/>
                  </a:lnTo>
                  <a:lnTo>
                    <a:pt x="402" y="500"/>
                  </a:lnTo>
                  <a:lnTo>
                    <a:pt x="399" y="500"/>
                  </a:lnTo>
                  <a:lnTo>
                    <a:pt x="399" y="497"/>
                  </a:lnTo>
                  <a:lnTo>
                    <a:pt x="398" y="497"/>
                  </a:lnTo>
                  <a:lnTo>
                    <a:pt x="398" y="496"/>
                  </a:lnTo>
                  <a:lnTo>
                    <a:pt x="396" y="496"/>
                  </a:lnTo>
                  <a:lnTo>
                    <a:pt x="396" y="497"/>
                  </a:lnTo>
                  <a:lnTo>
                    <a:pt x="395" y="497"/>
                  </a:lnTo>
                  <a:lnTo>
                    <a:pt x="395" y="496"/>
                  </a:lnTo>
                  <a:lnTo>
                    <a:pt x="393" y="494"/>
                  </a:lnTo>
                  <a:lnTo>
                    <a:pt x="390" y="494"/>
                  </a:lnTo>
                  <a:lnTo>
                    <a:pt x="390" y="493"/>
                  </a:lnTo>
                  <a:lnTo>
                    <a:pt x="387" y="493"/>
                  </a:lnTo>
                  <a:lnTo>
                    <a:pt x="387" y="491"/>
                  </a:lnTo>
                  <a:lnTo>
                    <a:pt x="386" y="493"/>
                  </a:lnTo>
                  <a:lnTo>
                    <a:pt x="384" y="493"/>
                  </a:lnTo>
                  <a:lnTo>
                    <a:pt x="383" y="490"/>
                  </a:lnTo>
                  <a:lnTo>
                    <a:pt x="381" y="488"/>
                  </a:lnTo>
                  <a:lnTo>
                    <a:pt x="381" y="490"/>
                  </a:lnTo>
                  <a:lnTo>
                    <a:pt x="380" y="490"/>
                  </a:lnTo>
                  <a:lnTo>
                    <a:pt x="380" y="487"/>
                  </a:lnTo>
                  <a:lnTo>
                    <a:pt x="374" y="481"/>
                  </a:lnTo>
                  <a:lnTo>
                    <a:pt x="362" y="475"/>
                  </a:lnTo>
                  <a:lnTo>
                    <a:pt x="360" y="475"/>
                  </a:lnTo>
                  <a:lnTo>
                    <a:pt x="360" y="472"/>
                  </a:lnTo>
                  <a:lnTo>
                    <a:pt x="351" y="466"/>
                  </a:lnTo>
                  <a:lnTo>
                    <a:pt x="337" y="454"/>
                  </a:lnTo>
                  <a:lnTo>
                    <a:pt x="335" y="454"/>
                  </a:lnTo>
                  <a:lnTo>
                    <a:pt x="334" y="452"/>
                  </a:lnTo>
                  <a:lnTo>
                    <a:pt x="334" y="451"/>
                  </a:lnTo>
                  <a:lnTo>
                    <a:pt x="332" y="449"/>
                  </a:lnTo>
                  <a:lnTo>
                    <a:pt x="334" y="449"/>
                  </a:lnTo>
                  <a:lnTo>
                    <a:pt x="334" y="446"/>
                  </a:lnTo>
                  <a:lnTo>
                    <a:pt x="332" y="443"/>
                  </a:lnTo>
                  <a:lnTo>
                    <a:pt x="332" y="442"/>
                  </a:lnTo>
                  <a:lnTo>
                    <a:pt x="331" y="440"/>
                  </a:lnTo>
                  <a:lnTo>
                    <a:pt x="331" y="436"/>
                  </a:lnTo>
                  <a:lnTo>
                    <a:pt x="323" y="433"/>
                  </a:lnTo>
                  <a:lnTo>
                    <a:pt x="314" y="427"/>
                  </a:lnTo>
                  <a:lnTo>
                    <a:pt x="304" y="418"/>
                  </a:lnTo>
                  <a:lnTo>
                    <a:pt x="302" y="418"/>
                  </a:lnTo>
                  <a:lnTo>
                    <a:pt x="301" y="415"/>
                  </a:lnTo>
                  <a:lnTo>
                    <a:pt x="299" y="415"/>
                  </a:lnTo>
                  <a:lnTo>
                    <a:pt x="293" y="404"/>
                  </a:lnTo>
                  <a:lnTo>
                    <a:pt x="293" y="401"/>
                  </a:lnTo>
                  <a:lnTo>
                    <a:pt x="289" y="395"/>
                  </a:lnTo>
                  <a:lnTo>
                    <a:pt x="286" y="392"/>
                  </a:lnTo>
                  <a:lnTo>
                    <a:pt x="281" y="391"/>
                  </a:lnTo>
                  <a:lnTo>
                    <a:pt x="278" y="388"/>
                  </a:lnTo>
                  <a:lnTo>
                    <a:pt x="275" y="382"/>
                  </a:lnTo>
                  <a:lnTo>
                    <a:pt x="271" y="376"/>
                  </a:lnTo>
                  <a:lnTo>
                    <a:pt x="266" y="368"/>
                  </a:lnTo>
                  <a:lnTo>
                    <a:pt x="266" y="367"/>
                  </a:lnTo>
                  <a:lnTo>
                    <a:pt x="268" y="365"/>
                  </a:lnTo>
                  <a:lnTo>
                    <a:pt x="269" y="362"/>
                  </a:lnTo>
                  <a:lnTo>
                    <a:pt x="268" y="361"/>
                  </a:lnTo>
                  <a:lnTo>
                    <a:pt x="268" y="356"/>
                  </a:lnTo>
                  <a:lnTo>
                    <a:pt x="266" y="355"/>
                  </a:lnTo>
                  <a:lnTo>
                    <a:pt x="263" y="353"/>
                  </a:lnTo>
                  <a:lnTo>
                    <a:pt x="263" y="350"/>
                  </a:lnTo>
                  <a:lnTo>
                    <a:pt x="260" y="347"/>
                  </a:lnTo>
                  <a:lnTo>
                    <a:pt x="259" y="344"/>
                  </a:lnTo>
                  <a:lnTo>
                    <a:pt x="257" y="344"/>
                  </a:lnTo>
                  <a:lnTo>
                    <a:pt x="257" y="338"/>
                  </a:lnTo>
                  <a:lnTo>
                    <a:pt x="256" y="338"/>
                  </a:lnTo>
                  <a:lnTo>
                    <a:pt x="254" y="337"/>
                  </a:lnTo>
                  <a:lnTo>
                    <a:pt x="254" y="331"/>
                  </a:lnTo>
                  <a:lnTo>
                    <a:pt x="253" y="329"/>
                  </a:lnTo>
                  <a:lnTo>
                    <a:pt x="251" y="329"/>
                  </a:lnTo>
                  <a:lnTo>
                    <a:pt x="250" y="328"/>
                  </a:lnTo>
                  <a:lnTo>
                    <a:pt x="247" y="328"/>
                  </a:lnTo>
                  <a:lnTo>
                    <a:pt x="247" y="326"/>
                  </a:lnTo>
                  <a:lnTo>
                    <a:pt x="248" y="326"/>
                  </a:lnTo>
                  <a:lnTo>
                    <a:pt x="248" y="325"/>
                  </a:lnTo>
                  <a:lnTo>
                    <a:pt x="247" y="325"/>
                  </a:lnTo>
                  <a:lnTo>
                    <a:pt x="245" y="322"/>
                  </a:lnTo>
                  <a:lnTo>
                    <a:pt x="245" y="319"/>
                  </a:lnTo>
                  <a:lnTo>
                    <a:pt x="247" y="319"/>
                  </a:lnTo>
                  <a:lnTo>
                    <a:pt x="247" y="318"/>
                  </a:lnTo>
                  <a:lnTo>
                    <a:pt x="245" y="318"/>
                  </a:lnTo>
                  <a:lnTo>
                    <a:pt x="244" y="315"/>
                  </a:lnTo>
                  <a:lnTo>
                    <a:pt x="244" y="312"/>
                  </a:lnTo>
                  <a:lnTo>
                    <a:pt x="242" y="309"/>
                  </a:lnTo>
                  <a:lnTo>
                    <a:pt x="242" y="307"/>
                  </a:lnTo>
                  <a:lnTo>
                    <a:pt x="235" y="301"/>
                  </a:lnTo>
                  <a:lnTo>
                    <a:pt x="233" y="300"/>
                  </a:lnTo>
                  <a:lnTo>
                    <a:pt x="232" y="295"/>
                  </a:lnTo>
                  <a:lnTo>
                    <a:pt x="227" y="291"/>
                  </a:lnTo>
                  <a:lnTo>
                    <a:pt x="224" y="289"/>
                  </a:lnTo>
                  <a:lnTo>
                    <a:pt x="224" y="288"/>
                  </a:lnTo>
                  <a:lnTo>
                    <a:pt x="221" y="285"/>
                  </a:lnTo>
                  <a:lnTo>
                    <a:pt x="220" y="285"/>
                  </a:lnTo>
                  <a:lnTo>
                    <a:pt x="220" y="283"/>
                  </a:lnTo>
                  <a:lnTo>
                    <a:pt x="218" y="283"/>
                  </a:lnTo>
                  <a:lnTo>
                    <a:pt x="218" y="280"/>
                  </a:lnTo>
                  <a:lnTo>
                    <a:pt x="217" y="279"/>
                  </a:lnTo>
                  <a:lnTo>
                    <a:pt x="217" y="271"/>
                  </a:lnTo>
                  <a:lnTo>
                    <a:pt x="214" y="270"/>
                  </a:lnTo>
                  <a:lnTo>
                    <a:pt x="209" y="265"/>
                  </a:lnTo>
                  <a:lnTo>
                    <a:pt x="206" y="264"/>
                  </a:lnTo>
                  <a:lnTo>
                    <a:pt x="205" y="264"/>
                  </a:lnTo>
                  <a:lnTo>
                    <a:pt x="202" y="262"/>
                  </a:lnTo>
                  <a:lnTo>
                    <a:pt x="199" y="262"/>
                  </a:lnTo>
                  <a:lnTo>
                    <a:pt x="199" y="259"/>
                  </a:lnTo>
                  <a:lnTo>
                    <a:pt x="196" y="259"/>
                  </a:lnTo>
                  <a:lnTo>
                    <a:pt x="194" y="261"/>
                  </a:lnTo>
                  <a:lnTo>
                    <a:pt x="191" y="261"/>
                  </a:lnTo>
                  <a:lnTo>
                    <a:pt x="191" y="259"/>
                  </a:lnTo>
                  <a:lnTo>
                    <a:pt x="190" y="259"/>
                  </a:lnTo>
                  <a:lnTo>
                    <a:pt x="188" y="258"/>
                  </a:lnTo>
                  <a:lnTo>
                    <a:pt x="188" y="255"/>
                  </a:lnTo>
                  <a:lnTo>
                    <a:pt x="187" y="255"/>
                  </a:lnTo>
                  <a:lnTo>
                    <a:pt x="188" y="252"/>
                  </a:lnTo>
                  <a:lnTo>
                    <a:pt x="188" y="247"/>
                  </a:lnTo>
                  <a:lnTo>
                    <a:pt x="187" y="247"/>
                  </a:lnTo>
                  <a:lnTo>
                    <a:pt x="187" y="243"/>
                  </a:lnTo>
                  <a:lnTo>
                    <a:pt x="185" y="241"/>
                  </a:lnTo>
                  <a:lnTo>
                    <a:pt x="184" y="241"/>
                  </a:lnTo>
                  <a:lnTo>
                    <a:pt x="184" y="235"/>
                  </a:lnTo>
                  <a:lnTo>
                    <a:pt x="182" y="232"/>
                  </a:lnTo>
                  <a:lnTo>
                    <a:pt x="181" y="232"/>
                  </a:lnTo>
                  <a:lnTo>
                    <a:pt x="181" y="228"/>
                  </a:lnTo>
                  <a:lnTo>
                    <a:pt x="178" y="219"/>
                  </a:lnTo>
                  <a:lnTo>
                    <a:pt x="175" y="211"/>
                  </a:lnTo>
                  <a:lnTo>
                    <a:pt x="175" y="208"/>
                  </a:lnTo>
                  <a:lnTo>
                    <a:pt x="172" y="207"/>
                  </a:lnTo>
                  <a:lnTo>
                    <a:pt x="172" y="202"/>
                  </a:lnTo>
                  <a:lnTo>
                    <a:pt x="171" y="202"/>
                  </a:lnTo>
                  <a:lnTo>
                    <a:pt x="171" y="201"/>
                  </a:lnTo>
                  <a:lnTo>
                    <a:pt x="169" y="201"/>
                  </a:lnTo>
                  <a:lnTo>
                    <a:pt x="169" y="198"/>
                  </a:lnTo>
                  <a:lnTo>
                    <a:pt x="171" y="199"/>
                  </a:lnTo>
                  <a:lnTo>
                    <a:pt x="174" y="196"/>
                  </a:lnTo>
                  <a:lnTo>
                    <a:pt x="174" y="193"/>
                  </a:lnTo>
                  <a:lnTo>
                    <a:pt x="172" y="193"/>
                  </a:lnTo>
                  <a:lnTo>
                    <a:pt x="172" y="190"/>
                  </a:lnTo>
                  <a:lnTo>
                    <a:pt x="171" y="189"/>
                  </a:lnTo>
                  <a:lnTo>
                    <a:pt x="169" y="189"/>
                  </a:lnTo>
                  <a:lnTo>
                    <a:pt x="169" y="192"/>
                  </a:lnTo>
                  <a:lnTo>
                    <a:pt x="166" y="189"/>
                  </a:lnTo>
                  <a:lnTo>
                    <a:pt x="163" y="184"/>
                  </a:lnTo>
                  <a:lnTo>
                    <a:pt x="160" y="181"/>
                  </a:lnTo>
                  <a:lnTo>
                    <a:pt x="157" y="180"/>
                  </a:lnTo>
                  <a:lnTo>
                    <a:pt x="156" y="178"/>
                  </a:lnTo>
                  <a:lnTo>
                    <a:pt x="153" y="178"/>
                  </a:lnTo>
                  <a:lnTo>
                    <a:pt x="153" y="177"/>
                  </a:lnTo>
                  <a:lnTo>
                    <a:pt x="148" y="177"/>
                  </a:lnTo>
                  <a:lnTo>
                    <a:pt x="148" y="175"/>
                  </a:lnTo>
                  <a:lnTo>
                    <a:pt x="147" y="175"/>
                  </a:lnTo>
                  <a:lnTo>
                    <a:pt x="145" y="174"/>
                  </a:lnTo>
                  <a:lnTo>
                    <a:pt x="144" y="171"/>
                  </a:lnTo>
                  <a:lnTo>
                    <a:pt x="141" y="169"/>
                  </a:lnTo>
                  <a:lnTo>
                    <a:pt x="135" y="168"/>
                  </a:lnTo>
                  <a:lnTo>
                    <a:pt x="135" y="166"/>
                  </a:lnTo>
                  <a:lnTo>
                    <a:pt x="133" y="166"/>
                  </a:lnTo>
                  <a:lnTo>
                    <a:pt x="130" y="168"/>
                  </a:lnTo>
                  <a:lnTo>
                    <a:pt x="129" y="168"/>
                  </a:lnTo>
                  <a:lnTo>
                    <a:pt x="129" y="166"/>
                  </a:lnTo>
                  <a:lnTo>
                    <a:pt x="124" y="166"/>
                  </a:lnTo>
                  <a:lnTo>
                    <a:pt x="123" y="163"/>
                  </a:lnTo>
                  <a:lnTo>
                    <a:pt x="121" y="162"/>
                  </a:lnTo>
                  <a:lnTo>
                    <a:pt x="121" y="160"/>
                  </a:lnTo>
                  <a:lnTo>
                    <a:pt x="120" y="160"/>
                  </a:lnTo>
                  <a:lnTo>
                    <a:pt x="121" y="154"/>
                  </a:lnTo>
                  <a:lnTo>
                    <a:pt x="120" y="148"/>
                  </a:lnTo>
                  <a:lnTo>
                    <a:pt x="118" y="139"/>
                  </a:lnTo>
                  <a:lnTo>
                    <a:pt x="117" y="139"/>
                  </a:lnTo>
                  <a:lnTo>
                    <a:pt x="115" y="138"/>
                  </a:lnTo>
                  <a:lnTo>
                    <a:pt x="112" y="136"/>
                  </a:lnTo>
                  <a:lnTo>
                    <a:pt x="109" y="136"/>
                  </a:lnTo>
                  <a:lnTo>
                    <a:pt x="109" y="135"/>
                  </a:lnTo>
                  <a:lnTo>
                    <a:pt x="105" y="132"/>
                  </a:lnTo>
                  <a:lnTo>
                    <a:pt x="105" y="130"/>
                  </a:lnTo>
                  <a:lnTo>
                    <a:pt x="103" y="129"/>
                  </a:lnTo>
                  <a:lnTo>
                    <a:pt x="103" y="123"/>
                  </a:lnTo>
                  <a:lnTo>
                    <a:pt x="102" y="121"/>
                  </a:lnTo>
                  <a:lnTo>
                    <a:pt x="97" y="121"/>
                  </a:lnTo>
                  <a:lnTo>
                    <a:pt x="91" y="109"/>
                  </a:lnTo>
                  <a:lnTo>
                    <a:pt x="85" y="103"/>
                  </a:lnTo>
                  <a:lnTo>
                    <a:pt x="85" y="102"/>
                  </a:lnTo>
                  <a:lnTo>
                    <a:pt x="84" y="102"/>
                  </a:lnTo>
                  <a:lnTo>
                    <a:pt x="82" y="100"/>
                  </a:lnTo>
                  <a:lnTo>
                    <a:pt x="81" y="100"/>
                  </a:lnTo>
                  <a:lnTo>
                    <a:pt x="79" y="99"/>
                  </a:lnTo>
                  <a:lnTo>
                    <a:pt x="69" y="99"/>
                  </a:lnTo>
                  <a:lnTo>
                    <a:pt x="66" y="97"/>
                  </a:lnTo>
                  <a:lnTo>
                    <a:pt x="64" y="96"/>
                  </a:lnTo>
                  <a:lnTo>
                    <a:pt x="57" y="85"/>
                  </a:lnTo>
                  <a:lnTo>
                    <a:pt x="52" y="81"/>
                  </a:lnTo>
                  <a:lnTo>
                    <a:pt x="49" y="81"/>
                  </a:lnTo>
                  <a:lnTo>
                    <a:pt x="48" y="78"/>
                  </a:lnTo>
                  <a:lnTo>
                    <a:pt x="46" y="78"/>
                  </a:lnTo>
                  <a:lnTo>
                    <a:pt x="27" y="59"/>
                  </a:lnTo>
                  <a:lnTo>
                    <a:pt x="24" y="59"/>
                  </a:lnTo>
                  <a:lnTo>
                    <a:pt x="24" y="57"/>
                  </a:lnTo>
                  <a:lnTo>
                    <a:pt x="22" y="56"/>
                  </a:lnTo>
                  <a:lnTo>
                    <a:pt x="22" y="54"/>
                  </a:lnTo>
                  <a:lnTo>
                    <a:pt x="18" y="50"/>
                  </a:lnTo>
                  <a:lnTo>
                    <a:pt x="18" y="48"/>
                  </a:lnTo>
                  <a:lnTo>
                    <a:pt x="17" y="47"/>
                  </a:lnTo>
                  <a:lnTo>
                    <a:pt x="17" y="44"/>
                  </a:lnTo>
                  <a:lnTo>
                    <a:pt x="15" y="41"/>
                  </a:lnTo>
                  <a:lnTo>
                    <a:pt x="12" y="38"/>
                  </a:lnTo>
                  <a:lnTo>
                    <a:pt x="12" y="36"/>
                  </a:lnTo>
                  <a:lnTo>
                    <a:pt x="11" y="36"/>
                  </a:lnTo>
                  <a:lnTo>
                    <a:pt x="12" y="35"/>
                  </a:lnTo>
                  <a:lnTo>
                    <a:pt x="12" y="33"/>
                  </a:lnTo>
                  <a:lnTo>
                    <a:pt x="9" y="30"/>
                  </a:lnTo>
                  <a:lnTo>
                    <a:pt x="9" y="29"/>
                  </a:lnTo>
                  <a:lnTo>
                    <a:pt x="8" y="29"/>
                  </a:lnTo>
                  <a:lnTo>
                    <a:pt x="8" y="27"/>
                  </a:lnTo>
                  <a:lnTo>
                    <a:pt x="9" y="27"/>
                  </a:lnTo>
                  <a:lnTo>
                    <a:pt x="9" y="24"/>
                  </a:lnTo>
                  <a:lnTo>
                    <a:pt x="11" y="24"/>
                  </a:lnTo>
                  <a:lnTo>
                    <a:pt x="11" y="23"/>
                  </a:lnTo>
                  <a:lnTo>
                    <a:pt x="9" y="21"/>
                  </a:lnTo>
                  <a:lnTo>
                    <a:pt x="9" y="18"/>
                  </a:lnTo>
                  <a:lnTo>
                    <a:pt x="8" y="17"/>
                  </a:lnTo>
                  <a:lnTo>
                    <a:pt x="8" y="15"/>
                  </a:lnTo>
                  <a:lnTo>
                    <a:pt x="12" y="15"/>
                  </a:lnTo>
                  <a:lnTo>
                    <a:pt x="14" y="14"/>
                  </a:lnTo>
                  <a:lnTo>
                    <a:pt x="15" y="14"/>
                  </a:lnTo>
                  <a:lnTo>
                    <a:pt x="18" y="12"/>
                  </a:lnTo>
                  <a:close/>
                  <a:moveTo>
                    <a:pt x="5" y="11"/>
                  </a:moveTo>
                  <a:lnTo>
                    <a:pt x="8" y="14"/>
                  </a:lnTo>
                  <a:lnTo>
                    <a:pt x="3" y="14"/>
                  </a:lnTo>
                  <a:lnTo>
                    <a:pt x="5" y="12"/>
                  </a:lnTo>
                  <a:lnTo>
                    <a:pt x="5" y="11"/>
                  </a:lnTo>
                  <a:close/>
                  <a:moveTo>
                    <a:pt x="2" y="8"/>
                  </a:moveTo>
                  <a:lnTo>
                    <a:pt x="3" y="9"/>
                  </a:lnTo>
                  <a:lnTo>
                    <a:pt x="5" y="9"/>
                  </a:lnTo>
                  <a:lnTo>
                    <a:pt x="5" y="11"/>
                  </a:lnTo>
                  <a:lnTo>
                    <a:pt x="3" y="11"/>
                  </a:lnTo>
                  <a:lnTo>
                    <a:pt x="2" y="12"/>
                  </a:lnTo>
                  <a:lnTo>
                    <a:pt x="2" y="11"/>
                  </a:lnTo>
                  <a:lnTo>
                    <a:pt x="0" y="11"/>
                  </a:lnTo>
                  <a:lnTo>
                    <a:pt x="0" y="9"/>
                  </a:lnTo>
                  <a:lnTo>
                    <a:pt x="2" y="8"/>
                  </a:lnTo>
                  <a:close/>
                  <a:moveTo>
                    <a:pt x="0" y="6"/>
                  </a:moveTo>
                  <a:lnTo>
                    <a:pt x="2" y="6"/>
                  </a:lnTo>
                  <a:lnTo>
                    <a:pt x="2" y="8"/>
                  </a:lnTo>
                  <a:lnTo>
                    <a:pt x="0" y="8"/>
                  </a:lnTo>
                  <a:lnTo>
                    <a:pt x="0" y="6"/>
                  </a:lnTo>
                  <a:close/>
                  <a:moveTo>
                    <a:pt x="14" y="0"/>
                  </a:moveTo>
                  <a:lnTo>
                    <a:pt x="15" y="0"/>
                  </a:lnTo>
                  <a:lnTo>
                    <a:pt x="17" y="3"/>
                  </a:lnTo>
                  <a:lnTo>
                    <a:pt x="17" y="5"/>
                  </a:lnTo>
                  <a:lnTo>
                    <a:pt x="15" y="5"/>
                  </a:lnTo>
                  <a:lnTo>
                    <a:pt x="15" y="6"/>
                  </a:lnTo>
                  <a:lnTo>
                    <a:pt x="12" y="6"/>
                  </a:lnTo>
                  <a:lnTo>
                    <a:pt x="12" y="5"/>
                  </a:lnTo>
                  <a:lnTo>
                    <a:pt x="11" y="5"/>
                  </a:lnTo>
                  <a:lnTo>
                    <a:pt x="11" y="2"/>
                  </a:lnTo>
                  <a:lnTo>
                    <a:pt x="12" y="2"/>
                  </a:lnTo>
                  <a:lnTo>
                    <a:pt x="14" y="0"/>
                  </a:lnTo>
                  <a:close/>
                  <a:moveTo>
                    <a:pt x="8" y="0"/>
                  </a:moveTo>
                  <a:lnTo>
                    <a:pt x="11" y="0"/>
                  </a:lnTo>
                  <a:lnTo>
                    <a:pt x="11" y="2"/>
                  </a:lnTo>
                  <a:lnTo>
                    <a:pt x="9" y="2"/>
                  </a:lnTo>
                  <a:lnTo>
                    <a:pt x="8"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33">
              <a:extLst>
                <a:ext uri="{FF2B5EF4-FFF2-40B4-BE49-F238E27FC236}">
                  <a16:creationId xmlns:a16="http://schemas.microsoft.com/office/drawing/2014/main" id="{D68E3022-D05D-C085-1C1C-1AE83EF5F108}"/>
                </a:ext>
              </a:extLst>
            </p:cNvPr>
            <p:cNvSpPr>
              <a:spLocks noEditPoints="1"/>
            </p:cNvSpPr>
            <p:nvPr/>
          </p:nvSpPr>
          <p:spPr bwMode="auto">
            <a:xfrm>
              <a:off x="1212437" y="3408217"/>
              <a:ext cx="1406336" cy="1507090"/>
            </a:xfrm>
            <a:custGeom>
              <a:avLst/>
              <a:gdLst/>
              <a:ahLst/>
              <a:cxnLst>
                <a:cxn ang="0">
                  <a:pos x="1162" y="1369"/>
                </a:cxn>
                <a:cxn ang="0">
                  <a:pos x="513" y="1319"/>
                </a:cxn>
                <a:cxn ang="0">
                  <a:pos x="1114" y="1257"/>
                </a:cxn>
                <a:cxn ang="0">
                  <a:pos x="1125" y="1153"/>
                </a:cxn>
                <a:cxn ang="0">
                  <a:pos x="1135" y="1182"/>
                </a:cxn>
                <a:cxn ang="0">
                  <a:pos x="1129" y="1158"/>
                </a:cxn>
                <a:cxn ang="0">
                  <a:pos x="950" y="734"/>
                </a:cxn>
                <a:cxn ang="0">
                  <a:pos x="942" y="706"/>
                </a:cxn>
                <a:cxn ang="0">
                  <a:pos x="462" y="45"/>
                </a:cxn>
                <a:cxn ang="0">
                  <a:pos x="488" y="176"/>
                </a:cxn>
                <a:cxn ang="0">
                  <a:pos x="509" y="243"/>
                </a:cxn>
                <a:cxn ang="0">
                  <a:pos x="579" y="304"/>
                </a:cxn>
                <a:cxn ang="0">
                  <a:pos x="575" y="382"/>
                </a:cxn>
                <a:cxn ang="0">
                  <a:pos x="697" y="445"/>
                </a:cxn>
                <a:cxn ang="0">
                  <a:pos x="806" y="475"/>
                </a:cxn>
                <a:cxn ang="0">
                  <a:pos x="910" y="496"/>
                </a:cxn>
                <a:cxn ang="0">
                  <a:pos x="945" y="453"/>
                </a:cxn>
                <a:cxn ang="0">
                  <a:pos x="1073" y="475"/>
                </a:cxn>
                <a:cxn ang="0">
                  <a:pos x="1107" y="423"/>
                </a:cxn>
                <a:cxn ang="0">
                  <a:pos x="1200" y="352"/>
                </a:cxn>
                <a:cxn ang="0">
                  <a:pos x="1295" y="358"/>
                </a:cxn>
                <a:cxn ang="0">
                  <a:pos x="1318" y="441"/>
                </a:cxn>
                <a:cxn ang="0">
                  <a:pos x="1237" y="486"/>
                </a:cxn>
                <a:cxn ang="0">
                  <a:pos x="1197" y="608"/>
                </a:cxn>
                <a:cxn ang="0">
                  <a:pos x="1141" y="706"/>
                </a:cxn>
                <a:cxn ang="0">
                  <a:pos x="1102" y="631"/>
                </a:cxn>
                <a:cxn ang="0">
                  <a:pos x="1059" y="644"/>
                </a:cxn>
                <a:cxn ang="0">
                  <a:pos x="1116" y="569"/>
                </a:cxn>
                <a:cxn ang="0">
                  <a:pos x="992" y="514"/>
                </a:cxn>
                <a:cxn ang="0">
                  <a:pos x="951" y="500"/>
                </a:cxn>
                <a:cxn ang="0">
                  <a:pos x="917" y="526"/>
                </a:cxn>
                <a:cxn ang="0">
                  <a:pos x="916" y="590"/>
                </a:cxn>
                <a:cxn ang="0">
                  <a:pos x="954" y="682"/>
                </a:cxn>
                <a:cxn ang="0">
                  <a:pos x="938" y="716"/>
                </a:cxn>
                <a:cxn ang="0">
                  <a:pos x="919" y="706"/>
                </a:cxn>
                <a:cxn ang="0">
                  <a:pos x="853" y="798"/>
                </a:cxn>
                <a:cxn ang="0">
                  <a:pos x="787" y="824"/>
                </a:cxn>
                <a:cxn ang="0">
                  <a:pos x="717" y="903"/>
                </a:cxn>
                <a:cxn ang="0">
                  <a:pos x="634" y="986"/>
                </a:cxn>
                <a:cxn ang="0">
                  <a:pos x="548" y="1042"/>
                </a:cxn>
                <a:cxn ang="0">
                  <a:pos x="557" y="1143"/>
                </a:cxn>
                <a:cxn ang="0">
                  <a:pos x="510" y="1283"/>
                </a:cxn>
                <a:cxn ang="0">
                  <a:pos x="421" y="1372"/>
                </a:cxn>
                <a:cxn ang="0">
                  <a:pos x="377" y="1291"/>
                </a:cxn>
                <a:cxn ang="0">
                  <a:pos x="320" y="1183"/>
                </a:cxn>
                <a:cxn ang="0">
                  <a:pos x="288" y="1077"/>
                </a:cxn>
                <a:cxn ang="0">
                  <a:pos x="259" y="1029"/>
                </a:cxn>
                <a:cxn ang="0">
                  <a:pos x="232" y="939"/>
                </a:cxn>
                <a:cxn ang="0">
                  <a:pos x="216" y="872"/>
                </a:cxn>
                <a:cxn ang="0">
                  <a:pos x="211" y="834"/>
                </a:cxn>
                <a:cxn ang="0">
                  <a:pos x="205" y="759"/>
                </a:cxn>
                <a:cxn ang="0">
                  <a:pos x="205" y="716"/>
                </a:cxn>
                <a:cxn ang="0">
                  <a:pos x="181" y="715"/>
                </a:cxn>
                <a:cxn ang="0">
                  <a:pos x="135" y="776"/>
                </a:cxn>
                <a:cxn ang="0">
                  <a:pos x="47" y="694"/>
                </a:cxn>
                <a:cxn ang="0">
                  <a:pos x="96" y="668"/>
                </a:cxn>
                <a:cxn ang="0">
                  <a:pos x="14" y="634"/>
                </a:cxn>
                <a:cxn ang="0">
                  <a:pos x="42" y="601"/>
                </a:cxn>
                <a:cxn ang="0">
                  <a:pos x="99" y="530"/>
                </a:cxn>
                <a:cxn ang="0">
                  <a:pos x="190" y="376"/>
                </a:cxn>
                <a:cxn ang="0">
                  <a:pos x="295" y="252"/>
                </a:cxn>
                <a:cxn ang="0">
                  <a:pos x="298" y="168"/>
                </a:cxn>
                <a:cxn ang="0">
                  <a:pos x="268" y="80"/>
                </a:cxn>
              </a:cxnLst>
              <a:rect l="0" t="0" r="r" b="b"/>
              <a:pathLst>
                <a:path w="1340" h="1436">
                  <a:moveTo>
                    <a:pt x="1177" y="1414"/>
                  </a:moveTo>
                  <a:lnTo>
                    <a:pt x="1179" y="1414"/>
                  </a:lnTo>
                  <a:lnTo>
                    <a:pt x="1180" y="1415"/>
                  </a:lnTo>
                  <a:lnTo>
                    <a:pt x="1180" y="1417"/>
                  </a:lnTo>
                  <a:lnTo>
                    <a:pt x="1182" y="1418"/>
                  </a:lnTo>
                  <a:lnTo>
                    <a:pt x="1182" y="1421"/>
                  </a:lnTo>
                  <a:lnTo>
                    <a:pt x="1183" y="1423"/>
                  </a:lnTo>
                  <a:lnTo>
                    <a:pt x="1183" y="1427"/>
                  </a:lnTo>
                  <a:lnTo>
                    <a:pt x="1182" y="1430"/>
                  </a:lnTo>
                  <a:lnTo>
                    <a:pt x="1182" y="1433"/>
                  </a:lnTo>
                  <a:lnTo>
                    <a:pt x="1180" y="1433"/>
                  </a:lnTo>
                  <a:lnTo>
                    <a:pt x="1180" y="1435"/>
                  </a:lnTo>
                  <a:lnTo>
                    <a:pt x="1179" y="1436"/>
                  </a:lnTo>
                  <a:lnTo>
                    <a:pt x="1177" y="1436"/>
                  </a:lnTo>
                  <a:lnTo>
                    <a:pt x="1177" y="1432"/>
                  </a:lnTo>
                  <a:lnTo>
                    <a:pt x="1176" y="1430"/>
                  </a:lnTo>
                  <a:lnTo>
                    <a:pt x="1176" y="1429"/>
                  </a:lnTo>
                  <a:lnTo>
                    <a:pt x="1174" y="1429"/>
                  </a:lnTo>
                  <a:lnTo>
                    <a:pt x="1174" y="1426"/>
                  </a:lnTo>
                  <a:lnTo>
                    <a:pt x="1173" y="1424"/>
                  </a:lnTo>
                  <a:lnTo>
                    <a:pt x="1170" y="1424"/>
                  </a:lnTo>
                  <a:lnTo>
                    <a:pt x="1170" y="1420"/>
                  </a:lnTo>
                  <a:lnTo>
                    <a:pt x="1171" y="1418"/>
                  </a:lnTo>
                  <a:lnTo>
                    <a:pt x="1171" y="1417"/>
                  </a:lnTo>
                  <a:lnTo>
                    <a:pt x="1174" y="1417"/>
                  </a:lnTo>
                  <a:lnTo>
                    <a:pt x="1174" y="1415"/>
                  </a:lnTo>
                  <a:lnTo>
                    <a:pt x="1176" y="1415"/>
                  </a:lnTo>
                  <a:lnTo>
                    <a:pt x="1177" y="1414"/>
                  </a:lnTo>
                  <a:close/>
                  <a:moveTo>
                    <a:pt x="1171" y="1405"/>
                  </a:moveTo>
                  <a:lnTo>
                    <a:pt x="1173" y="1405"/>
                  </a:lnTo>
                  <a:lnTo>
                    <a:pt x="1173" y="1406"/>
                  </a:lnTo>
                  <a:lnTo>
                    <a:pt x="1174" y="1408"/>
                  </a:lnTo>
                  <a:lnTo>
                    <a:pt x="1174" y="1409"/>
                  </a:lnTo>
                  <a:lnTo>
                    <a:pt x="1173" y="1409"/>
                  </a:lnTo>
                  <a:lnTo>
                    <a:pt x="1173" y="1411"/>
                  </a:lnTo>
                  <a:lnTo>
                    <a:pt x="1171" y="1411"/>
                  </a:lnTo>
                  <a:lnTo>
                    <a:pt x="1170" y="1412"/>
                  </a:lnTo>
                  <a:lnTo>
                    <a:pt x="1170" y="1414"/>
                  </a:lnTo>
                  <a:lnTo>
                    <a:pt x="1168" y="1412"/>
                  </a:lnTo>
                  <a:lnTo>
                    <a:pt x="1168" y="1408"/>
                  </a:lnTo>
                  <a:lnTo>
                    <a:pt x="1171" y="1408"/>
                  </a:lnTo>
                  <a:lnTo>
                    <a:pt x="1171" y="1405"/>
                  </a:lnTo>
                  <a:close/>
                  <a:moveTo>
                    <a:pt x="1156" y="1378"/>
                  </a:moveTo>
                  <a:lnTo>
                    <a:pt x="1159" y="1378"/>
                  </a:lnTo>
                  <a:lnTo>
                    <a:pt x="1159" y="1381"/>
                  </a:lnTo>
                  <a:lnTo>
                    <a:pt x="1161" y="1381"/>
                  </a:lnTo>
                  <a:lnTo>
                    <a:pt x="1162" y="1382"/>
                  </a:lnTo>
                  <a:lnTo>
                    <a:pt x="1162" y="1384"/>
                  </a:lnTo>
                  <a:lnTo>
                    <a:pt x="1161" y="1385"/>
                  </a:lnTo>
                  <a:lnTo>
                    <a:pt x="1161" y="1384"/>
                  </a:lnTo>
                  <a:lnTo>
                    <a:pt x="1156" y="1384"/>
                  </a:lnTo>
                  <a:lnTo>
                    <a:pt x="1156" y="1382"/>
                  </a:lnTo>
                  <a:lnTo>
                    <a:pt x="1155" y="1382"/>
                  </a:lnTo>
                  <a:lnTo>
                    <a:pt x="1155" y="1379"/>
                  </a:lnTo>
                  <a:lnTo>
                    <a:pt x="1156" y="1378"/>
                  </a:lnTo>
                  <a:close/>
                  <a:moveTo>
                    <a:pt x="1162" y="1369"/>
                  </a:moveTo>
                  <a:lnTo>
                    <a:pt x="1165" y="1369"/>
                  </a:lnTo>
                  <a:lnTo>
                    <a:pt x="1165" y="1370"/>
                  </a:lnTo>
                  <a:lnTo>
                    <a:pt x="1164" y="1370"/>
                  </a:lnTo>
                  <a:lnTo>
                    <a:pt x="1164" y="1373"/>
                  </a:lnTo>
                  <a:lnTo>
                    <a:pt x="1165" y="1375"/>
                  </a:lnTo>
                  <a:lnTo>
                    <a:pt x="1165" y="1378"/>
                  </a:lnTo>
                  <a:lnTo>
                    <a:pt x="1164" y="1378"/>
                  </a:lnTo>
                  <a:lnTo>
                    <a:pt x="1165" y="1379"/>
                  </a:lnTo>
                  <a:lnTo>
                    <a:pt x="1165" y="1378"/>
                  </a:lnTo>
                  <a:lnTo>
                    <a:pt x="1167" y="1378"/>
                  </a:lnTo>
                  <a:lnTo>
                    <a:pt x="1167" y="1382"/>
                  </a:lnTo>
                  <a:lnTo>
                    <a:pt x="1164" y="1381"/>
                  </a:lnTo>
                  <a:lnTo>
                    <a:pt x="1164" y="1379"/>
                  </a:lnTo>
                  <a:lnTo>
                    <a:pt x="1162" y="1379"/>
                  </a:lnTo>
                  <a:lnTo>
                    <a:pt x="1162" y="1375"/>
                  </a:lnTo>
                  <a:lnTo>
                    <a:pt x="1161" y="1372"/>
                  </a:lnTo>
                  <a:lnTo>
                    <a:pt x="1161" y="1370"/>
                  </a:lnTo>
                  <a:lnTo>
                    <a:pt x="1162" y="1370"/>
                  </a:lnTo>
                  <a:lnTo>
                    <a:pt x="1162" y="1369"/>
                  </a:lnTo>
                  <a:close/>
                  <a:moveTo>
                    <a:pt x="225" y="1366"/>
                  </a:moveTo>
                  <a:lnTo>
                    <a:pt x="226" y="1366"/>
                  </a:lnTo>
                  <a:lnTo>
                    <a:pt x="226" y="1367"/>
                  </a:lnTo>
                  <a:lnTo>
                    <a:pt x="225" y="1367"/>
                  </a:lnTo>
                  <a:lnTo>
                    <a:pt x="225" y="1366"/>
                  </a:lnTo>
                  <a:close/>
                  <a:moveTo>
                    <a:pt x="1143" y="1363"/>
                  </a:moveTo>
                  <a:lnTo>
                    <a:pt x="1146" y="1363"/>
                  </a:lnTo>
                  <a:lnTo>
                    <a:pt x="1146" y="1367"/>
                  </a:lnTo>
                  <a:lnTo>
                    <a:pt x="1147" y="1367"/>
                  </a:lnTo>
                  <a:lnTo>
                    <a:pt x="1147" y="1369"/>
                  </a:lnTo>
                  <a:lnTo>
                    <a:pt x="1146" y="1369"/>
                  </a:lnTo>
                  <a:lnTo>
                    <a:pt x="1144" y="1367"/>
                  </a:lnTo>
                  <a:lnTo>
                    <a:pt x="1144" y="1366"/>
                  </a:lnTo>
                  <a:lnTo>
                    <a:pt x="1143" y="1366"/>
                  </a:lnTo>
                  <a:lnTo>
                    <a:pt x="1143" y="1363"/>
                  </a:lnTo>
                  <a:close/>
                  <a:moveTo>
                    <a:pt x="1168" y="1354"/>
                  </a:moveTo>
                  <a:lnTo>
                    <a:pt x="1170" y="1355"/>
                  </a:lnTo>
                  <a:lnTo>
                    <a:pt x="1170" y="1357"/>
                  </a:lnTo>
                  <a:lnTo>
                    <a:pt x="1168" y="1358"/>
                  </a:lnTo>
                  <a:lnTo>
                    <a:pt x="1168" y="1354"/>
                  </a:lnTo>
                  <a:close/>
                  <a:moveTo>
                    <a:pt x="515" y="1322"/>
                  </a:moveTo>
                  <a:lnTo>
                    <a:pt x="518" y="1324"/>
                  </a:lnTo>
                  <a:lnTo>
                    <a:pt x="519" y="1325"/>
                  </a:lnTo>
                  <a:lnTo>
                    <a:pt x="518" y="1325"/>
                  </a:lnTo>
                  <a:lnTo>
                    <a:pt x="515" y="1322"/>
                  </a:lnTo>
                  <a:close/>
                  <a:moveTo>
                    <a:pt x="1129" y="1321"/>
                  </a:moveTo>
                  <a:lnTo>
                    <a:pt x="1131" y="1321"/>
                  </a:lnTo>
                  <a:lnTo>
                    <a:pt x="1132" y="1322"/>
                  </a:lnTo>
                  <a:lnTo>
                    <a:pt x="1132" y="1325"/>
                  </a:lnTo>
                  <a:lnTo>
                    <a:pt x="1131" y="1327"/>
                  </a:lnTo>
                  <a:lnTo>
                    <a:pt x="1128" y="1327"/>
                  </a:lnTo>
                  <a:lnTo>
                    <a:pt x="1128" y="1322"/>
                  </a:lnTo>
                  <a:lnTo>
                    <a:pt x="1129" y="1322"/>
                  </a:lnTo>
                  <a:lnTo>
                    <a:pt x="1129" y="1321"/>
                  </a:lnTo>
                  <a:close/>
                  <a:moveTo>
                    <a:pt x="512" y="1318"/>
                  </a:moveTo>
                  <a:lnTo>
                    <a:pt x="515" y="1318"/>
                  </a:lnTo>
                  <a:lnTo>
                    <a:pt x="513" y="1319"/>
                  </a:lnTo>
                  <a:lnTo>
                    <a:pt x="513" y="1321"/>
                  </a:lnTo>
                  <a:lnTo>
                    <a:pt x="515" y="1321"/>
                  </a:lnTo>
                  <a:lnTo>
                    <a:pt x="515" y="1322"/>
                  </a:lnTo>
                  <a:lnTo>
                    <a:pt x="512" y="1321"/>
                  </a:lnTo>
                  <a:lnTo>
                    <a:pt x="507" y="1321"/>
                  </a:lnTo>
                  <a:lnTo>
                    <a:pt x="507" y="1319"/>
                  </a:lnTo>
                  <a:lnTo>
                    <a:pt x="510" y="1319"/>
                  </a:lnTo>
                  <a:lnTo>
                    <a:pt x="512" y="1318"/>
                  </a:lnTo>
                  <a:close/>
                  <a:moveTo>
                    <a:pt x="376" y="1292"/>
                  </a:moveTo>
                  <a:lnTo>
                    <a:pt x="377" y="1294"/>
                  </a:lnTo>
                  <a:lnTo>
                    <a:pt x="377" y="1298"/>
                  </a:lnTo>
                  <a:lnTo>
                    <a:pt x="376" y="1295"/>
                  </a:lnTo>
                  <a:lnTo>
                    <a:pt x="376" y="1292"/>
                  </a:lnTo>
                  <a:close/>
                  <a:moveTo>
                    <a:pt x="371" y="1288"/>
                  </a:moveTo>
                  <a:lnTo>
                    <a:pt x="373" y="1288"/>
                  </a:lnTo>
                  <a:lnTo>
                    <a:pt x="374" y="1289"/>
                  </a:lnTo>
                  <a:lnTo>
                    <a:pt x="374" y="1291"/>
                  </a:lnTo>
                  <a:lnTo>
                    <a:pt x="371" y="1291"/>
                  </a:lnTo>
                  <a:lnTo>
                    <a:pt x="371" y="1288"/>
                  </a:lnTo>
                  <a:close/>
                  <a:moveTo>
                    <a:pt x="252" y="1282"/>
                  </a:moveTo>
                  <a:lnTo>
                    <a:pt x="253" y="1282"/>
                  </a:lnTo>
                  <a:lnTo>
                    <a:pt x="252" y="1283"/>
                  </a:lnTo>
                  <a:lnTo>
                    <a:pt x="252" y="1282"/>
                  </a:lnTo>
                  <a:close/>
                  <a:moveTo>
                    <a:pt x="368" y="1280"/>
                  </a:moveTo>
                  <a:lnTo>
                    <a:pt x="370" y="1280"/>
                  </a:lnTo>
                  <a:lnTo>
                    <a:pt x="370" y="1282"/>
                  </a:lnTo>
                  <a:lnTo>
                    <a:pt x="371" y="1282"/>
                  </a:lnTo>
                  <a:lnTo>
                    <a:pt x="371" y="1286"/>
                  </a:lnTo>
                  <a:lnTo>
                    <a:pt x="370" y="1285"/>
                  </a:lnTo>
                  <a:lnTo>
                    <a:pt x="368" y="1282"/>
                  </a:lnTo>
                  <a:lnTo>
                    <a:pt x="368" y="1280"/>
                  </a:lnTo>
                  <a:close/>
                  <a:moveTo>
                    <a:pt x="530" y="1272"/>
                  </a:moveTo>
                  <a:lnTo>
                    <a:pt x="530" y="1273"/>
                  </a:lnTo>
                  <a:lnTo>
                    <a:pt x="534" y="1273"/>
                  </a:lnTo>
                  <a:lnTo>
                    <a:pt x="533" y="1272"/>
                  </a:lnTo>
                  <a:lnTo>
                    <a:pt x="530" y="1272"/>
                  </a:lnTo>
                  <a:close/>
                  <a:moveTo>
                    <a:pt x="184" y="1248"/>
                  </a:moveTo>
                  <a:lnTo>
                    <a:pt x="186" y="1248"/>
                  </a:lnTo>
                  <a:lnTo>
                    <a:pt x="184" y="1249"/>
                  </a:lnTo>
                  <a:lnTo>
                    <a:pt x="184" y="1248"/>
                  </a:lnTo>
                  <a:close/>
                  <a:moveTo>
                    <a:pt x="1117" y="1245"/>
                  </a:moveTo>
                  <a:lnTo>
                    <a:pt x="1119" y="1245"/>
                  </a:lnTo>
                  <a:lnTo>
                    <a:pt x="1120" y="1246"/>
                  </a:lnTo>
                  <a:lnTo>
                    <a:pt x="1120" y="1249"/>
                  </a:lnTo>
                  <a:lnTo>
                    <a:pt x="1122" y="1249"/>
                  </a:lnTo>
                  <a:lnTo>
                    <a:pt x="1122" y="1255"/>
                  </a:lnTo>
                  <a:lnTo>
                    <a:pt x="1119" y="1258"/>
                  </a:lnTo>
                  <a:lnTo>
                    <a:pt x="1119" y="1260"/>
                  </a:lnTo>
                  <a:lnTo>
                    <a:pt x="1120" y="1260"/>
                  </a:lnTo>
                  <a:lnTo>
                    <a:pt x="1120" y="1261"/>
                  </a:lnTo>
                  <a:lnTo>
                    <a:pt x="1119" y="1263"/>
                  </a:lnTo>
                  <a:lnTo>
                    <a:pt x="1117" y="1263"/>
                  </a:lnTo>
                  <a:lnTo>
                    <a:pt x="1116" y="1261"/>
                  </a:lnTo>
                  <a:lnTo>
                    <a:pt x="1111" y="1261"/>
                  </a:lnTo>
                  <a:lnTo>
                    <a:pt x="1114" y="1258"/>
                  </a:lnTo>
                  <a:lnTo>
                    <a:pt x="1114" y="1257"/>
                  </a:lnTo>
                  <a:lnTo>
                    <a:pt x="1113" y="1257"/>
                  </a:lnTo>
                  <a:lnTo>
                    <a:pt x="1113" y="1255"/>
                  </a:lnTo>
                  <a:lnTo>
                    <a:pt x="1111" y="1255"/>
                  </a:lnTo>
                  <a:lnTo>
                    <a:pt x="1111" y="1251"/>
                  </a:lnTo>
                  <a:lnTo>
                    <a:pt x="1113" y="1251"/>
                  </a:lnTo>
                  <a:lnTo>
                    <a:pt x="1113" y="1249"/>
                  </a:lnTo>
                  <a:lnTo>
                    <a:pt x="1114" y="1249"/>
                  </a:lnTo>
                  <a:lnTo>
                    <a:pt x="1114" y="1246"/>
                  </a:lnTo>
                  <a:lnTo>
                    <a:pt x="1117" y="1245"/>
                  </a:lnTo>
                  <a:close/>
                  <a:moveTo>
                    <a:pt x="1123" y="1216"/>
                  </a:moveTo>
                  <a:lnTo>
                    <a:pt x="1125" y="1216"/>
                  </a:lnTo>
                  <a:lnTo>
                    <a:pt x="1126" y="1218"/>
                  </a:lnTo>
                  <a:lnTo>
                    <a:pt x="1126" y="1222"/>
                  </a:lnTo>
                  <a:lnTo>
                    <a:pt x="1125" y="1222"/>
                  </a:lnTo>
                  <a:lnTo>
                    <a:pt x="1125" y="1224"/>
                  </a:lnTo>
                  <a:lnTo>
                    <a:pt x="1123" y="1224"/>
                  </a:lnTo>
                  <a:lnTo>
                    <a:pt x="1123" y="1222"/>
                  </a:lnTo>
                  <a:lnTo>
                    <a:pt x="1122" y="1222"/>
                  </a:lnTo>
                  <a:lnTo>
                    <a:pt x="1122" y="1221"/>
                  </a:lnTo>
                  <a:lnTo>
                    <a:pt x="1123" y="1221"/>
                  </a:lnTo>
                  <a:lnTo>
                    <a:pt x="1123" y="1216"/>
                  </a:lnTo>
                  <a:close/>
                  <a:moveTo>
                    <a:pt x="1105" y="1212"/>
                  </a:moveTo>
                  <a:lnTo>
                    <a:pt x="1107" y="1212"/>
                  </a:lnTo>
                  <a:lnTo>
                    <a:pt x="1107" y="1213"/>
                  </a:lnTo>
                  <a:lnTo>
                    <a:pt x="1108" y="1213"/>
                  </a:lnTo>
                  <a:lnTo>
                    <a:pt x="1108" y="1215"/>
                  </a:lnTo>
                  <a:lnTo>
                    <a:pt x="1105" y="1215"/>
                  </a:lnTo>
                  <a:lnTo>
                    <a:pt x="1105" y="1212"/>
                  </a:lnTo>
                  <a:close/>
                  <a:moveTo>
                    <a:pt x="1138" y="1192"/>
                  </a:moveTo>
                  <a:lnTo>
                    <a:pt x="1141" y="1192"/>
                  </a:lnTo>
                  <a:lnTo>
                    <a:pt x="1144" y="1198"/>
                  </a:lnTo>
                  <a:lnTo>
                    <a:pt x="1143" y="1198"/>
                  </a:lnTo>
                  <a:lnTo>
                    <a:pt x="1143" y="1197"/>
                  </a:lnTo>
                  <a:lnTo>
                    <a:pt x="1141" y="1197"/>
                  </a:lnTo>
                  <a:lnTo>
                    <a:pt x="1141" y="1195"/>
                  </a:lnTo>
                  <a:lnTo>
                    <a:pt x="1140" y="1195"/>
                  </a:lnTo>
                  <a:lnTo>
                    <a:pt x="1140" y="1194"/>
                  </a:lnTo>
                  <a:lnTo>
                    <a:pt x="1138" y="1194"/>
                  </a:lnTo>
                  <a:lnTo>
                    <a:pt x="1138" y="1192"/>
                  </a:lnTo>
                  <a:close/>
                  <a:moveTo>
                    <a:pt x="1144" y="1183"/>
                  </a:moveTo>
                  <a:lnTo>
                    <a:pt x="1146" y="1185"/>
                  </a:lnTo>
                  <a:lnTo>
                    <a:pt x="1144" y="1186"/>
                  </a:lnTo>
                  <a:lnTo>
                    <a:pt x="1146" y="1188"/>
                  </a:lnTo>
                  <a:lnTo>
                    <a:pt x="1146" y="1189"/>
                  </a:lnTo>
                  <a:lnTo>
                    <a:pt x="1144" y="1189"/>
                  </a:lnTo>
                  <a:lnTo>
                    <a:pt x="1144" y="1188"/>
                  </a:lnTo>
                  <a:lnTo>
                    <a:pt x="1143" y="1188"/>
                  </a:lnTo>
                  <a:lnTo>
                    <a:pt x="1143" y="1185"/>
                  </a:lnTo>
                  <a:lnTo>
                    <a:pt x="1144" y="1185"/>
                  </a:lnTo>
                  <a:lnTo>
                    <a:pt x="1144" y="1183"/>
                  </a:lnTo>
                  <a:close/>
                  <a:moveTo>
                    <a:pt x="1126" y="1147"/>
                  </a:moveTo>
                  <a:lnTo>
                    <a:pt x="1128" y="1147"/>
                  </a:lnTo>
                  <a:lnTo>
                    <a:pt x="1128" y="1153"/>
                  </a:lnTo>
                  <a:lnTo>
                    <a:pt x="1126" y="1153"/>
                  </a:lnTo>
                  <a:lnTo>
                    <a:pt x="1126" y="1156"/>
                  </a:lnTo>
                  <a:lnTo>
                    <a:pt x="1125" y="1153"/>
                  </a:lnTo>
                  <a:lnTo>
                    <a:pt x="1125" y="1152"/>
                  </a:lnTo>
                  <a:lnTo>
                    <a:pt x="1126" y="1152"/>
                  </a:lnTo>
                  <a:lnTo>
                    <a:pt x="1126" y="1147"/>
                  </a:lnTo>
                  <a:close/>
                  <a:moveTo>
                    <a:pt x="557" y="1122"/>
                  </a:moveTo>
                  <a:lnTo>
                    <a:pt x="558" y="1125"/>
                  </a:lnTo>
                  <a:lnTo>
                    <a:pt x="558" y="1126"/>
                  </a:lnTo>
                  <a:lnTo>
                    <a:pt x="557" y="1122"/>
                  </a:lnTo>
                  <a:close/>
                  <a:moveTo>
                    <a:pt x="1138" y="1120"/>
                  </a:moveTo>
                  <a:lnTo>
                    <a:pt x="1143" y="1120"/>
                  </a:lnTo>
                  <a:lnTo>
                    <a:pt x="1144" y="1122"/>
                  </a:lnTo>
                  <a:lnTo>
                    <a:pt x="1143" y="1123"/>
                  </a:lnTo>
                  <a:lnTo>
                    <a:pt x="1143" y="1128"/>
                  </a:lnTo>
                  <a:lnTo>
                    <a:pt x="1144" y="1128"/>
                  </a:lnTo>
                  <a:lnTo>
                    <a:pt x="1143" y="1129"/>
                  </a:lnTo>
                  <a:lnTo>
                    <a:pt x="1143" y="1131"/>
                  </a:lnTo>
                  <a:lnTo>
                    <a:pt x="1141" y="1131"/>
                  </a:lnTo>
                  <a:lnTo>
                    <a:pt x="1140" y="1129"/>
                  </a:lnTo>
                  <a:lnTo>
                    <a:pt x="1140" y="1132"/>
                  </a:lnTo>
                  <a:lnTo>
                    <a:pt x="1143" y="1132"/>
                  </a:lnTo>
                  <a:lnTo>
                    <a:pt x="1143" y="1134"/>
                  </a:lnTo>
                  <a:lnTo>
                    <a:pt x="1144" y="1134"/>
                  </a:lnTo>
                  <a:lnTo>
                    <a:pt x="1143" y="1135"/>
                  </a:lnTo>
                  <a:lnTo>
                    <a:pt x="1143" y="1144"/>
                  </a:lnTo>
                  <a:lnTo>
                    <a:pt x="1140" y="1144"/>
                  </a:lnTo>
                  <a:lnTo>
                    <a:pt x="1140" y="1146"/>
                  </a:lnTo>
                  <a:lnTo>
                    <a:pt x="1138" y="1144"/>
                  </a:lnTo>
                  <a:lnTo>
                    <a:pt x="1138" y="1143"/>
                  </a:lnTo>
                  <a:lnTo>
                    <a:pt x="1137" y="1144"/>
                  </a:lnTo>
                  <a:lnTo>
                    <a:pt x="1137" y="1146"/>
                  </a:lnTo>
                  <a:lnTo>
                    <a:pt x="1138" y="1147"/>
                  </a:lnTo>
                  <a:lnTo>
                    <a:pt x="1137" y="1147"/>
                  </a:lnTo>
                  <a:lnTo>
                    <a:pt x="1135" y="1150"/>
                  </a:lnTo>
                  <a:lnTo>
                    <a:pt x="1135" y="1152"/>
                  </a:lnTo>
                  <a:lnTo>
                    <a:pt x="1137" y="1150"/>
                  </a:lnTo>
                  <a:lnTo>
                    <a:pt x="1137" y="1152"/>
                  </a:lnTo>
                  <a:lnTo>
                    <a:pt x="1138" y="1152"/>
                  </a:lnTo>
                  <a:lnTo>
                    <a:pt x="1138" y="1155"/>
                  </a:lnTo>
                  <a:lnTo>
                    <a:pt x="1140" y="1156"/>
                  </a:lnTo>
                  <a:lnTo>
                    <a:pt x="1138" y="1156"/>
                  </a:lnTo>
                  <a:lnTo>
                    <a:pt x="1140" y="1158"/>
                  </a:lnTo>
                  <a:lnTo>
                    <a:pt x="1140" y="1170"/>
                  </a:lnTo>
                  <a:lnTo>
                    <a:pt x="1138" y="1170"/>
                  </a:lnTo>
                  <a:lnTo>
                    <a:pt x="1138" y="1171"/>
                  </a:lnTo>
                  <a:lnTo>
                    <a:pt x="1140" y="1171"/>
                  </a:lnTo>
                  <a:lnTo>
                    <a:pt x="1138" y="1173"/>
                  </a:lnTo>
                  <a:lnTo>
                    <a:pt x="1138" y="1174"/>
                  </a:lnTo>
                  <a:lnTo>
                    <a:pt x="1137" y="1174"/>
                  </a:lnTo>
                  <a:lnTo>
                    <a:pt x="1137" y="1173"/>
                  </a:lnTo>
                  <a:lnTo>
                    <a:pt x="1134" y="1173"/>
                  </a:lnTo>
                  <a:lnTo>
                    <a:pt x="1134" y="1176"/>
                  </a:lnTo>
                  <a:lnTo>
                    <a:pt x="1135" y="1176"/>
                  </a:lnTo>
                  <a:lnTo>
                    <a:pt x="1137" y="1177"/>
                  </a:lnTo>
                  <a:lnTo>
                    <a:pt x="1135" y="1179"/>
                  </a:lnTo>
                  <a:lnTo>
                    <a:pt x="1135" y="1180"/>
                  </a:lnTo>
                  <a:lnTo>
                    <a:pt x="1137" y="1180"/>
                  </a:lnTo>
                  <a:lnTo>
                    <a:pt x="1135" y="1182"/>
                  </a:lnTo>
                  <a:lnTo>
                    <a:pt x="1135" y="1185"/>
                  </a:lnTo>
                  <a:lnTo>
                    <a:pt x="1134" y="1185"/>
                  </a:lnTo>
                  <a:lnTo>
                    <a:pt x="1134" y="1186"/>
                  </a:lnTo>
                  <a:lnTo>
                    <a:pt x="1132" y="1186"/>
                  </a:lnTo>
                  <a:lnTo>
                    <a:pt x="1132" y="1189"/>
                  </a:lnTo>
                  <a:lnTo>
                    <a:pt x="1129" y="1189"/>
                  </a:lnTo>
                  <a:lnTo>
                    <a:pt x="1129" y="1191"/>
                  </a:lnTo>
                  <a:lnTo>
                    <a:pt x="1131" y="1192"/>
                  </a:lnTo>
                  <a:lnTo>
                    <a:pt x="1129" y="1192"/>
                  </a:lnTo>
                  <a:lnTo>
                    <a:pt x="1129" y="1194"/>
                  </a:lnTo>
                  <a:lnTo>
                    <a:pt x="1128" y="1195"/>
                  </a:lnTo>
                  <a:lnTo>
                    <a:pt x="1128" y="1200"/>
                  </a:lnTo>
                  <a:lnTo>
                    <a:pt x="1129" y="1200"/>
                  </a:lnTo>
                  <a:lnTo>
                    <a:pt x="1129" y="1197"/>
                  </a:lnTo>
                  <a:lnTo>
                    <a:pt x="1131" y="1197"/>
                  </a:lnTo>
                  <a:lnTo>
                    <a:pt x="1131" y="1200"/>
                  </a:lnTo>
                  <a:lnTo>
                    <a:pt x="1129" y="1207"/>
                  </a:lnTo>
                  <a:lnTo>
                    <a:pt x="1128" y="1207"/>
                  </a:lnTo>
                  <a:lnTo>
                    <a:pt x="1126" y="1209"/>
                  </a:lnTo>
                  <a:lnTo>
                    <a:pt x="1126" y="1212"/>
                  </a:lnTo>
                  <a:lnTo>
                    <a:pt x="1128" y="1212"/>
                  </a:lnTo>
                  <a:lnTo>
                    <a:pt x="1128" y="1209"/>
                  </a:lnTo>
                  <a:lnTo>
                    <a:pt x="1129" y="1209"/>
                  </a:lnTo>
                  <a:lnTo>
                    <a:pt x="1129" y="1215"/>
                  </a:lnTo>
                  <a:lnTo>
                    <a:pt x="1128" y="1216"/>
                  </a:lnTo>
                  <a:lnTo>
                    <a:pt x="1126" y="1216"/>
                  </a:lnTo>
                  <a:lnTo>
                    <a:pt x="1125" y="1215"/>
                  </a:lnTo>
                  <a:lnTo>
                    <a:pt x="1125" y="1213"/>
                  </a:lnTo>
                  <a:lnTo>
                    <a:pt x="1123" y="1213"/>
                  </a:lnTo>
                  <a:lnTo>
                    <a:pt x="1123" y="1209"/>
                  </a:lnTo>
                  <a:lnTo>
                    <a:pt x="1120" y="1206"/>
                  </a:lnTo>
                  <a:lnTo>
                    <a:pt x="1120" y="1201"/>
                  </a:lnTo>
                  <a:lnTo>
                    <a:pt x="1119" y="1201"/>
                  </a:lnTo>
                  <a:lnTo>
                    <a:pt x="1119" y="1198"/>
                  </a:lnTo>
                  <a:lnTo>
                    <a:pt x="1120" y="1197"/>
                  </a:lnTo>
                  <a:lnTo>
                    <a:pt x="1122" y="1197"/>
                  </a:lnTo>
                  <a:lnTo>
                    <a:pt x="1122" y="1198"/>
                  </a:lnTo>
                  <a:lnTo>
                    <a:pt x="1123" y="1200"/>
                  </a:lnTo>
                  <a:lnTo>
                    <a:pt x="1123" y="1192"/>
                  </a:lnTo>
                  <a:lnTo>
                    <a:pt x="1125" y="1192"/>
                  </a:lnTo>
                  <a:lnTo>
                    <a:pt x="1123" y="1188"/>
                  </a:lnTo>
                  <a:lnTo>
                    <a:pt x="1125" y="1186"/>
                  </a:lnTo>
                  <a:lnTo>
                    <a:pt x="1125" y="1183"/>
                  </a:lnTo>
                  <a:lnTo>
                    <a:pt x="1126" y="1183"/>
                  </a:lnTo>
                  <a:lnTo>
                    <a:pt x="1128" y="1182"/>
                  </a:lnTo>
                  <a:lnTo>
                    <a:pt x="1128" y="1185"/>
                  </a:lnTo>
                  <a:lnTo>
                    <a:pt x="1131" y="1185"/>
                  </a:lnTo>
                  <a:lnTo>
                    <a:pt x="1131" y="1182"/>
                  </a:lnTo>
                  <a:lnTo>
                    <a:pt x="1129" y="1182"/>
                  </a:lnTo>
                  <a:lnTo>
                    <a:pt x="1129" y="1180"/>
                  </a:lnTo>
                  <a:lnTo>
                    <a:pt x="1131" y="1180"/>
                  </a:lnTo>
                  <a:lnTo>
                    <a:pt x="1131" y="1179"/>
                  </a:lnTo>
                  <a:lnTo>
                    <a:pt x="1128" y="1179"/>
                  </a:lnTo>
                  <a:lnTo>
                    <a:pt x="1128" y="1165"/>
                  </a:lnTo>
                  <a:lnTo>
                    <a:pt x="1129" y="1164"/>
                  </a:lnTo>
                  <a:lnTo>
                    <a:pt x="1129" y="1158"/>
                  </a:lnTo>
                  <a:lnTo>
                    <a:pt x="1128" y="1156"/>
                  </a:lnTo>
                  <a:lnTo>
                    <a:pt x="1129" y="1155"/>
                  </a:lnTo>
                  <a:lnTo>
                    <a:pt x="1129" y="1153"/>
                  </a:lnTo>
                  <a:lnTo>
                    <a:pt x="1131" y="1155"/>
                  </a:lnTo>
                  <a:lnTo>
                    <a:pt x="1131" y="1153"/>
                  </a:lnTo>
                  <a:lnTo>
                    <a:pt x="1132" y="1152"/>
                  </a:lnTo>
                  <a:lnTo>
                    <a:pt x="1132" y="1141"/>
                  </a:lnTo>
                  <a:lnTo>
                    <a:pt x="1134" y="1140"/>
                  </a:lnTo>
                  <a:lnTo>
                    <a:pt x="1134" y="1131"/>
                  </a:lnTo>
                  <a:lnTo>
                    <a:pt x="1135" y="1128"/>
                  </a:lnTo>
                  <a:lnTo>
                    <a:pt x="1135" y="1125"/>
                  </a:lnTo>
                  <a:lnTo>
                    <a:pt x="1137" y="1125"/>
                  </a:lnTo>
                  <a:lnTo>
                    <a:pt x="1138" y="1123"/>
                  </a:lnTo>
                  <a:lnTo>
                    <a:pt x="1138" y="1120"/>
                  </a:lnTo>
                  <a:close/>
                  <a:moveTo>
                    <a:pt x="1141" y="1114"/>
                  </a:moveTo>
                  <a:lnTo>
                    <a:pt x="1143" y="1114"/>
                  </a:lnTo>
                  <a:lnTo>
                    <a:pt x="1143" y="1116"/>
                  </a:lnTo>
                  <a:lnTo>
                    <a:pt x="1140" y="1116"/>
                  </a:lnTo>
                  <a:lnTo>
                    <a:pt x="1141" y="1114"/>
                  </a:lnTo>
                  <a:close/>
                  <a:moveTo>
                    <a:pt x="590" y="1014"/>
                  </a:moveTo>
                  <a:lnTo>
                    <a:pt x="591" y="1014"/>
                  </a:lnTo>
                  <a:lnTo>
                    <a:pt x="591" y="1016"/>
                  </a:lnTo>
                  <a:lnTo>
                    <a:pt x="590" y="1016"/>
                  </a:lnTo>
                  <a:lnTo>
                    <a:pt x="590" y="1014"/>
                  </a:lnTo>
                  <a:close/>
                  <a:moveTo>
                    <a:pt x="585" y="1013"/>
                  </a:moveTo>
                  <a:lnTo>
                    <a:pt x="588" y="1016"/>
                  </a:lnTo>
                  <a:lnTo>
                    <a:pt x="590" y="1016"/>
                  </a:lnTo>
                  <a:lnTo>
                    <a:pt x="590" y="1017"/>
                  </a:lnTo>
                  <a:lnTo>
                    <a:pt x="587" y="1017"/>
                  </a:lnTo>
                  <a:lnTo>
                    <a:pt x="584" y="1014"/>
                  </a:lnTo>
                  <a:lnTo>
                    <a:pt x="585" y="1013"/>
                  </a:lnTo>
                  <a:close/>
                  <a:moveTo>
                    <a:pt x="244" y="996"/>
                  </a:moveTo>
                  <a:lnTo>
                    <a:pt x="244" y="998"/>
                  </a:lnTo>
                  <a:lnTo>
                    <a:pt x="246" y="996"/>
                  </a:lnTo>
                  <a:lnTo>
                    <a:pt x="244" y="996"/>
                  </a:lnTo>
                  <a:close/>
                  <a:moveTo>
                    <a:pt x="213" y="863"/>
                  </a:moveTo>
                  <a:lnTo>
                    <a:pt x="214" y="863"/>
                  </a:lnTo>
                  <a:lnTo>
                    <a:pt x="213" y="864"/>
                  </a:lnTo>
                  <a:lnTo>
                    <a:pt x="213" y="863"/>
                  </a:lnTo>
                  <a:close/>
                  <a:moveTo>
                    <a:pt x="799" y="828"/>
                  </a:moveTo>
                  <a:lnTo>
                    <a:pt x="800" y="828"/>
                  </a:lnTo>
                  <a:lnTo>
                    <a:pt x="797" y="830"/>
                  </a:lnTo>
                  <a:lnTo>
                    <a:pt x="799" y="828"/>
                  </a:lnTo>
                  <a:close/>
                  <a:moveTo>
                    <a:pt x="803" y="825"/>
                  </a:moveTo>
                  <a:lnTo>
                    <a:pt x="803" y="827"/>
                  </a:lnTo>
                  <a:lnTo>
                    <a:pt x="802" y="827"/>
                  </a:lnTo>
                  <a:lnTo>
                    <a:pt x="803" y="825"/>
                  </a:lnTo>
                  <a:close/>
                  <a:moveTo>
                    <a:pt x="856" y="791"/>
                  </a:moveTo>
                  <a:lnTo>
                    <a:pt x="857" y="792"/>
                  </a:lnTo>
                  <a:lnTo>
                    <a:pt x="856" y="794"/>
                  </a:lnTo>
                  <a:lnTo>
                    <a:pt x="856" y="791"/>
                  </a:lnTo>
                  <a:close/>
                  <a:moveTo>
                    <a:pt x="866" y="779"/>
                  </a:moveTo>
                  <a:lnTo>
                    <a:pt x="868" y="779"/>
                  </a:lnTo>
                  <a:lnTo>
                    <a:pt x="866" y="780"/>
                  </a:lnTo>
                  <a:lnTo>
                    <a:pt x="866" y="779"/>
                  </a:lnTo>
                  <a:close/>
                  <a:moveTo>
                    <a:pt x="950" y="734"/>
                  </a:moveTo>
                  <a:lnTo>
                    <a:pt x="951" y="736"/>
                  </a:lnTo>
                  <a:lnTo>
                    <a:pt x="953" y="736"/>
                  </a:lnTo>
                  <a:lnTo>
                    <a:pt x="953" y="739"/>
                  </a:lnTo>
                  <a:lnTo>
                    <a:pt x="950" y="739"/>
                  </a:lnTo>
                  <a:lnTo>
                    <a:pt x="950" y="734"/>
                  </a:lnTo>
                  <a:close/>
                  <a:moveTo>
                    <a:pt x="923" y="725"/>
                  </a:moveTo>
                  <a:lnTo>
                    <a:pt x="923" y="727"/>
                  </a:lnTo>
                  <a:lnTo>
                    <a:pt x="925" y="731"/>
                  </a:lnTo>
                  <a:lnTo>
                    <a:pt x="925" y="727"/>
                  </a:lnTo>
                  <a:lnTo>
                    <a:pt x="923" y="725"/>
                  </a:lnTo>
                  <a:close/>
                  <a:moveTo>
                    <a:pt x="917" y="722"/>
                  </a:moveTo>
                  <a:lnTo>
                    <a:pt x="919" y="722"/>
                  </a:lnTo>
                  <a:lnTo>
                    <a:pt x="919" y="730"/>
                  </a:lnTo>
                  <a:lnTo>
                    <a:pt x="917" y="731"/>
                  </a:lnTo>
                  <a:lnTo>
                    <a:pt x="919" y="733"/>
                  </a:lnTo>
                  <a:lnTo>
                    <a:pt x="917" y="734"/>
                  </a:lnTo>
                  <a:lnTo>
                    <a:pt x="916" y="733"/>
                  </a:lnTo>
                  <a:lnTo>
                    <a:pt x="913" y="733"/>
                  </a:lnTo>
                  <a:lnTo>
                    <a:pt x="913" y="731"/>
                  </a:lnTo>
                  <a:lnTo>
                    <a:pt x="914" y="730"/>
                  </a:lnTo>
                  <a:lnTo>
                    <a:pt x="916" y="725"/>
                  </a:lnTo>
                  <a:lnTo>
                    <a:pt x="917" y="722"/>
                  </a:lnTo>
                  <a:close/>
                  <a:moveTo>
                    <a:pt x="941" y="719"/>
                  </a:moveTo>
                  <a:lnTo>
                    <a:pt x="942" y="719"/>
                  </a:lnTo>
                  <a:lnTo>
                    <a:pt x="942" y="721"/>
                  </a:lnTo>
                  <a:lnTo>
                    <a:pt x="941" y="722"/>
                  </a:lnTo>
                  <a:lnTo>
                    <a:pt x="941" y="725"/>
                  </a:lnTo>
                  <a:lnTo>
                    <a:pt x="938" y="725"/>
                  </a:lnTo>
                  <a:lnTo>
                    <a:pt x="938" y="722"/>
                  </a:lnTo>
                  <a:lnTo>
                    <a:pt x="941" y="719"/>
                  </a:lnTo>
                  <a:close/>
                  <a:moveTo>
                    <a:pt x="916" y="718"/>
                  </a:moveTo>
                  <a:lnTo>
                    <a:pt x="917" y="718"/>
                  </a:lnTo>
                  <a:lnTo>
                    <a:pt x="917" y="721"/>
                  </a:lnTo>
                  <a:lnTo>
                    <a:pt x="916" y="722"/>
                  </a:lnTo>
                  <a:lnTo>
                    <a:pt x="914" y="722"/>
                  </a:lnTo>
                  <a:lnTo>
                    <a:pt x="914" y="721"/>
                  </a:lnTo>
                  <a:lnTo>
                    <a:pt x="916" y="719"/>
                  </a:lnTo>
                  <a:lnTo>
                    <a:pt x="916" y="718"/>
                  </a:lnTo>
                  <a:close/>
                  <a:moveTo>
                    <a:pt x="944" y="709"/>
                  </a:moveTo>
                  <a:lnTo>
                    <a:pt x="944" y="710"/>
                  </a:lnTo>
                  <a:lnTo>
                    <a:pt x="942" y="712"/>
                  </a:lnTo>
                  <a:lnTo>
                    <a:pt x="944" y="713"/>
                  </a:lnTo>
                  <a:lnTo>
                    <a:pt x="945" y="713"/>
                  </a:lnTo>
                  <a:lnTo>
                    <a:pt x="944" y="715"/>
                  </a:lnTo>
                  <a:lnTo>
                    <a:pt x="944" y="716"/>
                  </a:lnTo>
                  <a:lnTo>
                    <a:pt x="945" y="716"/>
                  </a:lnTo>
                  <a:lnTo>
                    <a:pt x="945" y="715"/>
                  </a:lnTo>
                  <a:lnTo>
                    <a:pt x="947" y="715"/>
                  </a:lnTo>
                  <a:lnTo>
                    <a:pt x="944" y="712"/>
                  </a:lnTo>
                  <a:lnTo>
                    <a:pt x="944" y="710"/>
                  </a:lnTo>
                  <a:lnTo>
                    <a:pt x="947" y="709"/>
                  </a:lnTo>
                  <a:lnTo>
                    <a:pt x="944" y="709"/>
                  </a:lnTo>
                  <a:close/>
                  <a:moveTo>
                    <a:pt x="941" y="706"/>
                  </a:moveTo>
                  <a:lnTo>
                    <a:pt x="941" y="707"/>
                  </a:lnTo>
                  <a:lnTo>
                    <a:pt x="942" y="707"/>
                  </a:lnTo>
                  <a:lnTo>
                    <a:pt x="942" y="706"/>
                  </a:lnTo>
                  <a:lnTo>
                    <a:pt x="941" y="706"/>
                  </a:lnTo>
                  <a:close/>
                  <a:moveTo>
                    <a:pt x="189" y="701"/>
                  </a:moveTo>
                  <a:lnTo>
                    <a:pt x="189" y="703"/>
                  </a:lnTo>
                  <a:lnTo>
                    <a:pt x="187" y="703"/>
                  </a:lnTo>
                  <a:lnTo>
                    <a:pt x="189" y="701"/>
                  </a:lnTo>
                  <a:close/>
                  <a:moveTo>
                    <a:pt x="907" y="694"/>
                  </a:moveTo>
                  <a:lnTo>
                    <a:pt x="907" y="695"/>
                  </a:lnTo>
                  <a:lnTo>
                    <a:pt x="908" y="695"/>
                  </a:lnTo>
                  <a:lnTo>
                    <a:pt x="908" y="694"/>
                  </a:lnTo>
                  <a:lnTo>
                    <a:pt x="907" y="694"/>
                  </a:lnTo>
                  <a:close/>
                  <a:moveTo>
                    <a:pt x="29" y="622"/>
                  </a:moveTo>
                  <a:lnTo>
                    <a:pt x="27" y="623"/>
                  </a:lnTo>
                  <a:lnTo>
                    <a:pt x="26" y="623"/>
                  </a:lnTo>
                  <a:lnTo>
                    <a:pt x="26" y="625"/>
                  </a:lnTo>
                  <a:lnTo>
                    <a:pt x="29" y="625"/>
                  </a:lnTo>
                  <a:lnTo>
                    <a:pt x="29" y="623"/>
                  </a:lnTo>
                  <a:lnTo>
                    <a:pt x="32" y="622"/>
                  </a:lnTo>
                  <a:lnTo>
                    <a:pt x="29" y="622"/>
                  </a:lnTo>
                  <a:close/>
                  <a:moveTo>
                    <a:pt x="397" y="0"/>
                  </a:moveTo>
                  <a:lnTo>
                    <a:pt x="400" y="0"/>
                  </a:lnTo>
                  <a:lnTo>
                    <a:pt x="400" y="2"/>
                  </a:lnTo>
                  <a:lnTo>
                    <a:pt x="401" y="3"/>
                  </a:lnTo>
                  <a:lnTo>
                    <a:pt x="403" y="3"/>
                  </a:lnTo>
                  <a:lnTo>
                    <a:pt x="404" y="5"/>
                  </a:lnTo>
                  <a:lnTo>
                    <a:pt x="406" y="5"/>
                  </a:lnTo>
                  <a:lnTo>
                    <a:pt x="407" y="3"/>
                  </a:lnTo>
                  <a:lnTo>
                    <a:pt x="409" y="3"/>
                  </a:lnTo>
                  <a:lnTo>
                    <a:pt x="409" y="5"/>
                  </a:lnTo>
                  <a:lnTo>
                    <a:pt x="410" y="5"/>
                  </a:lnTo>
                  <a:lnTo>
                    <a:pt x="410" y="6"/>
                  </a:lnTo>
                  <a:lnTo>
                    <a:pt x="412" y="6"/>
                  </a:lnTo>
                  <a:lnTo>
                    <a:pt x="413" y="8"/>
                  </a:lnTo>
                  <a:lnTo>
                    <a:pt x="415" y="8"/>
                  </a:lnTo>
                  <a:lnTo>
                    <a:pt x="418" y="6"/>
                  </a:lnTo>
                  <a:lnTo>
                    <a:pt x="419" y="6"/>
                  </a:lnTo>
                  <a:lnTo>
                    <a:pt x="424" y="11"/>
                  </a:lnTo>
                  <a:lnTo>
                    <a:pt x="425" y="11"/>
                  </a:lnTo>
                  <a:lnTo>
                    <a:pt x="428" y="9"/>
                  </a:lnTo>
                  <a:lnTo>
                    <a:pt x="431" y="9"/>
                  </a:lnTo>
                  <a:lnTo>
                    <a:pt x="437" y="11"/>
                  </a:lnTo>
                  <a:lnTo>
                    <a:pt x="439" y="11"/>
                  </a:lnTo>
                  <a:lnTo>
                    <a:pt x="440" y="9"/>
                  </a:lnTo>
                  <a:lnTo>
                    <a:pt x="443" y="9"/>
                  </a:lnTo>
                  <a:lnTo>
                    <a:pt x="446" y="12"/>
                  </a:lnTo>
                  <a:lnTo>
                    <a:pt x="449" y="12"/>
                  </a:lnTo>
                  <a:lnTo>
                    <a:pt x="451" y="9"/>
                  </a:lnTo>
                  <a:lnTo>
                    <a:pt x="455" y="9"/>
                  </a:lnTo>
                  <a:lnTo>
                    <a:pt x="455" y="11"/>
                  </a:lnTo>
                  <a:lnTo>
                    <a:pt x="453" y="14"/>
                  </a:lnTo>
                  <a:lnTo>
                    <a:pt x="453" y="17"/>
                  </a:lnTo>
                  <a:lnTo>
                    <a:pt x="452" y="21"/>
                  </a:lnTo>
                  <a:lnTo>
                    <a:pt x="453" y="26"/>
                  </a:lnTo>
                  <a:lnTo>
                    <a:pt x="458" y="33"/>
                  </a:lnTo>
                  <a:lnTo>
                    <a:pt x="459" y="36"/>
                  </a:lnTo>
                  <a:lnTo>
                    <a:pt x="459" y="42"/>
                  </a:lnTo>
                  <a:lnTo>
                    <a:pt x="462" y="45"/>
                  </a:lnTo>
                  <a:lnTo>
                    <a:pt x="465" y="56"/>
                  </a:lnTo>
                  <a:lnTo>
                    <a:pt x="465" y="57"/>
                  </a:lnTo>
                  <a:lnTo>
                    <a:pt x="468" y="59"/>
                  </a:lnTo>
                  <a:lnTo>
                    <a:pt x="470" y="60"/>
                  </a:lnTo>
                  <a:lnTo>
                    <a:pt x="480" y="62"/>
                  </a:lnTo>
                  <a:lnTo>
                    <a:pt x="483" y="63"/>
                  </a:lnTo>
                  <a:lnTo>
                    <a:pt x="491" y="71"/>
                  </a:lnTo>
                  <a:lnTo>
                    <a:pt x="492" y="71"/>
                  </a:lnTo>
                  <a:lnTo>
                    <a:pt x="495" y="72"/>
                  </a:lnTo>
                  <a:lnTo>
                    <a:pt x="497" y="74"/>
                  </a:lnTo>
                  <a:lnTo>
                    <a:pt x="497" y="77"/>
                  </a:lnTo>
                  <a:lnTo>
                    <a:pt x="498" y="78"/>
                  </a:lnTo>
                  <a:lnTo>
                    <a:pt x="497" y="78"/>
                  </a:lnTo>
                  <a:lnTo>
                    <a:pt x="497" y="80"/>
                  </a:lnTo>
                  <a:lnTo>
                    <a:pt x="494" y="83"/>
                  </a:lnTo>
                  <a:lnTo>
                    <a:pt x="489" y="86"/>
                  </a:lnTo>
                  <a:lnTo>
                    <a:pt x="486" y="87"/>
                  </a:lnTo>
                  <a:lnTo>
                    <a:pt x="485" y="93"/>
                  </a:lnTo>
                  <a:lnTo>
                    <a:pt x="488" y="99"/>
                  </a:lnTo>
                  <a:lnTo>
                    <a:pt x="488" y="102"/>
                  </a:lnTo>
                  <a:lnTo>
                    <a:pt x="489" y="107"/>
                  </a:lnTo>
                  <a:lnTo>
                    <a:pt x="488" y="117"/>
                  </a:lnTo>
                  <a:lnTo>
                    <a:pt x="489" y="120"/>
                  </a:lnTo>
                  <a:lnTo>
                    <a:pt x="491" y="122"/>
                  </a:lnTo>
                  <a:lnTo>
                    <a:pt x="497" y="131"/>
                  </a:lnTo>
                  <a:lnTo>
                    <a:pt x="500" y="131"/>
                  </a:lnTo>
                  <a:lnTo>
                    <a:pt x="500" y="132"/>
                  </a:lnTo>
                  <a:lnTo>
                    <a:pt x="501" y="132"/>
                  </a:lnTo>
                  <a:lnTo>
                    <a:pt x="501" y="135"/>
                  </a:lnTo>
                  <a:lnTo>
                    <a:pt x="506" y="135"/>
                  </a:lnTo>
                  <a:lnTo>
                    <a:pt x="509" y="137"/>
                  </a:lnTo>
                  <a:lnTo>
                    <a:pt x="515" y="137"/>
                  </a:lnTo>
                  <a:lnTo>
                    <a:pt x="516" y="138"/>
                  </a:lnTo>
                  <a:lnTo>
                    <a:pt x="516" y="140"/>
                  </a:lnTo>
                  <a:lnTo>
                    <a:pt x="515" y="141"/>
                  </a:lnTo>
                  <a:lnTo>
                    <a:pt x="515" y="143"/>
                  </a:lnTo>
                  <a:lnTo>
                    <a:pt x="513" y="144"/>
                  </a:lnTo>
                  <a:lnTo>
                    <a:pt x="513" y="150"/>
                  </a:lnTo>
                  <a:lnTo>
                    <a:pt x="515" y="150"/>
                  </a:lnTo>
                  <a:lnTo>
                    <a:pt x="518" y="153"/>
                  </a:lnTo>
                  <a:lnTo>
                    <a:pt x="518" y="156"/>
                  </a:lnTo>
                  <a:lnTo>
                    <a:pt x="521" y="159"/>
                  </a:lnTo>
                  <a:lnTo>
                    <a:pt x="521" y="167"/>
                  </a:lnTo>
                  <a:lnTo>
                    <a:pt x="518" y="168"/>
                  </a:lnTo>
                  <a:lnTo>
                    <a:pt x="512" y="174"/>
                  </a:lnTo>
                  <a:lnTo>
                    <a:pt x="506" y="174"/>
                  </a:lnTo>
                  <a:lnTo>
                    <a:pt x="504" y="176"/>
                  </a:lnTo>
                  <a:lnTo>
                    <a:pt x="503" y="176"/>
                  </a:lnTo>
                  <a:lnTo>
                    <a:pt x="503" y="180"/>
                  </a:lnTo>
                  <a:lnTo>
                    <a:pt x="501" y="182"/>
                  </a:lnTo>
                  <a:lnTo>
                    <a:pt x="497" y="182"/>
                  </a:lnTo>
                  <a:lnTo>
                    <a:pt x="495" y="183"/>
                  </a:lnTo>
                  <a:lnTo>
                    <a:pt x="494" y="182"/>
                  </a:lnTo>
                  <a:lnTo>
                    <a:pt x="492" y="182"/>
                  </a:lnTo>
                  <a:lnTo>
                    <a:pt x="491" y="180"/>
                  </a:lnTo>
                  <a:lnTo>
                    <a:pt x="488" y="176"/>
                  </a:lnTo>
                  <a:lnTo>
                    <a:pt x="486" y="174"/>
                  </a:lnTo>
                  <a:lnTo>
                    <a:pt x="486" y="167"/>
                  </a:lnTo>
                  <a:lnTo>
                    <a:pt x="485" y="167"/>
                  </a:lnTo>
                  <a:lnTo>
                    <a:pt x="482" y="170"/>
                  </a:lnTo>
                  <a:lnTo>
                    <a:pt x="479" y="171"/>
                  </a:lnTo>
                  <a:lnTo>
                    <a:pt x="470" y="171"/>
                  </a:lnTo>
                  <a:lnTo>
                    <a:pt x="470" y="173"/>
                  </a:lnTo>
                  <a:lnTo>
                    <a:pt x="473" y="179"/>
                  </a:lnTo>
                  <a:lnTo>
                    <a:pt x="473" y="189"/>
                  </a:lnTo>
                  <a:lnTo>
                    <a:pt x="474" y="189"/>
                  </a:lnTo>
                  <a:lnTo>
                    <a:pt x="477" y="192"/>
                  </a:lnTo>
                  <a:lnTo>
                    <a:pt x="477" y="194"/>
                  </a:lnTo>
                  <a:lnTo>
                    <a:pt x="482" y="200"/>
                  </a:lnTo>
                  <a:lnTo>
                    <a:pt x="483" y="201"/>
                  </a:lnTo>
                  <a:lnTo>
                    <a:pt x="485" y="201"/>
                  </a:lnTo>
                  <a:lnTo>
                    <a:pt x="486" y="203"/>
                  </a:lnTo>
                  <a:lnTo>
                    <a:pt x="486" y="204"/>
                  </a:lnTo>
                  <a:lnTo>
                    <a:pt x="485" y="207"/>
                  </a:lnTo>
                  <a:lnTo>
                    <a:pt x="485" y="212"/>
                  </a:lnTo>
                  <a:lnTo>
                    <a:pt x="483" y="213"/>
                  </a:lnTo>
                  <a:lnTo>
                    <a:pt x="485" y="215"/>
                  </a:lnTo>
                  <a:lnTo>
                    <a:pt x="485" y="219"/>
                  </a:lnTo>
                  <a:lnTo>
                    <a:pt x="488" y="219"/>
                  </a:lnTo>
                  <a:lnTo>
                    <a:pt x="489" y="221"/>
                  </a:lnTo>
                  <a:lnTo>
                    <a:pt x="489" y="224"/>
                  </a:lnTo>
                  <a:lnTo>
                    <a:pt x="485" y="228"/>
                  </a:lnTo>
                  <a:lnTo>
                    <a:pt x="485" y="230"/>
                  </a:lnTo>
                  <a:lnTo>
                    <a:pt x="486" y="230"/>
                  </a:lnTo>
                  <a:lnTo>
                    <a:pt x="488" y="231"/>
                  </a:lnTo>
                  <a:lnTo>
                    <a:pt x="488" y="233"/>
                  </a:lnTo>
                  <a:lnTo>
                    <a:pt x="486" y="236"/>
                  </a:lnTo>
                  <a:lnTo>
                    <a:pt x="486" y="238"/>
                  </a:lnTo>
                  <a:lnTo>
                    <a:pt x="488" y="240"/>
                  </a:lnTo>
                  <a:lnTo>
                    <a:pt x="489" y="240"/>
                  </a:lnTo>
                  <a:lnTo>
                    <a:pt x="489" y="238"/>
                  </a:lnTo>
                  <a:lnTo>
                    <a:pt x="491" y="240"/>
                  </a:lnTo>
                  <a:lnTo>
                    <a:pt x="492" y="240"/>
                  </a:lnTo>
                  <a:lnTo>
                    <a:pt x="492" y="238"/>
                  </a:lnTo>
                  <a:lnTo>
                    <a:pt x="494" y="238"/>
                  </a:lnTo>
                  <a:lnTo>
                    <a:pt x="494" y="236"/>
                  </a:lnTo>
                  <a:lnTo>
                    <a:pt x="495" y="237"/>
                  </a:lnTo>
                  <a:lnTo>
                    <a:pt x="497" y="237"/>
                  </a:lnTo>
                  <a:lnTo>
                    <a:pt x="497" y="238"/>
                  </a:lnTo>
                  <a:lnTo>
                    <a:pt x="498" y="237"/>
                  </a:lnTo>
                  <a:lnTo>
                    <a:pt x="498" y="233"/>
                  </a:lnTo>
                  <a:lnTo>
                    <a:pt x="501" y="231"/>
                  </a:lnTo>
                  <a:lnTo>
                    <a:pt x="501" y="233"/>
                  </a:lnTo>
                  <a:lnTo>
                    <a:pt x="503" y="233"/>
                  </a:lnTo>
                  <a:lnTo>
                    <a:pt x="504" y="234"/>
                  </a:lnTo>
                  <a:lnTo>
                    <a:pt x="504" y="236"/>
                  </a:lnTo>
                  <a:lnTo>
                    <a:pt x="506" y="236"/>
                  </a:lnTo>
                  <a:lnTo>
                    <a:pt x="506" y="237"/>
                  </a:lnTo>
                  <a:lnTo>
                    <a:pt x="507" y="237"/>
                  </a:lnTo>
                  <a:lnTo>
                    <a:pt x="507" y="240"/>
                  </a:lnTo>
                  <a:lnTo>
                    <a:pt x="509" y="240"/>
                  </a:lnTo>
                  <a:lnTo>
                    <a:pt x="509" y="243"/>
                  </a:lnTo>
                  <a:lnTo>
                    <a:pt x="510" y="243"/>
                  </a:lnTo>
                  <a:lnTo>
                    <a:pt x="510" y="246"/>
                  </a:lnTo>
                  <a:lnTo>
                    <a:pt x="512" y="247"/>
                  </a:lnTo>
                  <a:lnTo>
                    <a:pt x="512" y="249"/>
                  </a:lnTo>
                  <a:lnTo>
                    <a:pt x="515" y="249"/>
                  </a:lnTo>
                  <a:lnTo>
                    <a:pt x="515" y="250"/>
                  </a:lnTo>
                  <a:lnTo>
                    <a:pt x="516" y="250"/>
                  </a:lnTo>
                  <a:lnTo>
                    <a:pt x="516" y="253"/>
                  </a:lnTo>
                  <a:lnTo>
                    <a:pt x="521" y="253"/>
                  </a:lnTo>
                  <a:lnTo>
                    <a:pt x="521" y="256"/>
                  </a:lnTo>
                  <a:lnTo>
                    <a:pt x="522" y="256"/>
                  </a:lnTo>
                  <a:lnTo>
                    <a:pt x="522" y="258"/>
                  </a:lnTo>
                  <a:lnTo>
                    <a:pt x="525" y="258"/>
                  </a:lnTo>
                  <a:lnTo>
                    <a:pt x="527" y="256"/>
                  </a:lnTo>
                  <a:lnTo>
                    <a:pt x="537" y="256"/>
                  </a:lnTo>
                  <a:lnTo>
                    <a:pt x="537" y="258"/>
                  </a:lnTo>
                  <a:lnTo>
                    <a:pt x="540" y="261"/>
                  </a:lnTo>
                  <a:lnTo>
                    <a:pt x="542" y="261"/>
                  </a:lnTo>
                  <a:lnTo>
                    <a:pt x="545" y="262"/>
                  </a:lnTo>
                  <a:lnTo>
                    <a:pt x="545" y="264"/>
                  </a:lnTo>
                  <a:lnTo>
                    <a:pt x="548" y="267"/>
                  </a:lnTo>
                  <a:lnTo>
                    <a:pt x="549" y="267"/>
                  </a:lnTo>
                  <a:lnTo>
                    <a:pt x="551" y="265"/>
                  </a:lnTo>
                  <a:lnTo>
                    <a:pt x="554" y="268"/>
                  </a:lnTo>
                  <a:lnTo>
                    <a:pt x="555" y="268"/>
                  </a:lnTo>
                  <a:lnTo>
                    <a:pt x="555" y="270"/>
                  </a:lnTo>
                  <a:lnTo>
                    <a:pt x="554" y="271"/>
                  </a:lnTo>
                  <a:lnTo>
                    <a:pt x="552" y="271"/>
                  </a:lnTo>
                  <a:lnTo>
                    <a:pt x="552" y="274"/>
                  </a:lnTo>
                  <a:lnTo>
                    <a:pt x="554" y="274"/>
                  </a:lnTo>
                  <a:lnTo>
                    <a:pt x="554" y="276"/>
                  </a:lnTo>
                  <a:lnTo>
                    <a:pt x="552" y="277"/>
                  </a:lnTo>
                  <a:lnTo>
                    <a:pt x="552" y="279"/>
                  </a:lnTo>
                  <a:lnTo>
                    <a:pt x="554" y="277"/>
                  </a:lnTo>
                  <a:lnTo>
                    <a:pt x="555" y="277"/>
                  </a:lnTo>
                  <a:lnTo>
                    <a:pt x="560" y="279"/>
                  </a:lnTo>
                  <a:lnTo>
                    <a:pt x="564" y="282"/>
                  </a:lnTo>
                  <a:lnTo>
                    <a:pt x="566" y="282"/>
                  </a:lnTo>
                  <a:lnTo>
                    <a:pt x="567" y="283"/>
                  </a:lnTo>
                  <a:lnTo>
                    <a:pt x="572" y="283"/>
                  </a:lnTo>
                  <a:lnTo>
                    <a:pt x="576" y="286"/>
                  </a:lnTo>
                  <a:lnTo>
                    <a:pt x="579" y="289"/>
                  </a:lnTo>
                  <a:lnTo>
                    <a:pt x="579" y="291"/>
                  </a:lnTo>
                  <a:lnTo>
                    <a:pt x="581" y="291"/>
                  </a:lnTo>
                  <a:lnTo>
                    <a:pt x="584" y="292"/>
                  </a:lnTo>
                  <a:lnTo>
                    <a:pt x="588" y="294"/>
                  </a:lnTo>
                  <a:lnTo>
                    <a:pt x="590" y="294"/>
                  </a:lnTo>
                  <a:lnTo>
                    <a:pt x="590" y="297"/>
                  </a:lnTo>
                  <a:lnTo>
                    <a:pt x="587" y="298"/>
                  </a:lnTo>
                  <a:lnTo>
                    <a:pt x="585" y="298"/>
                  </a:lnTo>
                  <a:lnTo>
                    <a:pt x="585" y="297"/>
                  </a:lnTo>
                  <a:lnTo>
                    <a:pt x="584" y="297"/>
                  </a:lnTo>
                  <a:lnTo>
                    <a:pt x="584" y="298"/>
                  </a:lnTo>
                  <a:lnTo>
                    <a:pt x="582" y="298"/>
                  </a:lnTo>
                  <a:lnTo>
                    <a:pt x="584" y="300"/>
                  </a:lnTo>
                  <a:lnTo>
                    <a:pt x="579" y="304"/>
                  </a:lnTo>
                  <a:lnTo>
                    <a:pt x="578" y="307"/>
                  </a:lnTo>
                  <a:lnTo>
                    <a:pt x="575" y="309"/>
                  </a:lnTo>
                  <a:lnTo>
                    <a:pt x="573" y="310"/>
                  </a:lnTo>
                  <a:lnTo>
                    <a:pt x="570" y="310"/>
                  </a:lnTo>
                  <a:lnTo>
                    <a:pt x="570" y="312"/>
                  </a:lnTo>
                  <a:lnTo>
                    <a:pt x="569" y="313"/>
                  </a:lnTo>
                  <a:lnTo>
                    <a:pt x="569" y="315"/>
                  </a:lnTo>
                  <a:lnTo>
                    <a:pt x="566" y="318"/>
                  </a:lnTo>
                  <a:lnTo>
                    <a:pt x="566" y="319"/>
                  </a:lnTo>
                  <a:lnTo>
                    <a:pt x="563" y="319"/>
                  </a:lnTo>
                  <a:lnTo>
                    <a:pt x="560" y="322"/>
                  </a:lnTo>
                  <a:lnTo>
                    <a:pt x="560" y="324"/>
                  </a:lnTo>
                  <a:lnTo>
                    <a:pt x="561" y="325"/>
                  </a:lnTo>
                  <a:lnTo>
                    <a:pt x="561" y="330"/>
                  </a:lnTo>
                  <a:lnTo>
                    <a:pt x="560" y="331"/>
                  </a:lnTo>
                  <a:lnTo>
                    <a:pt x="560" y="333"/>
                  </a:lnTo>
                  <a:lnTo>
                    <a:pt x="558" y="333"/>
                  </a:lnTo>
                  <a:lnTo>
                    <a:pt x="558" y="334"/>
                  </a:lnTo>
                  <a:lnTo>
                    <a:pt x="557" y="336"/>
                  </a:lnTo>
                  <a:lnTo>
                    <a:pt x="557" y="337"/>
                  </a:lnTo>
                  <a:lnTo>
                    <a:pt x="554" y="337"/>
                  </a:lnTo>
                  <a:lnTo>
                    <a:pt x="554" y="339"/>
                  </a:lnTo>
                  <a:lnTo>
                    <a:pt x="555" y="342"/>
                  </a:lnTo>
                  <a:lnTo>
                    <a:pt x="555" y="343"/>
                  </a:lnTo>
                  <a:lnTo>
                    <a:pt x="557" y="343"/>
                  </a:lnTo>
                  <a:lnTo>
                    <a:pt x="557" y="349"/>
                  </a:lnTo>
                  <a:lnTo>
                    <a:pt x="554" y="349"/>
                  </a:lnTo>
                  <a:lnTo>
                    <a:pt x="554" y="351"/>
                  </a:lnTo>
                  <a:lnTo>
                    <a:pt x="555" y="352"/>
                  </a:lnTo>
                  <a:lnTo>
                    <a:pt x="555" y="354"/>
                  </a:lnTo>
                  <a:lnTo>
                    <a:pt x="552" y="354"/>
                  </a:lnTo>
                  <a:lnTo>
                    <a:pt x="549" y="357"/>
                  </a:lnTo>
                  <a:lnTo>
                    <a:pt x="549" y="361"/>
                  </a:lnTo>
                  <a:lnTo>
                    <a:pt x="548" y="363"/>
                  </a:lnTo>
                  <a:lnTo>
                    <a:pt x="546" y="363"/>
                  </a:lnTo>
                  <a:lnTo>
                    <a:pt x="546" y="370"/>
                  </a:lnTo>
                  <a:lnTo>
                    <a:pt x="549" y="370"/>
                  </a:lnTo>
                  <a:lnTo>
                    <a:pt x="551" y="373"/>
                  </a:lnTo>
                  <a:lnTo>
                    <a:pt x="554" y="373"/>
                  </a:lnTo>
                  <a:lnTo>
                    <a:pt x="555" y="375"/>
                  </a:lnTo>
                  <a:lnTo>
                    <a:pt x="555" y="376"/>
                  </a:lnTo>
                  <a:lnTo>
                    <a:pt x="558" y="376"/>
                  </a:lnTo>
                  <a:lnTo>
                    <a:pt x="558" y="379"/>
                  </a:lnTo>
                  <a:lnTo>
                    <a:pt x="560" y="379"/>
                  </a:lnTo>
                  <a:lnTo>
                    <a:pt x="560" y="381"/>
                  </a:lnTo>
                  <a:lnTo>
                    <a:pt x="561" y="381"/>
                  </a:lnTo>
                  <a:lnTo>
                    <a:pt x="563" y="379"/>
                  </a:lnTo>
                  <a:lnTo>
                    <a:pt x="567" y="384"/>
                  </a:lnTo>
                  <a:lnTo>
                    <a:pt x="567" y="382"/>
                  </a:lnTo>
                  <a:lnTo>
                    <a:pt x="566" y="379"/>
                  </a:lnTo>
                  <a:lnTo>
                    <a:pt x="567" y="378"/>
                  </a:lnTo>
                  <a:lnTo>
                    <a:pt x="570" y="378"/>
                  </a:lnTo>
                  <a:lnTo>
                    <a:pt x="570" y="379"/>
                  </a:lnTo>
                  <a:lnTo>
                    <a:pt x="573" y="379"/>
                  </a:lnTo>
                  <a:lnTo>
                    <a:pt x="575" y="381"/>
                  </a:lnTo>
                  <a:lnTo>
                    <a:pt x="575" y="382"/>
                  </a:lnTo>
                  <a:lnTo>
                    <a:pt x="576" y="384"/>
                  </a:lnTo>
                  <a:lnTo>
                    <a:pt x="578" y="384"/>
                  </a:lnTo>
                  <a:lnTo>
                    <a:pt x="581" y="385"/>
                  </a:lnTo>
                  <a:lnTo>
                    <a:pt x="581" y="387"/>
                  </a:lnTo>
                  <a:lnTo>
                    <a:pt x="584" y="387"/>
                  </a:lnTo>
                  <a:lnTo>
                    <a:pt x="585" y="388"/>
                  </a:lnTo>
                  <a:lnTo>
                    <a:pt x="585" y="390"/>
                  </a:lnTo>
                  <a:lnTo>
                    <a:pt x="590" y="390"/>
                  </a:lnTo>
                  <a:lnTo>
                    <a:pt x="590" y="391"/>
                  </a:lnTo>
                  <a:lnTo>
                    <a:pt x="593" y="393"/>
                  </a:lnTo>
                  <a:lnTo>
                    <a:pt x="597" y="393"/>
                  </a:lnTo>
                  <a:lnTo>
                    <a:pt x="599" y="394"/>
                  </a:lnTo>
                  <a:lnTo>
                    <a:pt x="600" y="399"/>
                  </a:lnTo>
                  <a:lnTo>
                    <a:pt x="600" y="400"/>
                  </a:lnTo>
                  <a:lnTo>
                    <a:pt x="603" y="403"/>
                  </a:lnTo>
                  <a:lnTo>
                    <a:pt x="603" y="406"/>
                  </a:lnTo>
                  <a:lnTo>
                    <a:pt x="606" y="406"/>
                  </a:lnTo>
                  <a:lnTo>
                    <a:pt x="606" y="403"/>
                  </a:lnTo>
                  <a:lnTo>
                    <a:pt x="608" y="403"/>
                  </a:lnTo>
                  <a:lnTo>
                    <a:pt x="608" y="405"/>
                  </a:lnTo>
                  <a:lnTo>
                    <a:pt x="609" y="405"/>
                  </a:lnTo>
                  <a:lnTo>
                    <a:pt x="611" y="406"/>
                  </a:lnTo>
                  <a:lnTo>
                    <a:pt x="611" y="409"/>
                  </a:lnTo>
                  <a:lnTo>
                    <a:pt x="612" y="409"/>
                  </a:lnTo>
                  <a:lnTo>
                    <a:pt x="616" y="411"/>
                  </a:lnTo>
                  <a:lnTo>
                    <a:pt x="616" y="412"/>
                  </a:lnTo>
                  <a:lnTo>
                    <a:pt x="618" y="412"/>
                  </a:lnTo>
                  <a:lnTo>
                    <a:pt x="618" y="414"/>
                  </a:lnTo>
                  <a:lnTo>
                    <a:pt x="621" y="414"/>
                  </a:lnTo>
                  <a:lnTo>
                    <a:pt x="624" y="417"/>
                  </a:lnTo>
                  <a:lnTo>
                    <a:pt x="627" y="418"/>
                  </a:lnTo>
                  <a:lnTo>
                    <a:pt x="628" y="420"/>
                  </a:lnTo>
                  <a:lnTo>
                    <a:pt x="631" y="420"/>
                  </a:lnTo>
                  <a:lnTo>
                    <a:pt x="633" y="417"/>
                  </a:lnTo>
                  <a:lnTo>
                    <a:pt x="639" y="417"/>
                  </a:lnTo>
                  <a:lnTo>
                    <a:pt x="639" y="418"/>
                  </a:lnTo>
                  <a:lnTo>
                    <a:pt x="640" y="420"/>
                  </a:lnTo>
                  <a:lnTo>
                    <a:pt x="643" y="420"/>
                  </a:lnTo>
                  <a:lnTo>
                    <a:pt x="648" y="424"/>
                  </a:lnTo>
                  <a:lnTo>
                    <a:pt x="652" y="427"/>
                  </a:lnTo>
                  <a:lnTo>
                    <a:pt x="654" y="429"/>
                  </a:lnTo>
                  <a:lnTo>
                    <a:pt x="657" y="430"/>
                  </a:lnTo>
                  <a:lnTo>
                    <a:pt x="660" y="429"/>
                  </a:lnTo>
                  <a:lnTo>
                    <a:pt x="666" y="427"/>
                  </a:lnTo>
                  <a:lnTo>
                    <a:pt x="667" y="429"/>
                  </a:lnTo>
                  <a:lnTo>
                    <a:pt x="667" y="430"/>
                  </a:lnTo>
                  <a:lnTo>
                    <a:pt x="669" y="432"/>
                  </a:lnTo>
                  <a:lnTo>
                    <a:pt x="669" y="438"/>
                  </a:lnTo>
                  <a:lnTo>
                    <a:pt x="670" y="439"/>
                  </a:lnTo>
                  <a:lnTo>
                    <a:pt x="678" y="439"/>
                  </a:lnTo>
                  <a:lnTo>
                    <a:pt x="679" y="441"/>
                  </a:lnTo>
                  <a:lnTo>
                    <a:pt x="688" y="441"/>
                  </a:lnTo>
                  <a:lnTo>
                    <a:pt x="693" y="445"/>
                  </a:lnTo>
                  <a:lnTo>
                    <a:pt x="693" y="447"/>
                  </a:lnTo>
                  <a:lnTo>
                    <a:pt x="697" y="447"/>
                  </a:lnTo>
                  <a:lnTo>
                    <a:pt x="697" y="445"/>
                  </a:lnTo>
                  <a:lnTo>
                    <a:pt x="699" y="444"/>
                  </a:lnTo>
                  <a:lnTo>
                    <a:pt x="699" y="441"/>
                  </a:lnTo>
                  <a:lnTo>
                    <a:pt x="700" y="439"/>
                  </a:lnTo>
                  <a:lnTo>
                    <a:pt x="703" y="439"/>
                  </a:lnTo>
                  <a:lnTo>
                    <a:pt x="709" y="441"/>
                  </a:lnTo>
                  <a:lnTo>
                    <a:pt x="721" y="447"/>
                  </a:lnTo>
                  <a:lnTo>
                    <a:pt x="721" y="442"/>
                  </a:lnTo>
                  <a:lnTo>
                    <a:pt x="720" y="442"/>
                  </a:lnTo>
                  <a:lnTo>
                    <a:pt x="721" y="441"/>
                  </a:lnTo>
                  <a:lnTo>
                    <a:pt x="724" y="441"/>
                  </a:lnTo>
                  <a:lnTo>
                    <a:pt x="727" y="442"/>
                  </a:lnTo>
                  <a:lnTo>
                    <a:pt x="732" y="438"/>
                  </a:lnTo>
                  <a:lnTo>
                    <a:pt x="733" y="438"/>
                  </a:lnTo>
                  <a:lnTo>
                    <a:pt x="733" y="439"/>
                  </a:lnTo>
                  <a:lnTo>
                    <a:pt x="735" y="439"/>
                  </a:lnTo>
                  <a:lnTo>
                    <a:pt x="736" y="441"/>
                  </a:lnTo>
                  <a:lnTo>
                    <a:pt x="736" y="442"/>
                  </a:lnTo>
                  <a:lnTo>
                    <a:pt x="739" y="442"/>
                  </a:lnTo>
                  <a:lnTo>
                    <a:pt x="741" y="444"/>
                  </a:lnTo>
                  <a:lnTo>
                    <a:pt x="741" y="445"/>
                  </a:lnTo>
                  <a:lnTo>
                    <a:pt x="754" y="447"/>
                  </a:lnTo>
                  <a:lnTo>
                    <a:pt x="757" y="450"/>
                  </a:lnTo>
                  <a:lnTo>
                    <a:pt x="757" y="451"/>
                  </a:lnTo>
                  <a:lnTo>
                    <a:pt x="759" y="454"/>
                  </a:lnTo>
                  <a:lnTo>
                    <a:pt x="759" y="456"/>
                  </a:lnTo>
                  <a:lnTo>
                    <a:pt x="757" y="457"/>
                  </a:lnTo>
                  <a:lnTo>
                    <a:pt x="757" y="460"/>
                  </a:lnTo>
                  <a:lnTo>
                    <a:pt x="756" y="462"/>
                  </a:lnTo>
                  <a:lnTo>
                    <a:pt x="757" y="462"/>
                  </a:lnTo>
                  <a:lnTo>
                    <a:pt x="757" y="463"/>
                  </a:lnTo>
                  <a:lnTo>
                    <a:pt x="763" y="465"/>
                  </a:lnTo>
                  <a:lnTo>
                    <a:pt x="763" y="463"/>
                  </a:lnTo>
                  <a:lnTo>
                    <a:pt x="765" y="463"/>
                  </a:lnTo>
                  <a:lnTo>
                    <a:pt x="766" y="465"/>
                  </a:lnTo>
                  <a:lnTo>
                    <a:pt x="769" y="465"/>
                  </a:lnTo>
                  <a:lnTo>
                    <a:pt x="771" y="466"/>
                  </a:lnTo>
                  <a:lnTo>
                    <a:pt x="771" y="468"/>
                  </a:lnTo>
                  <a:lnTo>
                    <a:pt x="773" y="471"/>
                  </a:lnTo>
                  <a:lnTo>
                    <a:pt x="775" y="471"/>
                  </a:lnTo>
                  <a:lnTo>
                    <a:pt x="775" y="472"/>
                  </a:lnTo>
                  <a:lnTo>
                    <a:pt x="778" y="471"/>
                  </a:lnTo>
                  <a:lnTo>
                    <a:pt x="779" y="471"/>
                  </a:lnTo>
                  <a:lnTo>
                    <a:pt x="781" y="472"/>
                  </a:lnTo>
                  <a:lnTo>
                    <a:pt x="781" y="475"/>
                  </a:lnTo>
                  <a:lnTo>
                    <a:pt x="782" y="477"/>
                  </a:lnTo>
                  <a:lnTo>
                    <a:pt x="787" y="478"/>
                  </a:lnTo>
                  <a:lnTo>
                    <a:pt x="788" y="477"/>
                  </a:lnTo>
                  <a:lnTo>
                    <a:pt x="790" y="477"/>
                  </a:lnTo>
                  <a:lnTo>
                    <a:pt x="790" y="475"/>
                  </a:lnTo>
                  <a:lnTo>
                    <a:pt x="794" y="475"/>
                  </a:lnTo>
                  <a:lnTo>
                    <a:pt x="796" y="474"/>
                  </a:lnTo>
                  <a:lnTo>
                    <a:pt x="797" y="474"/>
                  </a:lnTo>
                  <a:lnTo>
                    <a:pt x="800" y="472"/>
                  </a:lnTo>
                  <a:lnTo>
                    <a:pt x="802" y="472"/>
                  </a:lnTo>
                  <a:lnTo>
                    <a:pt x="805" y="474"/>
                  </a:lnTo>
                  <a:lnTo>
                    <a:pt x="806" y="475"/>
                  </a:lnTo>
                  <a:lnTo>
                    <a:pt x="806" y="483"/>
                  </a:lnTo>
                  <a:lnTo>
                    <a:pt x="809" y="484"/>
                  </a:lnTo>
                  <a:lnTo>
                    <a:pt x="811" y="484"/>
                  </a:lnTo>
                  <a:lnTo>
                    <a:pt x="811" y="486"/>
                  </a:lnTo>
                  <a:lnTo>
                    <a:pt x="814" y="486"/>
                  </a:lnTo>
                  <a:lnTo>
                    <a:pt x="817" y="483"/>
                  </a:lnTo>
                  <a:lnTo>
                    <a:pt x="818" y="483"/>
                  </a:lnTo>
                  <a:lnTo>
                    <a:pt x="820" y="481"/>
                  </a:lnTo>
                  <a:lnTo>
                    <a:pt x="821" y="483"/>
                  </a:lnTo>
                  <a:lnTo>
                    <a:pt x="824" y="484"/>
                  </a:lnTo>
                  <a:lnTo>
                    <a:pt x="827" y="484"/>
                  </a:lnTo>
                  <a:lnTo>
                    <a:pt x="827" y="486"/>
                  </a:lnTo>
                  <a:lnTo>
                    <a:pt x="829" y="486"/>
                  </a:lnTo>
                  <a:lnTo>
                    <a:pt x="830" y="484"/>
                  </a:lnTo>
                  <a:lnTo>
                    <a:pt x="833" y="484"/>
                  </a:lnTo>
                  <a:lnTo>
                    <a:pt x="833" y="486"/>
                  </a:lnTo>
                  <a:lnTo>
                    <a:pt x="836" y="486"/>
                  </a:lnTo>
                  <a:lnTo>
                    <a:pt x="839" y="487"/>
                  </a:lnTo>
                  <a:lnTo>
                    <a:pt x="841" y="489"/>
                  </a:lnTo>
                  <a:lnTo>
                    <a:pt x="844" y="489"/>
                  </a:lnTo>
                  <a:lnTo>
                    <a:pt x="844" y="490"/>
                  </a:lnTo>
                  <a:lnTo>
                    <a:pt x="845" y="490"/>
                  </a:lnTo>
                  <a:lnTo>
                    <a:pt x="851" y="493"/>
                  </a:lnTo>
                  <a:lnTo>
                    <a:pt x="853" y="495"/>
                  </a:lnTo>
                  <a:lnTo>
                    <a:pt x="853" y="493"/>
                  </a:lnTo>
                  <a:lnTo>
                    <a:pt x="857" y="493"/>
                  </a:lnTo>
                  <a:lnTo>
                    <a:pt x="862" y="489"/>
                  </a:lnTo>
                  <a:lnTo>
                    <a:pt x="865" y="489"/>
                  </a:lnTo>
                  <a:lnTo>
                    <a:pt x="865" y="487"/>
                  </a:lnTo>
                  <a:lnTo>
                    <a:pt x="866" y="486"/>
                  </a:lnTo>
                  <a:lnTo>
                    <a:pt x="868" y="486"/>
                  </a:lnTo>
                  <a:lnTo>
                    <a:pt x="868" y="492"/>
                  </a:lnTo>
                  <a:lnTo>
                    <a:pt x="871" y="495"/>
                  </a:lnTo>
                  <a:lnTo>
                    <a:pt x="875" y="495"/>
                  </a:lnTo>
                  <a:lnTo>
                    <a:pt x="877" y="496"/>
                  </a:lnTo>
                  <a:lnTo>
                    <a:pt x="880" y="498"/>
                  </a:lnTo>
                  <a:lnTo>
                    <a:pt x="881" y="495"/>
                  </a:lnTo>
                  <a:lnTo>
                    <a:pt x="883" y="493"/>
                  </a:lnTo>
                  <a:lnTo>
                    <a:pt x="887" y="493"/>
                  </a:lnTo>
                  <a:lnTo>
                    <a:pt x="890" y="496"/>
                  </a:lnTo>
                  <a:lnTo>
                    <a:pt x="892" y="496"/>
                  </a:lnTo>
                  <a:lnTo>
                    <a:pt x="895" y="495"/>
                  </a:lnTo>
                  <a:lnTo>
                    <a:pt x="896" y="495"/>
                  </a:lnTo>
                  <a:lnTo>
                    <a:pt x="896" y="493"/>
                  </a:lnTo>
                  <a:lnTo>
                    <a:pt x="898" y="495"/>
                  </a:lnTo>
                  <a:lnTo>
                    <a:pt x="899" y="495"/>
                  </a:lnTo>
                  <a:lnTo>
                    <a:pt x="899" y="493"/>
                  </a:lnTo>
                  <a:lnTo>
                    <a:pt x="901" y="493"/>
                  </a:lnTo>
                  <a:lnTo>
                    <a:pt x="901" y="492"/>
                  </a:lnTo>
                  <a:lnTo>
                    <a:pt x="902" y="493"/>
                  </a:lnTo>
                  <a:lnTo>
                    <a:pt x="904" y="493"/>
                  </a:lnTo>
                  <a:lnTo>
                    <a:pt x="905" y="492"/>
                  </a:lnTo>
                  <a:lnTo>
                    <a:pt x="907" y="493"/>
                  </a:lnTo>
                  <a:lnTo>
                    <a:pt x="907" y="495"/>
                  </a:lnTo>
                  <a:lnTo>
                    <a:pt x="908" y="495"/>
                  </a:lnTo>
                  <a:lnTo>
                    <a:pt x="910" y="496"/>
                  </a:lnTo>
                  <a:lnTo>
                    <a:pt x="911" y="496"/>
                  </a:lnTo>
                  <a:lnTo>
                    <a:pt x="913" y="495"/>
                  </a:lnTo>
                  <a:lnTo>
                    <a:pt x="914" y="492"/>
                  </a:lnTo>
                  <a:lnTo>
                    <a:pt x="916" y="490"/>
                  </a:lnTo>
                  <a:lnTo>
                    <a:pt x="916" y="486"/>
                  </a:lnTo>
                  <a:lnTo>
                    <a:pt x="919" y="481"/>
                  </a:lnTo>
                  <a:lnTo>
                    <a:pt x="919" y="471"/>
                  </a:lnTo>
                  <a:lnTo>
                    <a:pt x="917" y="471"/>
                  </a:lnTo>
                  <a:lnTo>
                    <a:pt x="917" y="468"/>
                  </a:lnTo>
                  <a:lnTo>
                    <a:pt x="914" y="465"/>
                  </a:lnTo>
                  <a:lnTo>
                    <a:pt x="914" y="463"/>
                  </a:lnTo>
                  <a:lnTo>
                    <a:pt x="913" y="463"/>
                  </a:lnTo>
                  <a:lnTo>
                    <a:pt x="913" y="462"/>
                  </a:lnTo>
                  <a:lnTo>
                    <a:pt x="911" y="462"/>
                  </a:lnTo>
                  <a:lnTo>
                    <a:pt x="911" y="460"/>
                  </a:lnTo>
                  <a:lnTo>
                    <a:pt x="910" y="459"/>
                  </a:lnTo>
                  <a:lnTo>
                    <a:pt x="911" y="457"/>
                  </a:lnTo>
                  <a:lnTo>
                    <a:pt x="911" y="451"/>
                  </a:lnTo>
                  <a:lnTo>
                    <a:pt x="913" y="448"/>
                  </a:lnTo>
                  <a:lnTo>
                    <a:pt x="913" y="439"/>
                  </a:lnTo>
                  <a:lnTo>
                    <a:pt x="914" y="436"/>
                  </a:lnTo>
                  <a:lnTo>
                    <a:pt x="917" y="427"/>
                  </a:lnTo>
                  <a:lnTo>
                    <a:pt x="919" y="426"/>
                  </a:lnTo>
                  <a:lnTo>
                    <a:pt x="919" y="420"/>
                  </a:lnTo>
                  <a:lnTo>
                    <a:pt x="917" y="420"/>
                  </a:lnTo>
                  <a:lnTo>
                    <a:pt x="916" y="418"/>
                  </a:lnTo>
                  <a:lnTo>
                    <a:pt x="916" y="417"/>
                  </a:lnTo>
                  <a:lnTo>
                    <a:pt x="917" y="415"/>
                  </a:lnTo>
                  <a:lnTo>
                    <a:pt x="920" y="415"/>
                  </a:lnTo>
                  <a:lnTo>
                    <a:pt x="929" y="414"/>
                  </a:lnTo>
                  <a:lnTo>
                    <a:pt x="929" y="412"/>
                  </a:lnTo>
                  <a:lnTo>
                    <a:pt x="932" y="411"/>
                  </a:lnTo>
                  <a:lnTo>
                    <a:pt x="935" y="411"/>
                  </a:lnTo>
                  <a:lnTo>
                    <a:pt x="935" y="409"/>
                  </a:lnTo>
                  <a:lnTo>
                    <a:pt x="936" y="409"/>
                  </a:lnTo>
                  <a:lnTo>
                    <a:pt x="938" y="408"/>
                  </a:lnTo>
                  <a:lnTo>
                    <a:pt x="939" y="408"/>
                  </a:lnTo>
                  <a:lnTo>
                    <a:pt x="941" y="409"/>
                  </a:lnTo>
                  <a:lnTo>
                    <a:pt x="945" y="409"/>
                  </a:lnTo>
                  <a:lnTo>
                    <a:pt x="948" y="412"/>
                  </a:lnTo>
                  <a:lnTo>
                    <a:pt x="948" y="417"/>
                  </a:lnTo>
                  <a:lnTo>
                    <a:pt x="950" y="418"/>
                  </a:lnTo>
                  <a:lnTo>
                    <a:pt x="950" y="421"/>
                  </a:lnTo>
                  <a:lnTo>
                    <a:pt x="948" y="430"/>
                  </a:lnTo>
                  <a:lnTo>
                    <a:pt x="947" y="432"/>
                  </a:lnTo>
                  <a:lnTo>
                    <a:pt x="947" y="433"/>
                  </a:lnTo>
                  <a:lnTo>
                    <a:pt x="945" y="435"/>
                  </a:lnTo>
                  <a:lnTo>
                    <a:pt x="945" y="442"/>
                  </a:lnTo>
                  <a:lnTo>
                    <a:pt x="948" y="445"/>
                  </a:lnTo>
                  <a:lnTo>
                    <a:pt x="950" y="445"/>
                  </a:lnTo>
                  <a:lnTo>
                    <a:pt x="950" y="447"/>
                  </a:lnTo>
                  <a:lnTo>
                    <a:pt x="951" y="447"/>
                  </a:lnTo>
                  <a:lnTo>
                    <a:pt x="951" y="450"/>
                  </a:lnTo>
                  <a:lnTo>
                    <a:pt x="948" y="451"/>
                  </a:lnTo>
                  <a:lnTo>
                    <a:pt x="947" y="451"/>
                  </a:lnTo>
                  <a:lnTo>
                    <a:pt x="945" y="453"/>
                  </a:lnTo>
                  <a:lnTo>
                    <a:pt x="945" y="454"/>
                  </a:lnTo>
                  <a:lnTo>
                    <a:pt x="944" y="456"/>
                  </a:lnTo>
                  <a:lnTo>
                    <a:pt x="945" y="457"/>
                  </a:lnTo>
                  <a:lnTo>
                    <a:pt x="948" y="459"/>
                  </a:lnTo>
                  <a:lnTo>
                    <a:pt x="950" y="460"/>
                  </a:lnTo>
                  <a:lnTo>
                    <a:pt x="950" y="466"/>
                  </a:lnTo>
                  <a:lnTo>
                    <a:pt x="951" y="465"/>
                  </a:lnTo>
                  <a:lnTo>
                    <a:pt x="953" y="465"/>
                  </a:lnTo>
                  <a:lnTo>
                    <a:pt x="954" y="466"/>
                  </a:lnTo>
                  <a:lnTo>
                    <a:pt x="953" y="468"/>
                  </a:lnTo>
                  <a:lnTo>
                    <a:pt x="954" y="468"/>
                  </a:lnTo>
                  <a:lnTo>
                    <a:pt x="954" y="469"/>
                  </a:lnTo>
                  <a:lnTo>
                    <a:pt x="956" y="469"/>
                  </a:lnTo>
                  <a:lnTo>
                    <a:pt x="956" y="468"/>
                  </a:lnTo>
                  <a:lnTo>
                    <a:pt x="957" y="468"/>
                  </a:lnTo>
                  <a:lnTo>
                    <a:pt x="957" y="469"/>
                  </a:lnTo>
                  <a:lnTo>
                    <a:pt x="959" y="469"/>
                  </a:lnTo>
                  <a:lnTo>
                    <a:pt x="960" y="471"/>
                  </a:lnTo>
                  <a:lnTo>
                    <a:pt x="960" y="472"/>
                  </a:lnTo>
                  <a:lnTo>
                    <a:pt x="962" y="474"/>
                  </a:lnTo>
                  <a:lnTo>
                    <a:pt x="969" y="474"/>
                  </a:lnTo>
                  <a:lnTo>
                    <a:pt x="969" y="472"/>
                  </a:lnTo>
                  <a:lnTo>
                    <a:pt x="974" y="472"/>
                  </a:lnTo>
                  <a:lnTo>
                    <a:pt x="977" y="475"/>
                  </a:lnTo>
                  <a:lnTo>
                    <a:pt x="980" y="474"/>
                  </a:lnTo>
                  <a:lnTo>
                    <a:pt x="983" y="475"/>
                  </a:lnTo>
                  <a:lnTo>
                    <a:pt x="984" y="475"/>
                  </a:lnTo>
                  <a:lnTo>
                    <a:pt x="986" y="477"/>
                  </a:lnTo>
                  <a:lnTo>
                    <a:pt x="984" y="478"/>
                  </a:lnTo>
                  <a:lnTo>
                    <a:pt x="989" y="478"/>
                  </a:lnTo>
                  <a:lnTo>
                    <a:pt x="990" y="480"/>
                  </a:lnTo>
                  <a:lnTo>
                    <a:pt x="995" y="480"/>
                  </a:lnTo>
                  <a:lnTo>
                    <a:pt x="995" y="478"/>
                  </a:lnTo>
                  <a:lnTo>
                    <a:pt x="1002" y="478"/>
                  </a:lnTo>
                  <a:lnTo>
                    <a:pt x="1007" y="477"/>
                  </a:lnTo>
                  <a:lnTo>
                    <a:pt x="1008" y="477"/>
                  </a:lnTo>
                  <a:lnTo>
                    <a:pt x="1010" y="475"/>
                  </a:lnTo>
                  <a:lnTo>
                    <a:pt x="1011" y="472"/>
                  </a:lnTo>
                  <a:lnTo>
                    <a:pt x="1016" y="472"/>
                  </a:lnTo>
                  <a:lnTo>
                    <a:pt x="1019" y="469"/>
                  </a:lnTo>
                  <a:lnTo>
                    <a:pt x="1020" y="469"/>
                  </a:lnTo>
                  <a:lnTo>
                    <a:pt x="1029" y="475"/>
                  </a:lnTo>
                  <a:lnTo>
                    <a:pt x="1035" y="477"/>
                  </a:lnTo>
                  <a:lnTo>
                    <a:pt x="1046" y="475"/>
                  </a:lnTo>
                  <a:lnTo>
                    <a:pt x="1050" y="475"/>
                  </a:lnTo>
                  <a:lnTo>
                    <a:pt x="1052" y="474"/>
                  </a:lnTo>
                  <a:lnTo>
                    <a:pt x="1058" y="474"/>
                  </a:lnTo>
                  <a:lnTo>
                    <a:pt x="1059" y="475"/>
                  </a:lnTo>
                  <a:lnTo>
                    <a:pt x="1065" y="475"/>
                  </a:lnTo>
                  <a:lnTo>
                    <a:pt x="1065" y="474"/>
                  </a:lnTo>
                  <a:lnTo>
                    <a:pt x="1067" y="472"/>
                  </a:lnTo>
                  <a:lnTo>
                    <a:pt x="1067" y="471"/>
                  </a:lnTo>
                  <a:lnTo>
                    <a:pt x="1071" y="471"/>
                  </a:lnTo>
                  <a:lnTo>
                    <a:pt x="1071" y="472"/>
                  </a:lnTo>
                  <a:lnTo>
                    <a:pt x="1073" y="474"/>
                  </a:lnTo>
                  <a:lnTo>
                    <a:pt x="1073" y="475"/>
                  </a:lnTo>
                  <a:lnTo>
                    <a:pt x="1074" y="475"/>
                  </a:lnTo>
                  <a:lnTo>
                    <a:pt x="1076" y="474"/>
                  </a:lnTo>
                  <a:lnTo>
                    <a:pt x="1079" y="474"/>
                  </a:lnTo>
                  <a:lnTo>
                    <a:pt x="1079" y="475"/>
                  </a:lnTo>
                  <a:lnTo>
                    <a:pt x="1082" y="474"/>
                  </a:lnTo>
                  <a:lnTo>
                    <a:pt x="1083" y="474"/>
                  </a:lnTo>
                  <a:lnTo>
                    <a:pt x="1086" y="472"/>
                  </a:lnTo>
                  <a:lnTo>
                    <a:pt x="1086" y="471"/>
                  </a:lnTo>
                  <a:lnTo>
                    <a:pt x="1088" y="472"/>
                  </a:lnTo>
                  <a:lnTo>
                    <a:pt x="1088" y="474"/>
                  </a:lnTo>
                  <a:lnTo>
                    <a:pt x="1089" y="474"/>
                  </a:lnTo>
                  <a:lnTo>
                    <a:pt x="1089" y="472"/>
                  </a:lnTo>
                  <a:lnTo>
                    <a:pt x="1091" y="472"/>
                  </a:lnTo>
                  <a:lnTo>
                    <a:pt x="1091" y="471"/>
                  </a:lnTo>
                  <a:lnTo>
                    <a:pt x="1092" y="471"/>
                  </a:lnTo>
                  <a:lnTo>
                    <a:pt x="1093" y="472"/>
                  </a:lnTo>
                  <a:lnTo>
                    <a:pt x="1096" y="472"/>
                  </a:lnTo>
                  <a:lnTo>
                    <a:pt x="1098" y="469"/>
                  </a:lnTo>
                  <a:lnTo>
                    <a:pt x="1098" y="465"/>
                  </a:lnTo>
                  <a:lnTo>
                    <a:pt x="1096" y="463"/>
                  </a:lnTo>
                  <a:lnTo>
                    <a:pt x="1095" y="460"/>
                  </a:lnTo>
                  <a:lnTo>
                    <a:pt x="1093" y="459"/>
                  </a:lnTo>
                  <a:lnTo>
                    <a:pt x="1093" y="457"/>
                  </a:lnTo>
                  <a:lnTo>
                    <a:pt x="1095" y="457"/>
                  </a:lnTo>
                  <a:lnTo>
                    <a:pt x="1095" y="454"/>
                  </a:lnTo>
                  <a:lnTo>
                    <a:pt x="1096" y="454"/>
                  </a:lnTo>
                  <a:lnTo>
                    <a:pt x="1096" y="451"/>
                  </a:lnTo>
                  <a:lnTo>
                    <a:pt x="1098" y="450"/>
                  </a:lnTo>
                  <a:lnTo>
                    <a:pt x="1099" y="450"/>
                  </a:lnTo>
                  <a:lnTo>
                    <a:pt x="1098" y="448"/>
                  </a:lnTo>
                  <a:lnTo>
                    <a:pt x="1095" y="441"/>
                  </a:lnTo>
                  <a:lnTo>
                    <a:pt x="1093" y="439"/>
                  </a:lnTo>
                  <a:lnTo>
                    <a:pt x="1093" y="441"/>
                  </a:lnTo>
                  <a:lnTo>
                    <a:pt x="1088" y="441"/>
                  </a:lnTo>
                  <a:lnTo>
                    <a:pt x="1085" y="442"/>
                  </a:lnTo>
                  <a:lnTo>
                    <a:pt x="1083" y="442"/>
                  </a:lnTo>
                  <a:lnTo>
                    <a:pt x="1080" y="439"/>
                  </a:lnTo>
                  <a:lnTo>
                    <a:pt x="1079" y="439"/>
                  </a:lnTo>
                  <a:lnTo>
                    <a:pt x="1079" y="438"/>
                  </a:lnTo>
                  <a:lnTo>
                    <a:pt x="1077" y="436"/>
                  </a:lnTo>
                  <a:lnTo>
                    <a:pt x="1076" y="436"/>
                  </a:lnTo>
                  <a:lnTo>
                    <a:pt x="1076" y="430"/>
                  </a:lnTo>
                  <a:lnTo>
                    <a:pt x="1077" y="427"/>
                  </a:lnTo>
                  <a:lnTo>
                    <a:pt x="1079" y="426"/>
                  </a:lnTo>
                  <a:lnTo>
                    <a:pt x="1085" y="424"/>
                  </a:lnTo>
                  <a:lnTo>
                    <a:pt x="1086" y="426"/>
                  </a:lnTo>
                  <a:lnTo>
                    <a:pt x="1088" y="426"/>
                  </a:lnTo>
                  <a:lnTo>
                    <a:pt x="1089" y="427"/>
                  </a:lnTo>
                  <a:lnTo>
                    <a:pt x="1091" y="426"/>
                  </a:lnTo>
                  <a:lnTo>
                    <a:pt x="1092" y="427"/>
                  </a:lnTo>
                  <a:lnTo>
                    <a:pt x="1093" y="427"/>
                  </a:lnTo>
                  <a:lnTo>
                    <a:pt x="1098" y="423"/>
                  </a:lnTo>
                  <a:lnTo>
                    <a:pt x="1105" y="423"/>
                  </a:lnTo>
                  <a:lnTo>
                    <a:pt x="1105" y="420"/>
                  </a:lnTo>
                  <a:lnTo>
                    <a:pt x="1107" y="420"/>
                  </a:lnTo>
                  <a:lnTo>
                    <a:pt x="1107" y="423"/>
                  </a:lnTo>
                  <a:lnTo>
                    <a:pt x="1108" y="423"/>
                  </a:lnTo>
                  <a:lnTo>
                    <a:pt x="1108" y="424"/>
                  </a:lnTo>
                  <a:lnTo>
                    <a:pt x="1110" y="423"/>
                  </a:lnTo>
                  <a:lnTo>
                    <a:pt x="1111" y="423"/>
                  </a:lnTo>
                  <a:lnTo>
                    <a:pt x="1111" y="421"/>
                  </a:lnTo>
                  <a:lnTo>
                    <a:pt x="1113" y="421"/>
                  </a:lnTo>
                  <a:lnTo>
                    <a:pt x="1113" y="420"/>
                  </a:lnTo>
                  <a:lnTo>
                    <a:pt x="1114" y="421"/>
                  </a:lnTo>
                  <a:lnTo>
                    <a:pt x="1116" y="421"/>
                  </a:lnTo>
                  <a:lnTo>
                    <a:pt x="1119" y="420"/>
                  </a:lnTo>
                  <a:lnTo>
                    <a:pt x="1120" y="418"/>
                  </a:lnTo>
                  <a:lnTo>
                    <a:pt x="1122" y="418"/>
                  </a:lnTo>
                  <a:lnTo>
                    <a:pt x="1122" y="417"/>
                  </a:lnTo>
                  <a:lnTo>
                    <a:pt x="1123" y="417"/>
                  </a:lnTo>
                  <a:lnTo>
                    <a:pt x="1126" y="414"/>
                  </a:lnTo>
                  <a:lnTo>
                    <a:pt x="1126" y="411"/>
                  </a:lnTo>
                  <a:lnTo>
                    <a:pt x="1125" y="409"/>
                  </a:lnTo>
                  <a:lnTo>
                    <a:pt x="1123" y="409"/>
                  </a:lnTo>
                  <a:lnTo>
                    <a:pt x="1131" y="402"/>
                  </a:lnTo>
                  <a:lnTo>
                    <a:pt x="1131" y="403"/>
                  </a:lnTo>
                  <a:lnTo>
                    <a:pt x="1134" y="403"/>
                  </a:lnTo>
                  <a:lnTo>
                    <a:pt x="1134" y="402"/>
                  </a:lnTo>
                  <a:lnTo>
                    <a:pt x="1135" y="400"/>
                  </a:lnTo>
                  <a:lnTo>
                    <a:pt x="1137" y="400"/>
                  </a:lnTo>
                  <a:lnTo>
                    <a:pt x="1137" y="399"/>
                  </a:lnTo>
                  <a:lnTo>
                    <a:pt x="1138" y="399"/>
                  </a:lnTo>
                  <a:lnTo>
                    <a:pt x="1140" y="397"/>
                  </a:lnTo>
                  <a:lnTo>
                    <a:pt x="1141" y="397"/>
                  </a:lnTo>
                  <a:lnTo>
                    <a:pt x="1146" y="393"/>
                  </a:lnTo>
                  <a:lnTo>
                    <a:pt x="1147" y="390"/>
                  </a:lnTo>
                  <a:lnTo>
                    <a:pt x="1147" y="387"/>
                  </a:lnTo>
                  <a:lnTo>
                    <a:pt x="1150" y="384"/>
                  </a:lnTo>
                  <a:lnTo>
                    <a:pt x="1153" y="384"/>
                  </a:lnTo>
                  <a:lnTo>
                    <a:pt x="1155" y="381"/>
                  </a:lnTo>
                  <a:lnTo>
                    <a:pt x="1156" y="381"/>
                  </a:lnTo>
                  <a:lnTo>
                    <a:pt x="1161" y="378"/>
                  </a:lnTo>
                  <a:lnTo>
                    <a:pt x="1170" y="378"/>
                  </a:lnTo>
                  <a:lnTo>
                    <a:pt x="1171" y="376"/>
                  </a:lnTo>
                  <a:lnTo>
                    <a:pt x="1174" y="376"/>
                  </a:lnTo>
                  <a:lnTo>
                    <a:pt x="1177" y="373"/>
                  </a:lnTo>
                  <a:lnTo>
                    <a:pt x="1180" y="372"/>
                  </a:lnTo>
                  <a:lnTo>
                    <a:pt x="1182" y="372"/>
                  </a:lnTo>
                  <a:lnTo>
                    <a:pt x="1183" y="370"/>
                  </a:lnTo>
                  <a:lnTo>
                    <a:pt x="1182" y="370"/>
                  </a:lnTo>
                  <a:lnTo>
                    <a:pt x="1183" y="369"/>
                  </a:lnTo>
                  <a:lnTo>
                    <a:pt x="1188" y="369"/>
                  </a:lnTo>
                  <a:lnTo>
                    <a:pt x="1188" y="367"/>
                  </a:lnTo>
                  <a:lnTo>
                    <a:pt x="1191" y="367"/>
                  </a:lnTo>
                  <a:lnTo>
                    <a:pt x="1192" y="366"/>
                  </a:lnTo>
                  <a:lnTo>
                    <a:pt x="1195" y="364"/>
                  </a:lnTo>
                  <a:lnTo>
                    <a:pt x="1198" y="364"/>
                  </a:lnTo>
                  <a:lnTo>
                    <a:pt x="1200" y="361"/>
                  </a:lnTo>
                  <a:lnTo>
                    <a:pt x="1203" y="360"/>
                  </a:lnTo>
                  <a:lnTo>
                    <a:pt x="1201" y="357"/>
                  </a:lnTo>
                  <a:lnTo>
                    <a:pt x="1200" y="355"/>
                  </a:lnTo>
                  <a:lnTo>
                    <a:pt x="1200" y="352"/>
                  </a:lnTo>
                  <a:lnTo>
                    <a:pt x="1203" y="352"/>
                  </a:lnTo>
                  <a:lnTo>
                    <a:pt x="1203" y="351"/>
                  </a:lnTo>
                  <a:lnTo>
                    <a:pt x="1204" y="351"/>
                  </a:lnTo>
                  <a:lnTo>
                    <a:pt x="1204" y="349"/>
                  </a:lnTo>
                  <a:lnTo>
                    <a:pt x="1210" y="349"/>
                  </a:lnTo>
                  <a:lnTo>
                    <a:pt x="1210" y="348"/>
                  </a:lnTo>
                  <a:lnTo>
                    <a:pt x="1215" y="343"/>
                  </a:lnTo>
                  <a:lnTo>
                    <a:pt x="1216" y="343"/>
                  </a:lnTo>
                  <a:lnTo>
                    <a:pt x="1222" y="349"/>
                  </a:lnTo>
                  <a:lnTo>
                    <a:pt x="1222" y="352"/>
                  </a:lnTo>
                  <a:lnTo>
                    <a:pt x="1228" y="352"/>
                  </a:lnTo>
                  <a:lnTo>
                    <a:pt x="1231" y="354"/>
                  </a:lnTo>
                  <a:lnTo>
                    <a:pt x="1231" y="352"/>
                  </a:lnTo>
                  <a:lnTo>
                    <a:pt x="1233" y="352"/>
                  </a:lnTo>
                  <a:lnTo>
                    <a:pt x="1234" y="354"/>
                  </a:lnTo>
                  <a:lnTo>
                    <a:pt x="1237" y="354"/>
                  </a:lnTo>
                  <a:lnTo>
                    <a:pt x="1237" y="355"/>
                  </a:lnTo>
                  <a:lnTo>
                    <a:pt x="1242" y="355"/>
                  </a:lnTo>
                  <a:lnTo>
                    <a:pt x="1242" y="357"/>
                  </a:lnTo>
                  <a:lnTo>
                    <a:pt x="1243" y="357"/>
                  </a:lnTo>
                  <a:lnTo>
                    <a:pt x="1246" y="358"/>
                  </a:lnTo>
                  <a:lnTo>
                    <a:pt x="1245" y="355"/>
                  </a:lnTo>
                  <a:lnTo>
                    <a:pt x="1246" y="354"/>
                  </a:lnTo>
                  <a:lnTo>
                    <a:pt x="1251" y="354"/>
                  </a:lnTo>
                  <a:lnTo>
                    <a:pt x="1252" y="351"/>
                  </a:lnTo>
                  <a:lnTo>
                    <a:pt x="1253" y="351"/>
                  </a:lnTo>
                  <a:lnTo>
                    <a:pt x="1253" y="354"/>
                  </a:lnTo>
                  <a:lnTo>
                    <a:pt x="1256" y="354"/>
                  </a:lnTo>
                  <a:lnTo>
                    <a:pt x="1256" y="349"/>
                  </a:lnTo>
                  <a:lnTo>
                    <a:pt x="1258" y="349"/>
                  </a:lnTo>
                  <a:lnTo>
                    <a:pt x="1258" y="348"/>
                  </a:lnTo>
                  <a:lnTo>
                    <a:pt x="1262" y="348"/>
                  </a:lnTo>
                  <a:lnTo>
                    <a:pt x="1265" y="349"/>
                  </a:lnTo>
                  <a:lnTo>
                    <a:pt x="1267" y="346"/>
                  </a:lnTo>
                  <a:lnTo>
                    <a:pt x="1267" y="343"/>
                  </a:lnTo>
                  <a:lnTo>
                    <a:pt x="1268" y="342"/>
                  </a:lnTo>
                  <a:lnTo>
                    <a:pt x="1271" y="343"/>
                  </a:lnTo>
                  <a:lnTo>
                    <a:pt x="1276" y="342"/>
                  </a:lnTo>
                  <a:lnTo>
                    <a:pt x="1285" y="342"/>
                  </a:lnTo>
                  <a:lnTo>
                    <a:pt x="1286" y="345"/>
                  </a:lnTo>
                  <a:lnTo>
                    <a:pt x="1289" y="348"/>
                  </a:lnTo>
                  <a:lnTo>
                    <a:pt x="1291" y="348"/>
                  </a:lnTo>
                  <a:lnTo>
                    <a:pt x="1292" y="346"/>
                  </a:lnTo>
                  <a:lnTo>
                    <a:pt x="1295" y="346"/>
                  </a:lnTo>
                  <a:lnTo>
                    <a:pt x="1295" y="348"/>
                  </a:lnTo>
                  <a:lnTo>
                    <a:pt x="1294" y="349"/>
                  </a:lnTo>
                  <a:lnTo>
                    <a:pt x="1294" y="351"/>
                  </a:lnTo>
                  <a:lnTo>
                    <a:pt x="1292" y="351"/>
                  </a:lnTo>
                  <a:lnTo>
                    <a:pt x="1288" y="352"/>
                  </a:lnTo>
                  <a:lnTo>
                    <a:pt x="1288" y="354"/>
                  </a:lnTo>
                  <a:lnTo>
                    <a:pt x="1286" y="354"/>
                  </a:lnTo>
                  <a:lnTo>
                    <a:pt x="1286" y="355"/>
                  </a:lnTo>
                  <a:lnTo>
                    <a:pt x="1288" y="360"/>
                  </a:lnTo>
                  <a:lnTo>
                    <a:pt x="1291" y="357"/>
                  </a:lnTo>
                  <a:lnTo>
                    <a:pt x="1294" y="355"/>
                  </a:lnTo>
                  <a:lnTo>
                    <a:pt x="1295" y="358"/>
                  </a:lnTo>
                  <a:lnTo>
                    <a:pt x="1300" y="361"/>
                  </a:lnTo>
                  <a:lnTo>
                    <a:pt x="1298" y="361"/>
                  </a:lnTo>
                  <a:lnTo>
                    <a:pt x="1298" y="363"/>
                  </a:lnTo>
                  <a:lnTo>
                    <a:pt x="1301" y="363"/>
                  </a:lnTo>
                  <a:lnTo>
                    <a:pt x="1301" y="366"/>
                  </a:lnTo>
                  <a:lnTo>
                    <a:pt x="1303" y="367"/>
                  </a:lnTo>
                  <a:lnTo>
                    <a:pt x="1306" y="373"/>
                  </a:lnTo>
                  <a:lnTo>
                    <a:pt x="1306" y="376"/>
                  </a:lnTo>
                  <a:lnTo>
                    <a:pt x="1301" y="379"/>
                  </a:lnTo>
                  <a:lnTo>
                    <a:pt x="1298" y="381"/>
                  </a:lnTo>
                  <a:lnTo>
                    <a:pt x="1300" y="384"/>
                  </a:lnTo>
                  <a:lnTo>
                    <a:pt x="1298" y="385"/>
                  </a:lnTo>
                  <a:lnTo>
                    <a:pt x="1300" y="387"/>
                  </a:lnTo>
                  <a:lnTo>
                    <a:pt x="1301" y="391"/>
                  </a:lnTo>
                  <a:lnTo>
                    <a:pt x="1301" y="387"/>
                  </a:lnTo>
                  <a:lnTo>
                    <a:pt x="1303" y="385"/>
                  </a:lnTo>
                  <a:lnTo>
                    <a:pt x="1304" y="382"/>
                  </a:lnTo>
                  <a:lnTo>
                    <a:pt x="1306" y="381"/>
                  </a:lnTo>
                  <a:lnTo>
                    <a:pt x="1310" y="382"/>
                  </a:lnTo>
                  <a:lnTo>
                    <a:pt x="1316" y="388"/>
                  </a:lnTo>
                  <a:lnTo>
                    <a:pt x="1319" y="390"/>
                  </a:lnTo>
                  <a:lnTo>
                    <a:pt x="1319" y="394"/>
                  </a:lnTo>
                  <a:lnTo>
                    <a:pt x="1321" y="396"/>
                  </a:lnTo>
                  <a:lnTo>
                    <a:pt x="1324" y="396"/>
                  </a:lnTo>
                  <a:lnTo>
                    <a:pt x="1325" y="394"/>
                  </a:lnTo>
                  <a:lnTo>
                    <a:pt x="1328" y="393"/>
                  </a:lnTo>
                  <a:lnTo>
                    <a:pt x="1330" y="394"/>
                  </a:lnTo>
                  <a:lnTo>
                    <a:pt x="1333" y="396"/>
                  </a:lnTo>
                  <a:lnTo>
                    <a:pt x="1334" y="397"/>
                  </a:lnTo>
                  <a:lnTo>
                    <a:pt x="1334" y="399"/>
                  </a:lnTo>
                  <a:lnTo>
                    <a:pt x="1337" y="400"/>
                  </a:lnTo>
                  <a:lnTo>
                    <a:pt x="1339" y="402"/>
                  </a:lnTo>
                  <a:lnTo>
                    <a:pt x="1339" y="403"/>
                  </a:lnTo>
                  <a:lnTo>
                    <a:pt x="1337" y="406"/>
                  </a:lnTo>
                  <a:lnTo>
                    <a:pt x="1337" y="408"/>
                  </a:lnTo>
                  <a:lnTo>
                    <a:pt x="1340" y="411"/>
                  </a:lnTo>
                  <a:lnTo>
                    <a:pt x="1340" y="418"/>
                  </a:lnTo>
                  <a:lnTo>
                    <a:pt x="1337" y="418"/>
                  </a:lnTo>
                  <a:lnTo>
                    <a:pt x="1337" y="417"/>
                  </a:lnTo>
                  <a:lnTo>
                    <a:pt x="1336" y="417"/>
                  </a:lnTo>
                  <a:lnTo>
                    <a:pt x="1330" y="423"/>
                  </a:lnTo>
                  <a:lnTo>
                    <a:pt x="1328" y="423"/>
                  </a:lnTo>
                  <a:lnTo>
                    <a:pt x="1328" y="424"/>
                  </a:lnTo>
                  <a:lnTo>
                    <a:pt x="1327" y="424"/>
                  </a:lnTo>
                  <a:lnTo>
                    <a:pt x="1327" y="426"/>
                  </a:lnTo>
                  <a:lnTo>
                    <a:pt x="1324" y="426"/>
                  </a:lnTo>
                  <a:lnTo>
                    <a:pt x="1324" y="427"/>
                  </a:lnTo>
                  <a:lnTo>
                    <a:pt x="1322" y="429"/>
                  </a:lnTo>
                  <a:lnTo>
                    <a:pt x="1321" y="429"/>
                  </a:lnTo>
                  <a:lnTo>
                    <a:pt x="1319" y="430"/>
                  </a:lnTo>
                  <a:lnTo>
                    <a:pt x="1319" y="432"/>
                  </a:lnTo>
                  <a:lnTo>
                    <a:pt x="1318" y="432"/>
                  </a:lnTo>
                  <a:lnTo>
                    <a:pt x="1318" y="436"/>
                  </a:lnTo>
                  <a:lnTo>
                    <a:pt x="1319" y="436"/>
                  </a:lnTo>
                  <a:lnTo>
                    <a:pt x="1319" y="439"/>
                  </a:lnTo>
                  <a:lnTo>
                    <a:pt x="1318" y="441"/>
                  </a:lnTo>
                  <a:lnTo>
                    <a:pt x="1319" y="441"/>
                  </a:lnTo>
                  <a:lnTo>
                    <a:pt x="1319" y="444"/>
                  </a:lnTo>
                  <a:lnTo>
                    <a:pt x="1327" y="453"/>
                  </a:lnTo>
                  <a:lnTo>
                    <a:pt x="1328" y="454"/>
                  </a:lnTo>
                  <a:lnTo>
                    <a:pt x="1328" y="456"/>
                  </a:lnTo>
                  <a:lnTo>
                    <a:pt x="1330" y="457"/>
                  </a:lnTo>
                  <a:lnTo>
                    <a:pt x="1330" y="460"/>
                  </a:lnTo>
                  <a:lnTo>
                    <a:pt x="1328" y="460"/>
                  </a:lnTo>
                  <a:lnTo>
                    <a:pt x="1328" y="459"/>
                  </a:lnTo>
                  <a:lnTo>
                    <a:pt x="1327" y="459"/>
                  </a:lnTo>
                  <a:lnTo>
                    <a:pt x="1327" y="460"/>
                  </a:lnTo>
                  <a:lnTo>
                    <a:pt x="1325" y="460"/>
                  </a:lnTo>
                  <a:lnTo>
                    <a:pt x="1325" y="459"/>
                  </a:lnTo>
                  <a:lnTo>
                    <a:pt x="1324" y="459"/>
                  </a:lnTo>
                  <a:lnTo>
                    <a:pt x="1318" y="456"/>
                  </a:lnTo>
                  <a:lnTo>
                    <a:pt x="1316" y="454"/>
                  </a:lnTo>
                  <a:lnTo>
                    <a:pt x="1318" y="453"/>
                  </a:lnTo>
                  <a:lnTo>
                    <a:pt x="1318" y="451"/>
                  </a:lnTo>
                  <a:lnTo>
                    <a:pt x="1316" y="450"/>
                  </a:lnTo>
                  <a:lnTo>
                    <a:pt x="1315" y="450"/>
                  </a:lnTo>
                  <a:lnTo>
                    <a:pt x="1315" y="448"/>
                  </a:lnTo>
                  <a:lnTo>
                    <a:pt x="1312" y="445"/>
                  </a:lnTo>
                  <a:lnTo>
                    <a:pt x="1309" y="445"/>
                  </a:lnTo>
                  <a:lnTo>
                    <a:pt x="1309" y="447"/>
                  </a:lnTo>
                  <a:lnTo>
                    <a:pt x="1306" y="447"/>
                  </a:lnTo>
                  <a:lnTo>
                    <a:pt x="1306" y="445"/>
                  </a:lnTo>
                  <a:lnTo>
                    <a:pt x="1301" y="450"/>
                  </a:lnTo>
                  <a:lnTo>
                    <a:pt x="1300" y="448"/>
                  </a:lnTo>
                  <a:lnTo>
                    <a:pt x="1297" y="448"/>
                  </a:lnTo>
                  <a:lnTo>
                    <a:pt x="1285" y="451"/>
                  </a:lnTo>
                  <a:lnTo>
                    <a:pt x="1279" y="454"/>
                  </a:lnTo>
                  <a:lnTo>
                    <a:pt x="1276" y="460"/>
                  </a:lnTo>
                  <a:lnTo>
                    <a:pt x="1273" y="463"/>
                  </a:lnTo>
                  <a:lnTo>
                    <a:pt x="1270" y="463"/>
                  </a:lnTo>
                  <a:lnTo>
                    <a:pt x="1268" y="465"/>
                  </a:lnTo>
                  <a:lnTo>
                    <a:pt x="1265" y="466"/>
                  </a:lnTo>
                  <a:lnTo>
                    <a:pt x="1265" y="469"/>
                  </a:lnTo>
                  <a:lnTo>
                    <a:pt x="1264" y="469"/>
                  </a:lnTo>
                  <a:lnTo>
                    <a:pt x="1262" y="471"/>
                  </a:lnTo>
                  <a:lnTo>
                    <a:pt x="1261" y="471"/>
                  </a:lnTo>
                  <a:lnTo>
                    <a:pt x="1259" y="472"/>
                  </a:lnTo>
                  <a:lnTo>
                    <a:pt x="1259" y="474"/>
                  </a:lnTo>
                  <a:lnTo>
                    <a:pt x="1255" y="474"/>
                  </a:lnTo>
                  <a:lnTo>
                    <a:pt x="1253" y="475"/>
                  </a:lnTo>
                  <a:lnTo>
                    <a:pt x="1252" y="478"/>
                  </a:lnTo>
                  <a:lnTo>
                    <a:pt x="1251" y="480"/>
                  </a:lnTo>
                  <a:lnTo>
                    <a:pt x="1248" y="481"/>
                  </a:lnTo>
                  <a:lnTo>
                    <a:pt x="1245" y="481"/>
                  </a:lnTo>
                  <a:lnTo>
                    <a:pt x="1245" y="483"/>
                  </a:lnTo>
                  <a:lnTo>
                    <a:pt x="1243" y="483"/>
                  </a:lnTo>
                  <a:lnTo>
                    <a:pt x="1243" y="481"/>
                  </a:lnTo>
                  <a:lnTo>
                    <a:pt x="1242" y="481"/>
                  </a:lnTo>
                  <a:lnTo>
                    <a:pt x="1240" y="483"/>
                  </a:lnTo>
                  <a:lnTo>
                    <a:pt x="1239" y="483"/>
                  </a:lnTo>
                  <a:lnTo>
                    <a:pt x="1239" y="484"/>
                  </a:lnTo>
                  <a:lnTo>
                    <a:pt x="1237" y="486"/>
                  </a:lnTo>
                  <a:lnTo>
                    <a:pt x="1237" y="487"/>
                  </a:lnTo>
                  <a:lnTo>
                    <a:pt x="1236" y="489"/>
                  </a:lnTo>
                  <a:lnTo>
                    <a:pt x="1236" y="490"/>
                  </a:lnTo>
                  <a:lnTo>
                    <a:pt x="1234" y="492"/>
                  </a:lnTo>
                  <a:lnTo>
                    <a:pt x="1236" y="493"/>
                  </a:lnTo>
                  <a:lnTo>
                    <a:pt x="1236" y="495"/>
                  </a:lnTo>
                  <a:lnTo>
                    <a:pt x="1234" y="498"/>
                  </a:lnTo>
                  <a:lnTo>
                    <a:pt x="1234" y="502"/>
                  </a:lnTo>
                  <a:lnTo>
                    <a:pt x="1236" y="503"/>
                  </a:lnTo>
                  <a:lnTo>
                    <a:pt x="1236" y="505"/>
                  </a:lnTo>
                  <a:lnTo>
                    <a:pt x="1237" y="505"/>
                  </a:lnTo>
                  <a:lnTo>
                    <a:pt x="1236" y="506"/>
                  </a:lnTo>
                  <a:lnTo>
                    <a:pt x="1237" y="509"/>
                  </a:lnTo>
                  <a:lnTo>
                    <a:pt x="1237" y="511"/>
                  </a:lnTo>
                  <a:lnTo>
                    <a:pt x="1239" y="511"/>
                  </a:lnTo>
                  <a:lnTo>
                    <a:pt x="1240" y="512"/>
                  </a:lnTo>
                  <a:lnTo>
                    <a:pt x="1234" y="518"/>
                  </a:lnTo>
                  <a:lnTo>
                    <a:pt x="1233" y="518"/>
                  </a:lnTo>
                  <a:lnTo>
                    <a:pt x="1233" y="529"/>
                  </a:lnTo>
                  <a:lnTo>
                    <a:pt x="1231" y="529"/>
                  </a:lnTo>
                  <a:lnTo>
                    <a:pt x="1227" y="535"/>
                  </a:lnTo>
                  <a:lnTo>
                    <a:pt x="1227" y="536"/>
                  </a:lnTo>
                  <a:lnTo>
                    <a:pt x="1225" y="538"/>
                  </a:lnTo>
                  <a:lnTo>
                    <a:pt x="1224" y="538"/>
                  </a:lnTo>
                  <a:lnTo>
                    <a:pt x="1222" y="541"/>
                  </a:lnTo>
                  <a:lnTo>
                    <a:pt x="1218" y="541"/>
                  </a:lnTo>
                  <a:lnTo>
                    <a:pt x="1216" y="542"/>
                  </a:lnTo>
                  <a:lnTo>
                    <a:pt x="1216" y="544"/>
                  </a:lnTo>
                  <a:lnTo>
                    <a:pt x="1215" y="545"/>
                  </a:lnTo>
                  <a:lnTo>
                    <a:pt x="1212" y="553"/>
                  </a:lnTo>
                  <a:lnTo>
                    <a:pt x="1212" y="556"/>
                  </a:lnTo>
                  <a:lnTo>
                    <a:pt x="1213" y="557"/>
                  </a:lnTo>
                  <a:lnTo>
                    <a:pt x="1216" y="557"/>
                  </a:lnTo>
                  <a:lnTo>
                    <a:pt x="1219" y="560"/>
                  </a:lnTo>
                  <a:lnTo>
                    <a:pt x="1219" y="565"/>
                  </a:lnTo>
                  <a:lnTo>
                    <a:pt x="1218" y="566"/>
                  </a:lnTo>
                  <a:lnTo>
                    <a:pt x="1216" y="571"/>
                  </a:lnTo>
                  <a:lnTo>
                    <a:pt x="1216" y="572"/>
                  </a:lnTo>
                  <a:lnTo>
                    <a:pt x="1215" y="575"/>
                  </a:lnTo>
                  <a:lnTo>
                    <a:pt x="1213" y="577"/>
                  </a:lnTo>
                  <a:lnTo>
                    <a:pt x="1213" y="580"/>
                  </a:lnTo>
                  <a:lnTo>
                    <a:pt x="1210" y="580"/>
                  </a:lnTo>
                  <a:lnTo>
                    <a:pt x="1210" y="581"/>
                  </a:lnTo>
                  <a:lnTo>
                    <a:pt x="1209" y="584"/>
                  </a:lnTo>
                  <a:lnTo>
                    <a:pt x="1209" y="586"/>
                  </a:lnTo>
                  <a:lnTo>
                    <a:pt x="1206" y="587"/>
                  </a:lnTo>
                  <a:lnTo>
                    <a:pt x="1206" y="589"/>
                  </a:lnTo>
                  <a:lnTo>
                    <a:pt x="1204" y="590"/>
                  </a:lnTo>
                  <a:lnTo>
                    <a:pt x="1204" y="592"/>
                  </a:lnTo>
                  <a:lnTo>
                    <a:pt x="1203" y="592"/>
                  </a:lnTo>
                  <a:lnTo>
                    <a:pt x="1203" y="595"/>
                  </a:lnTo>
                  <a:lnTo>
                    <a:pt x="1201" y="596"/>
                  </a:lnTo>
                  <a:lnTo>
                    <a:pt x="1201" y="598"/>
                  </a:lnTo>
                  <a:lnTo>
                    <a:pt x="1200" y="599"/>
                  </a:lnTo>
                  <a:lnTo>
                    <a:pt x="1200" y="602"/>
                  </a:lnTo>
                  <a:lnTo>
                    <a:pt x="1197" y="608"/>
                  </a:lnTo>
                  <a:lnTo>
                    <a:pt x="1197" y="613"/>
                  </a:lnTo>
                  <a:lnTo>
                    <a:pt x="1195" y="613"/>
                  </a:lnTo>
                  <a:lnTo>
                    <a:pt x="1195" y="616"/>
                  </a:lnTo>
                  <a:lnTo>
                    <a:pt x="1194" y="619"/>
                  </a:lnTo>
                  <a:lnTo>
                    <a:pt x="1192" y="620"/>
                  </a:lnTo>
                  <a:lnTo>
                    <a:pt x="1192" y="623"/>
                  </a:lnTo>
                  <a:lnTo>
                    <a:pt x="1191" y="623"/>
                  </a:lnTo>
                  <a:lnTo>
                    <a:pt x="1189" y="622"/>
                  </a:lnTo>
                  <a:lnTo>
                    <a:pt x="1186" y="620"/>
                  </a:lnTo>
                  <a:lnTo>
                    <a:pt x="1185" y="620"/>
                  </a:lnTo>
                  <a:lnTo>
                    <a:pt x="1183" y="619"/>
                  </a:lnTo>
                  <a:lnTo>
                    <a:pt x="1177" y="619"/>
                  </a:lnTo>
                  <a:lnTo>
                    <a:pt x="1174" y="616"/>
                  </a:lnTo>
                  <a:lnTo>
                    <a:pt x="1167" y="616"/>
                  </a:lnTo>
                  <a:lnTo>
                    <a:pt x="1167" y="617"/>
                  </a:lnTo>
                  <a:lnTo>
                    <a:pt x="1161" y="617"/>
                  </a:lnTo>
                  <a:lnTo>
                    <a:pt x="1161" y="616"/>
                  </a:lnTo>
                  <a:lnTo>
                    <a:pt x="1159" y="614"/>
                  </a:lnTo>
                  <a:lnTo>
                    <a:pt x="1158" y="611"/>
                  </a:lnTo>
                  <a:lnTo>
                    <a:pt x="1155" y="611"/>
                  </a:lnTo>
                  <a:lnTo>
                    <a:pt x="1155" y="617"/>
                  </a:lnTo>
                  <a:lnTo>
                    <a:pt x="1156" y="619"/>
                  </a:lnTo>
                  <a:lnTo>
                    <a:pt x="1156" y="620"/>
                  </a:lnTo>
                  <a:lnTo>
                    <a:pt x="1158" y="622"/>
                  </a:lnTo>
                  <a:lnTo>
                    <a:pt x="1158" y="629"/>
                  </a:lnTo>
                  <a:lnTo>
                    <a:pt x="1159" y="629"/>
                  </a:lnTo>
                  <a:lnTo>
                    <a:pt x="1159" y="631"/>
                  </a:lnTo>
                  <a:lnTo>
                    <a:pt x="1161" y="631"/>
                  </a:lnTo>
                  <a:lnTo>
                    <a:pt x="1161" y="634"/>
                  </a:lnTo>
                  <a:lnTo>
                    <a:pt x="1159" y="643"/>
                  </a:lnTo>
                  <a:lnTo>
                    <a:pt x="1159" y="649"/>
                  </a:lnTo>
                  <a:lnTo>
                    <a:pt x="1158" y="650"/>
                  </a:lnTo>
                  <a:lnTo>
                    <a:pt x="1158" y="659"/>
                  </a:lnTo>
                  <a:lnTo>
                    <a:pt x="1156" y="664"/>
                  </a:lnTo>
                  <a:lnTo>
                    <a:pt x="1155" y="664"/>
                  </a:lnTo>
                  <a:lnTo>
                    <a:pt x="1155" y="665"/>
                  </a:lnTo>
                  <a:lnTo>
                    <a:pt x="1150" y="665"/>
                  </a:lnTo>
                  <a:lnTo>
                    <a:pt x="1150" y="664"/>
                  </a:lnTo>
                  <a:lnTo>
                    <a:pt x="1149" y="662"/>
                  </a:lnTo>
                  <a:lnTo>
                    <a:pt x="1147" y="664"/>
                  </a:lnTo>
                  <a:lnTo>
                    <a:pt x="1147" y="668"/>
                  </a:lnTo>
                  <a:lnTo>
                    <a:pt x="1149" y="670"/>
                  </a:lnTo>
                  <a:lnTo>
                    <a:pt x="1149" y="671"/>
                  </a:lnTo>
                  <a:lnTo>
                    <a:pt x="1146" y="674"/>
                  </a:lnTo>
                  <a:lnTo>
                    <a:pt x="1146" y="676"/>
                  </a:lnTo>
                  <a:lnTo>
                    <a:pt x="1144" y="677"/>
                  </a:lnTo>
                  <a:lnTo>
                    <a:pt x="1144" y="683"/>
                  </a:lnTo>
                  <a:lnTo>
                    <a:pt x="1146" y="685"/>
                  </a:lnTo>
                  <a:lnTo>
                    <a:pt x="1146" y="692"/>
                  </a:lnTo>
                  <a:lnTo>
                    <a:pt x="1147" y="694"/>
                  </a:lnTo>
                  <a:lnTo>
                    <a:pt x="1149" y="697"/>
                  </a:lnTo>
                  <a:lnTo>
                    <a:pt x="1149" y="703"/>
                  </a:lnTo>
                  <a:lnTo>
                    <a:pt x="1147" y="703"/>
                  </a:lnTo>
                  <a:lnTo>
                    <a:pt x="1146" y="704"/>
                  </a:lnTo>
                  <a:lnTo>
                    <a:pt x="1147" y="706"/>
                  </a:lnTo>
                  <a:lnTo>
                    <a:pt x="1141" y="706"/>
                  </a:lnTo>
                  <a:lnTo>
                    <a:pt x="1141" y="710"/>
                  </a:lnTo>
                  <a:lnTo>
                    <a:pt x="1140" y="710"/>
                  </a:lnTo>
                  <a:lnTo>
                    <a:pt x="1140" y="712"/>
                  </a:lnTo>
                  <a:lnTo>
                    <a:pt x="1138" y="713"/>
                  </a:lnTo>
                  <a:lnTo>
                    <a:pt x="1140" y="713"/>
                  </a:lnTo>
                  <a:lnTo>
                    <a:pt x="1140" y="716"/>
                  </a:lnTo>
                  <a:lnTo>
                    <a:pt x="1138" y="716"/>
                  </a:lnTo>
                  <a:lnTo>
                    <a:pt x="1138" y="715"/>
                  </a:lnTo>
                  <a:lnTo>
                    <a:pt x="1137" y="715"/>
                  </a:lnTo>
                  <a:lnTo>
                    <a:pt x="1135" y="716"/>
                  </a:lnTo>
                  <a:lnTo>
                    <a:pt x="1135" y="718"/>
                  </a:lnTo>
                  <a:lnTo>
                    <a:pt x="1134" y="716"/>
                  </a:lnTo>
                  <a:lnTo>
                    <a:pt x="1134" y="715"/>
                  </a:lnTo>
                  <a:lnTo>
                    <a:pt x="1132" y="713"/>
                  </a:lnTo>
                  <a:lnTo>
                    <a:pt x="1131" y="710"/>
                  </a:lnTo>
                  <a:lnTo>
                    <a:pt x="1128" y="707"/>
                  </a:lnTo>
                  <a:lnTo>
                    <a:pt x="1126" y="707"/>
                  </a:lnTo>
                  <a:lnTo>
                    <a:pt x="1126" y="709"/>
                  </a:lnTo>
                  <a:lnTo>
                    <a:pt x="1125" y="709"/>
                  </a:lnTo>
                  <a:lnTo>
                    <a:pt x="1126" y="710"/>
                  </a:lnTo>
                  <a:lnTo>
                    <a:pt x="1125" y="710"/>
                  </a:lnTo>
                  <a:lnTo>
                    <a:pt x="1125" y="715"/>
                  </a:lnTo>
                  <a:lnTo>
                    <a:pt x="1123" y="715"/>
                  </a:lnTo>
                  <a:lnTo>
                    <a:pt x="1122" y="716"/>
                  </a:lnTo>
                  <a:lnTo>
                    <a:pt x="1120" y="716"/>
                  </a:lnTo>
                  <a:lnTo>
                    <a:pt x="1120" y="712"/>
                  </a:lnTo>
                  <a:lnTo>
                    <a:pt x="1119" y="709"/>
                  </a:lnTo>
                  <a:lnTo>
                    <a:pt x="1120" y="709"/>
                  </a:lnTo>
                  <a:lnTo>
                    <a:pt x="1122" y="707"/>
                  </a:lnTo>
                  <a:lnTo>
                    <a:pt x="1119" y="691"/>
                  </a:lnTo>
                  <a:lnTo>
                    <a:pt x="1119" y="689"/>
                  </a:lnTo>
                  <a:lnTo>
                    <a:pt x="1117" y="688"/>
                  </a:lnTo>
                  <a:lnTo>
                    <a:pt x="1117" y="679"/>
                  </a:lnTo>
                  <a:lnTo>
                    <a:pt x="1116" y="679"/>
                  </a:lnTo>
                  <a:lnTo>
                    <a:pt x="1114" y="677"/>
                  </a:lnTo>
                  <a:lnTo>
                    <a:pt x="1114" y="673"/>
                  </a:lnTo>
                  <a:lnTo>
                    <a:pt x="1113" y="671"/>
                  </a:lnTo>
                  <a:lnTo>
                    <a:pt x="1111" y="671"/>
                  </a:lnTo>
                  <a:lnTo>
                    <a:pt x="1111" y="664"/>
                  </a:lnTo>
                  <a:lnTo>
                    <a:pt x="1110" y="658"/>
                  </a:lnTo>
                  <a:lnTo>
                    <a:pt x="1110" y="655"/>
                  </a:lnTo>
                  <a:lnTo>
                    <a:pt x="1111" y="653"/>
                  </a:lnTo>
                  <a:lnTo>
                    <a:pt x="1111" y="650"/>
                  </a:lnTo>
                  <a:lnTo>
                    <a:pt x="1110" y="650"/>
                  </a:lnTo>
                  <a:lnTo>
                    <a:pt x="1111" y="649"/>
                  </a:lnTo>
                  <a:lnTo>
                    <a:pt x="1110" y="647"/>
                  </a:lnTo>
                  <a:lnTo>
                    <a:pt x="1110" y="646"/>
                  </a:lnTo>
                  <a:lnTo>
                    <a:pt x="1108" y="644"/>
                  </a:lnTo>
                  <a:lnTo>
                    <a:pt x="1108" y="641"/>
                  </a:lnTo>
                  <a:lnTo>
                    <a:pt x="1107" y="635"/>
                  </a:lnTo>
                  <a:lnTo>
                    <a:pt x="1107" y="631"/>
                  </a:lnTo>
                  <a:lnTo>
                    <a:pt x="1105" y="631"/>
                  </a:lnTo>
                  <a:lnTo>
                    <a:pt x="1104" y="632"/>
                  </a:lnTo>
                  <a:lnTo>
                    <a:pt x="1104" y="634"/>
                  </a:lnTo>
                  <a:lnTo>
                    <a:pt x="1102" y="632"/>
                  </a:lnTo>
                  <a:lnTo>
                    <a:pt x="1102" y="631"/>
                  </a:lnTo>
                  <a:lnTo>
                    <a:pt x="1101" y="629"/>
                  </a:lnTo>
                  <a:lnTo>
                    <a:pt x="1099" y="629"/>
                  </a:lnTo>
                  <a:lnTo>
                    <a:pt x="1099" y="631"/>
                  </a:lnTo>
                  <a:lnTo>
                    <a:pt x="1096" y="634"/>
                  </a:lnTo>
                  <a:lnTo>
                    <a:pt x="1095" y="634"/>
                  </a:lnTo>
                  <a:lnTo>
                    <a:pt x="1093" y="631"/>
                  </a:lnTo>
                  <a:lnTo>
                    <a:pt x="1092" y="631"/>
                  </a:lnTo>
                  <a:lnTo>
                    <a:pt x="1092" y="629"/>
                  </a:lnTo>
                  <a:lnTo>
                    <a:pt x="1091" y="629"/>
                  </a:lnTo>
                  <a:lnTo>
                    <a:pt x="1091" y="634"/>
                  </a:lnTo>
                  <a:lnTo>
                    <a:pt x="1092" y="640"/>
                  </a:lnTo>
                  <a:lnTo>
                    <a:pt x="1092" y="641"/>
                  </a:lnTo>
                  <a:lnTo>
                    <a:pt x="1091" y="643"/>
                  </a:lnTo>
                  <a:lnTo>
                    <a:pt x="1091" y="644"/>
                  </a:lnTo>
                  <a:lnTo>
                    <a:pt x="1089" y="644"/>
                  </a:lnTo>
                  <a:lnTo>
                    <a:pt x="1088" y="646"/>
                  </a:lnTo>
                  <a:lnTo>
                    <a:pt x="1086" y="646"/>
                  </a:lnTo>
                  <a:lnTo>
                    <a:pt x="1085" y="647"/>
                  </a:lnTo>
                  <a:lnTo>
                    <a:pt x="1085" y="650"/>
                  </a:lnTo>
                  <a:lnTo>
                    <a:pt x="1083" y="652"/>
                  </a:lnTo>
                  <a:lnTo>
                    <a:pt x="1083" y="655"/>
                  </a:lnTo>
                  <a:lnTo>
                    <a:pt x="1085" y="656"/>
                  </a:lnTo>
                  <a:lnTo>
                    <a:pt x="1085" y="661"/>
                  </a:lnTo>
                  <a:lnTo>
                    <a:pt x="1086" y="661"/>
                  </a:lnTo>
                  <a:lnTo>
                    <a:pt x="1085" y="662"/>
                  </a:lnTo>
                  <a:lnTo>
                    <a:pt x="1083" y="662"/>
                  </a:lnTo>
                  <a:lnTo>
                    <a:pt x="1083" y="665"/>
                  </a:lnTo>
                  <a:lnTo>
                    <a:pt x="1082" y="665"/>
                  </a:lnTo>
                  <a:lnTo>
                    <a:pt x="1080" y="667"/>
                  </a:lnTo>
                  <a:lnTo>
                    <a:pt x="1077" y="667"/>
                  </a:lnTo>
                  <a:lnTo>
                    <a:pt x="1077" y="668"/>
                  </a:lnTo>
                  <a:lnTo>
                    <a:pt x="1076" y="668"/>
                  </a:lnTo>
                  <a:lnTo>
                    <a:pt x="1076" y="667"/>
                  </a:lnTo>
                  <a:lnTo>
                    <a:pt x="1074" y="667"/>
                  </a:lnTo>
                  <a:lnTo>
                    <a:pt x="1073" y="665"/>
                  </a:lnTo>
                  <a:lnTo>
                    <a:pt x="1073" y="664"/>
                  </a:lnTo>
                  <a:lnTo>
                    <a:pt x="1071" y="662"/>
                  </a:lnTo>
                  <a:lnTo>
                    <a:pt x="1071" y="658"/>
                  </a:lnTo>
                  <a:lnTo>
                    <a:pt x="1070" y="656"/>
                  </a:lnTo>
                  <a:lnTo>
                    <a:pt x="1070" y="655"/>
                  </a:lnTo>
                  <a:lnTo>
                    <a:pt x="1068" y="655"/>
                  </a:lnTo>
                  <a:lnTo>
                    <a:pt x="1068" y="653"/>
                  </a:lnTo>
                  <a:lnTo>
                    <a:pt x="1065" y="653"/>
                  </a:lnTo>
                  <a:lnTo>
                    <a:pt x="1065" y="656"/>
                  </a:lnTo>
                  <a:lnTo>
                    <a:pt x="1067" y="661"/>
                  </a:lnTo>
                  <a:lnTo>
                    <a:pt x="1067" y="662"/>
                  </a:lnTo>
                  <a:lnTo>
                    <a:pt x="1065" y="662"/>
                  </a:lnTo>
                  <a:lnTo>
                    <a:pt x="1062" y="659"/>
                  </a:lnTo>
                  <a:lnTo>
                    <a:pt x="1062" y="650"/>
                  </a:lnTo>
                  <a:lnTo>
                    <a:pt x="1061" y="650"/>
                  </a:lnTo>
                  <a:lnTo>
                    <a:pt x="1061" y="649"/>
                  </a:lnTo>
                  <a:lnTo>
                    <a:pt x="1062" y="649"/>
                  </a:lnTo>
                  <a:lnTo>
                    <a:pt x="1062" y="647"/>
                  </a:lnTo>
                  <a:lnTo>
                    <a:pt x="1061" y="647"/>
                  </a:lnTo>
                  <a:lnTo>
                    <a:pt x="1061" y="646"/>
                  </a:lnTo>
                  <a:lnTo>
                    <a:pt x="1059" y="644"/>
                  </a:lnTo>
                  <a:lnTo>
                    <a:pt x="1059" y="641"/>
                  </a:lnTo>
                  <a:lnTo>
                    <a:pt x="1058" y="641"/>
                  </a:lnTo>
                  <a:lnTo>
                    <a:pt x="1058" y="638"/>
                  </a:lnTo>
                  <a:lnTo>
                    <a:pt x="1056" y="638"/>
                  </a:lnTo>
                  <a:lnTo>
                    <a:pt x="1055" y="635"/>
                  </a:lnTo>
                  <a:lnTo>
                    <a:pt x="1055" y="634"/>
                  </a:lnTo>
                  <a:lnTo>
                    <a:pt x="1056" y="634"/>
                  </a:lnTo>
                  <a:lnTo>
                    <a:pt x="1058" y="632"/>
                  </a:lnTo>
                  <a:lnTo>
                    <a:pt x="1056" y="632"/>
                  </a:lnTo>
                  <a:lnTo>
                    <a:pt x="1056" y="631"/>
                  </a:lnTo>
                  <a:lnTo>
                    <a:pt x="1055" y="631"/>
                  </a:lnTo>
                  <a:lnTo>
                    <a:pt x="1055" y="629"/>
                  </a:lnTo>
                  <a:lnTo>
                    <a:pt x="1058" y="629"/>
                  </a:lnTo>
                  <a:lnTo>
                    <a:pt x="1058" y="628"/>
                  </a:lnTo>
                  <a:lnTo>
                    <a:pt x="1059" y="625"/>
                  </a:lnTo>
                  <a:lnTo>
                    <a:pt x="1059" y="620"/>
                  </a:lnTo>
                  <a:lnTo>
                    <a:pt x="1061" y="617"/>
                  </a:lnTo>
                  <a:lnTo>
                    <a:pt x="1062" y="616"/>
                  </a:lnTo>
                  <a:lnTo>
                    <a:pt x="1065" y="616"/>
                  </a:lnTo>
                  <a:lnTo>
                    <a:pt x="1065" y="611"/>
                  </a:lnTo>
                  <a:lnTo>
                    <a:pt x="1076" y="611"/>
                  </a:lnTo>
                  <a:lnTo>
                    <a:pt x="1077" y="610"/>
                  </a:lnTo>
                  <a:lnTo>
                    <a:pt x="1077" y="605"/>
                  </a:lnTo>
                  <a:lnTo>
                    <a:pt x="1079" y="605"/>
                  </a:lnTo>
                  <a:lnTo>
                    <a:pt x="1079" y="607"/>
                  </a:lnTo>
                  <a:lnTo>
                    <a:pt x="1080" y="608"/>
                  </a:lnTo>
                  <a:lnTo>
                    <a:pt x="1083" y="608"/>
                  </a:lnTo>
                  <a:lnTo>
                    <a:pt x="1083" y="607"/>
                  </a:lnTo>
                  <a:lnTo>
                    <a:pt x="1082" y="605"/>
                  </a:lnTo>
                  <a:lnTo>
                    <a:pt x="1083" y="604"/>
                  </a:lnTo>
                  <a:lnTo>
                    <a:pt x="1086" y="605"/>
                  </a:lnTo>
                  <a:lnTo>
                    <a:pt x="1086" y="607"/>
                  </a:lnTo>
                  <a:lnTo>
                    <a:pt x="1088" y="608"/>
                  </a:lnTo>
                  <a:lnTo>
                    <a:pt x="1089" y="608"/>
                  </a:lnTo>
                  <a:lnTo>
                    <a:pt x="1089" y="607"/>
                  </a:lnTo>
                  <a:lnTo>
                    <a:pt x="1091" y="602"/>
                  </a:lnTo>
                  <a:lnTo>
                    <a:pt x="1091" y="599"/>
                  </a:lnTo>
                  <a:lnTo>
                    <a:pt x="1093" y="599"/>
                  </a:lnTo>
                  <a:lnTo>
                    <a:pt x="1092" y="598"/>
                  </a:lnTo>
                  <a:lnTo>
                    <a:pt x="1098" y="598"/>
                  </a:lnTo>
                  <a:lnTo>
                    <a:pt x="1099" y="596"/>
                  </a:lnTo>
                  <a:lnTo>
                    <a:pt x="1099" y="590"/>
                  </a:lnTo>
                  <a:lnTo>
                    <a:pt x="1101" y="589"/>
                  </a:lnTo>
                  <a:lnTo>
                    <a:pt x="1102" y="589"/>
                  </a:lnTo>
                  <a:lnTo>
                    <a:pt x="1102" y="583"/>
                  </a:lnTo>
                  <a:lnTo>
                    <a:pt x="1105" y="577"/>
                  </a:lnTo>
                  <a:lnTo>
                    <a:pt x="1105" y="571"/>
                  </a:lnTo>
                  <a:lnTo>
                    <a:pt x="1108" y="571"/>
                  </a:lnTo>
                  <a:lnTo>
                    <a:pt x="1111" y="572"/>
                  </a:lnTo>
                  <a:lnTo>
                    <a:pt x="1111" y="574"/>
                  </a:lnTo>
                  <a:lnTo>
                    <a:pt x="1113" y="574"/>
                  </a:lnTo>
                  <a:lnTo>
                    <a:pt x="1114" y="572"/>
                  </a:lnTo>
                  <a:lnTo>
                    <a:pt x="1116" y="572"/>
                  </a:lnTo>
                  <a:lnTo>
                    <a:pt x="1117" y="571"/>
                  </a:lnTo>
                  <a:lnTo>
                    <a:pt x="1117" y="569"/>
                  </a:lnTo>
                  <a:lnTo>
                    <a:pt x="1116" y="569"/>
                  </a:lnTo>
                  <a:lnTo>
                    <a:pt x="1116" y="568"/>
                  </a:lnTo>
                  <a:lnTo>
                    <a:pt x="1114" y="568"/>
                  </a:lnTo>
                  <a:lnTo>
                    <a:pt x="1113" y="566"/>
                  </a:lnTo>
                  <a:lnTo>
                    <a:pt x="1113" y="565"/>
                  </a:lnTo>
                  <a:lnTo>
                    <a:pt x="1111" y="563"/>
                  </a:lnTo>
                  <a:lnTo>
                    <a:pt x="1110" y="563"/>
                  </a:lnTo>
                  <a:lnTo>
                    <a:pt x="1108" y="562"/>
                  </a:lnTo>
                  <a:lnTo>
                    <a:pt x="1105" y="562"/>
                  </a:lnTo>
                  <a:lnTo>
                    <a:pt x="1105" y="560"/>
                  </a:lnTo>
                  <a:lnTo>
                    <a:pt x="1104" y="560"/>
                  </a:lnTo>
                  <a:lnTo>
                    <a:pt x="1102" y="559"/>
                  </a:lnTo>
                  <a:lnTo>
                    <a:pt x="1099" y="559"/>
                  </a:lnTo>
                  <a:lnTo>
                    <a:pt x="1099" y="557"/>
                  </a:lnTo>
                  <a:lnTo>
                    <a:pt x="1098" y="557"/>
                  </a:lnTo>
                  <a:lnTo>
                    <a:pt x="1096" y="556"/>
                  </a:lnTo>
                  <a:lnTo>
                    <a:pt x="1095" y="556"/>
                  </a:lnTo>
                  <a:lnTo>
                    <a:pt x="1093" y="557"/>
                  </a:lnTo>
                  <a:lnTo>
                    <a:pt x="1082" y="557"/>
                  </a:lnTo>
                  <a:lnTo>
                    <a:pt x="1082" y="559"/>
                  </a:lnTo>
                  <a:lnTo>
                    <a:pt x="1080" y="557"/>
                  </a:lnTo>
                  <a:lnTo>
                    <a:pt x="1080" y="559"/>
                  </a:lnTo>
                  <a:lnTo>
                    <a:pt x="1076" y="559"/>
                  </a:lnTo>
                  <a:lnTo>
                    <a:pt x="1076" y="557"/>
                  </a:lnTo>
                  <a:lnTo>
                    <a:pt x="1074" y="557"/>
                  </a:lnTo>
                  <a:lnTo>
                    <a:pt x="1073" y="559"/>
                  </a:lnTo>
                  <a:lnTo>
                    <a:pt x="1068" y="559"/>
                  </a:lnTo>
                  <a:lnTo>
                    <a:pt x="1062" y="557"/>
                  </a:lnTo>
                  <a:lnTo>
                    <a:pt x="1059" y="556"/>
                  </a:lnTo>
                  <a:lnTo>
                    <a:pt x="1055" y="556"/>
                  </a:lnTo>
                  <a:lnTo>
                    <a:pt x="1047" y="557"/>
                  </a:lnTo>
                  <a:lnTo>
                    <a:pt x="1046" y="557"/>
                  </a:lnTo>
                  <a:lnTo>
                    <a:pt x="1041" y="559"/>
                  </a:lnTo>
                  <a:lnTo>
                    <a:pt x="1040" y="559"/>
                  </a:lnTo>
                  <a:lnTo>
                    <a:pt x="1038" y="557"/>
                  </a:lnTo>
                  <a:lnTo>
                    <a:pt x="1026" y="557"/>
                  </a:lnTo>
                  <a:lnTo>
                    <a:pt x="1022" y="559"/>
                  </a:lnTo>
                  <a:lnTo>
                    <a:pt x="1020" y="557"/>
                  </a:lnTo>
                  <a:lnTo>
                    <a:pt x="1016" y="556"/>
                  </a:lnTo>
                  <a:lnTo>
                    <a:pt x="1008" y="554"/>
                  </a:lnTo>
                  <a:lnTo>
                    <a:pt x="999" y="551"/>
                  </a:lnTo>
                  <a:lnTo>
                    <a:pt x="995" y="551"/>
                  </a:lnTo>
                  <a:lnTo>
                    <a:pt x="995" y="550"/>
                  </a:lnTo>
                  <a:lnTo>
                    <a:pt x="993" y="548"/>
                  </a:lnTo>
                  <a:lnTo>
                    <a:pt x="993" y="545"/>
                  </a:lnTo>
                  <a:lnTo>
                    <a:pt x="995" y="544"/>
                  </a:lnTo>
                  <a:lnTo>
                    <a:pt x="995" y="532"/>
                  </a:lnTo>
                  <a:lnTo>
                    <a:pt x="993" y="529"/>
                  </a:lnTo>
                  <a:lnTo>
                    <a:pt x="993" y="523"/>
                  </a:lnTo>
                  <a:lnTo>
                    <a:pt x="995" y="520"/>
                  </a:lnTo>
                  <a:lnTo>
                    <a:pt x="995" y="518"/>
                  </a:lnTo>
                  <a:lnTo>
                    <a:pt x="993" y="517"/>
                  </a:lnTo>
                  <a:lnTo>
                    <a:pt x="995" y="517"/>
                  </a:lnTo>
                  <a:lnTo>
                    <a:pt x="995" y="515"/>
                  </a:lnTo>
                  <a:lnTo>
                    <a:pt x="993" y="515"/>
                  </a:lnTo>
                  <a:lnTo>
                    <a:pt x="993" y="514"/>
                  </a:lnTo>
                  <a:lnTo>
                    <a:pt x="992" y="514"/>
                  </a:lnTo>
                  <a:lnTo>
                    <a:pt x="992" y="511"/>
                  </a:lnTo>
                  <a:lnTo>
                    <a:pt x="990" y="509"/>
                  </a:lnTo>
                  <a:lnTo>
                    <a:pt x="990" y="508"/>
                  </a:lnTo>
                  <a:lnTo>
                    <a:pt x="989" y="506"/>
                  </a:lnTo>
                  <a:lnTo>
                    <a:pt x="989" y="508"/>
                  </a:lnTo>
                  <a:lnTo>
                    <a:pt x="987" y="506"/>
                  </a:lnTo>
                  <a:lnTo>
                    <a:pt x="987" y="503"/>
                  </a:lnTo>
                  <a:lnTo>
                    <a:pt x="986" y="503"/>
                  </a:lnTo>
                  <a:lnTo>
                    <a:pt x="984" y="505"/>
                  </a:lnTo>
                  <a:lnTo>
                    <a:pt x="984" y="506"/>
                  </a:lnTo>
                  <a:lnTo>
                    <a:pt x="983" y="506"/>
                  </a:lnTo>
                  <a:lnTo>
                    <a:pt x="983" y="508"/>
                  </a:lnTo>
                  <a:lnTo>
                    <a:pt x="984" y="509"/>
                  </a:lnTo>
                  <a:lnTo>
                    <a:pt x="983" y="509"/>
                  </a:lnTo>
                  <a:lnTo>
                    <a:pt x="983" y="511"/>
                  </a:lnTo>
                  <a:lnTo>
                    <a:pt x="986" y="511"/>
                  </a:lnTo>
                  <a:lnTo>
                    <a:pt x="983" y="514"/>
                  </a:lnTo>
                  <a:lnTo>
                    <a:pt x="983" y="517"/>
                  </a:lnTo>
                  <a:lnTo>
                    <a:pt x="980" y="517"/>
                  </a:lnTo>
                  <a:lnTo>
                    <a:pt x="980" y="515"/>
                  </a:lnTo>
                  <a:lnTo>
                    <a:pt x="975" y="515"/>
                  </a:lnTo>
                  <a:lnTo>
                    <a:pt x="975" y="514"/>
                  </a:lnTo>
                  <a:lnTo>
                    <a:pt x="974" y="514"/>
                  </a:lnTo>
                  <a:lnTo>
                    <a:pt x="974" y="515"/>
                  </a:lnTo>
                  <a:lnTo>
                    <a:pt x="972" y="515"/>
                  </a:lnTo>
                  <a:lnTo>
                    <a:pt x="969" y="512"/>
                  </a:lnTo>
                  <a:lnTo>
                    <a:pt x="968" y="512"/>
                  </a:lnTo>
                  <a:lnTo>
                    <a:pt x="968" y="511"/>
                  </a:lnTo>
                  <a:lnTo>
                    <a:pt x="966" y="509"/>
                  </a:lnTo>
                  <a:lnTo>
                    <a:pt x="963" y="508"/>
                  </a:lnTo>
                  <a:lnTo>
                    <a:pt x="962" y="508"/>
                  </a:lnTo>
                  <a:lnTo>
                    <a:pt x="962" y="503"/>
                  </a:lnTo>
                  <a:lnTo>
                    <a:pt x="960" y="502"/>
                  </a:lnTo>
                  <a:lnTo>
                    <a:pt x="960" y="499"/>
                  </a:lnTo>
                  <a:lnTo>
                    <a:pt x="962" y="499"/>
                  </a:lnTo>
                  <a:lnTo>
                    <a:pt x="962" y="498"/>
                  </a:lnTo>
                  <a:lnTo>
                    <a:pt x="959" y="498"/>
                  </a:lnTo>
                  <a:lnTo>
                    <a:pt x="960" y="496"/>
                  </a:lnTo>
                  <a:lnTo>
                    <a:pt x="957" y="496"/>
                  </a:lnTo>
                  <a:lnTo>
                    <a:pt x="957" y="495"/>
                  </a:lnTo>
                  <a:lnTo>
                    <a:pt x="956" y="495"/>
                  </a:lnTo>
                  <a:lnTo>
                    <a:pt x="956" y="493"/>
                  </a:lnTo>
                  <a:lnTo>
                    <a:pt x="953" y="493"/>
                  </a:lnTo>
                  <a:lnTo>
                    <a:pt x="953" y="495"/>
                  </a:lnTo>
                  <a:lnTo>
                    <a:pt x="951" y="496"/>
                  </a:lnTo>
                  <a:lnTo>
                    <a:pt x="953" y="498"/>
                  </a:lnTo>
                  <a:lnTo>
                    <a:pt x="954" y="498"/>
                  </a:lnTo>
                  <a:lnTo>
                    <a:pt x="956" y="499"/>
                  </a:lnTo>
                  <a:lnTo>
                    <a:pt x="956" y="500"/>
                  </a:lnTo>
                  <a:lnTo>
                    <a:pt x="957" y="500"/>
                  </a:lnTo>
                  <a:lnTo>
                    <a:pt x="957" y="502"/>
                  </a:lnTo>
                  <a:lnTo>
                    <a:pt x="959" y="502"/>
                  </a:lnTo>
                  <a:lnTo>
                    <a:pt x="957" y="503"/>
                  </a:lnTo>
                  <a:lnTo>
                    <a:pt x="954" y="503"/>
                  </a:lnTo>
                  <a:lnTo>
                    <a:pt x="953" y="500"/>
                  </a:lnTo>
                  <a:lnTo>
                    <a:pt x="951" y="500"/>
                  </a:lnTo>
                  <a:lnTo>
                    <a:pt x="950" y="502"/>
                  </a:lnTo>
                  <a:lnTo>
                    <a:pt x="950" y="503"/>
                  </a:lnTo>
                  <a:lnTo>
                    <a:pt x="948" y="503"/>
                  </a:lnTo>
                  <a:lnTo>
                    <a:pt x="948" y="502"/>
                  </a:lnTo>
                  <a:lnTo>
                    <a:pt x="947" y="502"/>
                  </a:lnTo>
                  <a:lnTo>
                    <a:pt x="947" y="500"/>
                  </a:lnTo>
                  <a:lnTo>
                    <a:pt x="945" y="500"/>
                  </a:lnTo>
                  <a:lnTo>
                    <a:pt x="941" y="502"/>
                  </a:lnTo>
                  <a:lnTo>
                    <a:pt x="941" y="500"/>
                  </a:lnTo>
                  <a:lnTo>
                    <a:pt x="942" y="500"/>
                  </a:lnTo>
                  <a:lnTo>
                    <a:pt x="944" y="499"/>
                  </a:lnTo>
                  <a:lnTo>
                    <a:pt x="944" y="498"/>
                  </a:lnTo>
                  <a:lnTo>
                    <a:pt x="942" y="498"/>
                  </a:lnTo>
                  <a:lnTo>
                    <a:pt x="942" y="496"/>
                  </a:lnTo>
                  <a:lnTo>
                    <a:pt x="941" y="495"/>
                  </a:lnTo>
                  <a:lnTo>
                    <a:pt x="941" y="493"/>
                  </a:lnTo>
                  <a:lnTo>
                    <a:pt x="939" y="493"/>
                  </a:lnTo>
                  <a:lnTo>
                    <a:pt x="938" y="492"/>
                  </a:lnTo>
                  <a:lnTo>
                    <a:pt x="935" y="492"/>
                  </a:lnTo>
                  <a:lnTo>
                    <a:pt x="935" y="490"/>
                  </a:lnTo>
                  <a:lnTo>
                    <a:pt x="933" y="490"/>
                  </a:lnTo>
                  <a:lnTo>
                    <a:pt x="933" y="489"/>
                  </a:lnTo>
                  <a:lnTo>
                    <a:pt x="932" y="489"/>
                  </a:lnTo>
                  <a:lnTo>
                    <a:pt x="932" y="487"/>
                  </a:lnTo>
                  <a:lnTo>
                    <a:pt x="929" y="487"/>
                  </a:lnTo>
                  <a:lnTo>
                    <a:pt x="929" y="484"/>
                  </a:lnTo>
                  <a:lnTo>
                    <a:pt x="928" y="486"/>
                  </a:lnTo>
                  <a:lnTo>
                    <a:pt x="926" y="489"/>
                  </a:lnTo>
                  <a:lnTo>
                    <a:pt x="926" y="492"/>
                  </a:lnTo>
                  <a:lnTo>
                    <a:pt x="928" y="492"/>
                  </a:lnTo>
                  <a:lnTo>
                    <a:pt x="928" y="490"/>
                  </a:lnTo>
                  <a:lnTo>
                    <a:pt x="929" y="492"/>
                  </a:lnTo>
                  <a:lnTo>
                    <a:pt x="932" y="492"/>
                  </a:lnTo>
                  <a:lnTo>
                    <a:pt x="933" y="493"/>
                  </a:lnTo>
                  <a:lnTo>
                    <a:pt x="933" y="498"/>
                  </a:lnTo>
                  <a:lnTo>
                    <a:pt x="932" y="498"/>
                  </a:lnTo>
                  <a:lnTo>
                    <a:pt x="931" y="496"/>
                  </a:lnTo>
                  <a:lnTo>
                    <a:pt x="931" y="498"/>
                  </a:lnTo>
                  <a:lnTo>
                    <a:pt x="928" y="499"/>
                  </a:lnTo>
                  <a:lnTo>
                    <a:pt x="926" y="500"/>
                  </a:lnTo>
                  <a:lnTo>
                    <a:pt x="926" y="505"/>
                  </a:lnTo>
                  <a:lnTo>
                    <a:pt x="922" y="505"/>
                  </a:lnTo>
                  <a:lnTo>
                    <a:pt x="922" y="506"/>
                  </a:lnTo>
                  <a:lnTo>
                    <a:pt x="920" y="506"/>
                  </a:lnTo>
                  <a:lnTo>
                    <a:pt x="919" y="508"/>
                  </a:lnTo>
                  <a:lnTo>
                    <a:pt x="919" y="509"/>
                  </a:lnTo>
                  <a:lnTo>
                    <a:pt x="917" y="511"/>
                  </a:lnTo>
                  <a:lnTo>
                    <a:pt x="919" y="511"/>
                  </a:lnTo>
                  <a:lnTo>
                    <a:pt x="919" y="514"/>
                  </a:lnTo>
                  <a:lnTo>
                    <a:pt x="917" y="514"/>
                  </a:lnTo>
                  <a:lnTo>
                    <a:pt x="916" y="515"/>
                  </a:lnTo>
                  <a:lnTo>
                    <a:pt x="916" y="520"/>
                  </a:lnTo>
                  <a:lnTo>
                    <a:pt x="914" y="520"/>
                  </a:lnTo>
                  <a:lnTo>
                    <a:pt x="916" y="521"/>
                  </a:lnTo>
                  <a:lnTo>
                    <a:pt x="916" y="524"/>
                  </a:lnTo>
                  <a:lnTo>
                    <a:pt x="917" y="526"/>
                  </a:lnTo>
                  <a:lnTo>
                    <a:pt x="920" y="526"/>
                  </a:lnTo>
                  <a:lnTo>
                    <a:pt x="922" y="524"/>
                  </a:lnTo>
                  <a:lnTo>
                    <a:pt x="929" y="532"/>
                  </a:lnTo>
                  <a:lnTo>
                    <a:pt x="931" y="532"/>
                  </a:lnTo>
                  <a:lnTo>
                    <a:pt x="931" y="536"/>
                  </a:lnTo>
                  <a:lnTo>
                    <a:pt x="932" y="536"/>
                  </a:lnTo>
                  <a:lnTo>
                    <a:pt x="935" y="539"/>
                  </a:lnTo>
                  <a:lnTo>
                    <a:pt x="935" y="541"/>
                  </a:lnTo>
                  <a:lnTo>
                    <a:pt x="939" y="541"/>
                  </a:lnTo>
                  <a:lnTo>
                    <a:pt x="941" y="542"/>
                  </a:lnTo>
                  <a:lnTo>
                    <a:pt x="942" y="542"/>
                  </a:lnTo>
                  <a:lnTo>
                    <a:pt x="942" y="541"/>
                  </a:lnTo>
                  <a:lnTo>
                    <a:pt x="945" y="541"/>
                  </a:lnTo>
                  <a:lnTo>
                    <a:pt x="945" y="539"/>
                  </a:lnTo>
                  <a:lnTo>
                    <a:pt x="948" y="542"/>
                  </a:lnTo>
                  <a:lnTo>
                    <a:pt x="948" y="547"/>
                  </a:lnTo>
                  <a:lnTo>
                    <a:pt x="950" y="548"/>
                  </a:lnTo>
                  <a:lnTo>
                    <a:pt x="950" y="550"/>
                  </a:lnTo>
                  <a:lnTo>
                    <a:pt x="956" y="550"/>
                  </a:lnTo>
                  <a:lnTo>
                    <a:pt x="956" y="553"/>
                  </a:lnTo>
                  <a:lnTo>
                    <a:pt x="954" y="553"/>
                  </a:lnTo>
                  <a:lnTo>
                    <a:pt x="954" y="556"/>
                  </a:lnTo>
                  <a:lnTo>
                    <a:pt x="953" y="556"/>
                  </a:lnTo>
                  <a:lnTo>
                    <a:pt x="953" y="557"/>
                  </a:lnTo>
                  <a:lnTo>
                    <a:pt x="950" y="556"/>
                  </a:lnTo>
                  <a:lnTo>
                    <a:pt x="948" y="556"/>
                  </a:lnTo>
                  <a:lnTo>
                    <a:pt x="947" y="557"/>
                  </a:lnTo>
                  <a:lnTo>
                    <a:pt x="944" y="557"/>
                  </a:lnTo>
                  <a:lnTo>
                    <a:pt x="941" y="556"/>
                  </a:lnTo>
                  <a:lnTo>
                    <a:pt x="938" y="556"/>
                  </a:lnTo>
                  <a:lnTo>
                    <a:pt x="938" y="557"/>
                  </a:lnTo>
                  <a:lnTo>
                    <a:pt x="936" y="557"/>
                  </a:lnTo>
                  <a:lnTo>
                    <a:pt x="935" y="556"/>
                  </a:lnTo>
                  <a:lnTo>
                    <a:pt x="932" y="556"/>
                  </a:lnTo>
                  <a:lnTo>
                    <a:pt x="931" y="557"/>
                  </a:lnTo>
                  <a:lnTo>
                    <a:pt x="931" y="565"/>
                  </a:lnTo>
                  <a:lnTo>
                    <a:pt x="929" y="566"/>
                  </a:lnTo>
                  <a:lnTo>
                    <a:pt x="929" y="568"/>
                  </a:lnTo>
                  <a:lnTo>
                    <a:pt x="928" y="571"/>
                  </a:lnTo>
                  <a:lnTo>
                    <a:pt x="926" y="572"/>
                  </a:lnTo>
                  <a:lnTo>
                    <a:pt x="923" y="572"/>
                  </a:lnTo>
                  <a:lnTo>
                    <a:pt x="923" y="571"/>
                  </a:lnTo>
                  <a:lnTo>
                    <a:pt x="920" y="568"/>
                  </a:lnTo>
                  <a:lnTo>
                    <a:pt x="919" y="569"/>
                  </a:lnTo>
                  <a:lnTo>
                    <a:pt x="917" y="569"/>
                  </a:lnTo>
                  <a:lnTo>
                    <a:pt x="917" y="575"/>
                  </a:lnTo>
                  <a:lnTo>
                    <a:pt x="916" y="575"/>
                  </a:lnTo>
                  <a:lnTo>
                    <a:pt x="916" y="577"/>
                  </a:lnTo>
                  <a:lnTo>
                    <a:pt x="914" y="578"/>
                  </a:lnTo>
                  <a:lnTo>
                    <a:pt x="914" y="580"/>
                  </a:lnTo>
                  <a:lnTo>
                    <a:pt x="913" y="581"/>
                  </a:lnTo>
                  <a:lnTo>
                    <a:pt x="913" y="584"/>
                  </a:lnTo>
                  <a:lnTo>
                    <a:pt x="914" y="584"/>
                  </a:lnTo>
                  <a:lnTo>
                    <a:pt x="914" y="586"/>
                  </a:lnTo>
                  <a:lnTo>
                    <a:pt x="916" y="586"/>
                  </a:lnTo>
                  <a:lnTo>
                    <a:pt x="916" y="590"/>
                  </a:lnTo>
                  <a:lnTo>
                    <a:pt x="917" y="590"/>
                  </a:lnTo>
                  <a:lnTo>
                    <a:pt x="929" y="598"/>
                  </a:lnTo>
                  <a:lnTo>
                    <a:pt x="933" y="601"/>
                  </a:lnTo>
                  <a:lnTo>
                    <a:pt x="941" y="601"/>
                  </a:lnTo>
                  <a:lnTo>
                    <a:pt x="941" y="599"/>
                  </a:lnTo>
                  <a:lnTo>
                    <a:pt x="942" y="599"/>
                  </a:lnTo>
                  <a:lnTo>
                    <a:pt x="944" y="601"/>
                  </a:lnTo>
                  <a:lnTo>
                    <a:pt x="945" y="601"/>
                  </a:lnTo>
                  <a:lnTo>
                    <a:pt x="945" y="607"/>
                  </a:lnTo>
                  <a:lnTo>
                    <a:pt x="942" y="607"/>
                  </a:lnTo>
                  <a:lnTo>
                    <a:pt x="942" y="613"/>
                  </a:lnTo>
                  <a:lnTo>
                    <a:pt x="944" y="613"/>
                  </a:lnTo>
                  <a:lnTo>
                    <a:pt x="944" y="620"/>
                  </a:lnTo>
                  <a:lnTo>
                    <a:pt x="942" y="622"/>
                  </a:lnTo>
                  <a:lnTo>
                    <a:pt x="941" y="622"/>
                  </a:lnTo>
                  <a:lnTo>
                    <a:pt x="941" y="623"/>
                  </a:lnTo>
                  <a:lnTo>
                    <a:pt x="939" y="622"/>
                  </a:lnTo>
                  <a:lnTo>
                    <a:pt x="938" y="623"/>
                  </a:lnTo>
                  <a:lnTo>
                    <a:pt x="938" y="626"/>
                  </a:lnTo>
                  <a:lnTo>
                    <a:pt x="936" y="626"/>
                  </a:lnTo>
                  <a:lnTo>
                    <a:pt x="936" y="635"/>
                  </a:lnTo>
                  <a:lnTo>
                    <a:pt x="938" y="637"/>
                  </a:lnTo>
                  <a:lnTo>
                    <a:pt x="939" y="637"/>
                  </a:lnTo>
                  <a:lnTo>
                    <a:pt x="941" y="640"/>
                  </a:lnTo>
                  <a:lnTo>
                    <a:pt x="942" y="641"/>
                  </a:lnTo>
                  <a:lnTo>
                    <a:pt x="944" y="641"/>
                  </a:lnTo>
                  <a:lnTo>
                    <a:pt x="944" y="643"/>
                  </a:lnTo>
                  <a:lnTo>
                    <a:pt x="945" y="643"/>
                  </a:lnTo>
                  <a:lnTo>
                    <a:pt x="945" y="641"/>
                  </a:lnTo>
                  <a:lnTo>
                    <a:pt x="947" y="641"/>
                  </a:lnTo>
                  <a:lnTo>
                    <a:pt x="947" y="643"/>
                  </a:lnTo>
                  <a:lnTo>
                    <a:pt x="944" y="649"/>
                  </a:lnTo>
                  <a:lnTo>
                    <a:pt x="942" y="650"/>
                  </a:lnTo>
                  <a:lnTo>
                    <a:pt x="942" y="653"/>
                  </a:lnTo>
                  <a:lnTo>
                    <a:pt x="944" y="653"/>
                  </a:lnTo>
                  <a:lnTo>
                    <a:pt x="947" y="655"/>
                  </a:lnTo>
                  <a:lnTo>
                    <a:pt x="948" y="655"/>
                  </a:lnTo>
                  <a:lnTo>
                    <a:pt x="948" y="653"/>
                  </a:lnTo>
                  <a:lnTo>
                    <a:pt x="950" y="655"/>
                  </a:lnTo>
                  <a:lnTo>
                    <a:pt x="954" y="655"/>
                  </a:lnTo>
                  <a:lnTo>
                    <a:pt x="956" y="656"/>
                  </a:lnTo>
                  <a:lnTo>
                    <a:pt x="954" y="656"/>
                  </a:lnTo>
                  <a:lnTo>
                    <a:pt x="954" y="658"/>
                  </a:lnTo>
                  <a:lnTo>
                    <a:pt x="953" y="658"/>
                  </a:lnTo>
                  <a:lnTo>
                    <a:pt x="951" y="661"/>
                  </a:lnTo>
                  <a:lnTo>
                    <a:pt x="950" y="662"/>
                  </a:lnTo>
                  <a:lnTo>
                    <a:pt x="950" y="668"/>
                  </a:lnTo>
                  <a:lnTo>
                    <a:pt x="951" y="668"/>
                  </a:lnTo>
                  <a:lnTo>
                    <a:pt x="951" y="670"/>
                  </a:lnTo>
                  <a:lnTo>
                    <a:pt x="953" y="671"/>
                  </a:lnTo>
                  <a:lnTo>
                    <a:pt x="953" y="673"/>
                  </a:lnTo>
                  <a:lnTo>
                    <a:pt x="954" y="673"/>
                  </a:lnTo>
                  <a:lnTo>
                    <a:pt x="954" y="677"/>
                  </a:lnTo>
                  <a:lnTo>
                    <a:pt x="953" y="677"/>
                  </a:lnTo>
                  <a:lnTo>
                    <a:pt x="953" y="680"/>
                  </a:lnTo>
                  <a:lnTo>
                    <a:pt x="954" y="682"/>
                  </a:lnTo>
                  <a:lnTo>
                    <a:pt x="954" y="688"/>
                  </a:lnTo>
                  <a:lnTo>
                    <a:pt x="956" y="689"/>
                  </a:lnTo>
                  <a:lnTo>
                    <a:pt x="956" y="691"/>
                  </a:lnTo>
                  <a:lnTo>
                    <a:pt x="957" y="692"/>
                  </a:lnTo>
                  <a:lnTo>
                    <a:pt x="957" y="695"/>
                  </a:lnTo>
                  <a:lnTo>
                    <a:pt x="956" y="695"/>
                  </a:lnTo>
                  <a:lnTo>
                    <a:pt x="956" y="697"/>
                  </a:lnTo>
                  <a:lnTo>
                    <a:pt x="957" y="698"/>
                  </a:lnTo>
                  <a:lnTo>
                    <a:pt x="957" y="703"/>
                  </a:lnTo>
                  <a:lnTo>
                    <a:pt x="960" y="704"/>
                  </a:lnTo>
                  <a:lnTo>
                    <a:pt x="960" y="709"/>
                  </a:lnTo>
                  <a:lnTo>
                    <a:pt x="959" y="709"/>
                  </a:lnTo>
                  <a:lnTo>
                    <a:pt x="959" y="713"/>
                  </a:lnTo>
                  <a:lnTo>
                    <a:pt x="960" y="713"/>
                  </a:lnTo>
                  <a:lnTo>
                    <a:pt x="960" y="718"/>
                  </a:lnTo>
                  <a:lnTo>
                    <a:pt x="959" y="719"/>
                  </a:lnTo>
                  <a:lnTo>
                    <a:pt x="956" y="719"/>
                  </a:lnTo>
                  <a:lnTo>
                    <a:pt x="954" y="718"/>
                  </a:lnTo>
                  <a:lnTo>
                    <a:pt x="954" y="716"/>
                  </a:lnTo>
                  <a:lnTo>
                    <a:pt x="953" y="716"/>
                  </a:lnTo>
                  <a:lnTo>
                    <a:pt x="953" y="719"/>
                  </a:lnTo>
                  <a:lnTo>
                    <a:pt x="956" y="719"/>
                  </a:lnTo>
                  <a:lnTo>
                    <a:pt x="957" y="721"/>
                  </a:lnTo>
                  <a:lnTo>
                    <a:pt x="957" y="722"/>
                  </a:lnTo>
                  <a:lnTo>
                    <a:pt x="959" y="727"/>
                  </a:lnTo>
                  <a:lnTo>
                    <a:pt x="959" y="728"/>
                  </a:lnTo>
                  <a:lnTo>
                    <a:pt x="960" y="730"/>
                  </a:lnTo>
                  <a:lnTo>
                    <a:pt x="960" y="734"/>
                  </a:lnTo>
                  <a:lnTo>
                    <a:pt x="956" y="734"/>
                  </a:lnTo>
                  <a:lnTo>
                    <a:pt x="954" y="733"/>
                  </a:lnTo>
                  <a:lnTo>
                    <a:pt x="951" y="733"/>
                  </a:lnTo>
                  <a:lnTo>
                    <a:pt x="951" y="727"/>
                  </a:lnTo>
                  <a:lnTo>
                    <a:pt x="950" y="727"/>
                  </a:lnTo>
                  <a:lnTo>
                    <a:pt x="950" y="734"/>
                  </a:lnTo>
                  <a:lnTo>
                    <a:pt x="948" y="734"/>
                  </a:lnTo>
                  <a:lnTo>
                    <a:pt x="948" y="731"/>
                  </a:lnTo>
                  <a:lnTo>
                    <a:pt x="947" y="733"/>
                  </a:lnTo>
                  <a:lnTo>
                    <a:pt x="947" y="736"/>
                  </a:lnTo>
                  <a:lnTo>
                    <a:pt x="948" y="736"/>
                  </a:lnTo>
                  <a:lnTo>
                    <a:pt x="947" y="737"/>
                  </a:lnTo>
                  <a:lnTo>
                    <a:pt x="944" y="737"/>
                  </a:lnTo>
                  <a:lnTo>
                    <a:pt x="944" y="734"/>
                  </a:lnTo>
                  <a:lnTo>
                    <a:pt x="942" y="731"/>
                  </a:lnTo>
                  <a:lnTo>
                    <a:pt x="942" y="730"/>
                  </a:lnTo>
                  <a:lnTo>
                    <a:pt x="944" y="725"/>
                  </a:lnTo>
                  <a:lnTo>
                    <a:pt x="944" y="724"/>
                  </a:lnTo>
                  <a:lnTo>
                    <a:pt x="942" y="724"/>
                  </a:lnTo>
                  <a:lnTo>
                    <a:pt x="944" y="721"/>
                  </a:lnTo>
                  <a:lnTo>
                    <a:pt x="944" y="718"/>
                  </a:lnTo>
                  <a:lnTo>
                    <a:pt x="939" y="718"/>
                  </a:lnTo>
                  <a:lnTo>
                    <a:pt x="939" y="716"/>
                  </a:lnTo>
                  <a:lnTo>
                    <a:pt x="941" y="715"/>
                  </a:lnTo>
                  <a:lnTo>
                    <a:pt x="941" y="709"/>
                  </a:lnTo>
                  <a:lnTo>
                    <a:pt x="939" y="709"/>
                  </a:lnTo>
                  <a:lnTo>
                    <a:pt x="939" y="715"/>
                  </a:lnTo>
                  <a:lnTo>
                    <a:pt x="938" y="716"/>
                  </a:lnTo>
                  <a:lnTo>
                    <a:pt x="939" y="718"/>
                  </a:lnTo>
                  <a:lnTo>
                    <a:pt x="938" y="719"/>
                  </a:lnTo>
                  <a:lnTo>
                    <a:pt x="936" y="722"/>
                  </a:lnTo>
                  <a:lnTo>
                    <a:pt x="936" y="727"/>
                  </a:lnTo>
                  <a:lnTo>
                    <a:pt x="939" y="727"/>
                  </a:lnTo>
                  <a:lnTo>
                    <a:pt x="941" y="728"/>
                  </a:lnTo>
                  <a:lnTo>
                    <a:pt x="939" y="728"/>
                  </a:lnTo>
                  <a:lnTo>
                    <a:pt x="939" y="730"/>
                  </a:lnTo>
                  <a:lnTo>
                    <a:pt x="938" y="730"/>
                  </a:lnTo>
                  <a:lnTo>
                    <a:pt x="938" y="737"/>
                  </a:lnTo>
                  <a:lnTo>
                    <a:pt x="936" y="737"/>
                  </a:lnTo>
                  <a:lnTo>
                    <a:pt x="936" y="736"/>
                  </a:lnTo>
                  <a:lnTo>
                    <a:pt x="935" y="737"/>
                  </a:lnTo>
                  <a:lnTo>
                    <a:pt x="936" y="739"/>
                  </a:lnTo>
                  <a:lnTo>
                    <a:pt x="933" y="739"/>
                  </a:lnTo>
                  <a:lnTo>
                    <a:pt x="933" y="736"/>
                  </a:lnTo>
                  <a:lnTo>
                    <a:pt x="935" y="736"/>
                  </a:lnTo>
                  <a:lnTo>
                    <a:pt x="935" y="722"/>
                  </a:lnTo>
                  <a:lnTo>
                    <a:pt x="933" y="721"/>
                  </a:lnTo>
                  <a:lnTo>
                    <a:pt x="935" y="719"/>
                  </a:lnTo>
                  <a:lnTo>
                    <a:pt x="935" y="718"/>
                  </a:lnTo>
                  <a:lnTo>
                    <a:pt x="933" y="718"/>
                  </a:lnTo>
                  <a:lnTo>
                    <a:pt x="933" y="725"/>
                  </a:lnTo>
                  <a:lnTo>
                    <a:pt x="932" y="727"/>
                  </a:lnTo>
                  <a:lnTo>
                    <a:pt x="932" y="731"/>
                  </a:lnTo>
                  <a:lnTo>
                    <a:pt x="933" y="731"/>
                  </a:lnTo>
                  <a:lnTo>
                    <a:pt x="932" y="733"/>
                  </a:lnTo>
                  <a:lnTo>
                    <a:pt x="932" y="734"/>
                  </a:lnTo>
                  <a:lnTo>
                    <a:pt x="931" y="734"/>
                  </a:lnTo>
                  <a:lnTo>
                    <a:pt x="931" y="736"/>
                  </a:lnTo>
                  <a:lnTo>
                    <a:pt x="929" y="734"/>
                  </a:lnTo>
                  <a:lnTo>
                    <a:pt x="929" y="730"/>
                  </a:lnTo>
                  <a:lnTo>
                    <a:pt x="928" y="731"/>
                  </a:lnTo>
                  <a:lnTo>
                    <a:pt x="928" y="730"/>
                  </a:lnTo>
                  <a:lnTo>
                    <a:pt x="926" y="730"/>
                  </a:lnTo>
                  <a:lnTo>
                    <a:pt x="926" y="731"/>
                  </a:lnTo>
                  <a:lnTo>
                    <a:pt x="928" y="731"/>
                  </a:lnTo>
                  <a:lnTo>
                    <a:pt x="928" y="733"/>
                  </a:lnTo>
                  <a:lnTo>
                    <a:pt x="926" y="734"/>
                  </a:lnTo>
                  <a:lnTo>
                    <a:pt x="925" y="733"/>
                  </a:lnTo>
                  <a:lnTo>
                    <a:pt x="925" y="737"/>
                  </a:lnTo>
                  <a:lnTo>
                    <a:pt x="923" y="737"/>
                  </a:lnTo>
                  <a:lnTo>
                    <a:pt x="923" y="736"/>
                  </a:lnTo>
                  <a:lnTo>
                    <a:pt x="922" y="734"/>
                  </a:lnTo>
                  <a:lnTo>
                    <a:pt x="920" y="734"/>
                  </a:lnTo>
                  <a:lnTo>
                    <a:pt x="920" y="728"/>
                  </a:lnTo>
                  <a:lnTo>
                    <a:pt x="922" y="728"/>
                  </a:lnTo>
                  <a:lnTo>
                    <a:pt x="920" y="727"/>
                  </a:lnTo>
                  <a:lnTo>
                    <a:pt x="922" y="725"/>
                  </a:lnTo>
                  <a:lnTo>
                    <a:pt x="920" y="725"/>
                  </a:lnTo>
                  <a:lnTo>
                    <a:pt x="919" y="721"/>
                  </a:lnTo>
                  <a:lnTo>
                    <a:pt x="919" y="715"/>
                  </a:lnTo>
                  <a:lnTo>
                    <a:pt x="922" y="712"/>
                  </a:lnTo>
                  <a:lnTo>
                    <a:pt x="922" y="710"/>
                  </a:lnTo>
                  <a:lnTo>
                    <a:pt x="920" y="707"/>
                  </a:lnTo>
                  <a:lnTo>
                    <a:pt x="919" y="706"/>
                  </a:lnTo>
                  <a:lnTo>
                    <a:pt x="917" y="706"/>
                  </a:lnTo>
                  <a:lnTo>
                    <a:pt x="914" y="703"/>
                  </a:lnTo>
                  <a:lnTo>
                    <a:pt x="914" y="704"/>
                  </a:lnTo>
                  <a:lnTo>
                    <a:pt x="913" y="704"/>
                  </a:lnTo>
                  <a:lnTo>
                    <a:pt x="910" y="701"/>
                  </a:lnTo>
                  <a:lnTo>
                    <a:pt x="910" y="698"/>
                  </a:lnTo>
                  <a:lnTo>
                    <a:pt x="908" y="697"/>
                  </a:lnTo>
                  <a:lnTo>
                    <a:pt x="908" y="701"/>
                  </a:lnTo>
                  <a:lnTo>
                    <a:pt x="911" y="704"/>
                  </a:lnTo>
                  <a:lnTo>
                    <a:pt x="911" y="706"/>
                  </a:lnTo>
                  <a:lnTo>
                    <a:pt x="917" y="706"/>
                  </a:lnTo>
                  <a:lnTo>
                    <a:pt x="919" y="707"/>
                  </a:lnTo>
                  <a:lnTo>
                    <a:pt x="919" y="710"/>
                  </a:lnTo>
                  <a:lnTo>
                    <a:pt x="917" y="712"/>
                  </a:lnTo>
                  <a:lnTo>
                    <a:pt x="917" y="713"/>
                  </a:lnTo>
                  <a:lnTo>
                    <a:pt x="916" y="715"/>
                  </a:lnTo>
                  <a:lnTo>
                    <a:pt x="913" y="715"/>
                  </a:lnTo>
                  <a:lnTo>
                    <a:pt x="914" y="716"/>
                  </a:lnTo>
                  <a:lnTo>
                    <a:pt x="913" y="718"/>
                  </a:lnTo>
                  <a:lnTo>
                    <a:pt x="911" y="722"/>
                  </a:lnTo>
                  <a:lnTo>
                    <a:pt x="910" y="724"/>
                  </a:lnTo>
                  <a:lnTo>
                    <a:pt x="908" y="724"/>
                  </a:lnTo>
                  <a:lnTo>
                    <a:pt x="907" y="725"/>
                  </a:lnTo>
                  <a:lnTo>
                    <a:pt x="907" y="727"/>
                  </a:lnTo>
                  <a:lnTo>
                    <a:pt x="905" y="728"/>
                  </a:lnTo>
                  <a:lnTo>
                    <a:pt x="904" y="728"/>
                  </a:lnTo>
                  <a:lnTo>
                    <a:pt x="901" y="730"/>
                  </a:lnTo>
                  <a:lnTo>
                    <a:pt x="898" y="733"/>
                  </a:lnTo>
                  <a:lnTo>
                    <a:pt x="893" y="733"/>
                  </a:lnTo>
                  <a:lnTo>
                    <a:pt x="887" y="734"/>
                  </a:lnTo>
                  <a:lnTo>
                    <a:pt x="881" y="737"/>
                  </a:lnTo>
                  <a:lnTo>
                    <a:pt x="875" y="737"/>
                  </a:lnTo>
                  <a:lnTo>
                    <a:pt x="871" y="740"/>
                  </a:lnTo>
                  <a:lnTo>
                    <a:pt x="868" y="742"/>
                  </a:lnTo>
                  <a:lnTo>
                    <a:pt x="862" y="748"/>
                  </a:lnTo>
                  <a:lnTo>
                    <a:pt x="859" y="752"/>
                  </a:lnTo>
                  <a:lnTo>
                    <a:pt x="857" y="755"/>
                  </a:lnTo>
                  <a:lnTo>
                    <a:pt x="859" y="759"/>
                  </a:lnTo>
                  <a:lnTo>
                    <a:pt x="863" y="771"/>
                  </a:lnTo>
                  <a:lnTo>
                    <a:pt x="863" y="774"/>
                  </a:lnTo>
                  <a:lnTo>
                    <a:pt x="860" y="774"/>
                  </a:lnTo>
                  <a:lnTo>
                    <a:pt x="860" y="776"/>
                  </a:lnTo>
                  <a:lnTo>
                    <a:pt x="865" y="776"/>
                  </a:lnTo>
                  <a:lnTo>
                    <a:pt x="865" y="780"/>
                  </a:lnTo>
                  <a:lnTo>
                    <a:pt x="866" y="780"/>
                  </a:lnTo>
                  <a:lnTo>
                    <a:pt x="865" y="782"/>
                  </a:lnTo>
                  <a:lnTo>
                    <a:pt x="862" y="782"/>
                  </a:lnTo>
                  <a:lnTo>
                    <a:pt x="854" y="788"/>
                  </a:lnTo>
                  <a:lnTo>
                    <a:pt x="854" y="789"/>
                  </a:lnTo>
                  <a:lnTo>
                    <a:pt x="853" y="791"/>
                  </a:lnTo>
                  <a:lnTo>
                    <a:pt x="853" y="794"/>
                  </a:lnTo>
                  <a:lnTo>
                    <a:pt x="856" y="794"/>
                  </a:lnTo>
                  <a:lnTo>
                    <a:pt x="854" y="797"/>
                  </a:lnTo>
                  <a:lnTo>
                    <a:pt x="853" y="797"/>
                  </a:lnTo>
                  <a:lnTo>
                    <a:pt x="851" y="798"/>
                  </a:lnTo>
                  <a:lnTo>
                    <a:pt x="853" y="798"/>
                  </a:lnTo>
                  <a:lnTo>
                    <a:pt x="848" y="801"/>
                  </a:lnTo>
                  <a:lnTo>
                    <a:pt x="847" y="803"/>
                  </a:lnTo>
                  <a:lnTo>
                    <a:pt x="842" y="803"/>
                  </a:lnTo>
                  <a:lnTo>
                    <a:pt x="842" y="804"/>
                  </a:lnTo>
                  <a:lnTo>
                    <a:pt x="841" y="807"/>
                  </a:lnTo>
                  <a:lnTo>
                    <a:pt x="841" y="809"/>
                  </a:lnTo>
                  <a:lnTo>
                    <a:pt x="838" y="812"/>
                  </a:lnTo>
                  <a:lnTo>
                    <a:pt x="838" y="813"/>
                  </a:lnTo>
                  <a:lnTo>
                    <a:pt x="832" y="810"/>
                  </a:lnTo>
                  <a:lnTo>
                    <a:pt x="829" y="810"/>
                  </a:lnTo>
                  <a:lnTo>
                    <a:pt x="829" y="809"/>
                  </a:lnTo>
                  <a:lnTo>
                    <a:pt x="827" y="807"/>
                  </a:lnTo>
                  <a:lnTo>
                    <a:pt x="827" y="806"/>
                  </a:lnTo>
                  <a:lnTo>
                    <a:pt x="826" y="806"/>
                  </a:lnTo>
                  <a:lnTo>
                    <a:pt x="826" y="809"/>
                  </a:lnTo>
                  <a:lnTo>
                    <a:pt x="827" y="809"/>
                  </a:lnTo>
                  <a:lnTo>
                    <a:pt x="827" y="810"/>
                  </a:lnTo>
                  <a:lnTo>
                    <a:pt x="829" y="810"/>
                  </a:lnTo>
                  <a:lnTo>
                    <a:pt x="830" y="812"/>
                  </a:lnTo>
                  <a:lnTo>
                    <a:pt x="833" y="812"/>
                  </a:lnTo>
                  <a:lnTo>
                    <a:pt x="833" y="813"/>
                  </a:lnTo>
                  <a:lnTo>
                    <a:pt x="835" y="813"/>
                  </a:lnTo>
                  <a:lnTo>
                    <a:pt x="836" y="815"/>
                  </a:lnTo>
                  <a:lnTo>
                    <a:pt x="832" y="818"/>
                  </a:lnTo>
                  <a:lnTo>
                    <a:pt x="824" y="819"/>
                  </a:lnTo>
                  <a:lnTo>
                    <a:pt x="823" y="821"/>
                  </a:lnTo>
                  <a:lnTo>
                    <a:pt x="821" y="819"/>
                  </a:lnTo>
                  <a:lnTo>
                    <a:pt x="821" y="821"/>
                  </a:lnTo>
                  <a:lnTo>
                    <a:pt x="820" y="821"/>
                  </a:lnTo>
                  <a:lnTo>
                    <a:pt x="814" y="822"/>
                  </a:lnTo>
                  <a:lnTo>
                    <a:pt x="812" y="822"/>
                  </a:lnTo>
                  <a:lnTo>
                    <a:pt x="811" y="824"/>
                  </a:lnTo>
                  <a:lnTo>
                    <a:pt x="808" y="824"/>
                  </a:lnTo>
                  <a:lnTo>
                    <a:pt x="806" y="825"/>
                  </a:lnTo>
                  <a:lnTo>
                    <a:pt x="803" y="825"/>
                  </a:lnTo>
                  <a:lnTo>
                    <a:pt x="802" y="827"/>
                  </a:lnTo>
                  <a:lnTo>
                    <a:pt x="796" y="830"/>
                  </a:lnTo>
                  <a:lnTo>
                    <a:pt x="794" y="830"/>
                  </a:lnTo>
                  <a:lnTo>
                    <a:pt x="794" y="828"/>
                  </a:lnTo>
                  <a:lnTo>
                    <a:pt x="793" y="828"/>
                  </a:lnTo>
                  <a:lnTo>
                    <a:pt x="793" y="827"/>
                  </a:lnTo>
                  <a:lnTo>
                    <a:pt x="796" y="827"/>
                  </a:lnTo>
                  <a:lnTo>
                    <a:pt x="797" y="825"/>
                  </a:lnTo>
                  <a:lnTo>
                    <a:pt x="797" y="827"/>
                  </a:lnTo>
                  <a:lnTo>
                    <a:pt x="799" y="825"/>
                  </a:lnTo>
                  <a:lnTo>
                    <a:pt x="799" y="824"/>
                  </a:lnTo>
                  <a:lnTo>
                    <a:pt x="800" y="824"/>
                  </a:lnTo>
                  <a:lnTo>
                    <a:pt x="799" y="822"/>
                  </a:lnTo>
                  <a:lnTo>
                    <a:pt x="800" y="819"/>
                  </a:lnTo>
                  <a:lnTo>
                    <a:pt x="799" y="819"/>
                  </a:lnTo>
                  <a:lnTo>
                    <a:pt x="797" y="818"/>
                  </a:lnTo>
                  <a:lnTo>
                    <a:pt x="794" y="818"/>
                  </a:lnTo>
                  <a:lnTo>
                    <a:pt x="791" y="821"/>
                  </a:lnTo>
                  <a:lnTo>
                    <a:pt x="788" y="822"/>
                  </a:lnTo>
                  <a:lnTo>
                    <a:pt x="787" y="822"/>
                  </a:lnTo>
                  <a:lnTo>
                    <a:pt x="787" y="824"/>
                  </a:lnTo>
                  <a:lnTo>
                    <a:pt x="785" y="824"/>
                  </a:lnTo>
                  <a:lnTo>
                    <a:pt x="782" y="827"/>
                  </a:lnTo>
                  <a:lnTo>
                    <a:pt x="782" y="828"/>
                  </a:lnTo>
                  <a:lnTo>
                    <a:pt x="781" y="830"/>
                  </a:lnTo>
                  <a:lnTo>
                    <a:pt x="781" y="831"/>
                  </a:lnTo>
                  <a:lnTo>
                    <a:pt x="779" y="833"/>
                  </a:lnTo>
                  <a:lnTo>
                    <a:pt x="781" y="834"/>
                  </a:lnTo>
                  <a:lnTo>
                    <a:pt x="779" y="834"/>
                  </a:lnTo>
                  <a:lnTo>
                    <a:pt x="778" y="836"/>
                  </a:lnTo>
                  <a:lnTo>
                    <a:pt x="778" y="837"/>
                  </a:lnTo>
                  <a:lnTo>
                    <a:pt x="782" y="837"/>
                  </a:lnTo>
                  <a:lnTo>
                    <a:pt x="782" y="833"/>
                  </a:lnTo>
                  <a:lnTo>
                    <a:pt x="784" y="833"/>
                  </a:lnTo>
                  <a:lnTo>
                    <a:pt x="785" y="831"/>
                  </a:lnTo>
                  <a:lnTo>
                    <a:pt x="784" y="831"/>
                  </a:lnTo>
                  <a:lnTo>
                    <a:pt x="785" y="830"/>
                  </a:lnTo>
                  <a:lnTo>
                    <a:pt x="788" y="830"/>
                  </a:lnTo>
                  <a:lnTo>
                    <a:pt x="790" y="828"/>
                  </a:lnTo>
                  <a:lnTo>
                    <a:pt x="791" y="828"/>
                  </a:lnTo>
                  <a:lnTo>
                    <a:pt x="791" y="831"/>
                  </a:lnTo>
                  <a:lnTo>
                    <a:pt x="790" y="831"/>
                  </a:lnTo>
                  <a:lnTo>
                    <a:pt x="790" y="833"/>
                  </a:lnTo>
                  <a:lnTo>
                    <a:pt x="797" y="830"/>
                  </a:lnTo>
                  <a:lnTo>
                    <a:pt x="791" y="833"/>
                  </a:lnTo>
                  <a:lnTo>
                    <a:pt x="787" y="833"/>
                  </a:lnTo>
                  <a:lnTo>
                    <a:pt x="787" y="834"/>
                  </a:lnTo>
                  <a:lnTo>
                    <a:pt x="788" y="833"/>
                  </a:lnTo>
                  <a:lnTo>
                    <a:pt x="787" y="836"/>
                  </a:lnTo>
                  <a:lnTo>
                    <a:pt x="784" y="836"/>
                  </a:lnTo>
                  <a:lnTo>
                    <a:pt x="782" y="839"/>
                  </a:lnTo>
                  <a:lnTo>
                    <a:pt x="776" y="843"/>
                  </a:lnTo>
                  <a:lnTo>
                    <a:pt x="773" y="846"/>
                  </a:lnTo>
                  <a:lnTo>
                    <a:pt x="768" y="851"/>
                  </a:lnTo>
                  <a:lnTo>
                    <a:pt x="765" y="855"/>
                  </a:lnTo>
                  <a:lnTo>
                    <a:pt x="760" y="855"/>
                  </a:lnTo>
                  <a:lnTo>
                    <a:pt x="760" y="857"/>
                  </a:lnTo>
                  <a:lnTo>
                    <a:pt x="762" y="857"/>
                  </a:lnTo>
                  <a:lnTo>
                    <a:pt x="762" y="860"/>
                  </a:lnTo>
                  <a:lnTo>
                    <a:pt x="760" y="863"/>
                  </a:lnTo>
                  <a:lnTo>
                    <a:pt x="757" y="866"/>
                  </a:lnTo>
                  <a:lnTo>
                    <a:pt x="753" y="872"/>
                  </a:lnTo>
                  <a:lnTo>
                    <a:pt x="748" y="876"/>
                  </a:lnTo>
                  <a:lnTo>
                    <a:pt x="748" y="878"/>
                  </a:lnTo>
                  <a:lnTo>
                    <a:pt x="744" y="882"/>
                  </a:lnTo>
                  <a:lnTo>
                    <a:pt x="744" y="884"/>
                  </a:lnTo>
                  <a:lnTo>
                    <a:pt x="741" y="885"/>
                  </a:lnTo>
                  <a:lnTo>
                    <a:pt x="742" y="884"/>
                  </a:lnTo>
                  <a:lnTo>
                    <a:pt x="739" y="884"/>
                  </a:lnTo>
                  <a:lnTo>
                    <a:pt x="739" y="885"/>
                  </a:lnTo>
                  <a:lnTo>
                    <a:pt x="741" y="885"/>
                  </a:lnTo>
                  <a:lnTo>
                    <a:pt x="735" y="891"/>
                  </a:lnTo>
                  <a:lnTo>
                    <a:pt x="735" y="893"/>
                  </a:lnTo>
                  <a:lnTo>
                    <a:pt x="733" y="893"/>
                  </a:lnTo>
                  <a:lnTo>
                    <a:pt x="733" y="896"/>
                  </a:lnTo>
                  <a:lnTo>
                    <a:pt x="732" y="897"/>
                  </a:lnTo>
                  <a:lnTo>
                    <a:pt x="717" y="903"/>
                  </a:lnTo>
                  <a:lnTo>
                    <a:pt x="711" y="908"/>
                  </a:lnTo>
                  <a:lnTo>
                    <a:pt x="709" y="909"/>
                  </a:lnTo>
                  <a:lnTo>
                    <a:pt x="708" y="909"/>
                  </a:lnTo>
                  <a:lnTo>
                    <a:pt x="708" y="911"/>
                  </a:lnTo>
                  <a:lnTo>
                    <a:pt x="705" y="914"/>
                  </a:lnTo>
                  <a:lnTo>
                    <a:pt x="702" y="914"/>
                  </a:lnTo>
                  <a:lnTo>
                    <a:pt x="703" y="915"/>
                  </a:lnTo>
                  <a:lnTo>
                    <a:pt x="700" y="918"/>
                  </a:lnTo>
                  <a:lnTo>
                    <a:pt x="700" y="920"/>
                  </a:lnTo>
                  <a:lnTo>
                    <a:pt x="696" y="924"/>
                  </a:lnTo>
                  <a:lnTo>
                    <a:pt x="694" y="924"/>
                  </a:lnTo>
                  <a:lnTo>
                    <a:pt x="694" y="923"/>
                  </a:lnTo>
                  <a:lnTo>
                    <a:pt x="693" y="923"/>
                  </a:lnTo>
                  <a:lnTo>
                    <a:pt x="693" y="924"/>
                  </a:lnTo>
                  <a:lnTo>
                    <a:pt x="694" y="924"/>
                  </a:lnTo>
                  <a:lnTo>
                    <a:pt x="696" y="926"/>
                  </a:lnTo>
                  <a:lnTo>
                    <a:pt x="694" y="926"/>
                  </a:lnTo>
                  <a:lnTo>
                    <a:pt x="693" y="927"/>
                  </a:lnTo>
                  <a:lnTo>
                    <a:pt x="691" y="927"/>
                  </a:lnTo>
                  <a:lnTo>
                    <a:pt x="693" y="929"/>
                  </a:lnTo>
                  <a:lnTo>
                    <a:pt x="691" y="930"/>
                  </a:lnTo>
                  <a:lnTo>
                    <a:pt x="690" y="930"/>
                  </a:lnTo>
                  <a:lnTo>
                    <a:pt x="685" y="932"/>
                  </a:lnTo>
                  <a:lnTo>
                    <a:pt x="681" y="936"/>
                  </a:lnTo>
                  <a:lnTo>
                    <a:pt x="679" y="936"/>
                  </a:lnTo>
                  <a:lnTo>
                    <a:pt x="678" y="938"/>
                  </a:lnTo>
                  <a:lnTo>
                    <a:pt x="675" y="938"/>
                  </a:lnTo>
                  <a:lnTo>
                    <a:pt x="675" y="939"/>
                  </a:lnTo>
                  <a:lnTo>
                    <a:pt x="672" y="939"/>
                  </a:lnTo>
                  <a:lnTo>
                    <a:pt x="670" y="941"/>
                  </a:lnTo>
                  <a:lnTo>
                    <a:pt x="669" y="941"/>
                  </a:lnTo>
                  <a:lnTo>
                    <a:pt x="658" y="948"/>
                  </a:lnTo>
                  <a:lnTo>
                    <a:pt x="657" y="948"/>
                  </a:lnTo>
                  <a:lnTo>
                    <a:pt x="655" y="950"/>
                  </a:lnTo>
                  <a:lnTo>
                    <a:pt x="655" y="951"/>
                  </a:lnTo>
                  <a:lnTo>
                    <a:pt x="654" y="951"/>
                  </a:lnTo>
                  <a:lnTo>
                    <a:pt x="651" y="954"/>
                  </a:lnTo>
                  <a:lnTo>
                    <a:pt x="651" y="956"/>
                  </a:lnTo>
                  <a:lnTo>
                    <a:pt x="649" y="956"/>
                  </a:lnTo>
                  <a:lnTo>
                    <a:pt x="649" y="957"/>
                  </a:lnTo>
                  <a:lnTo>
                    <a:pt x="648" y="960"/>
                  </a:lnTo>
                  <a:lnTo>
                    <a:pt x="648" y="963"/>
                  </a:lnTo>
                  <a:lnTo>
                    <a:pt x="649" y="965"/>
                  </a:lnTo>
                  <a:lnTo>
                    <a:pt x="652" y="965"/>
                  </a:lnTo>
                  <a:lnTo>
                    <a:pt x="652" y="972"/>
                  </a:lnTo>
                  <a:lnTo>
                    <a:pt x="651" y="972"/>
                  </a:lnTo>
                  <a:lnTo>
                    <a:pt x="651" y="977"/>
                  </a:lnTo>
                  <a:lnTo>
                    <a:pt x="649" y="977"/>
                  </a:lnTo>
                  <a:lnTo>
                    <a:pt x="649" y="978"/>
                  </a:lnTo>
                  <a:lnTo>
                    <a:pt x="648" y="978"/>
                  </a:lnTo>
                  <a:lnTo>
                    <a:pt x="645" y="981"/>
                  </a:lnTo>
                  <a:lnTo>
                    <a:pt x="643" y="981"/>
                  </a:lnTo>
                  <a:lnTo>
                    <a:pt x="640" y="984"/>
                  </a:lnTo>
                  <a:lnTo>
                    <a:pt x="637" y="984"/>
                  </a:lnTo>
                  <a:lnTo>
                    <a:pt x="636" y="986"/>
                  </a:lnTo>
                  <a:lnTo>
                    <a:pt x="634" y="986"/>
                  </a:lnTo>
                  <a:lnTo>
                    <a:pt x="633" y="987"/>
                  </a:lnTo>
                  <a:lnTo>
                    <a:pt x="630" y="987"/>
                  </a:lnTo>
                  <a:lnTo>
                    <a:pt x="625" y="989"/>
                  </a:lnTo>
                  <a:lnTo>
                    <a:pt x="625" y="990"/>
                  </a:lnTo>
                  <a:lnTo>
                    <a:pt x="621" y="990"/>
                  </a:lnTo>
                  <a:lnTo>
                    <a:pt x="619" y="989"/>
                  </a:lnTo>
                  <a:lnTo>
                    <a:pt x="616" y="989"/>
                  </a:lnTo>
                  <a:lnTo>
                    <a:pt x="616" y="987"/>
                  </a:lnTo>
                  <a:lnTo>
                    <a:pt x="615" y="987"/>
                  </a:lnTo>
                  <a:lnTo>
                    <a:pt x="615" y="989"/>
                  </a:lnTo>
                  <a:lnTo>
                    <a:pt x="609" y="989"/>
                  </a:lnTo>
                  <a:lnTo>
                    <a:pt x="609" y="987"/>
                  </a:lnTo>
                  <a:lnTo>
                    <a:pt x="605" y="987"/>
                  </a:lnTo>
                  <a:lnTo>
                    <a:pt x="602" y="989"/>
                  </a:lnTo>
                  <a:lnTo>
                    <a:pt x="602" y="992"/>
                  </a:lnTo>
                  <a:lnTo>
                    <a:pt x="600" y="993"/>
                  </a:lnTo>
                  <a:lnTo>
                    <a:pt x="600" y="996"/>
                  </a:lnTo>
                  <a:lnTo>
                    <a:pt x="599" y="999"/>
                  </a:lnTo>
                  <a:lnTo>
                    <a:pt x="599" y="1001"/>
                  </a:lnTo>
                  <a:lnTo>
                    <a:pt x="597" y="1002"/>
                  </a:lnTo>
                  <a:lnTo>
                    <a:pt x="597" y="1007"/>
                  </a:lnTo>
                  <a:lnTo>
                    <a:pt x="596" y="1007"/>
                  </a:lnTo>
                  <a:lnTo>
                    <a:pt x="594" y="1010"/>
                  </a:lnTo>
                  <a:lnTo>
                    <a:pt x="593" y="1010"/>
                  </a:lnTo>
                  <a:lnTo>
                    <a:pt x="590" y="1013"/>
                  </a:lnTo>
                  <a:lnTo>
                    <a:pt x="590" y="1014"/>
                  </a:lnTo>
                  <a:lnTo>
                    <a:pt x="588" y="1013"/>
                  </a:lnTo>
                  <a:lnTo>
                    <a:pt x="587" y="1013"/>
                  </a:lnTo>
                  <a:lnTo>
                    <a:pt x="585" y="1011"/>
                  </a:lnTo>
                  <a:lnTo>
                    <a:pt x="585" y="1010"/>
                  </a:lnTo>
                  <a:lnTo>
                    <a:pt x="587" y="1007"/>
                  </a:lnTo>
                  <a:lnTo>
                    <a:pt x="584" y="1004"/>
                  </a:lnTo>
                  <a:lnTo>
                    <a:pt x="585" y="1007"/>
                  </a:lnTo>
                  <a:lnTo>
                    <a:pt x="585" y="1010"/>
                  </a:lnTo>
                  <a:lnTo>
                    <a:pt x="584" y="1014"/>
                  </a:lnTo>
                  <a:lnTo>
                    <a:pt x="582" y="1017"/>
                  </a:lnTo>
                  <a:lnTo>
                    <a:pt x="582" y="1019"/>
                  </a:lnTo>
                  <a:lnTo>
                    <a:pt x="581" y="1019"/>
                  </a:lnTo>
                  <a:lnTo>
                    <a:pt x="581" y="1013"/>
                  </a:lnTo>
                  <a:lnTo>
                    <a:pt x="579" y="1011"/>
                  </a:lnTo>
                  <a:lnTo>
                    <a:pt x="579" y="1010"/>
                  </a:lnTo>
                  <a:lnTo>
                    <a:pt x="575" y="1010"/>
                  </a:lnTo>
                  <a:lnTo>
                    <a:pt x="575" y="1011"/>
                  </a:lnTo>
                  <a:lnTo>
                    <a:pt x="569" y="1011"/>
                  </a:lnTo>
                  <a:lnTo>
                    <a:pt x="569" y="1013"/>
                  </a:lnTo>
                  <a:lnTo>
                    <a:pt x="566" y="1013"/>
                  </a:lnTo>
                  <a:lnTo>
                    <a:pt x="564" y="1014"/>
                  </a:lnTo>
                  <a:lnTo>
                    <a:pt x="563" y="1014"/>
                  </a:lnTo>
                  <a:lnTo>
                    <a:pt x="557" y="1020"/>
                  </a:lnTo>
                  <a:lnTo>
                    <a:pt x="554" y="1026"/>
                  </a:lnTo>
                  <a:lnTo>
                    <a:pt x="554" y="1029"/>
                  </a:lnTo>
                  <a:lnTo>
                    <a:pt x="552" y="1030"/>
                  </a:lnTo>
                  <a:lnTo>
                    <a:pt x="552" y="1032"/>
                  </a:lnTo>
                  <a:lnTo>
                    <a:pt x="549" y="1035"/>
                  </a:lnTo>
                  <a:lnTo>
                    <a:pt x="548" y="1038"/>
                  </a:lnTo>
                  <a:lnTo>
                    <a:pt x="548" y="1042"/>
                  </a:lnTo>
                  <a:lnTo>
                    <a:pt x="546" y="1048"/>
                  </a:lnTo>
                  <a:lnTo>
                    <a:pt x="546" y="1051"/>
                  </a:lnTo>
                  <a:lnTo>
                    <a:pt x="548" y="1053"/>
                  </a:lnTo>
                  <a:lnTo>
                    <a:pt x="548" y="1056"/>
                  </a:lnTo>
                  <a:lnTo>
                    <a:pt x="549" y="1063"/>
                  </a:lnTo>
                  <a:lnTo>
                    <a:pt x="549" y="1066"/>
                  </a:lnTo>
                  <a:lnTo>
                    <a:pt x="551" y="1066"/>
                  </a:lnTo>
                  <a:lnTo>
                    <a:pt x="551" y="1068"/>
                  </a:lnTo>
                  <a:lnTo>
                    <a:pt x="552" y="1068"/>
                  </a:lnTo>
                  <a:lnTo>
                    <a:pt x="552" y="1072"/>
                  </a:lnTo>
                  <a:lnTo>
                    <a:pt x="554" y="1072"/>
                  </a:lnTo>
                  <a:lnTo>
                    <a:pt x="554" y="1074"/>
                  </a:lnTo>
                  <a:lnTo>
                    <a:pt x="552" y="1074"/>
                  </a:lnTo>
                  <a:lnTo>
                    <a:pt x="552" y="1084"/>
                  </a:lnTo>
                  <a:lnTo>
                    <a:pt x="551" y="1087"/>
                  </a:lnTo>
                  <a:lnTo>
                    <a:pt x="548" y="1087"/>
                  </a:lnTo>
                  <a:lnTo>
                    <a:pt x="548" y="1089"/>
                  </a:lnTo>
                  <a:lnTo>
                    <a:pt x="546" y="1089"/>
                  </a:lnTo>
                  <a:lnTo>
                    <a:pt x="546" y="1090"/>
                  </a:lnTo>
                  <a:lnTo>
                    <a:pt x="548" y="1090"/>
                  </a:lnTo>
                  <a:lnTo>
                    <a:pt x="548" y="1089"/>
                  </a:lnTo>
                  <a:lnTo>
                    <a:pt x="551" y="1089"/>
                  </a:lnTo>
                  <a:lnTo>
                    <a:pt x="549" y="1090"/>
                  </a:lnTo>
                  <a:lnTo>
                    <a:pt x="549" y="1092"/>
                  </a:lnTo>
                  <a:lnTo>
                    <a:pt x="551" y="1098"/>
                  </a:lnTo>
                  <a:lnTo>
                    <a:pt x="555" y="1107"/>
                  </a:lnTo>
                  <a:lnTo>
                    <a:pt x="555" y="1113"/>
                  </a:lnTo>
                  <a:lnTo>
                    <a:pt x="554" y="1114"/>
                  </a:lnTo>
                  <a:lnTo>
                    <a:pt x="555" y="1114"/>
                  </a:lnTo>
                  <a:lnTo>
                    <a:pt x="555" y="1116"/>
                  </a:lnTo>
                  <a:lnTo>
                    <a:pt x="557" y="1119"/>
                  </a:lnTo>
                  <a:lnTo>
                    <a:pt x="557" y="1122"/>
                  </a:lnTo>
                  <a:lnTo>
                    <a:pt x="554" y="1116"/>
                  </a:lnTo>
                  <a:lnTo>
                    <a:pt x="551" y="1113"/>
                  </a:lnTo>
                  <a:lnTo>
                    <a:pt x="551" y="1117"/>
                  </a:lnTo>
                  <a:lnTo>
                    <a:pt x="549" y="1117"/>
                  </a:lnTo>
                  <a:lnTo>
                    <a:pt x="549" y="1114"/>
                  </a:lnTo>
                  <a:lnTo>
                    <a:pt x="548" y="1114"/>
                  </a:lnTo>
                  <a:lnTo>
                    <a:pt x="548" y="1116"/>
                  </a:lnTo>
                  <a:lnTo>
                    <a:pt x="546" y="1117"/>
                  </a:lnTo>
                  <a:lnTo>
                    <a:pt x="546" y="1119"/>
                  </a:lnTo>
                  <a:lnTo>
                    <a:pt x="549" y="1122"/>
                  </a:lnTo>
                  <a:lnTo>
                    <a:pt x="549" y="1123"/>
                  </a:lnTo>
                  <a:lnTo>
                    <a:pt x="555" y="1123"/>
                  </a:lnTo>
                  <a:lnTo>
                    <a:pt x="555" y="1125"/>
                  </a:lnTo>
                  <a:lnTo>
                    <a:pt x="557" y="1125"/>
                  </a:lnTo>
                  <a:lnTo>
                    <a:pt x="557" y="1126"/>
                  </a:lnTo>
                  <a:lnTo>
                    <a:pt x="560" y="1126"/>
                  </a:lnTo>
                  <a:lnTo>
                    <a:pt x="560" y="1135"/>
                  </a:lnTo>
                  <a:lnTo>
                    <a:pt x="558" y="1135"/>
                  </a:lnTo>
                  <a:lnTo>
                    <a:pt x="558" y="1137"/>
                  </a:lnTo>
                  <a:lnTo>
                    <a:pt x="560" y="1137"/>
                  </a:lnTo>
                  <a:lnTo>
                    <a:pt x="560" y="1138"/>
                  </a:lnTo>
                  <a:lnTo>
                    <a:pt x="558" y="1138"/>
                  </a:lnTo>
                  <a:lnTo>
                    <a:pt x="558" y="1143"/>
                  </a:lnTo>
                  <a:lnTo>
                    <a:pt x="557" y="1143"/>
                  </a:lnTo>
                  <a:lnTo>
                    <a:pt x="557" y="1155"/>
                  </a:lnTo>
                  <a:lnTo>
                    <a:pt x="555" y="1158"/>
                  </a:lnTo>
                  <a:lnTo>
                    <a:pt x="555" y="1162"/>
                  </a:lnTo>
                  <a:lnTo>
                    <a:pt x="554" y="1162"/>
                  </a:lnTo>
                  <a:lnTo>
                    <a:pt x="554" y="1165"/>
                  </a:lnTo>
                  <a:lnTo>
                    <a:pt x="552" y="1167"/>
                  </a:lnTo>
                  <a:lnTo>
                    <a:pt x="552" y="1168"/>
                  </a:lnTo>
                  <a:lnTo>
                    <a:pt x="549" y="1174"/>
                  </a:lnTo>
                  <a:lnTo>
                    <a:pt x="549" y="1176"/>
                  </a:lnTo>
                  <a:lnTo>
                    <a:pt x="548" y="1177"/>
                  </a:lnTo>
                  <a:lnTo>
                    <a:pt x="546" y="1177"/>
                  </a:lnTo>
                  <a:lnTo>
                    <a:pt x="545" y="1180"/>
                  </a:lnTo>
                  <a:lnTo>
                    <a:pt x="545" y="1182"/>
                  </a:lnTo>
                  <a:lnTo>
                    <a:pt x="542" y="1183"/>
                  </a:lnTo>
                  <a:lnTo>
                    <a:pt x="543" y="1183"/>
                  </a:lnTo>
                  <a:lnTo>
                    <a:pt x="545" y="1182"/>
                  </a:lnTo>
                  <a:lnTo>
                    <a:pt x="542" y="1186"/>
                  </a:lnTo>
                  <a:lnTo>
                    <a:pt x="540" y="1188"/>
                  </a:lnTo>
                  <a:lnTo>
                    <a:pt x="539" y="1191"/>
                  </a:lnTo>
                  <a:lnTo>
                    <a:pt x="539" y="1192"/>
                  </a:lnTo>
                  <a:lnTo>
                    <a:pt x="537" y="1192"/>
                  </a:lnTo>
                  <a:lnTo>
                    <a:pt x="537" y="1197"/>
                  </a:lnTo>
                  <a:lnTo>
                    <a:pt x="536" y="1200"/>
                  </a:lnTo>
                  <a:lnTo>
                    <a:pt x="536" y="1203"/>
                  </a:lnTo>
                  <a:lnTo>
                    <a:pt x="534" y="1203"/>
                  </a:lnTo>
                  <a:lnTo>
                    <a:pt x="534" y="1204"/>
                  </a:lnTo>
                  <a:lnTo>
                    <a:pt x="533" y="1209"/>
                  </a:lnTo>
                  <a:lnTo>
                    <a:pt x="533" y="1215"/>
                  </a:lnTo>
                  <a:lnTo>
                    <a:pt x="534" y="1218"/>
                  </a:lnTo>
                  <a:lnTo>
                    <a:pt x="534" y="1219"/>
                  </a:lnTo>
                  <a:lnTo>
                    <a:pt x="536" y="1219"/>
                  </a:lnTo>
                  <a:lnTo>
                    <a:pt x="536" y="1222"/>
                  </a:lnTo>
                  <a:lnTo>
                    <a:pt x="533" y="1222"/>
                  </a:lnTo>
                  <a:lnTo>
                    <a:pt x="530" y="1225"/>
                  </a:lnTo>
                  <a:lnTo>
                    <a:pt x="533" y="1224"/>
                  </a:lnTo>
                  <a:lnTo>
                    <a:pt x="536" y="1224"/>
                  </a:lnTo>
                  <a:lnTo>
                    <a:pt x="537" y="1228"/>
                  </a:lnTo>
                  <a:lnTo>
                    <a:pt x="537" y="1273"/>
                  </a:lnTo>
                  <a:lnTo>
                    <a:pt x="536" y="1273"/>
                  </a:lnTo>
                  <a:lnTo>
                    <a:pt x="534" y="1275"/>
                  </a:lnTo>
                  <a:lnTo>
                    <a:pt x="533" y="1275"/>
                  </a:lnTo>
                  <a:lnTo>
                    <a:pt x="525" y="1273"/>
                  </a:lnTo>
                  <a:lnTo>
                    <a:pt x="524" y="1273"/>
                  </a:lnTo>
                  <a:lnTo>
                    <a:pt x="524" y="1272"/>
                  </a:lnTo>
                  <a:lnTo>
                    <a:pt x="525" y="1272"/>
                  </a:lnTo>
                  <a:lnTo>
                    <a:pt x="527" y="1270"/>
                  </a:lnTo>
                  <a:lnTo>
                    <a:pt x="522" y="1270"/>
                  </a:lnTo>
                  <a:lnTo>
                    <a:pt x="522" y="1272"/>
                  </a:lnTo>
                  <a:lnTo>
                    <a:pt x="516" y="1272"/>
                  </a:lnTo>
                  <a:lnTo>
                    <a:pt x="515" y="1273"/>
                  </a:lnTo>
                  <a:lnTo>
                    <a:pt x="512" y="1275"/>
                  </a:lnTo>
                  <a:lnTo>
                    <a:pt x="510" y="1276"/>
                  </a:lnTo>
                  <a:lnTo>
                    <a:pt x="510" y="1278"/>
                  </a:lnTo>
                  <a:lnTo>
                    <a:pt x="509" y="1278"/>
                  </a:lnTo>
                  <a:lnTo>
                    <a:pt x="509" y="1282"/>
                  </a:lnTo>
                  <a:lnTo>
                    <a:pt x="510" y="1283"/>
                  </a:lnTo>
                  <a:lnTo>
                    <a:pt x="510" y="1285"/>
                  </a:lnTo>
                  <a:lnTo>
                    <a:pt x="504" y="1291"/>
                  </a:lnTo>
                  <a:lnTo>
                    <a:pt x="504" y="1294"/>
                  </a:lnTo>
                  <a:lnTo>
                    <a:pt x="503" y="1294"/>
                  </a:lnTo>
                  <a:lnTo>
                    <a:pt x="503" y="1295"/>
                  </a:lnTo>
                  <a:lnTo>
                    <a:pt x="497" y="1301"/>
                  </a:lnTo>
                  <a:lnTo>
                    <a:pt x="497" y="1304"/>
                  </a:lnTo>
                  <a:lnTo>
                    <a:pt x="495" y="1304"/>
                  </a:lnTo>
                  <a:lnTo>
                    <a:pt x="495" y="1309"/>
                  </a:lnTo>
                  <a:lnTo>
                    <a:pt x="494" y="1310"/>
                  </a:lnTo>
                  <a:lnTo>
                    <a:pt x="494" y="1312"/>
                  </a:lnTo>
                  <a:lnTo>
                    <a:pt x="501" y="1319"/>
                  </a:lnTo>
                  <a:lnTo>
                    <a:pt x="506" y="1319"/>
                  </a:lnTo>
                  <a:lnTo>
                    <a:pt x="504" y="1321"/>
                  </a:lnTo>
                  <a:lnTo>
                    <a:pt x="501" y="1321"/>
                  </a:lnTo>
                  <a:lnTo>
                    <a:pt x="500" y="1319"/>
                  </a:lnTo>
                  <a:lnTo>
                    <a:pt x="495" y="1319"/>
                  </a:lnTo>
                  <a:lnTo>
                    <a:pt x="495" y="1321"/>
                  </a:lnTo>
                  <a:lnTo>
                    <a:pt x="491" y="1321"/>
                  </a:lnTo>
                  <a:lnTo>
                    <a:pt x="489" y="1322"/>
                  </a:lnTo>
                  <a:lnTo>
                    <a:pt x="488" y="1322"/>
                  </a:lnTo>
                  <a:lnTo>
                    <a:pt x="486" y="1324"/>
                  </a:lnTo>
                  <a:lnTo>
                    <a:pt x="483" y="1324"/>
                  </a:lnTo>
                  <a:lnTo>
                    <a:pt x="482" y="1325"/>
                  </a:lnTo>
                  <a:lnTo>
                    <a:pt x="480" y="1325"/>
                  </a:lnTo>
                  <a:lnTo>
                    <a:pt x="474" y="1327"/>
                  </a:lnTo>
                  <a:lnTo>
                    <a:pt x="473" y="1327"/>
                  </a:lnTo>
                  <a:lnTo>
                    <a:pt x="471" y="1328"/>
                  </a:lnTo>
                  <a:lnTo>
                    <a:pt x="470" y="1328"/>
                  </a:lnTo>
                  <a:lnTo>
                    <a:pt x="462" y="1336"/>
                  </a:lnTo>
                  <a:lnTo>
                    <a:pt x="461" y="1339"/>
                  </a:lnTo>
                  <a:lnTo>
                    <a:pt x="461" y="1342"/>
                  </a:lnTo>
                  <a:lnTo>
                    <a:pt x="459" y="1343"/>
                  </a:lnTo>
                  <a:lnTo>
                    <a:pt x="461" y="1343"/>
                  </a:lnTo>
                  <a:lnTo>
                    <a:pt x="462" y="1342"/>
                  </a:lnTo>
                  <a:lnTo>
                    <a:pt x="462" y="1343"/>
                  </a:lnTo>
                  <a:lnTo>
                    <a:pt x="461" y="1345"/>
                  </a:lnTo>
                  <a:lnTo>
                    <a:pt x="459" y="1345"/>
                  </a:lnTo>
                  <a:lnTo>
                    <a:pt x="459" y="1348"/>
                  </a:lnTo>
                  <a:lnTo>
                    <a:pt x="458" y="1348"/>
                  </a:lnTo>
                  <a:lnTo>
                    <a:pt x="458" y="1349"/>
                  </a:lnTo>
                  <a:lnTo>
                    <a:pt x="459" y="1351"/>
                  </a:lnTo>
                  <a:lnTo>
                    <a:pt x="458" y="1357"/>
                  </a:lnTo>
                  <a:lnTo>
                    <a:pt x="456" y="1358"/>
                  </a:lnTo>
                  <a:lnTo>
                    <a:pt x="455" y="1361"/>
                  </a:lnTo>
                  <a:lnTo>
                    <a:pt x="453" y="1361"/>
                  </a:lnTo>
                  <a:lnTo>
                    <a:pt x="452" y="1363"/>
                  </a:lnTo>
                  <a:lnTo>
                    <a:pt x="443" y="1369"/>
                  </a:lnTo>
                  <a:lnTo>
                    <a:pt x="442" y="1370"/>
                  </a:lnTo>
                  <a:lnTo>
                    <a:pt x="436" y="1372"/>
                  </a:lnTo>
                  <a:lnTo>
                    <a:pt x="434" y="1372"/>
                  </a:lnTo>
                  <a:lnTo>
                    <a:pt x="433" y="1373"/>
                  </a:lnTo>
                  <a:lnTo>
                    <a:pt x="433" y="1375"/>
                  </a:lnTo>
                  <a:lnTo>
                    <a:pt x="427" y="1375"/>
                  </a:lnTo>
                  <a:lnTo>
                    <a:pt x="421" y="1373"/>
                  </a:lnTo>
                  <a:lnTo>
                    <a:pt x="421" y="1372"/>
                  </a:lnTo>
                  <a:lnTo>
                    <a:pt x="419" y="1372"/>
                  </a:lnTo>
                  <a:lnTo>
                    <a:pt x="419" y="1370"/>
                  </a:lnTo>
                  <a:lnTo>
                    <a:pt x="416" y="1370"/>
                  </a:lnTo>
                  <a:lnTo>
                    <a:pt x="413" y="1366"/>
                  </a:lnTo>
                  <a:lnTo>
                    <a:pt x="412" y="1366"/>
                  </a:lnTo>
                  <a:lnTo>
                    <a:pt x="406" y="1361"/>
                  </a:lnTo>
                  <a:lnTo>
                    <a:pt x="404" y="1360"/>
                  </a:lnTo>
                  <a:lnTo>
                    <a:pt x="401" y="1355"/>
                  </a:lnTo>
                  <a:lnTo>
                    <a:pt x="398" y="1352"/>
                  </a:lnTo>
                  <a:lnTo>
                    <a:pt x="398" y="1351"/>
                  </a:lnTo>
                  <a:lnTo>
                    <a:pt x="392" y="1345"/>
                  </a:lnTo>
                  <a:lnTo>
                    <a:pt x="391" y="1342"/>
                  </a:lnTo>
                  <a:lnTo>
                    <a:pt x="391" y="1340"/>
                  </a:lnTo>
                  <a:lnTo>
                    <a:pt x="386" y="1337"/>
                  </a:lnTo>
                  <a:lnTo>
                    <a:pt x="388" y="1337"/>
                  </a:lnTo>
                  <a:lnTo>
                    <a:pt x="389" y="1336"/>
                  </a:lnTo>
                  <a:lnTo>
                    <a:pt x="386" y="1336"/>
                  </a:lnTo>
                  <a:lnTo>
                    <a:pt x="388" y="1334"/>
                  </a:lnTo>
                  <a:lnTo>
                    <a:pt x="391" y="1334"/>
                  </a:lnTo>
                  <a:lnTo>
                    <a:pt x="391" y="1333"/>
                  </a:lnTo>
                  <a:lnTo>
                    <a:pt x="388" y="1333"/>
                  </a:lnTo>
                  <a:lnTo>
                    <a:pt x="386" y="1334"/>
                  </a:lnTo>
                  <a:lnTo>
                    <a:pt x="386" y="1333"/>
                  </a:lnTo>
                  <a:lnTo>
                    <a:pt x="385" y="1334"/>
                  </a:lnTo>
                  <a:lnTo>
                    <a:pt x="385" y="1333"/>
                  </a:lnTo>
                  <a:lnTo>
                    <a:pt x="383" y="1331"/>
                  </a:lnTo>
                  <a:lnTo>
                    <a:pt x="383" y="1330"/>
                  </a:lnTo>
                  <a:lnTo>
                    <a:pt x="382" y="1327"/>
                  </a:lnTo>
                  <a:lnTo>
                    <a:pt x="383" y="1324"/>
                  </a:lnTo>
                  <a:lnTo>
                    <a:pt x="382" y="1325"/>
                  </a:lnTo>
                  <a:lnTo>
                    <a:pt x="380" y="1325"/>
                  </a:lnTo>
                  <a:lnTo>
                    <a:pt x="374" y="1310"/>
                  </a:lnTo>
                  <a:lnTo>
                    <a:pt x="374" y="1301"/>
                  </a:lnTo>
                  <a:lnTo>
                    <a:pt x="373" y="1295"/>
                  </a:lnTo>
                  <a:lnTo>
                    <a:pt x="373" y="1292"/>
                  </a:lnTo>
                  <a:lnTo>
                    <a:pt x="374" y="1291"/>
                  </a:lnTo>
                  <a:lnTo>
                    <a:pt x="374" y="1292"/>
                  </a:lnTo>
                  <a:lnTo>
                    <a:pt x="376" y="1300"/>
                  </a:lnTo>
                  <a:lnTo>
                    <a:pt x="377" y="1298"/>
                  </a:lnTo>
                  <a:lnTo>
                    <a:pt x="377" y="1300"/>
                  </a:lnTo>
                  <a:lnTo>
                    <a:pt x="379" y="1301"/>
                  </a:lnTo>
                  <a:lnTo>
                    <a:pt x="379" y="1303"/>
                  </a:lnTo>
                  <a:lnTo>
                    <a:pt x="377" y="1303"/>
                  </a:lnTo>
                  <a:lnTo>
                    <a:pt x="377" y="1309"/>
                  </a:lnTo>
                  <a:lnTo>
                    <a:pt x="383" y="1309"/>
                  </a:lnTo>
                  <a:lnTo>
                    <a:pt x="383" y="1307"/>
                  </a:lnTo>
                  <a:lnTo>
                    <a:pt x="382" y="1307"/>
                  </a:lnTo>
                  <a:lnTo>
                    <a:pt x="382" y="1306"/>
                  </a:lnTo>
                  <a:lnTo>
                    <a:pt x="380" y="1307"/>
                  </a:lnTo>
                  <a:lnTo>
                    <a:pt x="380" y="1306"/>
                  </a:lnTo>
                  <a:lnTo>
                    <a:pt x="379" y="1306"/>
                  </a:lnTo>
                  <a:lnTo>
                    <a:pt x="380" y="1304"/>
                  </a:lnTo>
                  <a:lnTo>
                    <a:pt x="380" y="1301"/>
                  </a:lnTo>
                  <a:lnTo>
                    <a:pt x="379" y="1300"/>
                  </a:lnTo>
                  <a:lnTo>
                    <a:pt x="379" y="1292"/>
                  </a:lnTo>
                  <a:lnTo>
                    <a:pt x="377" y="1291"/>
                  </a:lnTo>
                  <a:lnTo>
                    <a:pt x="377" y="1289"/>
                  </a:lnTo>
                  <a:lnTo>
                    <a:pt x="376" y="1288"/>
                  </a:lnTo>
                  <a:lnTo>
                    <a:pt x="373" y="1288"/>
                  </a:lnTo>
                  <a:lnTo>
                    <a:pt x="373" y="1283"/>
                  </a:lnTo>
                  <a:lnTo>
                    <a:pt x="371" y="1282"/>
                  </a:lnTo>
                  <a:lnTo>
                    <a:pt x="371" y="1280"/>
                  </a:lnTo>
                  <a:lnTo>
                    <a:pt x="370" y="1280"/>
                  </a:lnTo>
                  <a:lnTo>
                    <a:pt x="370" y="1279"/>
                  </a:lnTo>
                  <a:lnTo>
                    <a:pt x="368" y="1279"/>
                  </a:lnTo>
                  <a:lnTo>
                    <a:pt x="371" y="1278"/>
                  </a:lnTo>
                  <a:lnTo>
                    <a:pt x="371" y="1276"/>
                  </a:lnTo>
                  <a:lnTo>
                    <a:pt x="370" y="1275"/>
                  </a:lnTo>
                  <a:lnTo>
                    <a:pt x="370" y="1278"/>
                  </a:lnTo>
                  <a:lnTo>
                    <a:pt x="368" y="1278"/>
                  </a:lnTo>
                  <a:lnTo>
                    <a:pt x="368" y="1276"/>
                  </a:lnTo>
                  <a:lnTo>
                    <a:pt x="367" y="1275"/>
                  </a:lnTo>
                  <a:lnTo>
                    <a:pt x="367" y="1270"/>
                  </a:lnTo>
                  <a:lnTo>
                    <a:pt x="365" y="1269"/>
                  </a:lnTo>
                  <a:lnTo>
                    <a:pt x="364" y="1266"/>
                  </a:lnTo>
                  <a:lnTo>
                    <a:pt x="364" y="1264"/>
                  </a:lnTo>
                  <a:lnTo>
                    <a:pt x="362" y="1263"/>
                  </a:lnTo>
                  <a:lnTo>
                    <a:pt x="362" y="1261"/>
                  </a:lnTo>
                  <a:lnTo>
                    <a:pt x="361" y="1261"/>
                  </a:lnTo>
                  <a:lnTo>
                    <a:pt x="361" y="1258"/>
                  </a:lnTo>
                  <a:lnTo>
                    <a:pt x="358" y="1252"/>
                  </a:lnTo>
                  <a:lnTo>
                    <a:pt x="358" y="1249"/>
                  </a:lnTo>
                  <a:lnTo>
                    <a:pt x="356" y="1249"/>
                  </a:lnTo>
                  <a:lnTo>
                    <a:pt x="356" y="1248"/>
                  </a:lnTo>
                  <a:lnTo>
                    <a:pt x="355" y="1243"/>
                  </a:lnTo>
                  <a:lnTo>
                    <a:pt x="353" y="1236"/>
                  </a:lnTo>
                  <a:lnTo>
                    <a:pt x="349" y="1225"/>
                  </a:lnTo>
                  <a:lnTo>
                    <a:pt x="349" y="1222"/>
                  </a:lnTo>
                  <a:lnTo>
                    <a:pt x="347" y="1222"/>
                  </a:lnTo>
                  <a:lnTo>
                    <a:pt x="347" y="1221"/>
                  </a:lnTo>
                  <a:lnTo>
                    <a:pt x="346" y="1219"/>
                  </a:lnTo>
                  <a:lnTo>
                    <a:pt x="346" y="1218"/>
                  </a:lnTo>
                  <a:lnTo>
                    <a:pt x="343" y="1218"/>
                  </a:lnTo>
                  <a:lnTo>
                    <a:pt x="343" y="1216"/>
                  </a:lnTo>
                  <a:lnTo>
                    <a:pt x="341" y="1215"/>
                  </a:lnTo>
                  <a:lnTo>
                    <a:pt x="341" y="1213"/>
                  </a:lnTo>
                  <a:lnTo>
                    <a:pt x="338" y="1207"/>
                  </a:lnTo>
                  <a:lnTo>
                    <a:pt x="338" y="1206"/>
                  </a:lnTo>
                  <a:lnTo>
                    <a:pt x="332" y="1200"/>
                  </a:lnTo>
                  <a:lnTo>
                    <a:pt x="331" y="1200"/>
                  </a:lnTo>
                  <a:lnTo>
                    <a:pt x="329" y="1198"/>
                  </a:lnTo>
                  <a:lnTo>
                    <a:pt x="329" y="1197"/>
                  </a:lnTo>
                  <a:lnTo>
                    <a:pt x="332" y="1197"/>
                  </a:lnTo>
                  <a:lnTo>
                    <a:pt x="332" y="1195"/>
                  </a:lnTo>
                  <a:lnTo>
                    <a:pt x="328" y="1195"/>
                  </a:lnTo>
                  <a:lnTo>
                    <a:pt x="328" y="1192"/>
                  </a:lnTo>
                  <a:lnTo>
                    <a:pt x="329" y="1192"/>
                  </a:lnTo>
                  <a:lnTo>
                    <a:pt x="329" y="1191"/>
                  </a:lnTo>
                  <a:lnTo>
                    <a:pt x="326" y="1192"/>
                  </a:lnTo>
                  <a:lnTo>
                    <a:pt x="323" y="1192"/>
                  </a:lnTo>
                  <a:lnTo>
                    <a:pt x="323" y="1189"/>
                  </a:lnTo>
                  <a:lnTo>
                    <a:pt x="320" y="1183"/>
                  </a:lnTo>
                  <a:lnTo>
                    <a:pt x="319" y="1183"/>
                  </a:lnTo>
                  <a:lnTo>
                    <a:pt x="319" y="1179"/>
                  </a:lnTo>
                  <a:lnTo>
                    <a:pt x="316" y="1174"/>
                  </a:lnTo>
                  <a:lnTo>
                    <a:pt x="316" y="1173"/>
                  </a:lnTo>
                  <a:lnTo>
                    <a:pt x="314" y="1173"/>
                  </a:lnTo>
                  <a:lnTo>
                    <a:pt x="314" y="1170"/>
                  </a:lnTo>
                  <a:lnTo>
                    <a:pt x="313" y="1170"/>
                  </a:lnTo>
                  <a:lnTo>
                    <a:pt x="313" y="1168"/>
                  </a:lnTo>
                  <a:lnTo>
                    <a:pt x="308" y="1159"/>
                  </a:lnTo>
                  <a:lnTo>
                    <a:pt x="308" y="1156"/>
                  </a:lnTo>
                  <a:lnTo>
                    <a:pt x="307" y="1156"/>
                  </a:lnTo>
                  <a:lnTo>
                    <a:pt x="307" y="1155"/>
                  </a:lnTo>
                  <a:lnTo>
                    <a:pt x="308" y="1155"/>
                  </a:lnTo>
                  <a:lnTo>
                    <a:pt x="310" y="1153"/>
                  </a:lnTo>
                  <a:lnTo>
                    <a:pt x="311" y="1153"/>
                  </a:lnTo>
                  <a:lnTo>
                    <a:pt x="311" y="1152"/>
                  </a:lnTo>
                  <a:lnTo>
                    <a:pt x="310" y="1153"/>
                  </a:lnTo>
                  <a:lnTo>
                    <a:pt x="307" y="1153"/>
                  </a:lnTo>
                  <a:lnTo>
                    <a:pt x="304" y="1144"/>
                  </a:lnTo>
                  <a:lnTo>
                    <a:pt x="305" y="1143"/>
                  </a:lnTo>
                  <a:lnTo>
                    <a:pt x="304" y="1143"/>
                  </a:lnTo>
                  <a:lnTo>
                    <a:pt x="304" y="1138"/>
                  </a:lnTo>
                  <a:lnTo>
                    <a:pt x="302" y="1138"/>
                  </a:lnTo>
                  <a:lnTo>
                    <a:pt x="302" y="1134"/>
                  </a:lnTo>
                  <a:lnTo>
                    <a:pt x="301" y="1131"/>
                  </a:lnTo>
                  <a:lnTo>
                    <a:pt x="301" y="1128"/>
                  </a:lnTo>
                  <a:lnTo>
                    <a:pt x="299" y="1126"/>
                  </a:lnTo>
                  <a:lnTo>
                    <a:pt x="299" y="1125"/>
                  </a:lnTo>
                  <a:lnTo>
                    <a:pt x="301" y="1126"/>
                  </a:lnTo>
                  <a:lnTo>
                    <a:pt x="301" y="1125"/>
                  </a:lnTo>
                  <a:lnTo>
                    <a:pt x="299" y="1122"/>
                  </a:lnTo>
                  <a:lnTo>
                    <a:pt x="299" y="1116"/>
                  </a:lnTo>
                  <a:lnTo>
                    <a:pt x="301" y="1116"/>
                  </a:lnTo>
                  <a:lnTo>
                    <a:pt x="301" y="1113"/>
                  </a:lnTo>
                  <a:lnTo>
                    <a:pt x="299" y="1114"/>
                  </a:lnTo>
                  <a:lnTo>
                    <a:pt x="299" y="1116"/>
                  </a:lnTo>
                  <a:lnTo>
                    <a:pt x="298" y="1114"/>
                  </a:lnTo>
                  <a:lnTo>
                    <a:pt x="298" y="1110"/>
                  </a:lnTo>
                  <a:lnTo>
                    <a:pt x="296" y="1107"/>
                  </a:lnTo>
                  <a:lnTo>
                    <a:pt x="296" y="1105"/>
                  </a:lnTo>
                  <a:lnTo>
                    <a:pt x="293" y="1102"/>
                  </a:lnTo>
                  <a:lnTo>
                    <a:pt x="293" y="1101"/>
                  </a:lnTo>
                  <a:lnTo>
                    <a:pt x="292" y="1099"/>
                  </a:lnTo>
                  <a:lnTo>
                    <a:pt x="292" y="1096"/>
                  </a:lnTo>
                  <a:lnTo>
                    <a:pt x="291" y="1095"/>
                  </a:lnTo>
                  <a:lnTo>
                    <a:pt x="291" y="1090"/>
                  </a:lnTo>
                  <a:lnTo>
                    <a:pt x="289" y="1089"/>
                  </a:lnTo>
                  <a:lnTo>
                    <a:pt x="289" y="1087"/>
                  </a:lnTo>
                  <a:lnTo>
                    <a:pt x="292" y="1087"/>
                  </a:lnTo>
                  <a:lnTo>
                    <a:pt x="289" y="1086"/>
                  </a:lnTo>
                  <a:lnTo>
                    <a:pt x="288" y="1086"/>
                  </a:lnTo>
                  <a:lnTo>
                    <a:pt x="288" y="1080"/>
                  </a:lnTo>
                  <a:lnTo>
                    <a:pt x="286" y="1080"/>
                  </a:lnTo>
                  <a:lnTo>
                    <a:pt x="286" y="1078"/>
                  </a:lnTo>
                  <a:lnTo>
                    <a:pt x="288" y="1078"/>
                  </a:lnTo>
                  <a:lnTo>
                    <a:pt x="288" y="1077"/>
                  </a:lnTo>
                  <a:lnTo>
                    <a:pt x="289" y="1077"/>
                  </a:lnTo>
                  <a:lnTo>
                    <a:pt x="286" y="1075"/>
                  </a:lnTo>
                  <a:lnTo>
                    <a:pt x="286" y="1074"/>
                  </a:lnTo>
                  <a:lnTo>
                    <a:pt x="285" y="1074"/>
                  </a:lnTo>
                  <a:lnTo>
                    <a:pt x="286" y="1075"/>
                  </a:lnTo>
                  <a:lnTo>
                    <a:pt x="286" y="1077"/>
                  </a:lnTo>
                  <a:lnTo>
                    <a:pt x="285" y="1075"/>
                  </a:lnTo>
                  <a:lnTo>
                    <a:pt x="283" y="1075"/>
                  </a:lnTo>
                  <a:lnTo>
                    <a:pt x="283" y="1071"/>
                  </a:lnTo>
                  <a:lnTo>
                    <a:pt x="282" y="1071"/>
                  </a:lnTo>
                  <a:lnTo>
                    <a:pt x="282" y="1066"/>
                  </a:lnTo>
                  <a:lnTo>
                    <a:pt x="280" y="1066"/>
                  </a:lnTo>
                  <a:lnTo>
                    <a:pt x="280" y="1065"/>
                  </a:lnTo>
                  <a:lnTo>
                    <a:pt x="279" y="1065"/>
                  </a:lnTo>
                  <a:lnTo>
                    <a:pt x="277" y="1066"/>
                  </a:lnTo>
                  <a:lnTo>
                    <a:pt x="277" y="1065"/>
                  </a:lnTo>
                  <a:lnTo>
                    <a:pt x="276" y="1065"/>
                  </a:lnTo>
                  <a:lnTo>
                    <a:pt x="276" y="1063"/>
                  </a:lnTo>
                  <a:lnTo>
                    <a:pt x="274" y="1063"/>
                  </a:lnTo>
                  <a:lnTo>
                    <a:pt x="273" y="1062"/>
                  </a:lnTo>
                  <a:lnTo>
                    <a:pt x="274" y="1062"/>
                  </a:lnTo>
                  <a:lnTo>
                    <a:pt x="274" y="1060"/>
                  </a:lnTo>
                  <a:lnTo>
                    <a:pt x="277" y="1060"/>
                  </a:lnTo>
                  <a:lnTo>
                    <a:pt x="277" y="1059"/>
                  </a:lnTo>
                  <a:lnTo>
                    <a:pt x="280" y="1059"/>
                  </a:lnTo>
                  <a:lnTo>
                    <a:pt x="280" y="1057"/>
                  </a:lnTo>
                  <a:lnTo>
                    <a:pt x="279" y="1057"/>
                  </a:lnTo>
                  <a:lnTo>
                    <a:pt x="277" y="1059"/>
                  </a:lnTo>
                  <a:lnTo>
                    <a:pt x="276" y="1059"/>
                  </a:lnTo>
                  <a:lnTo>
                    <a:pt x="274" y="1060"/>
                  </a:lnTo>
                  <a:lnTo>
                    <a:pt x="274" y="1059"/>
                  </a:lnTo>
                  <a:lnTo>
                    <a:pt x="271" y="1056"/>
                  </a:lnTo>
                  <a:lnTo>
                    <a:pt x="270" y="1056"/>
                  </a:lnTo>
                  <a:lnTo>
                    <a:pt x="270" y="1054"/>
                  </a:lnTo>
                  <a:lnTo>
                    <a:pt x="271" y="1053"/>
                  </a:lnTo>
                  <a:lnTo>
                    <a:pt x="270" y="1053"/>
                  </a:lnTo>
                  <a:lnTo>
                    <a:pt x="268" y="1051"/>
                  </a:lnTo>
                  <a:lnTo>
                    <a:pt x="268" y="1050"/>
                  </a:lnTo>
                  <a:lnTo>
                    <a:pt x="267" y="1050"/>
                  </a:lnTo>
                  <a:lnTo>
                    <a:pt x="265" y="1048"/>
                  </a:lnTo>
                  <a:lnTo>
                    <a:pt x="265" y="1047"/>
                  </a:lnTo>
                  <a:lnTo>
                    <a:pt x="267" y="1047"/>
                  </a:lnTo>
                  <a:lnTo>
                    <a:pt x="267" y="1045"/>
                  </a:lnTo>
                  <a:lnTo>
                    <a:pt x="264" y="1036"/>
                  </a:lnTo>
                  <a:lnTo>
                    <a:pt x="264" y="1035"/>
                  </a:lnTo>
                  <a:lnTo>
                    <a:pt x="261" y="1035"/>
                  </a:lnTo>
                  <a:lnTo>
                    <a:pt x="259" y="1033"/>
                  </a:lnTo>
                  <a:lnTo>
                    <a:pt x="267" y="1033"/>
                  </a:lnTo>
                  <a:lnTo>
                    <a:pt x="265" y="1032"/>
                  </a:lnTo>
                  <a:lnTo>
                    <a:pt x="262" y="1032"/>
                  </a:lnTo>
                  <a:lnTo>
                    <a:pt x="262" y="1030"/>
                  </a:lnTo>
                  <a:lnTo>
                    <a:pt x="259" y="1030"/>
                  </a:lnTo>
                  <a:lnTo>
                    <a:pt x="261" y="1029"/>
                  </a:lnTo>
                  <a:lnTo>
                    <a:pt x="264" y="1029"/>
                  </a:lnTo>
                  <a:lnTo>
                    <a:pt x="262" y="1027"/>
                  </a:lnTo>
                  <a:lnTo>
                    <a:pt x="259" y="1029"/>
                  </a:lnTo>
                  <a:lnTo>
                    <a:pt x="258" y="1029"/>
                  </a:lnTo>
                  <a:lnTo>
                    <a:pt x="258" y="1026"/>
                  </a:lnTo>
                  <a:lnTo>
                    <a:pt x="256" y="1026"/>
                  </a:lnTo>
                  <a:lnTo>
                    <a:pt x="256" y="1024"/>
                  </a:lnTo>
                  <a:lnTo>
                    <a:pt x="258" y="1024"/>
                  </a:lnTo>
                  <a:lnTo>
                    <a:pt x="258" y="1023"/>
                  </a:lnTo>
                  <a:lnTo>
                    <a:pt x="259" y="1021"/>
                  </a:lnTo>
                  <a:lnTo>
                    <a:pt x="258" y="1021"/>
                  </a:lnTo>
                  <a:lnTo>
                    <a:pt x="256" y="1023"/>
                  </a:lnTo>
                  <a:lnTo>
                    <a:pt x="256" y="1021"/>
                  </a:lnTo>
                  <a:lnTo>
                    <a:pt x="255" y="1021"/>
                  </a:lnTo>
                  <a:lnTo>
                    <a:pt x="255" y="1019"/>
                  </a:lnTo>
                  <a:lnTo>
                    <a:pt x="253" y="1019"/>
                  </a:lnTo>
                  <a:lnTo>
                    <a:pt x="253" y="1016"/>
                  </a:lnTo>
                  <a:lnTo>
                    <a:pt x="252" y="1014"/>
                  </a:lnTo>
                  <a:lnTo>
                    <a:pt x="250" y="1011"/>
                  </a:lnTo>
                  <a:lnTo>
                    <a:pt x="250" y="1010"/>
                  </a:lnTo>
                  <a:lnTo>
                    <a:pt x="247" y="1008"/>
                  </a:lnTo>
                  <a:lnTo>
                    <a:pt x="246" y="1007"/>
                  </a:lnTo>
                  <a:lnTo>
                    <a:pt x="246" y="1005"/>
                  </a:lnTo>
                  <a:lnTo>
                    <a:pt x="247" y="1004"/>
                  </a:lnTo>
                  <a:lnTo>
                    <a:pt x="244" y="1004"/>
                  </a:lnTo>
                  <a:lnTo>
                    <a:pt x="244" y="999"/>
                  </a:lnTo>
                  <a:lnTo>
                    <a:pt x="243" y="998"/>
                  </a:lnTo>
                  <a:lnTo>
                    <a:pt x="243" y="995"/>
                  </a:lnTo>
                  <a:lnTo>
                    <a:pt x="241" y="995"/>
                  </a:lnTo>
                  <a:lnTo>
                    <a:pt x="241" y="993"/>
                  </a:lnTo>
                  <a:lnTo>
                    <a:pt x="240" y="989"/>
                  </a:lnTo>
                  <a:lnTo>
                    <a:pt x="240" y="986"/>
                  </a:lnTo>
                  <a:lnTo>
                    <a:pt x="238" y="984"/>
                  </a:lnTo>
                  <a:lnTo>
                    <a:pt x="238" y="981"/>
                  </a:lnTo>
                  <a:lnTo>
                    <a:pt x="237" y="981"/>
                  </a:lnTo>
                  <a:lnTo>
                    <a:pt x="237" y="978"/>
                  </a:lnTo>
                  <a:lnTo>
                    <a:pt x="240" y="981"/>
                  </a:lnTo>
                  <a:lnTo>
                    <a:pt x="240" y="978"/>
                  </a:lnTo>
                  <a:lnTo>
                    <a:pt x="238" y="978"/>
                  </a:lnTo>
                  <a:lnTo>
                    <a:pt x="238" y="977"/>
                  </a:lnTo>
                  <a:lnTo>
                    <a:pt x="240" y="975"/>
                  </a:lnTo>
                  <a:lnTo>
                    <a:pt x="237" y="975"/>
                  </a:lnTo>
                  <a:lnTo>
                    <a:pt x="237" y="974"/>
                  </a:lnTo>
                  <a:lnTo>
                    <a:pt x="238" y="974"/>
                  </a:lnTo>
                  <a:lnTo>
                    <a:pt x="238" y="972"/>
                  </a:lnTo>
                  <a:lnTo>
                    <a:pt x="237" y="971"/>
                  </a:lnTo>
                  <a:lnTo>
                    <a:pt x="237" y="966"/>
                  </a:lnTo>
                  <a:lnTo>
                    <a:pt x="235" y="965"/>
                  </a:lnTo>
                  <a:lnTo>
                    <a:pt x="235" y="960"/>
                  </a:lnTo>
                  <a:lnTo>
                    <a:pt x="237" y="959"/>
                  </a:lnTo>
                  <a:lnTo>
                    <a:pt x="235" y="957"/>
                  </a:lnTo>
                  <a:lnTo>
                    <a:pt x="235" y="950"/>
                  </a:lnTo>
                  <a:lnTo>
                    <a:pt x="234" y="948"/>
                  </a:lnTo>
                  <a:lnTo>
                    <a:pt x="234" y="945"/>
                  </a:lnTo>
                  <a:lnTo>
                    <a:pt x="232" y="945"/>
                  </a:lnTo>
                  <a:lnTo>
                    <a:pt x="232" y="944"/>
                  </a:lnTo>
                  <a:lnTo>
                    <a:pt x="234" y="944"/>
                  </a:lnTo>
                  <a:lnTo>
                    <a:pt x="232" y="941"/>
                  </a:lnTo>
                  <a:lnTo>
                    <a:pt x="232" y="939"/>
                  </a:lnTo>
                  <a:lnTo>
                    <a:pt x="231" y="939"/>
                  </a:lnTo>
                  <a:lnTo>
                    <a:pt x="231" y="938"/>
                  </a:lnTo>
                  <a:lnTo>
                    <a:pt x="232" y="936"/>
                  </a:lnTo>
                  <a:lnTo>
                    <a:pt x="231" y="936"/>
                  </a:lnTo>
                  <a:lnTo>
                    <a:pt x="231" y="933"/>
                  </a:lnTo>
                  <a:lnTo>
                    <a:pt x="229" y="932"/>
                  </a:lnTo>
                  <a:lnTo>
                    <a:pt x="229" y="930"/>
                  </a:lnTo>
                  <a:lnTo>
                    <a:pt x="231" y="930"/>
                  </a:lnTo>
                  <a:lnTo>
                    <a:pt x="232" y="929"/>
                  </a:lnTo>
                  <a:lnTo>
                    <a:pt x="229" y="929"/>
                  </a:lnTo>
                  <a:lnTo>
                    <a:pt x="229" y="926"/>
                  </a:lnTo>
                  <a:lnTo>
                    <a:pt x="228" y="926"/>
                  </a:lnTo>
                  <a:lnTo>
                    <a:pt x="228" y="923"/>
                  </a:lnTo>
                  <a:lnTo>
                    <a:pt x="229" y="923"/>
                  </a:lnTo>
                  <a:lnTo>
                    <a:pt x="228" y="921"/>
                  </a:lnTo>
                  <a:lnTo>
                    <a:pt x="228" y="920"/>
                  </a:lnTo>
                  <a:lnTo>
                    <a:pt x="226" y="918"/>
                  </a:lnTo>
                  <a:lnTo>
                    <a:pt x="226" y="915"/>
                  </a:lnTo>
                  <a:lnTo>
                    <a:pt x="223" y="912"/>
                  </a:lnTo>
                  <a:lnTo>
                    <a:pt x="223" y="911"/>
                  </a:lnTo>
                  <a:lnTo>
                    <a:pt x="225" y="909"/>
                  </a:lnTo>
                  <a:lnTo>
                    <a:pt x="223" y="909"/>
                  </a:lnTo>
                  <a:lnTo>
                    <a:pt x="223" y="908"/>
                  </a:lnTo>
                  <a:lnTo>
                    <a:pt x="225" y="908"/>
                  </a:lnTo>
                  <a:lnTo>
                    <a:pt x="225" y="906"/>
                  </a:lnTo>
                  <a:lnTo>
                    <a:pt x="223" y="908"/>
                  </a:lnTo>
                  <a:lnTo>
                    <a:pt x="222" y="906"/>
                  </a:lnTo>
                  <a:lnTo>
                    <a:pt x="222" y="900"/>
                  </a:lnTo>
                  <a:lnTo>
                    <a:pt x="220" y="899"/>
                  </a:lnTo>
                  <a:lnTo>
                    <a:pt x="220" y="896"/>
                  </a:lnTo>
                  <a:lnTo>
                    <a:pt x="222" y="896"/>
                  </a:lnTo>
                  <a:lnTo>
                    <a:pt x="222" y="897"/>
                  </a:lnTo>
                  <a:lnTo>
                    <a:pt x="223" y="897"/>
                  </a:lnTo>
                  <a:lnTo>
                    <a:pt x="225" y="899"/>
                  </a:lnTo>
                  <a:lnTo>
                    <a:pt x="226" y="899"/>
                  </a:lnTo>
                  <a:lnTo>
                    <a:pt x="225" y="900"/>
                  </a:lnTo>
                  <a:lnTo>
                    <a:pt x="226" y="900"/>
                  </a:lnTo>
                  <a:lnTo>
                    <a:pt x="226" y="896"/>
                  </a:lnTo>
                  <a:lnTo>
                    <a:pt x="222" y="896"/>
                  </a:lnTo>
                  <a:lnTo>
                    <a:pt x="222" y="894"/>
                  </a:lnTo>
                  <a:lnTo>
                    <a:pt x="220" y="894"/>
                  </a:lnTo>
                  <a:lnTo>
                    <a:pt x="220" y="893"/>
                  </a:lnTo>
                  <a:lnTo>
                    <a:pt x="219" y="893"/>
                  </a:lnTo>
                  <a:lnTo>
                    <a:pt x="219" y="890"/>
                  </a:lnTo>
                  <a:lnTo>
                    <a:pt x="217" y="888"/>
                  </a:lnTo>
                  <a:lnTo>
                    <a:pt x="217" y="887"/>
                  </a:lnTo>
                  <a:lnTo>
                    <a:pt x="219" y="885"/>
                  </a:lnTo>
                  <a:lnTo>
                    <a:pt x="219" y="884"/>
                  </a:lnTo>
                  <a:lnTo>
                    <a:pt x="220" y="884"/>
                  </a:lnTo>
                  <a:lnTo>
                    <a:pt x="222" y="885"/>
                  </a:lnTo>
                  <a:lnTo>
                    <a:pt x="222" y="882"/>
                  </a:lnTo>
                  <a:lnTo>
                    <a:pt x="219" y="882"/>
                  </a:lnTo>
                  <a:lnTo>
                    <a:pt x="217" y="879"/>
                  </a:lnTo>
                  <a:lnTo>
                    <a:pt x="217" y="878"/>
                  </a:lnTo>
                  <a:lnTo>
                    <a:pt x="216" y="876"/>
                  </a:lnTo>
                  <a:lnTo>
                    <a:pt x="216" y="872"/>
                  </a:lnTo>
                  <a:lnTo>
                    <a:pt x="217" y="872"/>
                  </a:lnTo>
                  <a:lnTo>
                    <a:pt x="217" y="870"/>
                  </a:lnTo>
                  <a:lnTo>
                    <a:pt x="219" y="872"/>
                  </a:lnTo>
                  <a:lnTo>
                    <a:pt x="220" y="870"/>
                  </a:lnTo>
                  <a:lnTo>
                    <a:pt x="222" y="872"/>
                  </a:lnTo>
                  <a:lnTo>
                    <a:pt x="222" y="875"/>
                  </a:lnTo>
                  <a:lnTo>
                    <a:pt x="223" y="875"/>
                  </a:lnTo>
                  <a:lnTo>
                    <a:pt x="222" y="873"/>
                  </a:lnTo>
                  <a:lnTo>
                    <a:pt x="223" y="872"/>
                  </a:lnTo>
                  <a:lnTo>
                    <a:pt x="223" y="870"/>
                  </a:lnTo>
                  <a:lnTo>
                    <a:pt x="222" y="870"/>
                  </a:lnTo>
                  <a:lnTo>
                    <a:pt x="222" y="867"/>
                  </a:lnTo>
                  <a:lnTo>
                    <a:pt x="220" y="869"/>
                  </a:lnTo>
                  <a:lnTo>
                    <a:pt x="219" y="867"/>
                  </a:lnTo>
                  <a:lnTo>
                    <a:pt x="219" y="866"/>
                  </a:lnTo>
                  <a:lnTo>
                    <a:pt x="220" y="866"/>
                  </a:lnTo>
                  <a:lnTo>
                    <a:pt x="220" y="864"/>
                  </a:lnTo>
                  <a:lnTo>
                    <a:pt x="222" y="864"/>
                  </a:lnTo>
                  <a:lnTo>
                    <a:pt x="222" y="863"/>
                  </a:lnTo>
                  <a:lnTo>
                    <a:pt x="223" y="863"/>
                  </a:lnTo>
                  <a:lnTo>
                    <a:pt x="225" y="861"/>
                  </a:lnTo>
                  <a:lnTo>
                    <a:pt x="222" y="861"/>
                  </a:lnTo>
                  <a:lnTo>
                    <a:pt x="222" y="860"/>
                  </a:lnTo>
                  <a:lnTo>
                    <a:pt x="223" y="858"/>
                  </a:lnTo>
                  <a:lnTo>
                    <a:pt x="222" y="858"/>
                  </a:lnTo>
                  <a:lnTo>
                    <a:pt x="222" y="854"/>
                  </a:lnTo>
                  <a:lnTo>
                    <a:pt x="220" y="855"/>
                  </a:lnTo>
                  <a:lnTo>
                    <a:pt x="220" y="860"/>
                  </a:lnTo>
                  <a:lnTo>
                    <a:pt x="217" y="861"/>
                  </a:lnTo>
                  <a:lnTo>
                    <a:pt x="216" y="861"/>
                  </a:lnTo>
                  <a:lnTo>
                    <a:pt x="216" y="866"/>
                  </a:lnTo>
                  <a:lnTo>
                    <a:pt x="214" y="866"/>
                  </a:lnTo>
                  <a:lnTo>
                    <a:pt x="214" y="854"/>
                  </a:lnTo>
                  <a:lnTo>
                    <a:pt x="213" y="854"/>
                  </a:lnTo>
                  <a:lnTo>
                    <a:pt x="214" y="851"/>
                  </a:lnTo>
                  <a:lnTo>
                    <a:pt x="214" y="849"/>
                  </a:lnTo>
                  <a:lnTo>
                    <a:pt x="213" y="851"/>
                  </a:lnTo>
                  <a:lnTo>
                    <a:pt x="213" y="846"/>
                  </a:lnTo>
                  <a:lnTo>
                    <a:pt x="217" y="846"/>
                  </a:lnTo>
                  <a:lnTo>
                    <a:pt x="217" y="848"/>
                  </a:lnTo>
                  <a:lnTo>
                    <a:pt x="222" y="848"/>
                  </a:lnTo>
                  <a:lnTo>
                    <a:pt x="223" y="851"/>
                  </a:lnTo>
                  <a:lnTo>
                    <a:pt x="225" y="851"/>
                  </a:lnTo>
                  <a:lnTo>
                    <a:pt x="225" y="849"/>
                  </a:lnTo>
                  <a:lnTo>
                    <a:pt x="222" y="846"/>
                  </a:lnTo>
                  <a:lnTo>
                    <a:pt x="217" y="846"/>
                  </a:lnTo>
                  <a:lnTo>
                    <a:pt x="216" y="845"/>
                  </a:lnTo>
                  <a:lnTo>
                    <a:pt x="213" y="845"/>
                  </a:lnTo>
                  <a:lnTo>
                    <a:pt x="213" y="843"/>
                  </a:lnTo>
                  <a:lnTo>
                    <a:pt x="211" y="843"/>
                  </a:lnTo>
                  <a:lnTo>
                    <a:pt x="211" y="839"/>
                  </a:lnTo>
                  <a:lnTo>
                    <a:pt x="213" y="837"/>
                  </a:lnTo>
                  <a:lnTo>
                    <a:pt x="217" y="836"/>
                  </a:lnTo>
                  <a:lnTo>
                    <a:pt x="213" y="836"/>
                  </a:lnTo>
                  <a:lnTo>
                    <a:pt x="213" y="834"/>
                  </a:lnTo>
                  <a:lnTo>
                    <a:pt x="211" y="834"/>
                  </a:lnTo>
                  <a:lnTo>
                    <a:pt x="211" y="836"/>
                  </a:lnTo>
                  <a:lnTo>
                    <a:pt x="210" y="836"/>
                  </a:lnTo>
                  <a:lnTo>
                    <a:pt x="210" y="830"/>
                  </a:lnTo>
                  <a:lnTo>
                    <a:pt x="208" y="827"/>
                  </a:lnTo>
                  <a:lnTo>
                    <a:pt x="210" y="827"/>
                  </a:lnTo>
                  <a:lnTo>
                    <a:pt x="210" y="825"/>
                  </a:lnTo>
                  <a:lnTo>
                    <a:pt x="211" y="825"/>
                  </a:lnTo>
                  <a:lnTo>
                    <a:pt x="211" y="824"/>
                  </a:lnTo>
                  <a:lnTo>
                    <a:pt x="210" y="822"/>
                  </a:lnTo>
                  <a:lnTo>
                    <a:pt x="208" y="825"/>
                  </a:lnTo>
                  <a:lnTo>
                    <a:pt x="208" y="822"/>
                  </a:lnTo>
                  <a:lnTo>
                    <a:pt x="207" y="821"/>
                  </a:lnTo>
                  <a:lnTo>
                    <a:pt x="207" y="819"/>
                  </a:lnTo>
                  <a:lnTo>
                    <a:pt x="208" y="819"/>
                  </a:lnTo>
                  <a:lnTo>
                    <a:pt x="208" y="816"/>
                  </a:lnTo>
                  <a:lnTo>
                    <a:pt x="207" y="816"/>
                  </a:lnTo>
                  <a:lnTo>
                    <a:pt x="208" y="815"/>
                  </a:lnTo>
                  <a:lnTo>
                    <a:pt x="208" y="813"/>
                  </a:lnTo>
                  <a:lnTo>
                    <a:pt x="210" y="813"/>
                  </a:lnTo>
                  <a:lnTo>
                    <a:pt x="210" y="807"/>
                  </a:lnTo>
                  <a:lnTo>
                    <a:pt x="211" y="804"/>
                  </a:lnTo>
                  <a:lnTo>
                    <a:pt x="211" y="798"/>
                  </a:lnTo>
                  <a:lnTo>
                    <a:pt x="213" y="798"/>
                  </a:lnTo>
                  <a:lnTo>
                    <a:pt x="213" y="795"/>
                  </a:lnTo>
                  <a:lnTo>
                    <a:pt x="214" y="795"/>
                  </a:lnTo>
                  <a:lnTo>
                    <a:pt x="214" y="792"/>
                  </a:lnTo>
                  <a:lnTo>
                    <a:pt x="216" y="791"/>
                  </a:lnTo>
                  <a:lnTo>
                    <a:pt x="217" y="788"/>
                  </a:lnTo>
                  <a:lnTo>
                    <a:pt x="217" y="782"/>
                  </a:lnTo>
                  <a:lnTo>
                    <a:pt x="219" y="782"/>
                  </a:lnTo>
                  <a:lnTo>
                    <a:pt x="219" y="777"/>
                  </a:lnTo>
                  <a:lnTo>
                    <a:pt x="220" y="776"/>
                  </a:lnTo>
                  <a:lnTo>
                    <a:pt x="220" y="774"/>
                  </a:lnTo>
                  <a:lnTo>
                    <a:pt x="219" y="774"/>
                  </a:lnTo>
                  <a:lnTo>
                    <a:pt x="220" y="773"/>
                  </a:lnTo>
                  <a:lnTo>
                    <a:pt x="219" y="773"/>
                  </a:lnTo>
                  <a:lnTo>
                    <a:pt x="219" y="774"/>
                  </a:lnTo>
                  <a:lnTo>
                    <a:pt x="217" y="773"/>
                  </a:lnTo>
                  <a:lnTo>
                    <a:pt x="217" y="771"/>
                  </a:lnTo>
                  <a:lnTo>
                    <a:pt x="216" y="773"/>
                  </a:lnTo>
                  <a:lnTo>
                    <a:pt x="216" y="770"/>
                  </a:lnTo>
                  <a:lnTo>
                    <a:pt x="217" y="770"/>
                  </a:lnTo>
                  <a:lnTo>
                    <a:pt x="216" y="767"/>
                  </a:lnTo>
                  <a:lnTo>
                    <a:pt x="217" y="765"/>
                  </a:lnTo>
                  <a:lnTo>
                    <a:pt x="214" y="765"/>
                  </a:lnTo>
                  <a:lnTo>
                    <a:pt x="214" y="764"/>
                  </a:lnTo>
                  <a:lnTo>
                    <a:pt x="213" y="764"/>
                  </a:lnTo>
                  <a:lnTo>
                    <a:pt x="213" y="762"/>
                  </a:lnTo>
                  <a:lnTo>
                    <a:pt x="216" y="762"/>
                  </a:lnTo>
                  <a:lnTo>
                    <a:pt x="214" y="758"/>
                  </a:lnTo>
                  <a:lnTo>
                    <a:pt x="211" y="759"/>
                  </a:lnTo>
                  <a:lnTo>
                    <a:pt x="210" y="761"/>
                  </a:lnTo>
                  <a:lnTo>
                    <a:pt x="210" y="757"/>
                  </a:lnTo>
                  <a:lnTo>
                    <a:pt x="208" y="757"/>
                  </a:lnTo>
                  <a:lnTo>
                    <a:pt x="208" y="759"/>
                  </a:lnTo>
                  <a:lnTo>
                    <a:pt x="205" y="759"/>
                  </a:lnTo>
                  <a:lnTo>
                    <a:pt x="205" y="758"/>
                  </a:lnTo>
                  <a:lnTo>
                    <a:pt x="208" y="755"/>
                  </a:lnTo>
                  <a:lnTo>
                    <a:pt x="211" y="755"/>
                  </a:lnTo>
                  <a:lnTo>
                    <a:pt x="210" y="754"/>
                  </a:lnTo>
                  <a:lnTo>
                    <a:pt x="208" y="754"/>
                  </a:lnTo>
                  <a:lnTo>
                    <a:pt x="208" y="752"/>
                  </a:lnTo>
                  <a:lnTo>
                    <a:pt x="207" y="752"/>
                  </a:lnTo>
                  <a:lnTo>
                    <a:pt x="207" y="751"/>
                  </a:lnTo>
                  <a:lnTo>
                    <a:pt x="205" y="752"/>
                  </a:lnTo>
                  <a:lnTo>
                    <a:pt x="205" y="751"/>
                  </a:lnTo>
                  <a:lnTo>
                    <a:pt x="204" y="749"/>
                  </a:lnTo>
                  <a:lnTo>
                    <a:pt x="204" y="748"/>
                  </a:lnTo>
                  <a:lnTo>
                    <a:pt x="205" y="748"/>
                  </a:lnTo>
                  <a:lnTo>
                    <a:pt x="207" y="746"/>
                  </a:lnTo>
                  <a:lnTo>
                    <a:pt x="202" y="746"/>
                  </a:lnTo>
                  <a:lnTo>
                    <a:pt x="204" y="745"/>
                  </a:lnTo>
                  <a:lnTo>
                    <a:pt x="207" y="745"/>
                  </a:lnTo>
                  <a:lnTo>
                    <a:pt x="210" y="742"/>
                  </a:lnTo>
                  <a:lnTo>
                    <a:pt x="211" y="742"/>
                  </a:lnTo>
                  <a:lnTo>
                    <a:pt x="211" y="740"/>
                  </a:lnTo>
                  <a:lnTo>
                    <a:pt x="205" y="743"/>
                  </a:lnTo>
                  <a:lnTo>
                    <a:pt x="204" y="743"/>
                  </a:lnTo>
                  <a:lnTo>
                    <a:pt x="205" y="740"/>
                  </a:lnTo>
                  <a:lnTo>
                    <a:pt x="207" y="740"/>
                  </a:lnTo>
                  <a:lnTo>
                    <a:pt x="208" y="737"/>
                  </a:lnTo>
                  <a:lnTo>
                    <a:pt x="211" y="737"/>
                  </a:lnTo>
                  <a:lnTo>
                    <a:pt x="213" y="736"/>
                  </a:lnTo>
                  <a:lnTo>
                    <a:pt x="214" y="733"/>
                  </a:lnTo>
                  <a:lnTo>
                    <a:pt x="220" y="733"/>
                  </a:lnTo>
                  <a:lnTo>
                    <a:pt x="222" y="731"/>
                  </a:lnTo>
                  <a:lnTo>
                    <a:pt x="225" y="730"/>
                  </a:lnTo>
                  <a:lnTo>
                    <a:pt x="226" y="728"/>
                  </a:lnTo>
                  <a:lnTo>
                    <a:pt x="229" y="728"/>
                  </a:lnTo>
                  <a:lnTo>
                    <a:pt x="229" y="727"/>
                  </a:lnTo>
                  <a:lnTo>
                    <a:pt x="228" y="727"/>
                  </a:lnTo>
                  <a:lnTo>
                    <a:pt x="226" y="728"/>
                  </a:lnTo>
                  <a:lnTo>
                    <a:pt x="225" y="728"/>
                  </a:lnTo>
                  <a:lnTo>
                    <a:pt x="225" y="730"/>
                  </a:lnTo>
                  <a:lnTo>
                    <a:pt x="223" y="730"/>
                  </a:lnTo>
                  <a:lnTo>
                    <a:pt x="220" y="731"/>
                  </a:lnTo>
                  <a:lnTo>
                    <a:pt x="217" y="730"/>
                  </a:lnTo>
                  <a:lnTo>
                    <a:pt x="216" y="730"/>
                  </a:lnTo>
                  <a:lnTo>
                    <a:pt x="216" y="731"/>
                  </a:lnTo>
                  <a:lnTo>
                    <a:pt x="202" y="731"/>
                  </a:lnTo>
                  <a:lnTo>
                    <a:pt x="201" y="730"/>
                  </a:lnTo>
                  <a:lnTo>
                    <a:pt x="202" y="728"/>
                  </a:lnTo>
                  <a:lnTo>
                    <a:pt x="202" y="724"/>
                  </a:lnTo>
                  <a:lnTo>
                    <a:pt x="205" y="721"/>
                  </a:lnTo>
                  <a:lnTo>
                    <a:pt x="205" y="719"/>
                  </a:lnTo>
                  <a:lnTo>
                    <a:pt x="207" y="718"/>
                  </a:lnTo>
                  <a:lnTo>
                    <a:pt x="210" y="718"/>
                  </a:lnTo>
                  <a:lnTo>
                    <a:pt x="210" y="716"/>
                  </a:lnTo>
                  <a:lnTo>
                    <a:pt x="211" y="716"/>
                  </a:lnTo>
                  <a:lnTo>
                    <a:pt x="210" y="715"/>
                  </a:lnTo>
                  <a:lnTo>
                    <a:pt x="210" y="716"/>
                  </a:lnTo>
                  <a:lnTo>
                    <a:pt x="205" y="716"/>
                  </a:lnTo>
                  <a:lnTo>
                    <a:pt x="205" y="718"/>
                  </a:lnTo>
                  <a:lnTo>
                    <a:pt x="204" y="719"/>
                  </a:lnTo>
                  <a:lnTo>
                    <a:pt x="202" y="719"/>
                  </a:lnTo>
                  <a:lnTo>
                    <a:pt x="201" y="718"/>
                  </a:lnTo>
                  <a:lnTo>
                    <a:pt x="201" y="710"/>
                  </a:lnTo>
                  <a:lnTo>
                    <a:pt x="202" y="709"/>
                  </a:lnTo>
                  <a:lnTo>
                    <a:pt x="202" y="707"/>
                  </a:lnTo>
                  <a:lnTo>
                    <a:pt x="205" y="704"/>
                  </a:lnTo>
                  <a:lnTo>
                    <a:pt x="207" y="704"/>
                  </a:lnTo>
                  <a:lnTo>
                    <a:pt x="207" y="706"/>
                  </a:lnTo>
                  <a:lnTo>
                    <a:pt x="210" y="706"/>
                  </a:lnTo>
                  <a:lnTo>
                    <a:pt x="211" y="707"/>
                  </a:lnTo>
                  <a:lnTo>
                    <a:pt x="213" y="704"/>
                  </a:lnTo>
                  <a:lnTo>
                    <a:pt x="214" y="704"/>
                  </a:lnTo>
                  <a:lnTo>
                    <a:pt x="216" y="703"/>
                  </a:lnTo>
                  <a:lnTo>
                    <a:pt x="217" y="704"/>
                  </a:lnTo>
                  <a:lnTo>
                    <a:pt x="219" y="704"/>
                  </a:lnTo>
                  <a:lnTo>
                    <a:pt x="219" y="701"/>
                  </a:lnTo>
                  <a:lnTo>
                    <a:pt x="217" y="703"/>
                  </a:lnTo>
                  <a:lnTo>
                    <a:pt x="216" y="701"/>
                  </a:lnTo>
                  <a:lnTo>
                    <a:pt x="214" y="701"/>
                  </a:lnTo>
                  <a:lnTo>
                    <a:pt x="214" y="703"/>
                  </a:lnTo>
                  <a:lnTo>
                    <a:pt x="210" y="703"/>
                  </a:lnTo>
                  <a:lnTo>
                    <a:pt x="207" y="701"/>
                  </a:lnTo>
                  <a:lnTo>
                    <a:pt x="202" y="701"/>
                  </a:lnTo>
                  <a:lnTo>
                    <a:pt x="199" y="704"/>
                  </a:lnTo>
                  <a:lnTo>
                    <a:pt x="198" y="704"/>
                  </a:lnTo>
                  <a:lnTo>
                    <a:pt x="198" y="703"/>
                  </a:lnTo>
                  <a:lnTo>
                    <a:pt x="195" y="703"/>
                  </a:lnTo>
                  <a:lnTo>
                    <a:pt x="195" y="700"/>
                  </a:lnTo>
                  <a:lnTo>
                    <a:pt x="196" y="698"/>
                  </a:lnTo>
                  <a:lnTo>
                    <a:pt x="195" y="697"/>
                  </a:lnTo>
                  <a:lnTo>
                    <a:pt x="195" y="698"/>
                  </a:lnTo>
                  <a:lnTo>
                    <a:pt x="193" y="698"/>
                  </a:lnTo>
                  <a:lnTo>
                    <a:pt x="193" y="700"/>
                  </a:lnTo>
                  <a:lnTo>
                    <a:pt x="192" y="701"/>
                  </a:lnTo>
                  <a:lnTo>
                    <a:pt x="192" y="703"/>
                  </a:lnTo>
                  <a:lnTo>
                    <a:pt x="190" y="703"/>
                  </a:lnTo>
                  <a:lnTo>
                    <a:pt x="189" y="701"/>
                  </a:lnTo>
                  <a:lnTo>
                    <a:pt x="189" y="700"/>
                  </a:lnTo>
                  <a:lnTo>
                    <a:pt x="187" y="700"/>
                  </a:lnTo>
                  <a:lnTo>
                    <a:pt x="186" y="701"/>
                  </a:lnTo>
                  <a:lnTo>
                    <a:pt x="184" y="701"/>
                  </a:lnTo>
                  <a:lnTo>
                    <a:pt x="184" y="703"/>
                  </a:lnTo>
                  <a:lnTo>
                    <a:pt x="187" y="703"/>
                  </a:lnTo>
                  <a:lnTo>
                    <a:pt x="189" y="704"/>
                  </a:lnTo>
                  <a:lnTo>
                    <a:pt x="192" y="704"/>
                  </a:lnTo>
                  <a:lnTo>
                    <a:pt x="192" y="712"/>
                  </a:lnTo>
                  <a:lnTo>
                    <a:pt x="190" y="712"/>
                  </a:lnTo>
                  <a:lnTo>
                    <a:pt x="190" y="713"/>
                  </a:lnTo>
                  <a:lnTo>
                    <a:pt x="189" y="715"/>
                  </a:lnTo>
                  <a:lnTo>
                    <a:pt x="187" y="715"/>
                  </a:lnTo>
                  <a:lnTo>
                    <a:pt x="187" y="716"/>
                  </a:lnTo>
                  <a:lnTo>
                    <a:pt x="184" y="716"/>
                  </a:lnTo>
                  <a:lnTo>
                    <a:pt x="183" y="715"/>
                  </a:lnTo>
                  <a:lnTo>
                    <a:pt x="181" y="715"/>
                  </a:lnTo>
                  <a:lnTo>
                    <a:pt x="183" y="716"/>
                  </a:lnTo>
                  <a:lnTo>
                    <a:pt x="181" y="716"/>
                  </a:lnTo>
                  <a:lnTo>
                    <a:pt x="181" y="718"/>
                  </a:lnTo>
                  <a:lnTo>
                    <a:pt x="178" y="718"/>
                  </a:lnTo>
                  <a:lnTo>
                    <a:pt x="181" y="719"/>
                  </a:lnTo>
                  <a:lnTo>
                    <a:pt x="184" y="719"/>
                  </a:lnTo>
                  <a:lnTo>
                    <a:pt x="184" y="724"/>
                  </a:lnTo>
                  <a:lnTo>
                    <a:pt x="181" y="721"/>
                  </a:lnTo>
                  <a:lnTo>
                    <a:pt x="180" y="721"/>
                  </a:lnTo>
                  <a:lnTo>
                    <a:pt x="180" y="722"/>
                  </a:lnTo>
                  <a:lnTo>
                    <a:pt x="181" y="722"/>
                  </a:lnTo>
                  <a:lnTo>
                    <a:pt x="181" y="724"/>
                  </a:lnTo>
                  <a:lnTo>
                    <a:pt x="180" y="724"/>
                  </a:lnTo>
                  <a:lnTo>
                    <a:pt x="177" y="722"/>
                  </a:lnTo>
                  <a:lnTo>
                    <a:pt x="177" y="725"/>
                  </a:lnTo>
                  <a:lnTo>
                    <a:pt x="178" y="725"/>
                  </a:lnTo>
                  <a:lnTo>
                    <a:pt x="178" y="727"/>
                  </a:lnTo>
                  <a:lnTo>
                    <a:pt x="180" y="725"/>
                  </a:lnTo>
                  <a:lnTo>
                    <a:pt x="181" y="725"/>
                  </a:lnTo>
                  <a:lnTo>
                    <a:pt x="181" y="727"/>
                  </a:lnTo>
                  <a:lnTo>
                    <a:pt x="183" y="727"/>
                  </a:lnTo>
                  <a:lnTo>
                    <a:pt x="184" y="725"/>
                  </a:lnTo>
                  <a:lnTo>
                    <a:pt x="184" y="727"/>
                  </a:lnTo>
                  <a:lnTo>
                    <a:pt x="186" y="727"/>
                  </a:lnTo>
                  <a:lnTo>
                    <a:pt x="186" y="728"/>
                  </a:lnTo>
                  <a:lnTo>
                    <a:pt x="187" y="730"/>
                  </a:lnTo>
                  <a:lnTo>
                    <a:pt x="189" y="730"/>
                  </a:lnTo>
                  <a:lnTo>
                    <a:pt x="189" y="731"/>
                  </a:lnTo>
                  <a:lnTo>
                    <a:pt x="190" y="731"/>
                  </a:lnTo>
                  <a:lnTo>
                    <a:pt x="190" y="736"/>
                  </a:lnTo>
                  <a:lnTo>
                    <a:pt x="189" y="740"/>
                  </a:lnTo>
                  <a:lnTo>
                    <a:pt x="187" y="743"/>
                  </a:lnTo>
                  <a:lnTo>
                    <a:pt x="184" y="745"/>
                  </a:lnTo>
                  <a:lnTo>
                    <a:pt x="184" y="746"/>
                  </a:lnTo>
                  <a:lnTo>
                    <a:pt x="183" y="749"/>
                  </a:lnTo>
                  <a:lnTo>
                    <a:pt x="181" y="751"/>
                  </a:lnTo>
                  <a:lnTo>
                    <a:pt x="181" y="755"/>
                  </a:lnTo>
                  <a:lnTo>
                    <a:pt x="180" y="755"/>
                  </a:lnTo>
                  <a:lnTo>
                    <a:pt x="180" y="757"/>
                  </a:lnTo>
                  <a:lnTo>
                    <a:pt x="177" y="758"/>
                  </a:lnTo>
                  <a:lnTo>
                    <a:pt x="174" y="758"/>
                  </a:lnTo>
                  <a:lnTo>
                    <a:pt x="168" y="761"/>
                  </a:lnTo>
                  <a:lnTo>
                    <a:pt x="168" y="762"/>
                  </a:lnTo>
                  <a:lnTo>
                    <a:pt x="163" y="762"/>
                  </a:lnTo>
                  <a:lnTo>
                    <a:pt x="162" y="764"/>
                  </a:lnTo>
                  <a:lnTo>
                    <a:pt x="160" y="764"/>
                  </a:lnTo>
                  <a:lnTo>
                    <a:pt x="157" y="767"/>
                  </a:lnTo>
                  <a:lnTo>
                    <a:pt x="156" y="767"/>
                  </a:lnTo>
                  <a:lnTo>
                    <a:pt x="157" y="765"/>
                  </a:lnTo>
                  <a:lnTo>
                    <a:pt x="156" y="765"/>
                  </a:lnTo>
                  <a:lnTo>
                    <a:pt x="153" y="768"/>
                  </a:lnTo>
                  <a:lnTo>
                    <a:pt x="153" y="770"/>
                  </a:lnTo>
                  <a:lnTo>
                    <a:pt x="148" y="771"/>
                  </a:lnTo>
                  <a:lnTo>
                    <a:pt x="145" y="771"/>
                  </a:lnTo>
                  <a:lnTo>
                    <a:pt x="138" y="776"/>
                  </a:lnTo>
                  <a:lnTo>
                    <a:pt x="135" y="776"/>
                  </a:lnTo>
                  <a:lnTo>
                    <a:pt x="133" y="777"/>
                  </a:lnTo>
                  <a:lnTo>
                    <a:pt x="132" y="776"/>
                  </a:lnTo>
                  <a:lnTo>
                    <a:pt x="132" y="777"/>
                  </a:lnTo>
                  <a:lnTo>
                    <a:pt x="131" y="777"/>
                  </a:lnTo>
                  <a:lnTo>
                    <a:pt x="131" y="779"/>
                  </a:lnTo>
                  <a:lnTo>
                    <a:pt x="122" y="779"/>
                  </a:lnTo>
                  <a:lnTo>
                    <a:pt x="122" y="777"/>
                  </a:lnTo>
                  <a:lnTo>
                    <a:pt x="119" y="777"/>
                  </a:lnTo>
                  <a:lnTo>
                    <a:pt x="117" y="776"/>
                  </a:lnTo>
                  <a:lnTo>
                    <a:pt x="110" y="773"/>
                  </a:lnTo>
                  <a:lnTo>
                    <a:pt x="108" y="771"/>
                  </a:lnTo>
                  <a:lnTo>
                    <a:pt x="107" y="771"/>
                  </a:lnTo>
                  <a:lnTo>
                    <a:pt x="104" y="768"/>
                  </a:lnTo>
                  <a:lnTo>
                    <a:pt x="101" y="768"/>
                  </a:lnTo>
                  <a:lnTo>
                    <a:pt x="98" y="765"/>
                  </a:lnTo>
                  <a:lnTo>
                    <a:pt x="92" y="761"/>
                  </a:lnTo>
                  <a:lnTo>
                    <a:pt x="89" y="757"/>
                  </a:lnTo>
                  <a:lnTo>
                    <a:pt x="81" y="749"/>
                  </a:lnTo>
                  <a:lnTo>
                    <a:pt x="78" y="745"/>
                  </a:lnTo>
                  <a:lnTo>
                    <a:pt x="77" y="743"/>
                  </a:lnTo>
                  <a:lnTo>
                    <a:pt x="77" y="742"/>
                  </a:lnTo>
                  <a:lnTo>
                    <a:pt x="75" y="742"/>
                  </a:lnTo>
                  <a:lnTo>
                    <a:pt x="75" y="740"/>
                  </a:lnTo>
                  <a:lnTo>
                    <a:pt x="74" y="740"/>
                  </a:lnTo>
                  <a:lnTo>
                    <a:pt x="63" y="730"/>
                  </a:lnTo>
                  <a:lnTo>
                    <a:pt x="62" y="730"/>
                  </a:lnTo>
                  <a:lnTo>
                    <a:pt x="62" y="727"/>
                  </a:lnTo>
                  <a:lnTo>
                    <a:pt x="59" y="727"/>
                  </a:lnTo>
                  <a:lnTo>
                    <a:pt x="57" y="724"/>
                  </a:lnTo>
                  <a:lnTo>
                    <a:pt x="57" y="721"/>
                  </a:lnTo>
                  <a:lnTo>
                    <a:pt x="56" y="722"/>
                  </a:lnTo>
                  <a:lnTo>
                    <a:pt x="54" y="722"/>
                  </a:lnTo>
                  <a:lnTo>
                    <a:pt x="51" y="718"/>
                  </a:lnTo>
                  <a:lnTo>
                    <a:pt x="50" y="716"/>
                  </a:lnTo>
                  <a:lnTo>
                    <a:pt x="48" y="716"/>
                  </a:lnTo>
                  <a:lnTo>
                    <a:pt x="47" y="713"/>
                  </a:lnTo>
                  <a:lnTo>
                    <a:pt x="45" y="712"/>
                  </a:lnTo>
                  <a:lnTo>
                    <a:pt x="44" y="712"/>
                  </a:lnTo>
                  <a:lnTo>
                    <a:pt x="44" y="710"/>
                  </a:lnTo>
                  <a:lnTo>
                    <a:pt x="42" y="707"/>
                  </a:lnTo>
                  <a:lnTo>
                    <a:pt x="39" y="706"/>
                  </a:lnTo>
                  <a:lnTo>
                    <a:pt x="38" y="704"/>
                  </a:lnTo>
                  <a:lnTo>
                    <a:pt x="38" y="701"/>
                  </a:lnTo>
                  <a:lnTo>
                    <a:pt x="36" y="701"/>
                  </a:lnTo>
                  <a:lnTo>
                    <a:pt x="36" y="700"/>
                  </a:lnTo>
                  <a:lnTo>
                    <a:pt x="38" y="698"/>
                  </a:lnTo>
                  <a:lnTo>
                    <a:pt x="38" y="695"/>
                  </a:lnTo>
                  <a:lnTo>
                    <a:pt x="39" y="695"/>
                  </a:lnTo>
                  <a:lnTo>
                    <a:pt x="39" y="694"/>
                  </a:lnTo>
                  <a:lnTo>
                    <a:pt x="42" y="692"/>
                  </a:lnTo>
                  <a:lnTo>
                    <a:pt x="42" y="691"/>
                  </a:lnTo>
                  <a:lnTo>
                    <a:pt x="44" y="692"/>
                  </a:lnTo>
                  <a:lnTo>
                    <a:pt x="42" y="694"/>
                  </a:lnTo>
                  <a:lnTo>
                    <a:pt x="42" y="695"/>
                  </a:lnTo>
                  <a:lnTo>
                    <a:pt x="47" y="695"/>
                  </a:lnTo>
                  <a:lnTo>
                    <a:pt x="47" y="694"/>
                  </a:lnTo>
                  <a:lnTo>
                    <a:pt x="48" y="694"/>
                  </a:lnTo>
                  <a:lnTo>
                    <a:pt x="48" y="698"/>
                  </a:lnTo>
                  <a:lnTo>
                    <a:pt x="47" y="700"/>
                  </a:lnTo>
                  <a:lnTo>
                    <a:pt x="48" y="701"/>
                  </a:lnTo>
                  <a:lnTo>
                    <a:pt x="53" y="701"/>
                  </a:lnTo>
                  <a:lnTo>
                    <a:pt x="54" y="700"/>
                  </a:lnTo>
                  <a:lnTo>
                    <a:pt x="56" y="700"/>
                  </a:lnTo>
                  <a:lnTo>
                    <a:pt x="59" y="698"/>
                  </a:lnTo>
                  <a:lnTo>
                    <a:pt x="62" y="698"/>
                  </a:lnTo>
                  <a:lnTo>
                    <a:pt x="62" y="697"/>
                  </a:lnTo>
                  <a:lnTo>
                    <a:pt x="63" y="697"/>
                  </a:lnTo>
                  <a:lnTo>
                    <a:pt x="63" y="694"/>
                  </a:lnTo>
                  <a:lnTo>
                    <a:pt x="65" y="692"/>
                  </a:lnTo>
                  <a:lnTo>
                    <a:pt x="65" y="697"/>
                  </a:lnTo>
                  <a:lnTo>
                    <a:pt x="69" y="697"/>
                  </a:lnTo>
                  <a:lnTo>
                    <a:pt x="69" y="695"/>
                  </a:lnTo>
                  <a:lnTo>
                    <a:pt x="72" y="695"/>
                  </a:lnTo>
                  <a:lnTo>
                    <a:pt x="72" y="692"/>
                  </a:lnTo>
                  <a:lnTo>
                    <a:pt x="74" y="692"/>
                  </a:lnTo>
                  <a:lnTo>
                    <a:pt x="75" y="694"/>
                  </a:lnTo>
                  <a:lnTo>
                    <a:pt x="75" y="695"/>
                  </a:lnTo>
                  <a:lnTo>
                    <a:pt x="77" y="694"/>
                  </a:lnTo>
                  <a:lnTo>
                    <a:pt x="77" y="692"/>
                  </a:lnTo>
                  <a:lnTo>
                    <a:pt x="80" y="692"/>
                  </a:lnTo>
                  <a:lnTo>
                    <a:pt x="81" y="691"/>
                  </a:lnTo>
                  <a:lnTo>
                    <a:pt x="84" y="689"/>
                  </a:lnTo>
                  <a:lnTo>
                    <a:pt x="86" y="689"/>
                  </a:lnTo>
                  <a:lnTo>
                    <a:pt x="86" y="688"/>
                  </a:lnTo>
                  <a:lnTo>
                    <a:pt x="93" y="688"/>
                  </a:lnTo>
                  <a:lnTo>
                    <a:pt x="95" y="686"/>
                  </a:lnTo>
                  <a:lnTo>
                    <a:pt x="95" y="685"/>
                  </a:lnTo>
                  <a:lnTo>
                    <a:pt x="96" y="683"/>
                  </a:lnTo>
                  <a:lnTo>
                    <a:pt x="98" y="680"/>
                  </a:lnTo>
                  <a:lnTo>
                    <a:pt x="101" y="677"/>
                  </a:lnTo>
                  <a:lnTo>
                    <a:pt x="101" y="674"/>
                  </a:lnTo>
                  <a:lnTo>
                    <a:pt x="102" y="671"/>
                  </a:lnTo>
                  <a:lnTo>
                    <a:pt x="107" y="667"/>
                  </a:lnTo>
                  <a:lnTo>
                    <a:pt x="107" y="668"/>
                  </a:lnTo>
                  <a:lnTo>
                    <a:pt x="108" y="668"/>
                  </a:lnTo>
                  <a:lnTo>
                    <a:pt x="108" y="665"/>
                  </a:lnTo>
                  <a:lnTo>
                    <a:pt x="110" y="665"/>
                  </a:lnTo>
                  <a:lnTo>
                    <a:pt x="110" y="661"/>
                  </a:lnTo>
                  <a:lnTo>
                    <a:pt x="108" y="661"/>
                  </a:lnTo>
                  <a:lnTo>
                    <a:pt x="108" y="659"/>
                  </a:lnTo>
                  <a:lnTo>
                    <a:pt x="107" y="659"/>
                  </a:lnTo>
                  <a:lnTo>
                    <a:pt x="107" y="661"/>
                  </a:lnTo>
                  <a:lnTo>
                    <a:pt x="104" y="661"/>
                  </a:lnTo>
                  <a:lnTo>
                    <a:pt x="104" y="668"/>
                  </a:lnTo>
                  <a:lnTo>
                    <a:pt x="102" y="668"/>
                  </a:lnTo>
                  <a:lnTo>
                    <a:pt x="102" y="670"/>
                  </a:lnTo>
                  <a:lnTo>
                    <a:pt x="101" y="670"/>
                  </a:lnTo>
                  <a:lnTo>
                    <a:pt x="101" y="668"/>
                  </a:lnTo>
                  <a:lnTo>
                    <a:pt x="98" y="668"/>
                  </a:lnTo>
                  <a:lnTo>
                    <a:pt x="98" y="667"/>
                  </a:lnTo>
                  <a:lnTo>
                    <a:pt x="96" y="667"/>
                  </a:lnTo>
                  <a:lnTo>
                    <a:pt x="96" y="668"/>
                  </a:lnTo>
                  <a:lnTo>
                    <a:pt x="92" y="668"/>
                  </a:lnTo>
                  <a:lnTo>
                    <a:pt x="92" y="667"/>
                  </a:lnTo>
                  <a:lnTo>
                    <a:pt x="90" y="668"/>
                  </a:lnTo>
                  <a:lnTo>
                    <a:pt x="92" y="668"/>
                  </a:lnTo>
                  <a:lnTo>
                    <a:pt x="92" y="670"/>
                  </a:lnTo>
                  <a:lnTo>
                    <a:pt x="89" y="670"/>
                  </a:lnTo>
                  <a:lnTo>
                    <a:pt x="86" y="671"/>
                  </a:lnTo>
                  <a:lnTo>
                    <a:pt x="83" y="671"/>
                  </a:lnTo>
                  <a:lnTo>
                    <a:pt x="80" y="673"/>
                  </a:lnTo>
                  <a:lnTo>
                    <a:pt x="77" y="673"/>
                  </a:lnTo>
                  <a:lnTo>
                    <a:pt x="72" y="677"/>
                  </a:lnTo>
                  <a:lnTo>
                    <a:pt x="72" y="679"/>
                  </a:lnTo>
                  <a:lnTo>
                    <a:pt x="71" y="679"/>
                  </a:lnTo>
                  <a:lnTo>
                    <a:pt x="69" y="677"/>
                  </a:lnTo>
                  <a:lnTo>
                    <a:pt x="62" y="677"/>
                  </a:lnTo>
                  <a:lnTo>
                    <a:pt x="62" y="676"/>
                  </a:lnTo>
                  <a:lnTo>
                    <a:pt x="59" y="676"/>
                  </a:lnTo>
                  <a:lnTo>
                    <a:pt x="57" y="674"/>
                  </a:lnTo>
                  <a:lnTo>
                    <a:pt x="50" y="674"/>
                  </a:lnTo>
                  <a:lnTo>
                    <a:pt x="48" y="673"/>
                  </a:lnTo>
                  <a:lnTo>
                    <a:pt x="45" y="671"/>
                  </a:lnTo>
                  <a:lnTo>
                    <a:pt x="41" y="668"/>
                  </a:lnTo>
                  <a:lnTo>
                    <a:pt x="33" y="665"/>
                  </a:lnTo>
                  <a:lnTo>
                    <a:pt x="26" y="659"/>
                  </a:lnTo>
                  <a:lnTo>
                    <a:pt x="24" y="658"/>
                  </a:lnTo>
                  <a:lnTo>
                    <a:pt x="23" y="658"/>
                  </a:lnTo>
                  <a:lnTo>
                    <a:pt x="23" y="656"/>
                  </a:lnTo>
                  <a:lnTo>
                    <a:pt x="21" y="656"/>
                  </a:lnTo>
                  <a:lnTo>
                    <a:pt x="21" y="653"/>
                  </a:lnTo>
                  <a:lnTo>
                    <a:pt x="23" y="653"/>
                  </a:lnTo>
                  <a:lnTo>
                    <a:pt x="23" y="652"/>
                  </a:lnTo>
                  <a:lnTo>
                    <a:pt x="21" y="653"/>
                  </a:lnTo>
                  <a:lnTo>
                    <a:pt x="18" y="653"/>
                  </a:lnTo>
                  <a:lnTo>
                    <a:pt x="18" y="652"/>
                  </a:lnTo>
                  <a:lnTo>
                    <a:pt x="20" y="650"/>
                  </a:lnTo>
                  <a:lnTo>
                    <a:pt x="21" y="650"/>
                  </a:lnTo>
                  <a:lnTo>
                    <a:pt x="21" y="649"/>
                  </a:lnTo>
                  <a:lnTo>
                    <a:pt x="20" y="649"/>
                  </a:lnTo>
                  <a:lnTo>
                    <a:pt x="20" y="647"/>
                  </a:lnTo>
                  <a:lnTo>
                    <a:pt x="17" y="647"/>
                  </a:lnTo>
                  <a:lnTo>
                    <a:pt x="17" y="646"/>
                  </a:lnTo>
                  <a:lnTo>
                    <a:pt x="18" y="646"/>
                  </a:lnTo>
                  <a:lnTo>
                    <a:pt x="18" y="644"/>
                  </a:lnTo>
                  <a:lnTo>
                    <a:pt x="17" y="644"/>
                  </a:lnTo>
                  <a:lnTo>
                    <a:pt x="15" y="646"/>
                  </a:lnTo>
                  <a:lnTo>
                    <a:pt x="14" y="644"/>
                  </a:lnTo>
                  <a:lnTo>
                    <a:pt x="12" y="644"/>
                  </a:lnTo>
                  <a:lnTo>
                    <a:pt x="14" y="643"/>
                  </a:lnTo>
                  <a:lnTo>
                    <a:pt x="14" y="641"/>
                  </a:lnTo>
                  <a:lnTo>
                    <a:pt x="15" y="641"/>
                  </a:lnTo>
                  <a:lnTo>
                    <a:pt x="15" y="640"/>
                  </a:lnTo>
                  <a:lnTo>
                    <a:pt x="14" y="640"/>
                  </a:lnTo>
                  <a:lnTo>
                    <a:pt x="14" y="641"/>
                  </a:lnTo>
                  <a:lnTo>
                    <a:pt x="12" y="641"/>
                  </a:lnTo>
                  <a:lnTo>
                    <a:pt x="12" y="635"/>
                  </a:lnTo>
                  <a:lnTo>
                    <a:pt x="14" y="634"/>
                  </a:lnTo>
                  <a:lnTo>
                    <a:pt x="15" y="635"/>
                  </a:lnTo>
                  <a:lnTo>
                    <a:pt x="17" y="634"/>
                  </a:lnTo>
                  <a:lnTo>
                    <a:pt x="15" y="634"/>
                  </a:lnTo>
                  <a:lnTo>
                    <a:pt x="15" y="632"/>
                  </a:lnTo>
                  <a:lnTo>
                    <a:pt x="18" y="632"/>
                  </a:lnTo>
                  <a:lnTo>
                    <a:pt x="18" y="631"/>
                  </a:lnTo>
                  <a:lnTo>
                    <a:pt x="21" y="628"/>
                  </a:lnTo>
                  <a:lnTo>
                    <a:pt x="23" y="628"/>
                  </a:lnTo>
                  <a:lnTo>
                    <a:pt x="23" y="626"/>
                  </a:lnTo>
                  <a:lnTo>
                    <a:pt x="24" y="625"/>
                  </a:lnTo>
                  <a:lnTo>
                    <a:pt x="23" y="625"/>
                  </a:lnTo>
                  <a:lnTo>
                    <a:pt x="20" y="628"/>
                  </a:lnTo>
                  <a:lnTo>
                    <a:pt x="17" y="628"/>
                  </a:lnTo>
                  <a:lnTo>
                    <a:pt x="17" y="629"/>
                  </a:lnTo>
                  <a:lnTo>
                    <a:pt x="14" y="629"/>
                  </a:lnTo>
                  <a:lnTo>
                    <a:pt x="14" y="631"/>
                  </a:lnTo>
                  <a:lnTo>
                    <a:pt x="12" y="631"/>
                  </a:lnTo>
                  <a:lnTo>
                    <a:pt x="9" y="635"/>
                  </a:lnTo>
                  <a:lnTo>
                    <a:pt x="9" y="637"/>
                  </a:lnTo>
                  <a:lnTo>
                    <a:pt x="2" y="637"/>
                  </a:lnTo>
                  <a:lnTo>
                    <a:pt x="0" y="635"/>
                  </a:lnTo>
                  <a:lnTo>
                    <a:pt x="0" y="634"/>
                  </a:lnTo>
                  <a:lnTo>
                    <a:pt x="2" y="634"/>
                  </a:lnTo>
                  <a:lnTo>
                    <a:pt x="2" y="632"/>
                  </a:lnTo>
                  <a:lnTo>
                    <a:pt x="3" y="632"/>
                  </a:lnTo>
                  <a:lnTo>
                    <a:pt x="5" y="634"/>
                  </a:lnTo>
                  <a:lnTo>
                    <a:pt x="5" y="632"/>
                  </a:lnTo>
                  <a:lnTo>
                    <a:pt x="3" y="632"/>
                  </a:lnTo>
                  <a:lnTo>
                    <a:pt x="3" y="631"/>
                  </a:lnTo>
                  <a:lnTo>
                    <a:pt x="2" y="631"/>
                  </a:lnTo>
                  <a:lnTo>
                    <a:pt x="2" y="628"/>
                  </a:lnTo>
                  <a:lnTo>
                    <a:pt x="0" y="628"/>
                  </a:lnTo>
                  <a:lnTo>
                    <a:pt x="2" y="626"/>
                  </a:lnTo>
                  <a:lnTo>
                    <a:pt x="2" y="623"/>
                  </a:lnTo>
                  <a:lnTo>
                    <a:pt x="3" y="622"/>
                  </a:lnTo>
                  <a:lnTo>
                    <a:pt x="5" y="622"/>
                  </a:lnTo>
                  <a:lnTo>
                    <a:pt x="5" y="619"/>
                  </a:lnTo>
                  <a:lnTo>
                    <a:pt x="6" y="619"/>
                  </a:lnTo>
                  <a:lnTo>
                    <a:pt x="6" y="620"/>
                  </a:lnTo>
                  <a:lnTo>
                    <a:pt x="8" y="620"/>
                  </a:lnTo>
                  <a:lnTo>
                    <a:pt x="8" y="619"/>
                  </a:lnTo>
                  <a:lnTo>
                    <a:pt x="9" y="619"/>
                  </a:lnTo>
                  <a:lnTo>
                    <a:pt x="11" y="617"/>
                  </a:lnTo>
                  <a:lnTo>
                    <a:pt x="27" y="617"/>
                  </a:lnTo>
                  <a:lnTo>
                    <a:pt x="27" y="599"/>
                  </a:lnTo>
                  <a:lnTo>
                    <a:pt x="30" y="599"/>
                  </a:lnTo>
                  <a:lnTo>
                    <a:pt x="30" y="601"/>
                  </a:lnTo>
                  <a:lnTo>
                    <a:pt x="32" y="604"/>
                  </a:lnTo>
                  <a:lnTo>
                    <a:pt x="33" y="601"/>
                  </a:lnTo>
                  <a:lnTo>
                    <a:pt x="35" y="601"/>
                  </a:lnTo>
                  <a:lnTo>
                    <a:pt x="35" y="599"/>
                  </a:lnTo>
                  <a:lnTo>
                    <a:pt x="38" y="602"/>
                  </a:lnTo>
                  <a:lnTo>
                    <a:pt x="38" y="604"/>
                  </a:lnTo>
                  <a:lnTo>
                    <a:pt x="39" y="602"/>
                  </a:lnTo>
                  <a:lnTo>
                    <a:pt x="42" y="602"/>
                  </a:lnTo>
                  <a:lnTo>
                    <a:pt x="42" y="601"/>
                  </a:lnTo>
                  <a:lnTo>
                    <a:pt x="44" y="602"/>
                  </a:lnTo>
                  <a:lnTo>
                    <a:pt x="47" y="602"/>
                  </a:lnTo>
                  <a:lnTo>
                    <a:pt x="47" y="604"/>
                  </a:lnTo>
                  <a:lnTo>
                    <a:pt x="48" y="602"/>
                  </a:lnTo>
                  <a:lnTo>
                    <a:pt x="66" y="602"/>
                  </a:lnTo>
                  <a:lnTo>
                    <a:pt x="71" y="607"/>
                  </a:lnTo>
                  <a:lnTo>
                    <a:pt x="72" y="607"/>
                  </a:lnTo>
                  <a:lnTo>
                    <a:pt x="75" y="608"/>
                  </a:lnTo>
                  <a:lnTo>
                    <a:pt x="84" y="608"/>
                  </a:lnTo>
                  <a:lnTo>
                    <a:pt x="87" y="605"/>
                  </a:lnTo>
                  <a:lnTo>
                    <a:pt x="89" y="605"/>
                  </a:lnTo>
                  <a:lnTo>
                    <a:pt x="89" y="602"/>
                  </a:lnTo>
                  <a:lnTo>
                    <a:pt x="90" y="601"/>
                  </a:lnTo>
                  <a:lnTo>
                    <a:pt x="92" y="601"/>
                  </a:lnTo>
                  <a:lnTo>
                    <a:pt x="95" y="599"/>
                  </a:lnTo>
                  <a:lnTo>
                    <a:pt x="96" y="599"/>
                  </a:lnTo>
                  <a:lnTo>
                    <a:pt x="98" y="598"/>
                  </a:lnTo>
                  <a:lnTo>
                    <a:pt x="102" y="598"/>
                  </a:lnTo>
                  <a:lnTo>
                    <a:pt x="105" y="596"/>
                  </a:lnTo>
                  <a:lnTo>
                    <a:pt x="110" y="595"/>
                  </a:lnTo>
                  <a:lnTo>
                    <a:pt x="111" y="595"/>
                  </a:lnTo>
                  <a:lnTo>
                    <a:pt x="111" y="602"/>
                  </a:lnTo>
                  <a:lnTo>
                    <a:pt x="113" y="602"/>
                  </a:lnTo>
                  <a:lnTo>
                    <a:pt x="114" y="604"/>
                  </a:lnTo>
                  <a:lnTo>
                    <a:pt x="123" y="604"/>
                  </a:lnTo>
                  <a:lnTo>
                    <a:pt x="123" y="602"/>
                  </a:lnTo>
                  <a:lnTo>
                    <a:pt x="125" y="602"/>
                  </a:lnTo>
                  <a:lnTo>
                    <a:pt x="125" y="599"/>
                  </a:lnTo>
                  <a:lnTo>
                    <a:pt x="128" y="598"/>
                  </a:lnTo>
                  <a:lnTo>
                    <a:pt x="132" y="598"/>
                  </a:lnTo>
                  <a:lnTo>
                    <a:pt x="132" y="596"/>
                  </a:lnTo>
                  <a:lnTo>
                    <a:pt x="135" y="596"/>
                  </a:lnTo>
                  <a:lnTo>
                    <a:pt x="135" y="593"/>
                  </a:lnTo>
                  <a:lnTo>
                    <a:pt x="131" y="593"/>
                  </a:lnTo>
                  <a:lnTo>
                    <a:pt x="131" y="589"/>
                  </a:lnTo>
                  <a:lnTo>
                    <a:pt x="129" y="587"/>
                  </a:lnTo>
                  <a:lnTo>
                    <a:pt x="129" y="584"/>
                  </a:lnTo>
                  <a:lnTo>
                    <a:pt x="131" y="584"/>
                  </a:lnTo>
                  <a:lnTo>
                    <a:pt x="133" y="583"/>
                  </a:lnTo>
                  <a:lnTo>
                    <a:pt x="133" y="580"/>
                  </a:lnTo>
                  <a:lnTo>
                    <a:pt x="132" y="575"/>
                  </a:lnTo>
                  <a:lnTo>
                    <a:pt x="129" y="571"/>
                  </a:lnTo>
                  <a:lnTo>
                    <a:pt x="126" y="565"/>
                  </a:lnTo>
                  <a:lnTo>
                    <a:pt x="125" y="559"/>
                  </a:lnTo>
                  <a:lnTo>
                    <a:pt x="125" y="557"/>
                  </a:lnTo>
                  <a:lnTo>
                    <a:pt x="123" y="556"/>
                  </a:lnTo>
                  <a:lnTo>
                    <a:pt x="120" y="554"/>
                  </a:lnTo>
                  <a:lnTo>
                    <a:pt x="119" y="553"/>
                  </a:lnTo>
                  <a:lnTo>
                    <a:pt x="119" y="548"/>
                  </a:lnTo>
                  <a:lnTo>
                    <a:pt x="116" y="547"/>
                  </a:lnTo>
                  <a:lnTo>
                    <a:pt x="116" y="532"/>
                  </a:lnTo>
                  <a:lnTo>
                    <a:pt x="114" y="530"/>
                  </a:lnTo>
                  <a:lnTo>
                    <a:pt x="110" y="530"/>
                  </a:lnTo>
                  <a:lnTo>
                    <a:pt x="107" y="532"/>
                  </a:lnTo>
                  <a:lnTo>
                    <a:pt x="102" y="532"/>
                  </a:lnTo>
                  <a:lnTo>
                    <a:pt x="99" y="530"/>
                  </a:lnTo>
                  <a:lnTo>
                    <a:pt x="96" y="530"/>
                  </a:lnTo>
                  <a:lnTo>
                    <a:pt x="96" y="529"/>
                  </a:lnTo>
                  <a:lnTo>
                    <a:pt x="95" y="526"/>
                  </a:lnTo>
                  <a:lnTo>
                    <a:pt x="95" y="524"/>
                  </a:lnTo>
                  <a:lnTo>
                    <a:pt x="92" y="523"/>
                  </a:lnTo>
                  <a:lnTo>
                    <a:pt x="90" y="521"/>
                  </a:lnTo>
                  <a:lnTo>
                    <a:pt x="89" y="518"/>
                  </a:lnTo>
                  <a:lnTo>
                    <a:pt x="89" y="509"/>
                  </a:lnTo>
                  <a:lnTo>
                    <a:pt x="92" y="506"/>
                  </a:lnTo>
                  <a:lnTo>
                    <a:pt x="92" y="498"/>
                  </a:lnTo>
                  <a:lnTo>
                    <a:pt x="93" y="498"/>
                  </a:lnTo>
                  <a:lnTo>
                    <a:pt x="93" y="489"/>
                  </a:lnTo>
                  <a:lnTo>
                    <a:pt x="90" y="486"/>
                  </a:lnTo>
                  <a:lnTo>
                    <a:pt x="77" y="486"/>
                  </a:lnTo>
                  <a:lnTo>
                    <a:pt x="72" y="481"/>
                  </a:lnTo>
                  <a:lnTo>
                    <a:pt x="69" y="481"/>
                  </a:lnTo>
                  <a:lnTo>
                    <a:pt x="63" y="478"/>
                  </a:lnTo>
                  <a:lnTo>
                    <a:pt x="62" y="477"/>
                  </a:lnTo>
                  <a:lnTo>
                    <a:pt x="60" y="474"/>
                  </a:lnTo>
                  <a:lnTo>
                    <a:pt x="63" y="462"/>
                  </a:lnTo>
                  <a:lnTo>
                    <a:pt x="63" y="457"/>
                  </a:lnTo>
                  <a:lnTo>
                    <a:pt x="72" y="448"/>
                  </a:lnTo>
                  <a:lnTo>
                    <a:pt x="78" y="444"/>
                  </a:lnTo>
                  <a:lnTo>
                    <a:pt x="81" y="439"/>
                  </a:lnTo>
                  <a:lnTo>
                    <a:pt x="86" y="435"/>
                  </a:lnTo>
                  <a:lnTo>
                    <a:pt x="86" y="433"/>
                  </a:lnTo>
                  <a:lnTo>
                    <a:pt x="90" y="423"/>
                  </a:lnTo>
                  <a:lnTo>
                    <a:pt x="101" y="412"/>
                  </a:lnTo>
                  <a:lnTo>
                    <a:pt x="102" y="412"/>
                  </a:lnTo>
                  <a:lnTo>
                    <a:pt x="104" y="411"/>
                  </a:lnTo>
                  <a:lnTo>
                    <a:pt x="108" y="411"/>
                  </a:lnTo>
                  <a:lnTo>
                    <a:pt x="110" y="412"/>
                  </a:lnTo>
                  <a:lnTo>
                    <a:pt x="111" y="412"/>
                  </a:lnTo>
                  <a:lnTo>
                    <a:pt x="114" y="415"/>
                  </a:lnTo>
                  <a:lnTo>
                    <a:pt x="114" y="420"/>
                  </a:lnTo>
                  <a:lnTo>
                    <a:pt x="116" y="423"/>
                  </a:lnTo>
                  <a:lnTo>
                    <a:pt x="120" y="427"/>
                  </a:lnTo>
                  <a:lnTo>
                    <a:pt x="123" y="429"/>
                  </a:lnTo>
                  <a:lnTo>
                    <a:pt x="128" y="427"/>
                  </a:lnTo>
                  <a:lnTo>
                    <a:pt x="132" y="424"/>
                  </a:lnTo>
                  <a:lnTo>
                    <a:pt x="138" y="421"/>
                  </a:lnTo>
                  <a:lnTo>
                    <a:pt x="141" y="421"/>
                  </a:lnTo>
                  <a:lnTo>
                    <a:pt x="145" y="420"/>
                  </a:lnTo>
                  <a:lnTo>
                    <a:pt x="157" y="420"/>
                  </a:lnTo>
                  <a:lnTo>
                    <a:pt x="163" y="417"/>
                  </a:lnTo>
                  <a:lnTo>
                    <a:pt x="171" y="415"/>
                  </a:lnTo>
                  <a:lnTo>
                    <a:pt x="171" y="414"/>
                  </a:lnTo>
                  <a:lnTo>
                    <a:pt x="172" y="408"/>
                  </a:lnTo>
                  <a:lnTo>
                    <a:pt x="172" y="406"/>
                  </a:lnTo>
                  <a:lnTo>
                    <a:pt x="177" y="400"/>
                  </a:lnTo>
                  <a:lnTo>
                    <a:pt x="183" y="396"/>
                  </a:lnTo>
                  <a:lnTo>
                    <a:pt x="184" y="394"/>
                  </a:lnTo>
                  <a:lnTo>
                    <a:pt x="186" y="391"/>
                  </a:lnTo>
                  <a:lnTo>
                    <a:pt x="186" y="390"/>
                  </a:lnTo>
                  <a:lnTo>
                    <a:pt x="189" y="379"/>
                  </a:lnTo>
                  <a:lnTo>
                    <a:pt x="190" y="376"/>
                  </a:lnTo>
                  <a:lnTo>
                    <a:pt x="195" y="372"/>
                  </a:lnTo>
                  <a:lnTo>
                    <a:pt x="219" y="360"/>
                  </a:lnTo>
                  <a:lnTo>
                    <a:pt x="219" y="358"/>
                  </a:lnTo>
                  <a:lnTo>
                    <a:pt x="220" y="358"/>
                  </a:lnTo>
                  <a:lnTo>
                    <a:pt x="222" y="354"/>
                  </a:lnTo>
                  <a:lnTo>
                    <a:pt x="222" y="352"/>
                  </a:lnTo>
                  <a:lnTo>
                    <a:pt x="225" y="348"/>
                  </a:lnTo>
                  <a:lnTo>
                    <a:pt x="229" y="342"/>
                  </a:lnTo>
                  <a:lnTo>
                    <a:pt x="231" y="337"/>
                  </a:lnTo>
                  <a:lnTo>
                    <a:pt x="234" y="333"/>
                  </a:lnTo>
                  <a:lnTo>
                    <a:pt x="237" y="325"/>
                  </a:lnTo>
                  <a:lnTo>
                    <a:pt x="238" y="318"/>
                  </a:lnTo>
                  <a:lnTo>
                    <a:pt x="240" y="312"/>
                  </a:lnTo>
                  <a:lnTo>
                    <a:pt x="241" y="310"/>
                  </a:lnTo>
                  <a:lnTo>
                    <a:pt x="249" y="307"/>
                  </a:lnTo>
                  <a:lnTo>
                    <a:pt x="258" y="306"/>
                  </a:lnTo>
                  <a:lnTo>
                    <a:pt x="259" y="304"/>
                  </a:lnTo>
                  <a:lnTo>
                    <a:pt x="267" y="298"/>
                  </a:lnTo>
                  <a:lnTo>
                    <a:pt x="267" y="297"/>
                  </a:lnTo>
                  <a:lnTo>
                    <a:pt x="265" y="294"/>
                  </a:lnTo>
                  <a:lnTo>
                    <a:pt x="265" y="292"/>
                  </a:lnTo>
                  <a:lnTo>
                    <a:pt x="262" y="289"/>
                  </a:lnTo>
                  <a:lnTo>
                    <a:pt x="262" y="288"/>
                  </a:lnTo>
                  <a:lnTo>
                    <a:pt x="264" y="286"/>
                  </a:lnTo>
                  <a:lnTo>
                    <a:pt x="264" y="285"/>
                  </a:lnTo>
                  <a:lnTo>
                    <a:pt x="265" y="286"/>
                  </a:lnTo>
                  <a:lnTo>
                    <a:pt x="267" y="285"/>
                  </a:lnTo>
                  <a:lnTo>
                    <a:pt x="268" y="282"/>
                  </a:lnTo>
                  <a:lnTo>
                    <a:pt x="270" y="280"/>
                  </a:lnTo>
                  <a:lnTo>
                    <a:pt x="271" y="280"/>
                  </a:lnTo>
                  <a:lnTo>
                    <a:pt x="271" y="276"/>
                  </a:lnTo>
                  <a:lnTo>
                    <a:pt x="273" y="276"/>
                  </a:lnTo>
                  <a:lnTo>
                    <a:pt x="273" y="274"/>
                  </a:lnTo>
                  <a:lnTo>
                    <a:pt x="274" y="274"/>
                  </a:lnTo>
                  <a:lnTo>
                    <a:pt x="276" y="273"/>
                  </a:lnTo>
                  <a:lnTo>
                    <a:pt x="277" y="273"/>
                  </a:lnTo>
                  <a:lnTo>
                    <a:pt x="277" y="270"/>
                  </a:lnTo>
                  <a:lnTo>
                    <a:pt x="279" y="270"/>
                  </a:lnTo>
                  <a:lnTo>
                    <a:pt x="279" y="268"/>
                  </a:lnTo>
                  <a:lnTo>
                    <a:pt x="282" y="265"/>
                  </a:lnTo>
                  <a:lnTo>
                    <a:pt x="280" y="265"/>
                  </a:lnTo>
                  <a:lnTo>
                    <a:pt x="280" y="264"/>
                  </a:lnTo>
                  <a:lnTo>
                    <a:pt x="283" y="264"/>
                  </a:lnTo>
                  <a:lnTo>
                    <a:pt x="283" y="261"/>
                  </a:lnTo>
                  <a:lnTo>
                    <a:pt x="285" y="261"/>
                  </a:lnTo>
                  <a:lnTo>
                    <a:pt x="285" y="259"/>
                  </a:lnTo>
                  <a:lnTo>
                    <a:pt x="286" y="261"/>
                  </a:lnTo>
                  <a:lnTo>
                    <a:pt x="288" y="261"/>
                  </a:lnTo>
                  <a:lnTo>
                    <a:pt x="288" y="259"/>
                  </a:lnTo>
                  <a:lnTo>
                    <a:pt x="289" y="258"/>
                  </a:lnTo>
                  <a:lnTo>
                    <a:pt x="292" y="258"/>
                  </a:lnTo>
                  <a:lnTo>
                    <a:pt x="292" y="256"/>
                  </a:lnTo>
                  <a:lnTo>
                    <a:pt x="293" y="256"/>
                  </a:lnTo>
                  <a:lnTo>
                    <a:pt x="293" y="255"/>
                  </a:lnTo>
                  <a:lnTo>
                    <a:pt x="295" y="255"/>
                  </a:lnTo>
                  <a:lnTo>
                    <a:pt x="295" y="252"/>
                  </a:lnTo>
                  <a:lnTo>
                    <a:pt x="296" y="252"/>
                  </a:lnTo>
                  <a:lnTo>
                    <a:pt x="299" y="250"/>
                  </a:lnTo>
                  <a:lnTo>
                    <a:pt x="298" y="250"/>
                  </a:lnTo>
                  <a:lnTo>
                    <a:pt x="298" y="249"/>
                  </a:lnTo>
                  <a:lnTo>
                    <a:pt x="293" y="249"/>
                  </a:lnTo>
                  <a:lnTo>
                    <a:pt x="293" y="247"/>
                  </a:lnTo>
                  <a:lnTo>
                    <a:pt x="292" y="247"/>
                  </a:lnTo>
                  <a:lnTo>
                    <a:pt x="292" y="244"/>
                  </a:lnTo>
                  <a:lnTo>
                    <a:pt x="293" y="243"/>
                  </a:lnTo>
                  <a:lnTo>
                    <a:pt x="293" y="238"/>
                  </a:lnTo>
                  <a:lnTo>
                    <a:pt x="295" y="234"/>
                  </a:lnTo>
                  <a:lnTo>
                    <a:pt x="295" y="233"/>
                  </a:lnTo>
                  <a:lnTo>
                    <a:pt x="296" y="233"/>
                  </a:lnTo>
                  <a:lnTo>
                    <a:pt x="296" y="230"/>
                  </a:lnTo>
                  <a:lnTo>
                    <a:pt x="295" y="227"/>
                  </a:lnTo>
                  <a:lnTo>
                    <a:pt x="295" y="222"/>
                  </a:lnTo>
                  <a:lnTo>
                    <a:pt x="292" y="218"/>
                  </a:lnTo>
                  <a:lnTo>
                    <a:pt x="292" y="215"/>
                  </a:lnTo>
                  <a:lnTo>
                    <a:pt x="293" y="215"/>
                  </a:lnTo>
                  <a:lnTo>
                    <a:pt x="293" y="210"/>
                  </a:lnTo>
                  <a:lnTo>
                    <a:pt x="295" y="210"/>
                  </a:lnTo>
                  <a:lnTo>
                    <a:pt x="298" y="207"/>
                  </a:lnTo>
                  <a:lnTo>
                    <a:pt x="299" y="207"/>
                  </a:lnTo>
                  <a:lnTo>
                    <a:pt x="301" y="204"/>
                  </a:lnTo>
                  <a:lnTo>
                    <a:pt x="305" y="204"/>
                  </a:lnTo>
                  <a:lnTo>
                    <a:pt x="305" y="201"/>
                  </a:lnTo>
                  <a:lnTo>
                    <a:pt x="307" y="200"/>
                  </a:lnTo>
                  <a:lnTo>
                    <a:pt x="308" y="201"/>
                  </a:lnTo>
                  <a:lnTo>
                    <a:pt x="310" y="200"/>
                  </a:lnTo>
                  <a:lnTo>
                    <a:pt x="313" y="200"/>
                  </a:lnTo>
                  <a:lnTo>
                    <a:pt x="314" y="198"/>
                  </a:lnTo>
                  <a:lnTo>
                    <a:pt x="316" y="198"/>
                  </a:lnTo>
                  <a:lnTo>
                    <a:pt x="316" y="197"/>
                  </a:lnTo>
                  <a:lnTo>
                    <a:pt x="323" y="197"/>
                  </a:lnTo>
                  <a:lnTo>
                    <a:pt x="322" y="195"/>
                  </a:lnTo>
                  <a:lnTo>
                    <a:pt x="323" y="195"/>
                  </a:lnTo>
                  <a:lnTo>
                    <a:pt x="325" y="194"/>
                  </a:lnTo>
                  <a:lnTo>
                    <a:pt x="328" y="194"/>
                  </a:lnTo>
                  <a:lnTo>
                    <a:pt x="328" y="192"/>
                  </a:lnTo>
                  <a:lnTo>
                    <a:pt x="329" y="191"/>
                  </a:lnTo>
                  <a:lnTo>
                    <a:pt x="331" y="188"/>
                  </a:lnTo>
                  <a:lnTo>
                    <a:pt x="331" y="186"/>
                  </a:lnTo>
                  <a:lnTo>
                    <a:pt x="325" y="180"/>
                  </a:lnTo>
                  <a:lnTo>
                    <a:pt x="323" y="180"/>
                  </a:lnTo>
                  <a:lnTo>
                    <a:pt x="320" y="179"/>
                  </a:lnTo>
                  <a:lnTo>
                    <a:pt x="319" y="179"/>
                  </a:lnTo>
                  <a:lnTo>
                    <a:pt x="316" y="176"/>
                  </a:lnTo>
                  <a:lnTo>
                    <a:pt x="314" y="176"/>
                  </a:lnTo>
                  <a:lnTo>
                    <a:pt x="313" y="177"/>
                  </a:lnTo>
                  <a:lnTo>
                    <a:pt x="310" y="177"/>
                  </a:lnTo>
                  <a:lnTo>
                    <a:pt x="307" y="176"/>
                  </a:lnTo>
                  <a:lnTo>
                    <a:pt x="304" y="176"/>
                  </a:lnTo>
                  <a:lnTo>
                    <a:pt x="302" y="177"/>
                  </a:lnTo>
                  <a:lnTo>
                    <a:pt x="299" y="174"/>
                  </a:lnTo>
                  <a:lnTo>
                    <a:pt x="298" y="171"/>
                  </a:lnTo>
                  <a:lnTo>
                    <a:pt x="298" y="168"/>
                  </a:lnTo>
                  <a:lnTo>
                    <a:pt x="299" y="167"/>
                  </a:lnTo>
                  <a:lnTo>
                    <a:pt x="299" y="165"/>
                  </a:lnTo>
                  <a:lnTo>
                    <a:pt x="298" y="164"/>
                  </a:lnTo>
                  <a:lnTo>
                    <a:pt x="298" y="162"/>
                  </a:lnTo>
                  <a:lnTo>
                    <a:pt x="299" y="161"/>
                  </a:lnTo>
                  <a:lnTo>
                    <a:pt x="299" y="159"/>
                  </a:lnTo>
                  <a:lnTo>
                    <a:pt x="301" y="158"/>
                  </a:lnTo>
                  <a:lnTo>
                    <a:pt x="301" y="156"/>
                  </a:lnTo>
                  <a:lnTo>
                    <a:pt x="298" y="156"/>
                  </a:lnTo>
                  <a:lnTo>
                    <a:pt x="298" y="159"/>
                  </a:lnTo>
                  <a:lnTo>
                    <a:pt x="296" y="159"/>
                  </a:lnTo>
                  <a:lnTo>
                    <a:pt x="296" y="161"/>
                  </a:lnTo>
                  <a:lnTo>
                    <a:pt x="291" y="161"/>
                  </a:lnTo>
                  <a:lnTo>
                    <a:pt x="289" y="159"/>
                  </a:lnTo>
                  <a:lnTo>
                    <a:pt x="286" y="159"/>
                  </a:lnTo>
                  <a:lnTo>
                    <a:pt x="286" y="161"/>
                  </a:lnTo>
                  <a:lnTo>
                    <a:pt x="285" y="159"/>
                  </a:lnTo>
                  <a:lnTo>
                    <a:pt x="283" y="159"/>
                  </a:lnTo>
                  <a:lnTo>
                    <a:pt x="283" y="156"/>
                  </a:lnTo>
                  <a:lnTo>
                    <a:pt x="285" y="155"/>
                  </a:lnTo>
                  <a:lnTo>
                    <a:pt x="283" y="152"/>
                  </a:lnTo>
                  <a:lnTo>
                    <a:pt x="283" y="147"/>
                  </a:lnTo>
                  <a:lnTo>
                    <a:pt x="282" y="147"/>
                  </a:lnTo>
                  <a:lnTo>
                    <a:pt x="277" y="146"/>
                  </a:lnTo>
                  <a:lnTo>
                    <a:pt x="276" y="144"/>
                  </a:lnTo>
                  <a:lnTo>
                    <a:pt x="274" y="141"/>
                  </a:lnTo>
                  <a:lnTo>
                    <a:pt x="273" y="140"/>
                  </a:lnTo>
                  <a:lnTo>
                    <a:pt x="270" y="138"/>
                  </a:lnTo>
                  <a:lnTo>
                    <a:pt x="270" y="137"/>
                  </a:lnTo>
                  <a:lnTo>
                    <a:pt x="268" y="135"/>
                  </a:lnTo>
                  <a:lnTo>
                    <a:pt x="268" y="134"/>
                  </a:lnTo>
                  <a:lnTo>
                    <a:pt x="271" y="131"/>
                  </a:lnTo>
                  <a:lnTo>
                    <a:pt x="273" y="131"/>
                  </a:lnTo>
                  <a:lnTo>
                    <a:pt x="273" y="129"/>
                  </a:lnTo>
                  <a:lnTo>
                    <a:pt x="274" y="128"/>
                  </a:lnTo>
                  <a:lnTo>
                    <a:pt x="276" y="125"/>
                  </a:lnTo>
                  <a:lnTo>
                    <a:pt x="276" y="117"/>
                  </a:lnTo>
                  <a:lnTo>
                    <a:pt x="273" y="116"/>
                  </a:lnTo>
                  <a:lnTo>
                    <a:pt x="267" y="110"/>
                  </a:lnTo>
                  <a:lnTo>
                    <a:pt x="267" y="107"/>
                  </a:lnTo>
                  <a:lnTo>
                    <a:pt x="268" y="107"/>
                  </a:lnTo>
                  <a:lnTo>
                    <a:pt x="268" y="105"/>
                  </a:lnTo>
                  <a:lnTo>
                    <a:pt x="270" y="102"/>
                  </a:lnTo>
                  <a:lnTo>
                    <a:pt x="271" y="102"/>
                  </a:lnTo>
                  <a:lnTo>
                    <a:pt x="276" y="101"/>
                  </a:lnTo>
                  <a:lnTo>
                    <a:pt x="277" y="101"/>
                  </a:lnTo>
                  <a:lnTo>
                    <a:pt x="282" y="96"/>
                  </a:lnTo>
                  <a:lnTo>
                    <a:pt x="282" y="95"/>
                  </a:lnTo>
                  <a:lnTo>
                    <a:pt x="280" y="93"/>
                  </a:lnTo>
                  <a:lnTo>
                    <a:pt x="280" y="92"/>
                  </a:lnTo>
                  <a:lnTo>
                    <a:pt x="267" y="92"/>
                  </a:lnTo>
                  <a:lnTo>
                    <a:pt x="264" y="89"/>
                  </a:lnTo>
                  <a:lnTo>
                    <a:pt x="264" y="86"/>
                  </a:lnTo>
                  <a:lnTo>
                    <a:pt x="265" y="84"/>
                  </a:lnTo>
                  <a:lnTo>
                    <a:pt x="268" y="83"/>
                  </a:lnTo>
                  <a:lnTo>
                    <a:pt x="268" y="80"/>
                  </a:lnTo>
                  <a:lnTo>
                    <a:pt x="267" y="77"/>
                  </a:lnTo>
                  <a:lnTo>
                    <a:pt x="267" y="75"/>
                  </a:lnTo>
                  <a:lnTo>
                    <a:pt x="261" y="75"/>
                  </a:lnTo>
                  <a:lnTo>
                    <a:pt x="259" y="74"/>
                  </a:lnTo>
                  <a:lnTo>
                    <a:pt x="259" y="69"/>
                  </a:lnTo>
                  <a:lnTo>
                    <a:pt x="261" y="69"/>
                  </a:lnTo>
                  <a:lnTo>
                    <a:pt x="261" y="68"/>
                  </a:lnTo>
                  <a:lnTo>
                    <a:pt x="262" y="68"/>
                  </a:lnTo>
                  <a:lnTo>
                    <a:pt x="262" y="63"/>
                  </a:lnTo>
                  <a:lnTo>
                    <a:pt x="265" y="62"/>
                  </a:lnTo>
                  <a:lnTo>
                    <a:pt x="265" y="57"/>
                  </a:lnTo>
                  <a:lnTo>
                    <a:pt x="267" y="56"/>
                  </a:lnTo>
                  <a:lnTo>
                    <a:pt x="274" y="54"/>
                  </a:lnTo>
                  <a:lnTo>
                    <a:pt x="276" y="53"/>
                  </a:lnTo>
                  <a:lnTo>
                    <a:pt x="282" y="50"/>
                  </a:lnTo>
                  <a:lnTo>
                    <a:pt x="288" y="50"/>
                  </a:lnTo>
                  <a:lnTo>
                    <a:pt x="299" y="54"/>
                  </a:lnTo>
                  <a:lnTo>
                    <a:pt x="316" y="57"/>
                  </a:lnTo>
                  <a:lnTo>
                    <a:pt x="320" y="57"/>
                  </a:lnTo>
                  <a:lnTo>
                    <a:pt x="323" y="56"/>
                  </a:lnTo>
                  <a:lnTo>
                    <a:pt x="325" y="56"/>
                  </a:lnTo>
                  <a:lnTo>
                    <a:pt x="325" y="57"/>
                  </a:lnTo>
                  <a:lnTo>
                    <a:pt x="326" y="59"/>
                  </a:lnTo>
                  <a:lnTo>
                    <a:pt x="329" y="60"/>
                  </a:lnTo>
                  <a:lnTo>
                    <a:pt x="331" y="62"/>
                  </a:lnTo>
                  <a:lnTo>
                    <a:pt x="343" y="65"/>
                  </a:lnTo>
                  <a:lnTo>
                    <a:pt x="352" y="65"/>
                  </a:lnTo>
                  <a:lnTo>
                    <a:pt x="352" y="63"/>
                  </a:lnTo>
                  <a:lnTo>
                    <a:pt x="355" y="60"/>
                  </a:lnTo>
                  <a:lnTo>
                    <a:pt x="358" y="59"/>
                  </a:lnTo>
                  <a:lnTo>
                    <a:pt x="362" y="54"/>
                  </a:lnTo>
                  <a:lnTo>
                    <a:pt x="364" y="54"/>
                  </a:lnTo>
                  <a:lnTo>
                    <a:pt x="367" y="56"/>
                  </a:lnTo>
                  <a:lnTo>
                    <a:pt x="368" y="56"/>
                  </a:lnTo>
                  <a:lnTo>
                    <a:pt x="373" y="54"/>
                  </a:lnTo>
                  <a:lnTo>
                    <a:pt x="379" y="51"/>
                  </a:lnTo>
                  <a:lnTo>
                    <a:pt x="380" y="50"/>
                  </a:lnTo>
                  <a:lnTo>
                    <a:pt x="382" y="50"/>
                  </a:lnTo>
                  <a:lnTo>
                    <a:pt x="385" y="51"/>
                  </a:lnTo>
                  <a:lnTo>
                    <a:pt x="391" y="51"/>
                  </a:lnTo>
                  <a:lnTo>
                    <a:pt x="395" y="47"/>
                  </a:lnTo>
                  <a:lnTo>
                    <a:pt x="395" y="41"/>
                  </a:lnTo>
                  <a:lnTo>
                    <a:pt x="397" y="41"/>
                  </a:lnTo>
                  <a:lnTo>
                    <a:pt x="398" y="39"/>
                  </a:lnTo>
                  <a:lnTo>
                    <a:pt x="400" y="39"/>
                  </a:lnTo>
                  <a:lnTo>
                    <a:pt x="401" y="41"/>
                  </a:lnTo>
                  <a:lnTo>
                    <a:pt x="404" y="41"/>
                  </a:lnTo>
                  <a:lnTo>
                    <a:pt x="404" y="39"/>
                  </a:lnTo>
                  <a:lnTo>
                    <a:pt x="407" y="38"/>
                  </a:lnTo>
                  <a:lnTo>
                    <a:pt x="407" y="36"/>
                  </a:lnTo>
                  <a:lnTo>
                    <a:pt x="409" y="35"/>
                  </a:lnTo>
                  <a:lnTo>
                    <a:pt x="407" y="33"/>
                  </a:lnTo>
                  <a:lnTo>
                    <a:pt x="407" y="32"/>
                  </a:lnTo>
                  <a:lnTo>
                    <a:pt x="409" y="30"/>
                  </a:lnTo>
                  <a:lnTo>
                    <a:pt x="397" y="0"/>
                  </a:lnTo>
                  <a:close/>
                </a:path>
              </a:pathLst>
            </a:custGeom>
            <a:solidFill>
              <a:schemeClr val="bg2">
                <a:lumMod val="9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34">
              <a:extLst>
                <a:ext uri="{FF2B5EF4-FFF2-40B4-BE49-F238E27FC236}">
                  <a16:creationId xmlns:a16="http://schemas.microsoft.com/office/drawing/2014/main" id="{185E60C6-E634-108C-E77D-684B3A78576B}"/>
                </a:ext>
              </a:extLst>
            </p:cNvPr>
            <p:cNvSpPr>
              <a:spLocks noEditPoints="1"/>
            </p:cNvSpPr>
            <p:nvPr/>
          </p:nvSpPr>
          <p:spPr bwMode="auto">
            <a:xfrm>
              <a:off x="3904419" y="5630020"/>
              <a:ext cx="156376" cy="66119"/>
            </a:xfrm>
            <a:custGeom>
              <a:avLst/>
              <a:gdLst/>
              <a:ahLst/>
              <a:cxnLst>
                <a:cxn ang="0">
                  <a:pos x="19" y="50"/>
                </a:cxn>
                <a:cxn ang="0">
                  <a:pos x="15" y="57"/>
                </a:cxn>
                <a:cxn ang="0">
                  <a:pos x="10" y="63"/>
                </a:cxn>
                <a:cxn ang="0">
                  <a:pos x="9" y="59"/>
                </a:cxn>
                <a:cxn ang="0">
                  <a:pos x="4" y="59"/>
                </a:cxn>
                <a:cxn ang="0">
                  <a:pos x="1" y="59"/>
                </a:cxn>
                <a:cxn ang="0">
                  <a:pos x="6" y="54"/>
                </a:cxn>
                <a:cxn ang="0">
                  <a:pos x="9" y="51"/>
                </a:cxn>
                <a:cxn ang="0">
                  <a:pos x="16" y="48"/>
                </a:cxn>
                <a:cxn ang="0">
                  <a:pos x="136" y="9"/>
                </a:cxn>
                <a:cxn ang="0">
                  <a:pos x="145" y="9"/>
                </a:cxn>
                <a:cxn ang="0">
                  <a:pos x="149" y="12"/>
                </a:cxn>
                <a:cxn ang="0">
                  <a:pos x="143" y="18"/>
                </a:cxn>
                <a:cxn ang="0">
                  <a:pos x="130" y="29"/>
                </a:cxn>
                <a:cxn ang="0">
                  <a:pos x="118" y="30"/>
                </a:cxn>
                <a:cxn ang="0">
                  <a:pos x="115" y="33"/>
                </a:cxn>
                <a:cxn ang="0">
                  <a:pos x="109" y="38"/>
                </a:cxn>
                <a:cxn ang="0">
                  <a:pos x="93" y="42"/>
                </a:cxn>
                <a:cxn ang="0">
                  <a:pos x="78" y="48"/>
                </a:cxn>
                <a:cxn ang="0">
                  <a:pos x="72" y="50"/>
                </a:cxn>
                <a:cxn ang="0">
                  <a:pos x="61" y="53"/>
                </a:cxn>
                <a:cxn ang="0">
                  <a:pos x="57" y="57"/>
                </a:cxn>
                <a:cxn ang="0">
                  <a:pos x="54" y="59"/>
                </a:cxn>
                <a:cxn ang="0">
                  <a:pos x="46" y="63"/>
                </a:cxn>
                <a:cxn ang="0">
                  <a:pos x="45" y="56"/>
                </a:cxn>
                <a:cxn ang="0">
                  <a:pos x="42" y="54"/>
                </a:cxn>
                <a:cxn ang="0">
                  <a:pos x="45" y="48"/>
                </a:cxn>
                <a:cxn ang="0">
                  <a:pos x="49" y="48"/>
                </a:cxn>
                <a:cxn ang="0">
                  <a:pos x="46" y="41"/>
                </a:cxn>
                <a:cxn ang="0">
                  <a:pos x="43" y="44"/>
                </a:cxn>
                <a:cxn ang="0">
                  <a:pos x="43" y="36"/>
                </a:cxn>
                <a:cxn ang="0">
                  <a:pos x="48" y="32"/>
                </a:cxn>
                <a:cxn ang="0">
                  <a:pos x="49" y="24"/>
                </a:cxn>
                <a:cxn ang="0">
                  <a:pos x="58" y="21"/>
                </a:cxn>
                <a:cxn ang="0">
                  <a:pos x="66" y="21"/>
                </a:cxn>
                <a:cxn ang="0">
                  <a:pos x="73" y="18"/>
                </a:cxn>
                <a:cxn ang="0">
                  <a:pos x="90" y="17"/>
                </a:cxn>
                <a:cxn ang="0">
                  <a:pos x="96" y="17"/>
                </a:cxn>
                <a:cxn ang="0">
                  <a:pos x="105" y="15"/>
                </a:cxn>
                <a:cxn ang="0">
                  <a:pos x="112" y="15"/>
                </a:cxn>
                <a:cxn ang="0">
                  <a:pos x="117" y="15"/>
                </a:cxn>
                <a:cxn ang="0">
                  <a:pos x="129" y="12"/>
                </a:cxn>
                <a:cxn ang="0">
                  <a:pos x="73" y="0"/>
                </a:cxn>
                <a:cxn ang="0">
                  <a:pos x="72" y="8"/>
                </a:cxn>
                <a:cxn ang="0">
                  <a:pos x="67" y="8"/>
                </a:cxn>
                <a:cxn ang="0">
                  <a:pos x="70" y="2"/>
                </a:cxn>
              </a:cxnLst>
              <a:rect l="0" t="0" r="r" b="b"/>
              <a:pathLst>
                <a:path w="149" h="63">
                  <a:moveTo>
                    <a:pt x="16" y="48"/>
                  </a:moveTo>
                  <a:lnTo>
                    <a:pt x="19" y="48"/>
                  </a:lnTo>
                  <a:lnTo>
                    <a:pt x="19" y="50"/>
                  </a:lnTo>
                  <a:lnTo>
                    <a:pt x="18" y="53"/>
                  </a:lnTo>
                  <a:lnTo>
                    <a:pt x="18" y="54"/>
                  </a:lnTo>
                  <a:lnTo>
                    <a:pt x="15" y="57"/>
                  </a:lnTo>
                  <a:lnTo>
                    <a:pt x="13" y="57"/>
                  </a:lnTo>
                  <a:lnTo>
                    <a:pt x="13" y="63"/>
                  </a:lnTo>
                  <a:lnTo>
                    <a:pt x="10" y="63"/>
                  </a:lnTo>
                  <a:lnTo>
                    <a:pt x="10" y="60"/>
                  </a:lnTo>
                  <a:lnTo>
                    <a:pt x="9" y="60"/>
                  </a:lnTo>
                  <a:lnTo>
                    <a:pt x="9" y="59"/>
                  </a:lnTo>
                  <a:lnTo>
                    <a:pt x="7" y="57"/>
                  </a:lnTo>
                  <a:lnTo>
                    <a:pt x="6" y="57"/>
                  </a:lnTo>
                  <a:lnTo>
                    <a:pt x="4" y="59"/>
                  </a:lnTo>
                  <a:lnTo>
                    <a:pt x="4" y="60"/>
                  </a:lnTo>
                  <a:lnTo>
                    <a:pt x="3" y="60"/>
                  </a:lnTo>
                  <a:lnTo>
                    <a:pt x="1" y="59"/>
                  </a:lnTo>
                  <a:lnTo>
                    <a:pt x="0" y="56"/>
                  </a:lnTo>
                  <a:lnTo>
                    <a:pt x="4" y="54"/>
                  </a:lnTo>
                  <a:lnTo>
                    <a:pt x="6" y="54"/>
                  </a:lnTo>
                  <a:lnTo>
                    <a:pt x="6" y="53"/>
                  </a:lnTo>
                  <a:lnTo>
                    <a:pt x="7" y="53"/>
                  </a:lnTo>
                  <a:lnTo>
                    <a:pt x="9" y="51"/>
                  </a:lnTo>
                  <a:lnTo>
                    <a:pt x="12" y="51"/>
                  </a:lnTo>
                  <a:lnTo>
                    <a:pt x="16" y="50"/>
                  </a:lnTo>
                  <a:lnTo>
                    <a:pt x="16" y="48"/>
                  </a:lnTo>
                  <a:close/>
                  <a:moveTo>
                    <a:pt x="134" y="8"/>
                  </a:moveTo>
                  <a:lnTo>
                    <a:pt x="134" y="9"/>
                  </a:lnTo>
                  <a:lnTo>
                    <a:pt x="136" y="9"/>
                  </a:lnTo>
                  <a:lnTo>
                    <a:pt x="139" y="11"/>
                  </a:lnTo>
                  <a:lnTo>
                    <a:pt x="143" y="11"/>
                  </a:lnTo>
                  <a:lnTo>
                    <a:pt x="145" y="9"/>
                  </a:lnTo>
                  <a:lnTo>
                    <a:pt x="145" y="11"/>
                  </a:lnTo>
                  <a:lnTo>
                    <a:pt x="146" y="11"/>
                  </a:lnTo>
                  <a:lnTo>
                    <a:pt x="149" y="12"/>
                  </a:lnTo>
                  <a:lnTo>
                    <a:pt x="149" y="14"/>
                  </a:lnTo>
                  <a:lnTo>
                    <a:pt x="146" y="17"/>
                  </a:lnTo>
                  <a:lnTo>
                    <a:pt x="143" y="18"/>
                  </a:lnTo>
                  <a:lnTo>
                    <a:pt x="136" y="26"/>
                  </a:lnTo>
                  <a:lnTo>
                    <a:pt x="133" y="26"/>
                  </a:lnTo>
                  <a:lnTo>
                    <a:pt x="130" y="29"/>
                  </a:lnTo>
                  <a:lnTo>
                    <a:pt x="121" y="29"/>
                  </a:lnTo>
                  <a:lnTo>
                    <a:pt x="121" y="30"/>
                  </a:lnTo>
                  <a:lnTo>
                    <a:pt x="118" y="30"/>
                  </a:lnTo>
                  <a:lnTo>
                    <a:pt x="118" y="32"/>
                  </a:lnTo>
                  <a:lnTo>
                    <a:pt x="117" y="32"/>
                  </a:lnTo>
                  <a:lnTo>
                    <a:pt x="115" y="33"/>
                  </a:lnTo>
                  <a:lnTo>
                    <a:pt x="114" y="36"/>
                  </a:lnTo>
                  <a:lnTo>
                    <a:pt x="112" y="38"/>
                  </a:lnTo>
                  <a:lnTo>
                    <a:pt x="109" y="38"/>
                  </a:lnTo>
                  <a:lnTo>
                    <a:pt x="97" y="39"/>
                  </a:lnTo>
                  <a:lnTo>
                    <a:pt x="96" y="41"/>
                  </a:lnTo>
                  <a:lnTo>
                    <a:pt x="93" y="42"/>
                  </a:lnTo>
                  <a:lnTo>
                    <a:pt x="87" y="47"/>
                  </a:lnTo>
                  <a:lnTo>
                    <a:pt x="79" y="47"/>
                  </a:lnTo>
                  <a:lnTo>
                    <a:pt x="78" y="48"/>
                  </a:lnTo>
                  <a:lnTo>
                    <a:pt x="75" y="50"/>
                  </a:lnTo>
                  <a:lnTo>
                    <a:pt x="72" y="48"/>
                  </a:lnTo>
                  <a:lnTo>
                    <a:pt x="72" y="50"/>
                  </a:lnTo>
                  <a:lnTo>
                    <a:pt x="69" y="50"/>
                  </a:lnTo>
                  <a:lnTo>
                    <a:pt x="66" y="51"/>
                  </a:lnTo>
                  <a:lnTo>
                    <a:pt x="61" y="53"/>
                  </a:lnTo>
                  <a:lnTo>
                    <a:pt x="60" y="54"/>
                  </a:lnTo>
                  <a:lnTo>
                    <a:pt x="57" y="56"/>
                  </a:lnTo>
                  <a:lnTo>
                    <a:pt x="57" y="57"/>
                  </a:lnTo>
                  <a:lnTo>
                    <a:pt x="55" y="57"/>
                  </a:lnTo>
                  <a:lnTo>
                    <a:pt x="55" y="59"/>
                  </a:lnTo>
                  <a:lnTo>
                    <a:pt x="54" y="59"/>
                  </a:lnTo>
                  <a:lnTo>
                    <a:pt x="54" y="60"/>
                  </a:lnTo>
                  <a:lnTo>
                    <a:pt x="49" y="60"/>
                  </a:lnTo>
                  <a:lnTo>
                    <a:pt x="46" y="63"/>
                  </a:lnTo>
                  <a:lnTo>
                    <a:pt x="46" y="59"/>
                  </a:lnTo>
                  <a:lnTo>
                    <a:pt x="45" y="57"/>
                  </a:lnTo>
                  <a:lnTo>
                    <a:pt x="45" y="56"/>
                  </a:lnTo>
                  <a:lnTo>
                    <a:pt x="43" y="56"/>
                  </a:lnTo>
                  <a:lnTo>
                    <a:pt x="43" y="54"/>
                  </a:lnTo>
                  <a:lnTo>
                    <a:pt x="42" y="54"/>
                  </a:lnTo>
                  <a:lnTo>
                    <a:pt x="42" y="50"/>
                  </a:lnTo>
                  <a:lnTo>
                    <a:pt x="43" y="50"/>
                  </a:lnTo>
                  <a:lnTo>
                    <a:pt x="45" y="48"/>
                  </a:lnTo>
                  <a:lnTo>
                    <a:pt x="45" y="50"/>
                  </a:lnTo>
                  <a:lnTo>
                    <a:pt x="49" y="50"/>
                  </a:lnTo>
                  <a:lnTo>
                    <a:pt x="49" y="48"/>
                  </a:lnTo>
                  <a:lnTo>
                    <a:pt x="51" y="50"/>
                  </a:lnTo>
                  <a:lnTo>
                    <a:pt x="51" y="41"/>
                  </a:lnTo>
                  <a:lnTo>
                    <a:pt x="46" y="41"/>
                  </a:lnTo>
                  <a:lnTo>
                    <a:pt x="46" y="42"/>
                  </a:lnTo>
                  <a:lnTo>
                    <a:pt x="45" y="42"/>
                  </a:lnTo>
                  <a:lnTo>
                    <a:pt x="43" y="44"/>
                  </a:lnTo>
                  <a:lnTo>
                    <a:pt x="40" y="44"/>
                  </a:lnTo>
                  <a:lnTo>
                    <a:pt x="40" y="39"/>
                  </a:lnTo>
                  <a:lnTo>
                    <a:pt x="43" y="36"/>
                  </a:lnTo>
                  <a:lnTo>
                    <a:pt x="45" y="33"/>
                  </a:lnTo>
                  <a:lnTo>
                    <a:pt x="46" y="32"/>
                  </a:lnTo>
                  <a:lnTo>
                    <a:pt x="48" y="32"/>
                  </a:lnTo>
                  <a:lnTo>
                    <a:pt x="48" y="30"/>
                  </a:lnTo>
                  <a:lnTo>
                    <a:pt x="49" y="30"/>
                  </a:lnTo>
                  <a:lnTo>
                    <a:pt x="49" y="24"/>
                  </a:lnTo>
                  <a:lnTo>
                    <a:pt x="51" y="23"/>
                  </a:lnTo>
                  <a:lnTo>
                    <a:pt x="57" y="23"/>
                  </a:lnTo>
                  <a:lnTo>
                    <a:pt x="58" y="21"/>
                  </a:lnTo>
                  <a:lnTo>
                    <a:pt x="61" y="20"/>
                  </a:lnTo>
                  <a:lnTo>
                    <a:pt x="63" y="20"/>
                  </a:lnTo>
                  <a:lnTo>
                    <a:pt x="66" y="21"/>
                  </a:lnTo>
                  <a:lnTo>
                    <a:pt x="66" y="20"/>
                  </a:lnTo>
                  <a:lnTo>
                    <a:pt x="72" y="20"/>
                  </a:lnTo>
                  <a:lnTo>
                    <a:pt x="73" y="18"/>
                  </a:lnTo>
                  <a:lnTo>
                    <a:pt x="78" y="18"/>
                  </a:lnTo>
                  <a:lnTo>
                    <a:pt x="84" y="17"/>
                  </a:lnTo>
                  <a:lnTo>
                    <a:pt x="90" y="17"/>
                  </a:lnTo>
                  <a:lnTo>
                    <a:pt x="91" y="18"/>
                  </a:lnTo>
                  <a:lnTo>
                    <a:pt x="94" y="18"/>
                  </a:lnTo>
                  <a:lnTo>
                    <a:pt x="96" y="17"/>
                  </a:lnTo>
                  <a:lnTo>
                    <a:pt x="102" y="17"/>
                  </a:lnTo>
                  <a:lnTo>
                    <a:pt x="103" y="15"/>
                  </a:lnTo>
                  <a:lnTo>
                    <a:pt x="105" y="15"/>
                  </a:lnTo>
                  <a:lnTo>
                    <a:pt x="106" y="14"/>
                  </a:lnTo>
                  <a:lnTo>
                    <a:pt x="111" y="14"/>
                  </a:lnTo>
                  <a:lnTo>
                    <a:pt x="112" y="15"/>
                  </a:lnTo>
                  <a:lnTo>
                    <a:pt x="114" y="15"/>
                  </a:lnTo>
                  <a:lnTo>
                    <a:pt x="115" y="17"/>
                  </a:lnTo>
                  <a:lnTo>
                    <a:pt x="117" y="15"/>
                  </a:lnTo>
                  <a:lnTo>
                    <a:pt x="121" y="14"/>
                  </a:lnTo>
                  <a:lnTo>
                    <a:pt x="127" y="14"/>
                  </a:lnTo>
                  <a:lnTo>
                    <a:pt x="129" y="12"/>
                  </a:lnTo>
                  <a:lnTo>
                    <a:pt x="133" y="9"/>
                  </a:lnTo>
                  <a:lnTo>
                    <a:pt x="134" y="8"/>
                  </a:lnTo>
                  <a:close/>
                  <a:moveTo>
                    <a:pt x="73" y="0"/>
                  </a:moveTo>
                  <a:lnTo>
                    <a:pt x="73" y="2"/>
                  </a:lnTo>
                  <a:lnTo>
                    <a:pt x="72" y="6"/>
                  </a:lnTo>
                  <a:lnTo>
                    <a:pt x="72" y="8"/>
                  </a:lnTo>
                  <a:lnTo>
                    <a:pt x="70" y="9"/>
                  </a:lnTo>
                  <a:lnTo>
                    <a:pt x="70" y="8"/>
                  </a:lnTo>
                  <a:lnTo>
                    <a:pt x="67" y="8"/>
                  </a:lnTo>
                  <a:lnTo>
                    <a:pt x="67" y="6"/>
                  </a:lnTo>
                  <a:lnTo>
                    <a:pt x="70" y="3"/>
                  </a:lnTo>
                  <a:lnTo>
                    <a:pt x="70" y="2"/>
                  </a:lnTo>
                  <a:lnTo>
                    <a:pt x="72" y="2"/>
                  </a:lnTo>
                  <a:lnTo>
                    <a:pt x="73"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35">
              <a:extLst>
                <a:ext uri="{FF2B5EF4-FFF2-40B4-BE49-F238E27FC236}">
                  <a16:creationId xmlns:a16="http://schemas.microsoft.com/office/drawing/2014/main" id="{48D6F0E2-A6CC-BF53-17A5-B524353B9280}"/>
                </a:ext>
              </a:extLst>
            </p:cNvPr>
            <p:cNvSpPr>
              <a:spLocks noEditPoints="1"/>
            </p:cNvSpPr>
            <p:nvPr/>
          </p:nvSpPr>
          <p:spPr bwMode="auto">
            <a:xfrm>
              <a:off x="1474814" y="2184497"/>
              <a:ext cx="2945961" cy="2170375"/>
            </a:xfrm>
            <a:custGeom>
              <a:avLst/>
              <a:gdLst/>
              <a:ahLst/>
              <a:cxnLst>
                <a:cxn ang="0">
                  <a:pos x="1666" y="2056"/>
                </a:cxn>
                <a:cxn ang="0">
                  <a:pos x="1651" y="1982"/>
                </a:cxn>
                <a:cxn ang="0">
                  <a:pos x="1702" y="1911"/>
                </a:cxn>
                <a:cxn ang="0">
                  <a:pos x="1824" y="1873"/>
                </a:cxn>
                <a:cxn ang="0">
                  <a:pos x="1818" y="1836"/>
                </a:cxn>
                <a:cxn ang="0">
                  <a:pos x="2092" y="1716"/>
                </a:cxn>
                <a:cxn ang="0">
                  <a:pos x="2183" y="1586"/>
                </a:cxn>
                <a:cxn ang="0">
                  <a:pos x="2236" y="1476"/>
                </a:cxn>
                <a:cxn ang="0">
                  <a:pos x="2218" y="1390"/>
                </a:cxn>
                <a:cxn ang="0">
                  <a:pos x="2248" y="958"/>
                </a:cxn>
                <a:cxn ang="0">
                  <a:pos x="2403" y="71"/>
                </a:cxn>
                <a:cxn ang="0">
                  <a:pos x="2500" y="297"/>
                </a:cxn>
                <a:cxn ang="0">
                  <a:pos x="2678" y="425"/>
                </a:cxn>
                <a:cxn ang="0">
                  <a:pos x="2772" y="485"/>
                </a:cxn>
                <a:cxn ang="0">
                  <a:pos x="2635" y="619"/>
                </a:cxn>
                <a:cxn ang="0">
                  <a:pos x="2551" y="774"/>
                </a:cxn>
                <a:cxn ang="0">
                  <a:pos x="2430" y="824"/>
                </a:cxn>
                <a:cxn ang="0">
                  <a:pos x="2279" y="930"/>
                </a:cxn>
                <a:cxn ang="0">
                  <a:pos x="2204" y="963"/>
                </a:cxn>
                <a:cxn ang="0">
                  <a:pos x="2195" y="860"/>
                </a:cxn>
                <a:cxn ang="0">
                  <a:pos x="2052" y="972"/>
                </a:cxn>
                <a:cxn ang="0">
                  <a:pos x="2171" y="1042"/>
                </a:cxn>
                <a:cxn ang="0">
                  <a:pos x="2206" y="1099"/>
                </a:cxn>
                <a:cxn ang="0">
                  <a:pos x="2141" y="1147"/>
                </a:cxn>
                <a:cxn ang="0">
                  <a:pos x="2162" y="1301"/>
                </a:cxn>
                <a:cxn ang="0">
                  <a:pos x="2128" y="1369"/>
                </a:cxn>
                <a:cxn ang="0">
                  <a:pos x="2182" y="1457"/>
                </a:cxn>
                <a:cxn ang="0">
                  <a:pos x="2197" y="1518"/>
                </a:cxn>
                <a:cxn ang="0">
                  <a:pos x="2168" y="1586"/>
                </a:cxn>
                <a:cxn ang="0">
                  <a:pos x="2113" y="1650"/>
                </a:cxn>
                <a:cxn ang="0">
                  <a:pos x="2107" y="1710"/>
                </a:cxn>
                <a:cxn ang="0">
                  <a:pos x="2067" y="1743"/>
                </a:cxn>
                <a:cxn ang="0">
                  <a:pos x="2019" y="1788"/>
                </a:cxn>
                <a:cxn ang="0">
                  <a:pos x="1938" y="1842"/>
                </a:cxn>
                <a:cxn ang="0">
                  <a:pos x="1865" y="1860"/>
                </a:cxn>
                <a:cxn ang="0">
                  <a:pos x="1836" y="1863"/>
                </a:cxn>
                <a:cxn ang="0">
                  <a:pos x="1754" y="1894"/>
                </a:cxn>
                <a:cxn ang="0">
                  <a:pos x="1681" y="1937"/>
                </a:cxn>
                <a:cxn ang="0">
                  <a:pos x="1655" y="1905"/>
                </a:cxn>
                <a:cxn ang="0">
                  <a:pos x="1600" y="1897"/>
                </a:cxn>
                <a:cxn ang="0">
                  <a:pos x="1486" y="1833"/>
                </a:cxn>
                <a:cxn ang="0">
                  <a:pos x="1323" y="1843"/>
                </a:cxn>
                <a:cxn ang="0">
                  <a:pos x="1219" y="1909"/>
                </a:cxn>
                <a:cxn ang="0">
                  <a:pos x="1158" y="1776"/>
                </a:cxn>
                <a:cxn ang="0">
                  <a:pos x="1153" y="1629"/>
                </a:cxn>
                <a:cxn ang="0">
                  <a:pos x="1041" y="1514"/>
                </a:cxn>
                <a:cxn ang="0">
                  <a:pos x="841" y="1592"/>
                </a:cxn>
                <a:cxn ang="0">
                  <a:pos x="685" y="1577"/>
                </a:cxn>
                <a:cxn ang="0">
                  <a:pos x="519" y="1550"/>
                </a:cxn>
                <a:cxn ang="0">
                  <a:pos x="366" y="1452"/>
                </a:cxn>
                <a:cxn ang="0">
                  <a:pos x="235" y="1385"/>
                </a:cxn>
                <a:cxn ang="0">
                  <a:pos x="160" y="1171"/>
                </a:cxn>
                <a:cxn ang="0">
                  <a:pos x="54" y="1021"/>
                </a:cxn>
                <a:cxn ang="0">
                  <a:pos x="96" y="888"/>
                </a:cxn>
                <a:cxn ang="0">
                  <a:pos x="320" y="737"/>
                </a:cxn>
                <a:cxn ang="0">
                  <a:pos x="419" y="509"/>
                </a:cxn>
                <a:cxn ang="0">
                  <a:pos x="660" y="352"/>
                </a:cxn>
                <a:cxn ang="0">
                  <a:pos x="790" y="581"/>
                </a:cxn>
                <a:cxn ang="0">
                  <a:pos x="1418" y="801"/>
                </a:cxn>
                <a:cxn ang="0">
                  <a:pos x="1848" y="610"/>
                </a:cxn>
                <a:cxn ang="0">
                  <a:pos x="2125" y="482"/>
                </a:cxn>
                <a:cxn ang="0">
                  <a:pos x="2061" y="274"/>
                </a:cxn>
                <a:cxn ang="0">
                  <a:pos x="2159" y="77"/>
                </a:cxn>
              </a:cxnLst>
              <a:rect l="0" t="0" r="r" b="b"/>
              <a:pathLst>
                <a:path w="2807" h="2068">
                  <a:moveTo>
                    <a:pt x="1646" y="2065"/>
                  </a:moveTo>
                  <a:lnTo>
                    <a:pt x="1648" y="2065"/>
                  </a:lnTo>
                  <a:lnTo>
                    <a:pt x="1646" y="2066"/>
                  </a:lnTo>
                  <a:lnTo>
                    <a:pt x="1646" y="2065"/>
                  </a:lnTo>
                  <a:close/>
                  <a:moveTo>
                    <a:pt x="1669" y="2056"/>
                  </a:moveTo>
                  <a:lnTo>
                    <a:pt x="1673" y="2056"/>
                  </a:lnTo>
                  <a:lnTo>
                    <a:pt x="1673" y="2057"/>
                  </a:lnTo>
                  <a:lnTo>
                    <a:pt x="1669" y="2057"/>
                  </a:lnTo>
                  <a:lnTo>
                    <a:pt x="1669" y="2056"/>
                  </a:lnTo>
                  <a:close/>
                  <a:moveTo>
                    <a:pt x="1693" y="2033"/>
                  </a:moveTo>
                  <a:lnTo>
                    <a:pt x="1694" y="2033"/>
                  </a:lnTo>
                  <a:lnTo>
                    <a:pt x="1696" y="2038"/>
                  </a:lnTo>
                  <a:lnTo>
                    <a:pt x="1693" y="2038"/>
                  </a:lnTo>
                  <a:lnTo>
                    <a:pt x="1694" y="2036"/>
                  </a:lnTo>
                  <a:lnTo>
                    <a:pt x="1693" y="2035"/>
                  </a:lnTo>
                  <a:lnTo>
                    <a:pt x="1693" y="2033"/>
                  </a:lnTo>
                  <a:close/>
                  <a:moveTo>
                    <a:pt x="1708" y="1997"/>
                  </a:moveTo>
                  <a:lnTo>
                    <a:pt x="1708" y="1999"/>
                  </a:lnTo>
                  <a:lnTo>
                    <a:pt x="1709" y="1997"/>
                  </a:lnTo>
                  <a:lnTo>
                    <a:pt x="1708" y="1997"/>
                  </a:lnTo>
                  <a:close/>
                  <a:moveTo>
                    <a:pt x="1633" y="1991"/>
                  </a:moveTo>
                  <a:lnTo>
                    <a:pt x="1633" y="1993"/>
                  </a:lnTo>
                  <a:lnTo>
                    <a:pt x="1632" y="1993"/>
                  </a:lnTo>
                  <a:lnTo>
                    <a:pt x="1633" y="1991"/>
                  </a:lnTo>
                  <a:close/>
                  <a:moveTo>
                    <a:pt x="1688" y="1979"/>
                  </a:moveTo>
                  <a:lnTo>
                    <a:pt x="1690" y="1981"/>
                  </a:lnTo>
                  <a:lnTo>
                    <a:pt x="1690" y="1979"/>
                  </a:lnTo>
                  <a:lnTo>
                    <a:pt x="1688" y="1979"/>
                  </a:lnTo>
                  <a:close/>
                  <a:moveTo>
                    <a:pt x="1702" y="1972"/>
                  </a:moveTo>
                  <a:lnTo>
                    <a:pt x="1703" y="1975"/>
                  </a:lnTo>
                  <a:lnTo>
                    <a:pt x="1703" y="1976"/>
                  </a:lnTo>
                  <a:lnTo>
                    <a:pt x="1705" y="1976"/>
                  </a:lnTo>
                  <a:lnTo>
                    <a:pt x="1706" y="1978"/>
                  </a:lnTo>
                  <a:lnTo>
                    <a:pt x="1711" y="1979"/>
                  </a:lnTo>
                  <a:lnTo>
                    <a:pt x="1712" y="1979"/>
                  </a:lnTo>
                  <a:lnTo>
                    <a:pt x="1712" y="1978"/>
                  </a:lnTo>
                  <a:lnTo>
                    <a:pt x="1714" y="1979"/>
                  </a:lnTo>
                  <a:lnTo>
                    <a:pt x="1715" y="1985"/>
                  </a:lnTo>
                  <a:lnTo>
                    <a:pt x="1715" y="1988"/>
                  </a:lnTo>
                  <a:lnTo>
                    <a:pt x="1717" y="1991"/>
                  </a:lnTo>
                  <a:lnTo>
                    <a:pt x="1717" y="1994"/>
                  </a:lnTo>
                  <a:lnTo>
                    <a:pt x="1718" y="1996"/>
                  </a:lnTo>
                  <a:lnTo>
                    <a:pt x="1717" y="1997"/>
                  </a:lnTo>
                  <a:lnTo>
                    <a:pt x="1717" y="1996"/>
                  </a:lnTo>
                  <a:lnTo>
                    <a:pt x="1715" y="1996"/>
                  </a:lnTo>
                  <a:lnTo>
                    <a:pt x="1715" y="1997"/>
                  </a:lnTo>
                  <a:lnTo>
                    <a:pt x="1712" y="1999"/>
                  </a:lnTo>
                  <a:lnTo>
                    <a:pt x="1711" y="2000"/>
                  </a:lnTo>
                  <a:lnTo>
                    <a:pt x="1711" y="2002"/>
                  </a:lnTo>
                  <a:lnTo>
                    <a:pt x="1709" y="2002"/>
                  </a:lnTo>
                  <a:lnTo>
                    <a:pt x="1709" y="2000"/>
                  </a:lnTo>
                  <a:lnTo>
                    <a:pt x="1708" y="2000"/>
                  </a:lnTo>
                  <a:lnTo>
                    <a:pt x="1708" y="2003"/>
                  </a:lnTo>
                  <a:lnTo>
                    <a:pt x="1706" y="2005"/>
                  </a:lnTo>
                  <a:lnTo>
                    <a:pt x="1705" y="2005"/>
                  </a:lnTo>
                  <a:lnTo>
                    <a:pt x="1706" y="2006"/>
                  </a:lnTo>
                  <a:lnTo>
                    <a:pt x="1705" y="2006"/>
                  </a:lnTo>
                  <a:lnTo>
                    <a:pt x="1705" y="2008"/>
                  </a:lnTo>
                  <a:lnTo>
                    <a:pt x="1702" y="2008"/>
                  </a:lnTo>
                  <a:lnTo>
                    <a:pt x="1702" y="2012"/>
                  </a:lnTo>
                  <a:lnTo>
                    <a:pt x="1700" y="2012"/>
                  </a:lnTo>
                  <a:lnTo>
                    <a:pt x="1700" y="2015"/>
                  </a:lnTo>
                  <a:lnTo>
                    <a:pt x="1699" y="2017"/>
                  </a:lnTo>
                  <a:lnTo>
                    <a:pt x="1699" y="2018"/>
                  </a:lnTo>
                  <a:lnTo>
                    <a:pt x="1697" y="2018"/>
                  </a:lnTo>
                  <a:lnTo>
                    <a:pt x="1697" y="2020"/>
                  </a:lnTo>
                  <a:lnTo>
                    <a:pt x="1693" y="2020"/>
                  </a:lnTo>
                  <a:lnTo>
                    <a:pt x="1693" y="2021"/>
                  </a:lnTo>
                  <a:lnTo>
                    <a:pt x="1696" y="2021"/>
                  </a:lnTo>
                  <a:lnTo>
                    <a:pt x="1696" y="2023"/>
                  </a:lnTo>
                  <a:lnTo>
                    <a:pt x="1697" y="2020"/>
                  </a:lnTo>
                  <a:lnTo>
                    <a:pt x="1697" y="2024"/>
                  </a:lnTo>
                  <a:lnTo>
                    <a:pt x="1696" y="2024"/>
                  </a:lnTo>
                  <a:lnTo>
                    <a:pt x="1696" y="2026"/>
                  </a:lnTo>
                  <a:lnTo>
                    <a:pt x="1694" y="2026"/>
                  </a:lnTo>
                  <a:lnTo>
                    <a:pt x="1694" y="2032"/>
                  </a:lnTo>
                  <a:lnTo>
                    <a:pt x="1693" y="2032"/>
                  </a:lnTo>
                  <a:lnTo>
                    <a:pt x="1693" y="2033"/>
                  </a:lnTo>
                  <a:lnTo>
                    <a:pt x="1691" y="2033"/>
                  </a:lnTo>
                  <a:lnTo>
                    <a:pt x="1691" y="2035"/>
                  </a:lnTo>
                  <a:lnTo>
                    <a:pt x="1690" y="2036"/>
                  </a:lnTo>
                  <a:lnTo>
                    <a:pt x="1693" y="2036"/>
                  </a:lnTo>
                  <a:lnTo>
                    <a:pt x="1693" y="2038"/>
                  </a:lnTo>
                  <a:lnTo>
                    <a:pt x="1691" y="2039"/>
                  </a:lnTo>
                  <a:lnTo>
                    <a:pt x="1690" y="2042"/>
                  </a:lnTo>
                  <a:lnTo>
                    <a:pt x="1690" y="2044"/>
                  </a:lnTo>
                  <a:lnTo>
                    <a:pt x="1685" y="2044"/>
                  </a:lnTo>
                  <a:lnTo>
                    <a:pt x="1687" y="2042"/>
                  </a:lnTo>
                  <a:lnTo>
                    <a:pt x="1685" y="2042"/>
                  </a:lnTo>
                  <a:lnTo>
                    <a:pt x="1685" y="2044"/>
                  </a:lnTo>
                  <a:lnTo>
                    <a:pt x="1682" y="2044"/>
                  </a:lnTo>
                  <a:lnTo>
                    <a:pt x="1678" y="2048"/>
                  </a:lnTo>
                  <a:lnTo>
                    <a:pt x="1676" y="2048"/>
                  </a:lnTo>
                  <a:lnTo>
                    <a:pt x="1675" y="2050"/>
                  </a:lnTo>
                  <a:lnTo>
                    <a:pt x="1675" y="2051"/>
                  </a:lnTo>
                  <a:lnTo>
                    <a:pt x="1673" y="2051"/>
                  </a:lnTo>
                  <a:lnTo>
                    <a:pt x="1673" y="2053"/>
                  </a:lnTo>
                  <a:lnTo>
                    <a:pt x="1675" y="2053"/>
                  </a:lnTo>
                  <a:lnTo>
                    <a:pt x="1673" y="2056"/>
                  </a:lnTo>
                  <a:lnTo>
                    <a:pt x="1673" y="2054"/>
                  </a:lnTo>
                  <a:lnTo>
                    <a:pt x="1672" y="2056"/>
                  </a:lnTo>
                  <a:lnTo>
                    <a:pt x="1672" y="2054"/>
                  </a:lnTo>
                  <a:lnTo>
                    <a:pt x="1669" y="2054"/>
                  </a:lnTo>
                  <a:lnTo>
                    <a:pt x="1669" y="2056"/>
                  </a:lnTo>
                  <a:lnTo>
                    <a:pt x="1666" y="2056"/>
                  </a:lnTo>
                  <a:lnTo>
                    <a:pt x="1663" y="2057"/>
                  </a:lnTo>
                  <a:lnTo>
                    <a:pt x="1663" y="2056"/>
                  </a:lnTo>
                  <a:lnTo>
                    <a:pt x="1660" y="2056"/>
                  </a:lnTo>
                  <a:lnTo>
                    <a:pt x="1658" y="2057"/>
                  </a:lnTo>
                  <a:lnTo>
                    <a:pt x="1658" y="2062"/>
                  </a:lnTo>
                  <a:lnTo>
                    <a:pt x="1655" y="2062"/>
                  </a:lnTo>
                  <a:lnTo>
                    <a:pt x="1655" y="2063"/>
                  </a:lnTo>
                  <a:lnTo>
                    <a:pt x="1658" y="2063"/>
                  </a:lnTo>
                  <a:lnTo>
                    <a:pt x="1658" y="2065"/>
                  </a:lnTo>
                  <a:lnTo>
                    <a:pt x="1657" y="2066"/>
                  </a:lnTo>
                  <a:lnTo>
                    <a:pt x="1655" y="2065"/>
                  </a:lnTo>
                  <a:lnTo>
                    <a:pt x="1652" y="2065"/>
                  </a:lnTo>
                  <a:lnTo>
                    <a:pt x="1652" y="2066"/>
                  </a:lnTo>
                  <a:lnTo>
                    <a:pt x="1651" y="2068"/>
                  </a:lnTo>
                  <a:lnTo>
                    <a:pt x="1651" y="2066"/>
                  </a:lnTo>
                  <a:lnTo>
                    <a:pt x="1649" y="2065"/>
                  </a:lnTo>
                  <a:lnTo>
                    <a:pt x="1651" y="2065"/>
                  </a:lnTo>
                  <a:lnTo>
                    <a:pt x="1651" y="2063"/>
                  </a:lnTo>
                  <a:lnTo>
                    <a:pt x="1649" y="2063"/>
                  </a:lnTo>
                  <a:lnTo>
                    <a:pt x="1649" y="2065"/>
                  </a:lnTo>
                  <a:lnTo>
                    <a:pt x="1648" y="2065"/>
                  </a:lnTo>
                  <a:lnTo>
                    <a:pt x="1648" y="2063"/>
                  </a:lnTo>
                  <a:lnTo>
                    <a:pt x="1646" y="2063"/>
                  </a:lnTo>
                  <a:lnTo>
                    <a:pt x="1646" y="2062"/>
                  </a:lnTo>
                  <a:lnTo>
                    <a:pt x="1645" y="2062"/>
                  </a:lnTo>
                  <a:lnTo>
                    <a:pt x="1641" y="2060"/>
                  </a:lnTo>
                  <a:lnTo>
                    <a:pt x="1635" y="2060"/>
                  </a:lnTo>
                  <a:lnTo>
                    <a:pt x="1633" y="2062"/>
                  </a:lnTo>
                  <a:lnTo>
                    <a:pt x="1632" y="2062"/>
                  </a:lnTo>
                  <a:lnTo>
                    <a:pt x="1632" y="2059"/>
                  </a:lnTo>
                  <a:lnTo>
                    <a:pt x="1630" y="2059"/>
                  </a:lnTo>
                  <a:lnTo>
                    <a:pt x="1630" y="2057"/>
                  </a:lnTo>
                  <a:lnTo>
                    <a:pt x="1623" y="2057"/>
                  </a:lnTo>
                  <a:lnTo>
                    <a:pt x="1623" y="2056"/>
                  </a:lnTo>
                  <a:lnTo>
                    <a:pt x="1620" y="2056"/>
                  </a:lnTo>
                  <a:lnTo>
                    <a:pt x="1620" y="2054"/>
                  </a:lnTo>
                  <a:lnTo>
                    <a:pt x="1618" y="2054"/>
                  </a:lnTo>
                  <a:lnTo>
                    <a:pt x="1617" y="2053"/>
                  </a:lnTo>
                  <a:lnTo>
                    <a:pt x="1615" y="2053"/>
                  </a:lnTo>
                  <a:lnTo>
                    <a:pt x="1615" y="2051"/>
                  </a:lnTo>
                  <a:lnTo>
                    <a:pt x="1611" y="2051"/>
                  </a:lnTo>
                  <a:lnTo>
                    <a:pt x="1611" y="2050"/>
                  </a:lnTo>
                  <a:lnTo>
                    <a:pt x="1609" y="2048"/>
                  </a:lnTo>
                  <a:lnTo>
                    <a:pt x="1611" y="2048"/>
                  </a:lnTo>
                  <a:lnTo>
                    <a:pt x="1611" y="2039"/>
                  </a:lnTo>
                  <a:lnTo>
                    <a:pt x="1609" y="2038"/>
                  </a:lnTo>
                  <a:lnTo>
                    <a:pt x="1609" y="2036"/>
                  </a:lnTo>
                  <a:lnTo>
                    <a:pt x="1608" y="2036"/>
                  </a:lnTo>
                  <a:lnTo>
                    <a:pt x="1608" y="2033"/>
                  </a:lnTo>
                  <a:lnTo>
                    <a:pt x="1609" y="2032"/>
                  </a:lnTo>
                  <a:lnTo>
                    <a:pt x="1609" y="2026"/>
                  </a:lnTo>
                  <a:lnTo>
                    <a:pt x="1608" y="2023"/>
                  </a:lnTo>
                  <a:lnTo>
                    <a:pt x="1608" y="2021"/>
                  </a:lnTo>
                  <a:lnTo>
                    <a:pt x="1609" y="2021"/>
                  </a:lnTo>
                  <a:lnTo>
                    <a:pt x="1609" y="2020"/>
                  </a:lnTo>
                  <a:lnTo>
                    <a:pt x="1611" y="2020"/>
                  </a:lnTo>
                  <a:lnTo>
                    <a:pt x="1609" y="2018"/>
                  </a:lnTo>
                  <a:lnTo>
                    <a:pt x="1609" y="2017"/>
                  </a:lnTo>
                  <a:lnTo>
                    <a:pt x="1608" y="2017"/>
                  </a:lnTo>
                  <a:lnTo>
                    <a:pt x="1608" y="2014"/>
                  </a:lnTo>
                  <a:lnTo>
                    <a:pt x="1611" y="2011"/>
                  </a:lnTo>
                  <a:lnTo>
                    <a:pt x="1611" y="2009"/>
                  </a:lnTo>
                  <a:lnTo>
                    <a:pt x="1614" y="2009"/>
                  </a:lnTo>
                  <a:lnTo>
                    <a:pt x="1614" y="2008"/>
                  </a:lnTo>
                  <a:lnTo>
                    <a:pt x="1615" y="2006"/>
                  </a:lnTo>
                  <a:lnTo>
                    <a:pt x="1617" y="2006"/>
                  </a:lnTo>
                  <a:lnTo>
                    <a:pt x="1618" y="2005"/>
                  </a:lnTo>
                  <a:lnTo>
                    <a:pt x="1621" y="2003"/>
                  </a:lnTo>
                  <a:lnTo>
                    <a:pt x="1623" y="2003"/>
                  </a:lnTo>
                  <a:lnTo>
                    <a:pt x="1623" y="2002"/>
                  </a:lnTo>
                  <a:lnTo>
                    <a:pt x="1626" y="1999"/>
                  </a:lnTo>
                  <a:lnTo>
                    <a:pt x="1629" y="1997"/>
                  </a:lnTo>
                  <a:lnTo>
                    <a:pt x="1630" y="1997"/>
                  </a:lnTo>
                  <a:lnTo>
                    <a:pt x="1630" y="1996"/>
                  </a:lnTo>
                  <a:lnTo>
                    <a:pt x="1632" y="1996"/>
                  </a:lnTo>
                  <a:lnTo>
                    <a:pt x="1633" y="1994"/>
                  </a:lnTo>
                  <a:lnTo>
                    <a:pt x="1635" y="1994"/>
                  </a:lnTo>
                  <a:lnTo>
                    <a:pt x="1635" y="1993"/>
                  </a:lnTo>
                  <a:lnTo>
                    <a:pt x="1636" y="1991"/>
                  </a:lnTo>
                  <a:lnTo>
                    <a:pt x="1638" y="1991"/>
                  </a:lnTo>
                  <a:lnTo>
                    <a:pt x="1638" y="1993"/>
                  </a:lnTo>
                  <a:lnTo>
                    <a:pt x="1639" y="1993"/>
                  </a:lnTo>
                  <a:lnTo>
                    <a:pt x="1638" y="1991"/>
                  </a:lnTo>
                  <a:lnTo>
                    <a:pt x="1639" y="1991"/>
                  </a:lnTo>
                  <a:lnTo>
                    <a:pt x="1639" y="1990"/>
                  </a:lnTo>
                  <a:lnTo>
                    <a:pt x="1638" y="1990"/>
                  </a:lnTo>
                  <a:lnTo>
                    <a:pt x="1638" y="1988"/>
                  </a:lnTo>
                  <a:lnTo>
                    <a:pt x="1635" y="1991"/>
                  </a:lnTo>
                  <a:lnTo>
                    <a:pt x="1633" y="1991"/>
                  </a:lnTo>
                  <a:lnTo>
                    <a:pt x="1632" y="1990"/>
                  </a:lnTo>
                  <a:lnTo>
                    <a:pt x="1635" y="1987"/>
                  </a:lnTo>
                  <a:lnTo>
                    <a:pt x="1635" y="1985"/>
                  </a:lnTo>
                  <a:lnTo>
                    <a:pt x="1636" y="1985"/>
                  </a:lnTo>
                  <a:lnTo>
                    <a:pt x="1636" y="1984"/>
                  </a:lnTo>
                  <a:lnTo>
                    <a:pt x="1638" y="1984"/>
                  </a:lnTo>
                  <a:lnTo>
                    <a:pt x="1639" y="1982"/>
                  </a:lnTo>
                  <a:lnTo>
                    <a:pt x="1639" y="1984"/>
                  </a:lnTo>
                  <a:lnTo>
                    <a:pt x="1642" y="1984"/>
                  </a:lnTo>
                  <a:lnTo>
                    <a:pt x="1643" y="1985"/>
                  </a:lnTo>
                  <a:lnTo>
                    <a:pt x="1645" y="1985"/>
                  </a:lnTo>
                  <a:lnTo>
                    <a:pt x="1646" y="1987"/>
                  </a:lnTo>
                  <a:lnTo>
                    <a:pt x="1648" y="1987"/>
                  </a:lnTo>
                  <a:lnTo>
                    <a:pt x="1648" y="1984"/>
                  </a:lnTo>
                  <a:lnTo>
                    <a:pt x="1649" y="1984"/>
                  </a:lnTo>
                  <a:lnTo>
                    <a:pt x="1651" y="1982"/>
                  </a:lnTo>
                  <a:lnTo>
                    <a:pt x="1649" y="1982"/>
                  </a:lnTo>
                  <a:lnTo>
                    <a:pt x="1649" y="1981"/>
                  </a:lnTo>
                  <a:lnTo>
                    <a:pt x="1651" y="1979"/>
                  </a:lnTo>
                  <a:lnTo>
                    <a:pt x="1654" y="1979"/>
                  </a:lnTo>
                  <a:lnTo>
                    <a:pt x="1655" y="1978"/>
                  </a:lnTo>
                  <a:lnTo>
                    <a:pt x="1658" y="1978"/>
                  </a:lnTo>
                  <a:lnTo>
                    <a:pt x="1658" y="1979"/>
                  </a:lnTo>
                  <a:lnTo>
                    <a:pt x="1660" y="1981"/>
                  </a:lnTo>
                  <a:lnTo>
                    <a:pt x="1661" y="1981"/>
                  </a:lnTo>
                  <a:lnTo>
                    <a:pt x="1661" y="1979"/>
                  </a:lnTo>
                  <a:lnTo>
                    <a:pt x="1663" y="1979"/>
                  </a:lnTo>
                  <a:lnTo>
                    <a:pt x="1663" y="1982"/>
                  </a:lnTo>
                  <a:lnTo>
                    <a:pt x="1664" y="1982"/>
                  </a:lnTo>
                  <a:lnTo>
                    <a:pt x="1664" y="1981"/>
                  </a:lnTo>
                  <a:lnTo>
                    <a:pt x="1666" y="1979"/>
                  </a:lnTo>
                  <a:lnTo>
                    <a:pt x="1667" y="1979"/>
                  </a:lnTo>
                  <a:lnTo>
                    <a:pt x="1669" y="1981"/>
                  </a:lnTo>
                  <a:lnTo>
                    <a:pt x="1669" y="1984"/>
                  </a:lnTo>
                  <a:lnTo>
                    <a:pt x="1670" y="1984"/>
                  </a:lnTo>
                  <a:lnTo>
                    <a:pt x="1670" y="1982"/>
                  </a:lnTo>
                  <a:lnTo>
                    <a:pt x="1672" y="1982"/>
                  </a:lnTo>
                  <a:lnTo>
                    <a:pt x="1672" y="1981"/>
                  </a:lnTo>
                  <a:lnTo>
                    <a:pt x="1673" y="1981"/>
                  </a:lnTo>
                  <a:lnTo>
                    <a:pt x="1673" y="1979"/>
                  </a:lnTo>
                  <a:lnTo>
                    <a:pt x="1675" y="1979"/>
                  </a:lnTo>
                  <a:lnTo>
                    <a:pt x="1675" y="1981"/>
                  </a:lnTo>
                  <a:lnTo>
                    <a:pt x="1676" y="1981"/>
                  </a:lnTo>
                  <a:lnTo>
                    <a:pt x="1676" y="1978"/>
                  </a:lnTo>
                  <a:lnTo>
                    <a:pt x="1678" y="1976"/>
                  </a:lnTo>
                  <a:lnTo>
                    <a:pt x="1682" y="1976"/>
                  </a:lnTo>
                  <a:lnTo>
                    <a:pt x="1682" y="1978"/>
                  </a:lnTo>
                  <a:lnTo>
                    <a:pt x="1684" y="1978"/>
                  </a:lnTo>
                  <a:lnTo>
                    <a:pt x="1684" y="1976"/>
                  </a:lnTo>
                  <a:lnTo>
                    <a:pt x="1687" y="1976"/>
                  </a:lnTo>
                  <a:lnTo>
                    <a:pt x="1688" y="1978"/>
                  </a:lnTo>
                  <a:lnTo>
                    <a:pt x="1687" y="1978"/>
                  </a:lnTo>
                  <a:lnTo>
                    <a:pt x="1688" y="1979"/>
                  </a:lnTo>
                  <a:lnTo>
                    <a:pt x="1688" y="1975"/>
                  </a:lnTo>
                  <a:lnTo>
                    <a:pt x="1690" y="1976"/>
                  </a:lnTo>
                  <a:lnTo>
                    <a:pt x="1693" y="1978"/>
                  </a:lnTo>
                  <a:lnTo>
                    <a:pt x="1694" y="1978"/>
                  </a:lnTo>
                  <a:lnTo>
                    <a:pt x="1694" y="1979"/>
                  </a:lnTo>
                  <a:lnTo>
                    <a:pt x="1697" y="1979"/>
                  </a:lnTo>
                  <a:lnTo>
                    <a:pt x="1699" y="1982"/>
                  </a:lnTo>
                  <a:lnTo>
                    <a:pt x="1699" y="1978"/>
                  </a:lnTo>
                  <a:lnTo>
                    <a:pt x="1697" y="1978"/>
                  </a:lnTo>
                  <a:lnTo>
                    <a:pt x="1697" y="1973"/>
                  </a:lnTo>
                  <a:lnTo>
                    <a:pt x="1700" y="1973"/>
                  </a:lnTo>
                  <a:lnTo>
                    <a:pt x="1702" y="1972"/>
                  </a:lnTo>
                  <a:close/>
                  <a:moveTo>
                    <a:pt x="1690" y="1946"/>
                  </a:moveTo>
                  <a:lnTo>
                    <a:pt x="1691" y="1946"/>
                  </a:lnTo>
                  <a:lnTo>
                    <a:pt x="1693" y="1948"/>
                  </a:lnTo>
                  <a:lnTo>
                    <a:pt x="1693" y="1949"/>
                  </a:lnTo>
                  <a:lnTo>
                    <a:pt x="1691" y="1951"/>
                  </a:lnTo>
                  <a:lnTo>
                    <a:pt x="1691" y="1948"/>
                  </a:lnTo>
                  <a:lnTo>
                    <a:pt x="1690" y="1948"/>
                  </a:lnTo>
                  <a:lnTo>
                    <a:pt x="1690" y="1946"/>
                  </a:lnTo>
                  <a:close/>
                  <a:moveTo>
                    <a:pt x="1664" y="1943"/>
                  </a:moveTo>
                  <a:lnTo>
                    <a:pt x="1663" y="1945"/>
                  </a:lnTo>
                  <a:lnTo>
                    <a:pt x="1664" y="1945"/>
                  </a:lnTo>
                  <a:lnTo>
                    <a:pt x="1664" y="1943"/>
                  </a:lnTo>
                  <a:close/>
                  <a:moveTo>
                    <a:pt x="1697" y="1933"/>
                  </a:moveTo>
                  <a:lnTo>
                    <a:pt x="1700" y="1933"/>
                  </a:lnTo>
                  <a:lnTo>
                    <a:pt x="1700" y="1934"/>
                  </a:lnTo>
                  <a:lnTo>
                    <a:pt x="1699" y="1934"/>
                  </a:lnTo>
                  <a:lnTo>
                    <a:pt x="1699" y="1936"/>
                  </a:lnTo>
                  <a:lnTo>
                    <a:pt x="1697" y="1936"/>
                  </a:lnTo>
                  <a:lnTo>
                    <a:pt x="1696" y="1934"/>
                  </a:lnTo>
                  <a:lnTo>
                    <a:pt x="1697" y="1933"/>
                  </a:lnTo>
                  <a:close/>
                  <a:moveTo>
                    <a:pt x="1697" y="1931"/>
                  </a:moveTo>
                  <a:lnTo>
                    <a:pt x="1699" y="1931"/>
                  </a:lnTo>
                  <a:lnTo>
                    <a:pt x="1697" y="1933"/>
                  </a:lnTo>
                  <a:lnTo>
                    <a:pt x="1697" y="1931"/>
                  </a:lnTo>
                  <a:close/>
                  <a:moveTo>
                    <a:pt x="1630" y="1927"/>
                  </a:moveTo>
                  <a:lnTo>
                    <a:pt x="1632" y="1927"/>
                  </a:lnTo>
                  <a:lnTo>
                    <a:pt x="1630" y="1928"/>
                  </a:lnTo>
                  <a:lnTo>
                    <a:pt x="1629" y="1928"/>
                  </a:lnTo>
                  <a:lnTo>
                    <a:pt x="1630" y="1927"/>
                  </a:lnTo>
                  <a:close/>
                  <a:moveTo>
                    <a:pt x="1694" y="1925"/>
                  </a:moveTo>
                  <a:lnTo>
                    <a:pt x="1696" y="1927"/>
                  </a:lnTo>
                  <a:lnTo>
                    <a:pt x="1696" y="1928"/>
                  </a:lnTo>
                  <a:lnTo>
                    <a:pt x="1694" y="1931"/>
                  </a:lnTo>
                  <a:lnTo>
                    <a:pt x="1694" y="1933"/>
                  </a:lnTo>
                  <a:lnTo>
                    <a:pt x="1693" y="1931"/>
                  </a:lnTo>
                  <a:lnTo>
                    <a:pt x="1693" y="1930"/>
                  </a:lnTo>
                  <a:lnTo>
                    <a:pt x="1685" y="1930"/>
                  </a:lnTo>
                  <a:lnTo>
                    <a:pt x="1684" y="1931"/>
                  </a:lnTo>
                  <a:lnTo>
                    <a:pt x="1682" y="1931"/>
                  </a:lnTo>
                  <a:lnTo>
                    <a:pt x="1682" y="1927"/>
                  </a:lnTo>
                  <a:lnTo>
                    <a:pt x="1688" y="1927"/>
                  </a:lnTo>
                  <a:lnTo>
                    <a:pt x="1690" y="1928"/>
                  </a:lnTo>
                  <a:lnTo>
                    <a:pt x="1690" y="1927"/>
                  </a:lnTo>
                  <a:lnTo>
                    <a:pt x="1693" y="1927"/>
                  </a:lnTo>
                  <a:lnTo>
                    <a:pt x="1694" y="1925"/>
                  </a:lnTo>
                  <a:close/>
                  <a:moveTo>
                    <a:pt x="1702" y="1914"/>
                  </a:moveTo>
                  <a:lnTo>
                    <a:pt x="1702" y="1917"/>
                  </a:lnTo>
                  <a:lnTo>
                    <a:pt x="1700" y="1918"/>
                  </a:lnTo>
                  <a:lnTo>
                    <a:pt x="1700" y="1915"/>
                  </a:lnTo>
                  <a:lnTo>
                    <a:pt x="1702" y="1914"/>
                  </a:lnTo>
                  <a:close/>
                  <a:moveTo>
                    <a:pt x="1702" y="1911"/>
                  </a:moveTo>
                  <a:lnTo>
                    <a:pt x="1700" y="1912"/>
                  </a:lnTo>
                  <a:lnTo>
                    <a:pt x="1702" y="1912"/>
                  </a:lnTo>
                  <a:lnTo>
                    <a:pt x="1702" y="1911"/>
                  </a:lnTo>
                  <a:close/>
                  <a:moveTo>
                    <a:pt x="1703" y="1909"/>
                  </a:moveTo>
                  <a:lnTo>
                    <a:pt x="1702" y="1911"/>
                  </a:lnTo>
                  <a:lnTo>
                    <a:pt x="1705" y="1911"/>
                  </a:lnTo>
                  <a:lnTo>
                    <a:pt x="1706" y="1909"/>
                  </a:lnTo>
                  <a:lnTo>
                    <a:pt x="1703" y="1909"/>
                  </a:lnTo>
                  <a:close/>
                  <a:moveTo>
                    <a:pt x="1688" y="1908"/>
                  </a:moveTo>
                  <a:lnTo>
                    <a:pt x="1687" y="1909"/>
                  </a:lnTo>
                  <a:lnTo>
                    <a:pt x="1688" y="1909"/>
                  </a:lnTo>
                  <a:lnTo>
                    <a:pt x="1688" y="1908"/>
                  </a:lnTo>
                  <a:close/>
                  <a:moveTo>
                    <a:pt x="1718" y="1906"/>
                  </a:moveTo>
                  <a:lnTo>
                    <a:pt x="1720" y="1906"/>
                  </a:lnTo>
                  <a:lnTo>
                    <a:pt x="1720" y="1908"/>
                  </a:lnTo>
                  <a:lnTo>
                    <a:pt x="1718" y="1908"/>
                  </a:lnTo>
                  <a:lnTo>
                    <a:pt x="1717" y="1909"/>
                  </a:lnTo>
                  <a:lnTo>
                    <a:pt x="1717" y="1908"/>
                  </a:lnTo>
                  <a:lnTo>
                    <a:pt x="1718" y="1906"/>
                  </a:lnTo>
                  <a:close/>
                  <a:moveTo>
                    <a:pt x="1579" y="1906"/>
                  </a:moveTo>
                  <a:lnTo>
                    <a:pt x="1581" y="1906"/>
                  </a:lnTo>
                  <a:lnTo>
                    <a:pt x="1578" y="1909"/>
                  </a:lnTo>
                  <a:lnTo>
                    <a:pt x="1578" y="1908"/>
                  </a:lnTo>
                  <a:lnTo>
                    <a:pt x="1579" y="1906"/>
                  </a:lnTo>
                  <a:close/>
                  <a:moveTo>
                    <a:pt x="1735" y="1903"/>
                  </a:moveTo>
                  <a:lnTo>
                    <a:pt x="1736" y="1903"/>
                  </a:lnTo>
                  <a:lnTo>
                    <a:pt x="1736" y="1905"/>
                  </a:lnTo>
                  <a:lnTo>
                    <a:pt x="1735" y="1903"/>
                  </a:lnTo>
                  <a:close/>
                  <a:moveTo>
                    <a:pt x="1786" y="1900"/>
                  </a:moveTo>
                  <a:lnTo>
                    <a:pt x="1787" y="1900"/>
                  </a:lnTo>
                  <a:lnTo>
                    <a:pt x="1787" y="1902"/>
                  </a:lnTo>
                  <a:lnTo>
                    <a:pt x="1786" y="1900"/>
                  </a:lnTo>
                  <a:close/>
                  <a:moveTo>
                    <a:pt x="1602" y="1900"/>
                  </a:moveTo>
                  <a:lnTo>
                    <a:pt x="1603" y="1902"/>
                  </a:lnTo>
                  <a:lnTo>
                    <a:pt x="1602" y="1902"/>
                  </a:lnTo>
                  <a:lnTo>
                    <a:pt x="1602" y="1900"/>
                  </a:lnTo>
                  <a:close/>
                  <a:moveTo>
                    <a:pt x="1617" y="1899"/>
                  </a:moveTo>
                  <a:lnTo>
                    <a:pt x="1618" y="1899"/>
                  </a:lnTo>
                  <a:lnTo>
                    <a:pt x="1618" y="1900"/>
                  </a:lnTo>
                  <a:lnTo>
                    <a:pt x="1617" y="1900"/>
                  </a:lnTo>
                  <a:lnTo>
                    <a:pt x="1617" y="1899"/>
                  </a:lnTo>
                  <a:close/>
                  <a:moveTo>
                    <a:pt x="1759" y="1897"/>
                  </a:moveTo>
                  <a:lnTo>
                    <a:pt x="1760" y="1899"/>
                  </a:lnTo>
                  <a:lnTo>
                    <a:pt x="1763" y="1899"/>
                  </a:lnTo>
                  <a:lnTo>
                    <a:pt x="1763" y="1900"/>
                  </a:lnTo>
                  <a:lnTo>
                    <a:pt x="1759" y="1900"/>
                  </a:lnTo>
                  <a:lnTo>
                    <a:pt x="1756" y="1903"/>
                  </a:lnTo>
                  <a:lnTo>
                    <a:pt x="1754" y="1903"/>
                  </a:lnTo>
                  <a:lnTo>
                    <a:pt x="1754" y="1902"/>
                  </a:lnTo>
                  <a:lnTo>
                    <a:pt x="1756" y="1900"/>
                  </a:lnTo>
                  <a:lnTo>
                    <a:pt x="1754" y="1899"/>
                  </a:lnTo>
                  <a:lnTo>
                    <a:pt x="1757" y="1899"/>
                  </a:lnTo>
                  <a:lnTo>
                    <a:pt x="1759" y="1897"/>
                  </a:lnTo>
                  <a:close/>
                  <a:moveTo>
                    <a:pt x="1792" y="1896"/>
                  </a:moveTo>
                  <a:lnTo>
                    <a:pt x="1793" y="1896"/>
                  </a:lnTo>
                  <a:lnTo>
                    <a:pt x="1793" y="1897"/>
                  </a:lnTo>
                  <a:lnTo>
                    <a:pt x="1792" y="1897"/>
                  </a:lnTo>
                  <a:lnTo>
                    <a:pt x="1792" y="1899"/>
                  </a:lnTo>
                  <a:lnTo>
                    <a:pt x="1790" y="1900"/>
                  </a:lnTo>
                  <a:lnTo>
                    <a:pt x="1787" y="1900"/>
                  </a:lnTo>
                  <a:lnTo>
                    <a:pt x="1789" y="1899"/>
                  </a:lnTo>
                  <a:lnTo>
                    <a:pt x="1789" y="1897"/>
                  </a:lnTo>
                  <a:lnTo>
                    <a:pt x="1792" y="1896"/>
                  </a:lnTo>
                  <a:close/>
                  <a:moveTo>
                    <a:pt x="1798" y="1893"/>
                  </a:moveTo>
                  <a:lnTo>
                    <a:pt x="1802" y="1893"/>
                  </a:lnTo>
                  <a:lnTo>
                    <a:pt x="1802" y="1894"/>
                  </a:lnTo>
                  <a:lnTo>
                    <a:pt x="1801" y="1894"/>
                  </a:lnTo>
                  <a:lnTo>
                    <a:pt x="1799" y="1896"/>
                  </a:lnTo>
                  <a:lnTo>
                    <a:pt x="1799" y="1902"/>
                  </a:lnTo>
                  <a:lnTo>
                    <a:pt x="1798" y="1902"/>
                  </a:lnTo>
                  <a:lnTo>
                    <a:pt x="1798" y="1900"/>
                  </a:lnTo>
                  <a:lnTo>
                    <a:pt x="1796" y="1900"/>
                  </a:lnTo>
                  <a:lnTo>
                    <a:pt x="1798" y="1897"/>
                  </a:lnTo>
                  <a:lnTo>
                    <a:pt x="1795" y="1897"/>
                  </a:lnTo>
                  <a:lnTo>
                    <a:pt x="1795" y="1896"/>
                  </a:lnTo>
                  <a:lnTo>
                    <a:pt x="1796" y="1896"/>
                  </a:lnTo>
                  <a:lnTo>
                    <a:pt x="1796" y="1894"/>
                  </a:lnTo>
                  <a:lnTo>
                    <a:pt x="1798" y="1894"/>
                  </a:lnTo>
                  <a:lnTo>
                    <a:pt x="1798" y="1893"/>
                  </a:lnTo>
                  <a:close/>
                  <a:moveTo>
                    <a:pt x="1820" y="1884"/>
                  </a:moveTo>
                  <a:lnTo>
                    <a:pt x="1821" y="1885"/>
                  </a:lnTo>
                  <a:lnTo>
                    <a:pt x="1821" y="1887"/>
                  </a:lnTo>
                  <a:lnTo>
                    <a:pt x="1818" y="1887"/>
                  </a:lnTo>
                  <a:lnTo>
                    <a:pt x="1818" y="1885"/>
                  </a:lnTo>
                  <a:lnTo>
                    <a:pt x="1820" y="1884"/>
                  </a:lnTo>
                  <a:close/>
                  <a:moveTo>
                    <a:pt x="1842" y="1881"/>
                  </a:moveTo>
                  <a:lnTo>
                    <a:pt x="1844" y="1881"/>
                  </a:lnTo>
                  <a:lnTo>
                    <a:pt x="1844" y="1882"/>
                  </a:lnTo>
                  <a:lnTo>
                    <a:pt x="1842" y="1882"/>
                  </a:lnTo>
                  <a:lnTo>
                    <a:pt x="1842" y="1881"/>
                  </a:lnTo>
                  <a:close/>
                  <a:moveTo>
                    <a:pt x="1865" y="1879"/>
                  </a:moveTo>
                  <a:lnTo>
                    <a:pt x="1868" y="1879"/>
                  </a:lnTo>
                  <a:lnTo>
                    <a:pt x="1865" y="1881"/>
                  </a:lnTo>
                  <a:lnTo>
                    <a:pt x="1863" y="1881"/>
                  </a:lnTo>
                  <a:lnTo>
                    <a:pt x="1865" y="1879"/>
                  </a:lnTo>
                  <a:close/>
                  <a:moveTo>
                    <a:pt x="1824" y="1878"/>
                  </a:moveTo>
                  <a:lnTo>
                    <a:pt x="1827" y="1878"/>
                  </a:lnTo>
                  <a:lnTo>
                    <a:pt x="1826" y="1879"/>
                  </a:lnTo>
                  <a:lnTo>
                    <a:pt x="1826" y="1881"/>
                  </a:lnTo>
                  <a:lnTo>
                    <a:pt x="1823" y="1881"/>
                  </a:lnTo>
                  <a:lnTo>
                    <a:pt x="1824" y="1878"/>
                  </a:lnTo>
                  <a:close/>
                  <a:moveTo>
                    <a:pt x="1832" y="1875"/>
                  </a:moveTo>
                  <a:lnTo>
                    <a:pt x="1835" y="1875"/>
                  </a:lnTo>
                  <a:lnTo>
                    <a:pt x="1835" y="1876"/>
                  </a:lnTo>
                  <a:lnTo>
                    <a:pt x="1833" y="1876"/>
                  </a:lnTo>
                  <a:lnTo>
                    <a:pt x="1833" y="1878"/>
                  </a:lnTo>
                  <a:lnTo>
                    <a:pt x="1830" y="1878"/>
                  </a:lnTo>
                  <a:lnTo>
                    <a:pt x="1830" y="1876"/>
                  </a:lnTo>
                  <a:lnTo>
                    <a:pt x="1832" y="1875"/>
                  </a:lnTo>
                  <a:close/>
                  <a:moveTo>
                    <a:pt x="1824" y="1873"/>
                  </a:moveTo>
                  <a:lnTo>
                    <a:pt x="1824" y="1876"/>
                  </a:lnTo>
                  <a:lnTo>
                    <a:pt x="1823" y="1878"/>
                  </a:lnTo>
                  <a:lnTo>
                    <a:pt x="1821" y="1878"/>
                  </a:lnTo>
                  <a:lnTo>
                    <a:pt x="1820" y="1876"/>
                  </a:lnTo>
                  <a:lnTo>
                    <a:pt x="1821" y="1875"/>
                  </a:lnTo>
                  <a:lnTo>
                    <a:pt x="1823" y="1875"/>
                  </a:lnTo>
                  <a:lnTo>
                    <a:pt x="1824" y="1873"/>
                  </a:lnTo>
                  <a:close/>
                  <a:moveTo>
                    <a:pt x="1863" y="1870"/>
                  </a:moveTo>
                  <a:lnTo>
                    <a:pt x="1865" y="1872"/>
                  </a:lnTo>
                  <a:lnTo>
                    <a:pt x="1863" y="1872"/>
                  </a:lnTo>
                  <a:lnTo>
                    <a:pt x="1863" y="1870"/>
                  </a:lnTo>
                  <a:close/>
                  <a:moveTo>
                    <a:pt x="1859" y="1870"/>
                  </a:moveTo>
                  <a:lnTo>
                    <a:pt x="1860" y="1870"/>
                  </a:lnTo>
                  <a:lnTo>
                    <a:pt x="1860" y="1872"/>
                  </a:lnTo>
                  <a:lnTo>
                    <a:pt x="1859" y="1873"/>
                  </a:lnTo>
                  <a:lnTo>
                    <a:pt x="1859" y="1870"/>
                  </a:lnTo>
                  <a:close/>
                  <a:moveTo>
                    <a:pt x="1860" y="1867"/>
                  </a:moveTo>
                  <a:lnTo>
                    <a:pt x="1865" y="1867"/>
                  </a:lnTo>
                  <a:lnTo>
                    <a:pt x="1865" y="1869"/>
                  </a:lnTo>
                  <a:lnTo>
                    <a:pt x="1866" y="1870"/>
                  </a:lnTo>
                  <a:lnTo>
                    <a:pt x="1866" y="1872"/>
                  </a:lnTo>
                  <a:lnTo>
                    <a:pt x="1865" y="1872"/>
                  </a:lnTo>
                  <a:lnTo>
                    <a:pt x="1865" y="1870"/>
                  </a:lnTo>
                  <a:lnTo>
                    <a:pt x="1863" y="1870"/>
                  </a:lnTo>
                  <a:lnTo>
                    <a:pt x="1863" y="1869"/>
                  </a:lnTo>
                  <a:lnTo>
                    <a:pt x="1862" y="1870"/>
                  </a:lnTo>
                  <a:lnTo>
                    <a:pt x="1862" y="1869"/>
                  </a:lnTo>
                  <a:lnTo>
                    <a:pt x="1860" y="1869"/>
                  </a:lnTo>
                  <a:lnTo>
                    <a:pt x="1860" y="1867"/>
                  </a:lnTo>
                  <a:close/>
                  <a:moveTo>
                    <a:pt x="1853" y="1866"/>
                  </a:moveTo>
                  <a:lnTo>
                    <a:pt x="1854" y="1866"/>
                  </a:lnTo>
                  <a:lnTo>
                    <a:pt x="1854" y="1870"/>
                  </a:lnTo>
                  <a:lnTo>
                    <a:pt x="1853" y="1872"/>
                  </a:lnTo>
                  <a:lnTo>
                    <a:pt x="1853" y="1870"/>
                  </a:lnTo>
                  <a:lnTo>
                    <a:pt x="1851" y="1870"/>
                  </a:lnTo>
                  <a:lnTo>
                    <a:pt x="1850" y="1872"/>
                  </a:lnTo>
                  <a:lnTo>
                    <a:pt x="1850" y="1870"/>
                  </a:lnTo>
                  <a:lnTo>
                    <a:pt x="1848" y="1870"/>
                  </a:lnTo>
                  <a:lnTo>
                    <a:pt x="1848" y="1872"/>
                  </a:lnTo>
                  <a:lnTo>
                    <a:pt x="1847" y="1872"/>
                  </a:lnTo>
                  <a:lnTo>
                    <a:pt x="1847" y="1869"/>
                  </a:lnTo>
                  <a:lnTo>
                    <a:pt x="1848" y="1869"/>
                  </a:lnTo>
                  <a:lnTo>
                    <a:pt x="1848" y="1867"/>
                  </a:lnTo>
                  <a:lnTo>
                    <a:pt x="1851" y="1867"/>
                  </a:lnTo>
                  <a:lnTo>
                    <a:pt x="1853" y="1866"/>
                  </a:lnTo>
                  <a:close/>
                  <a:moveTo>
                    <a:pt x="1856" y="1864"/>
                  </a:moveTo>
                  <a:lnTo>
                    <a:pt x="1857" y="1864"/>
                  </a:lnTo>
                  <a:lnTo>
                    <a:pt x="1856" y="1866"/>
                  </a:lnTo>
                  <a:lnTo>
                    <a:pt x="1856" y="1864"/>
                  </a:lnTo>
                  <a:close/>
                  <a:moveTo>
                    <a:pt x="1854" y="1864"/>
                  </a:moveTo>
                  <a:lnTo>
                    <a:pt x="1856" y="1866"/>
                  </a:lnTo>
                  <a:lnTo>
                    <a:pt x="1854" y="1866"/>
                  </a:lnTo>
                  <a:lnTo>
                    <a:pt x="1854" y="1864"/>
                  </a:lnTo>
                  <a:close/>
                  <a:moveTo>
                    <a:pt x="1836" y="1860"/>
                  </a:moveTo>
                  <a:lnTo>
                    <a:pt x="1838" y="1860"/>
                  </a:lnTo>
                  <a:lnTo>
                    <a:pt x="1838" y="1861"/>
                  </a:lnTo>
                  <a:lnTo>
                    <a:pt x="1836" y="1861"/>
                  </a:lnTo>
                  <a:lnTo>
                    <a:pt x="1836" y="1860"/>
                  </a:lnTo>
                  <a:close/>
                  <a:moveTo>
                    <a:pt x="1868" y="1858"/>
                  </a:moveTo>
                  <a:lnTo>
                    <a:pt x="1869" y="1858"/>
                  </a:lnTo>
                  <a:lnTo>
                    <a:pt x="1869" y="1860"/>
                  </a:lnTo>
                  <a:lnTo>
                    <a:pt x="1872" y="1860"/>
                  </a:lnTo>
                  <a:lnTo>
                    <a:pt x="1872" y="1861"/>
                  </a:lnTo>
                  <a:lnTo>
                    <a:pt x="1871" y="1861"/>
                  </a:lnTo>
                  <a:lnTo>
                    <a:pt x="1872" y="1863"/>
                  </a:lnTo>
                  <a:lnTo>
                    <a:pt x="1871" y="1864"/>
                  </a:lnTo>
                  <a:lnTo>
                    <a:pt x="1869" y="1864"/>
                  </a:lnTo>
                  <a:lnTo>
                    <a:pt x="1869" y="1863"/>
                  </a:lnTo>
                  <a:lnTo>
                    <a:pt x="1868" y="1863"/>
                  </a:lnTo>
                  <a:lnTo>
                    <a:pt x="1868" y="1861"/>
                  </a:lnTo>
                  <a:lnTo>
                    <a:pt x="1866" y="1861"/>
                  </a:lnTo>
                  <a:lnTo>
                    <a:pt x="1868" y="1860"/>
                  </a:lnTo>
                  <a:lnTo>
                    <a:pt x="1866" y="1860"/>
                  </a:lnTo>
                  <a:lnTo>
                    <a:pt x="1868" y="1858"/>
                  </a:lnTo>
                  <a:close/>
                  <a:moveTo>
                    <a:pt x="1877" y="1854"/>
                  </a:moveTo>
                  <a:lnTo>
                    <a:pt x="1881" y="1854"/>
                  </a:lnTo>
                  <a:lnTo>
                    <a:pt x="1883" y="1855"/>
                  </a:lnTo>
                  <a:lnTo>
                    <a:pt x="1883" y="1857"/>
                  </a:lnTo>
                  <a:lnTo>
                    <a:pt x="1880" y="1857"/>
                  </a:lnTo>
                  <a:lnTo>
                    <a:pt x="1880" y="1858"/>
                  </a:lnTo>
                  <a:lnTo>
                    <a:pt x="1877" y="1858"/>
                  </a:lnTo>
                  <a:lnTo>
                    <a:pt x="1877" y="1854"/>
                  </a:lnTo>
                  <a:close/>
                  <a:moveTo>
                    <a:pt x="1926" y="1845"/>
                  </a:moveTo>
                  <a:lnTo>
                    <a:pt x="1928" y="1845"/>
                  </a:lnTo>
                  <a:lnTo>
                    <a:pt x="1926" y="1846"/>
                  </a:lnTo>
                  <a:lnTo>
                    <a:pt x="1926" y="1845"/>
                  </a:lnTo>
                  <a:close/>
                  <a:moveTo>
                    <a:pt x="1830" y="1845"/>
                  </a:moveTo>
                  <a:lnTo>
                    <a:pt x="1833" y="1845"/>
                  </a:lnTo>
                  <a:lnTo>
                    <a:pt x="1838" y="1849"/>
                  </a:lnTo>
                  <a:lnTo>
                    <a:pt x="1838" y="1852"/>
                  </a:lnTo>
                  <a:lnTo>
                    <a:pt x="1836" y="1852"/>
                  </a:lnTo>
                  <a:lnTo>
                    <a:pt x="1836" y="1851"/>
                  </a:lnTo>
                  <a:lnTo>
                    <a:pt x="1833" y="1849"/>
                  </a:lnTo>
                  <a:lnTo>
                    <a:pt x="1830" y="1846"/>
                  </a:lnTo>
                  <a:lnTo>
                    <a:pt x="1830" y="1845"/>
                  </a:lnTo>
                  <a:close/>
                  <a:moveTo>
                    <a:pt x="1937" y="1843"/>
                  </a:moveTo>
                  <a:lnTo>
                    <a:pt x="1938" y="1843"/>
                  </a:lnTo>
                  <a:lnTo>
                    <a:pt x="1938" y="1845"/>
                  </a:lnTo>
                  <a:lnTo>
                    <a:pt x="1937" y="1845"/>
                  </a:lnTo>
                  <a:lnTo>
                    <a:pt x="1937" y="1843"/>
                  </a:lnTo>
                  <a:close/>
                  <a:moveTo>
                    <a:pt x="1826" y="1843"/>
                  </a:moveTo>
                  <a:lnTo>
                    <a:pt x="1826" y="1845"/>
                  </a:lnTo>
                  <a:lnTo>
                    <a:pt x="1827" y="1845"/>
                  </a:lnTo>
                  <a:lnTo>
                    <a:pt x="1826" y="1843"/>
                  </a:lnTo>
                  <a:close/>
                  <a:moveTo>
                    <a:pt x="1818" y="1836"/>
                  </a:moveTo>
                  <a:lnTo>
                    <a:pt x="1818" y="1837"/>
                  </a:lnTo>
                  <a:lnTo>
                    <a:pt x="1823" y="1837"/>
                  </a:lnTo>
                  <a:lnTo>
                    <a:pt x="1818" y="1836"/>
                  </a:lnTo>
                  <a:close/>
                  <a:moveTo>
                    <a:pt x="1832" y="1834"/>
                  </a:moveTo>
                  <a:lnTo>
                    <a:pt x="1833" y="1834"/>
                  </a:lnTo>
                  <a:lnTo>
                    <a:pt x="1833" y="1837"/>
                  </a:lnTo>
                  <a:lnTo>
                    <a:pt x="1832" y="1837"/>
                  </a:lnTo>
                  <a:lnTo>
                    <a:pt x="1832" y="1834"/>
                  </a:lnTo>
                  <a:close/>
                  <a:moveTo>
                    <a:pt x="1955" y="1833"/>
                  </a:moveTo>
                  <a:lnTo>
                    <a:pt x="1956" y="1834"/>
                  </a:lnTo>
                  <a:lnTo>
                    <a:pt x="1958" y="1834"/>
                  </a:lnTo>
                  <a:lnTo>
                    <a:pt x="1959" y="1833"/>
                  </a:lnTo>
                  <a:lnTo>
                    <a:pt x="1955" y="1833"/>
                  </a:lnTo>
                  <a:close/>
                  <a:moveTo>
                    <a:pt x="1983" y="1819"/>
                  </a:moveTo>
                  <a:lnTo>
                    <a:pt x="1983" y="1821"/>
                  </a:lnTo>
                  <a:lnTo>
                    <a:pt x="1981" y="1821"/>
                  </a:lnTo>
                  <a:lnTo>
                    <a:pt x="1983" y="1819"/>
                  </a:lnTo>
                  <a:close/>
                  <a:moveTo>
                    <a:pt x="1972" y="1819"/>
                  </a:moveTo>
                  <a:lnTo>
                    <a:pt x="1969" y="1821"/>
                  </a:lnTo>
                  <a:lnTo>
                    <a:pt x="1969" y="1822"/>
                  </a:lnTo>
                  <a:lnTo>
                    <a:pt x="1971" y="1821"/>
                  </a:lnTo>
                  <a:lnTo>
                    <a:pt x="1974" y="1821"/>
                  </a:lnTo>
                  <a:lnTo>
                    <a:pt x="1974" y="1819"/>
                  </a:lnTo>
                  <a:lnTo>
                    <a:pt x="1972" y="1819"/>
                  </a:lnTo>
                  <a:close/>
                  <a:moveTo>
                    <a:pt x="1990" y="1809"/>
                  </a:moveTo>
                  <a:lnTo>
                    <a:pt x="1992" y="1809"/>
                  </a:lnTo>
                  <a:lnTo>
                    <a:pt x="1992" y="1810"/>
                  </a:lnTo>
                  <a:lnTo>
                    <a:pt x="1990" y="1810"/>
                  </a:lnTo>
                  <a:lnTo>
                    <a:pt x="1990" y="1809"/>
                  </a:lnTo>
                  <a:close/>
                  <a:moveTo>
                    <a:pt x="1995" y="1807"/>
                  </a:moveTo>
                  <a:lnTo>
                    <a:pt x="1995" y="1809"/>
                  </a:lnTo>
                  <a:lnTo>
                    <a:pt x="1996" y="1809"/>
                  </a:lnTo>
                  <a:lnTo>
                    <a:pt x="1996" y="1807"/>
                  </a:lnTo>
                  <a:lnTo>
                    <a:pt x="1998" y="1807"/>
                  </a:lnTo>
                  <a:lnTo>
                    <a:pt x="1998" y="1812"/>
                  </a:lnTo>
                  <a:lnTo>
                    <a:pt x="1992" y="1812"/>
                  </a:lnTo>
                  <a:lnTo>
                    <a:pt x="1992" y="1810"/>
                  </a:lnTo>
                  <a:lnTo>
                    <a:pt x="1993" y="1810"/>
                  </a:lnTo>
                  <a:lnTo>
                    <a:pt x="1993" y="1809"/>
                  </a:lnTo>
                  <a:lnTo>
                    <a:pt x="1995" y="1807"/>
                  </a:lnTo>
                  <a:close/>
                  <a:moveTo>
                    <a:pt x="1989" y="1804"/>
                  </a:moveTo>
                  <a:lnTo>
                    <a:pt x="1992" y="1804"/>
                  </a:lnTo>
                  <a:lnTo>
                    <a:pt x="1992" y="1806"/>
                  </a:lnTo>
                  <a:lnTo>
                    <a:pt x="1989" y="1806"/>
                  </a:lnTo>
                  <a:lnTo>
                    <a:pt x="1989" y="1804"/>
                  </a:lnTo>
                  <a:close/>
                  <a:moveTo>
                    <a:pt x="2008" y="1794"/>
                  </a:moveTo>
                  <a:lnTo>
                    <a:pt x="2011" y="1794"/>
                  </a:lnTo>
                  <a:lnTo>
                    <a:pt x="2013" y="1795"/>
                  </a:lnTo>
                  <a:lnTo>
                    <a:pt x="2013" y="1794"/>
                  </a:lnTo>
                  <a:lnTo>
                    <a:pt x="2014" y="1794"/>
                  </a:lnTo>
                  <a:lnTo>
                    <a:pt x="2016" y="1795"/>
                  </a:lnTo>
                  <a:lnTo>
                    <a:pt x="2016" y="1797"/>
                  </a:lnTo>
                  <a:lnTo>
                    <a:pt x="2014" y="1795"/>
                  </a:lnTo>
                  <a:lnTo>
                    <a:pt x="2014" y="1798"/>
                  </a:lnTo>
                  <a:lnTo>
                    <a:pt x="2011" y="1798"/>
                  </a:lnTo>
                  <a:lnTo>
                    <a:pt x="2011" y="1803"/>
                  </a:lnTo>
                  <a:lnTo>
                    <a:pt x="2007" y="1803"/>
                  </a:lnTo>
                  <a:lnTo>
                    <a:pt x="2008" y="1801"/>
                  </a:lnTo>
                  <a:lnTo>
                    <a:pt x="2010" y="1798"/>
                  </a:lnTo>
                  <a:lnTo>
                    <a:pt x="2008" y="1797"/>
                  </a:lnTo>
                  <a:lnTo>
                    <a:pt x="2008" y="1798"/>
                  </a:lnTo>
                  <a:lnTo>
                    <a:pt x="2007" y="1797"/>
                  </a:lnTo>
                  <a:lnTo>
                    <a:pt x="2010" y="1795"/>
                  </a:lnTo>
                  <a:lnTo>
                    <a:pt x="2008" y="1794"/>
                  </a:lnTo>
                  <a:close/>
                  <a:moveTo>
                    <a:pt x="2026" y="1785"/>
                  </a:moveTo>
                  <a:lnTo>
                    <a:pt x="2026" y="1786"/>
                  </a:lnTo>
                  <a:lnTo>
                    <a:pt x="2025" y="1786"/>
                  </a:lnTo>
                  <a:lnTo>
                    <a:pt x="2026" y="1785"/>
                  </a:lnTo>
                  <a:close/>
                  <a:moveTo>
                    <a:pt x="2026" y="1780"/>
                  </a:moveTo>
                  <a:lnTo>
                    <a:pt x="2028" y="1780"/>
                  </a:lnTo>
                  <a:lnTo>
                    <a:pt x="2026" y="1782"/>
                  </a:lnTo>
                  <a:lnTo>
                    <a:pt x="2026" y="1780"/>
                  </a:lnTo>
                  <a:close/>
                  <a:moveTo>
                    <a:pt x="2041" y="1753"/>
                  </a:moveTo>
                  <a:lnTo>
                    <a:pt x="2043" y="1755"/>
                  </a:lnTo>
                  <a:lnTo>
                    <a:pt x="2046" y="1755"/>
                  </a:lnTo>
                  <a:lnTo>
                    <a:pt x="2046" y="1759"/>
                  </a:lnTo>
                  <a:lnTo>
                    <a:pt x="2044" y="1759"/>
                  </a:lnTo>
                  <a:lnTo>
                    <a:pt x="2044" y="1761"/>
                  </a:lnTo>
                  <a:lnTo>
                    <a:pt x="2043" y="1761"/>
                  </a:lnTo>
                  <a:lnTo>
                    <a:pt x="2041" y="1759"/>
                  </a:lnTo>
                  <a:lnTo>
                    <a:pt x="2041" y="1753"/>
                  </a:lnTo>
                  <a:close/>
                  <a:moveTo>
                    <a:pt x="2086" y="1725"/>
                  </a:moveTo>
                  <a:lnTo>
                    <a:pt x="2088" y="1725"/>
                  </a:lnTo>
                  <a:lnTo>
                    <a:pt x="2088" y="1726"/>
                  </a:lnTo>
                  <a:lnTo>
                    <a:pt x="2086" y="1725"/>
                  </a:lnTo>
                  <a:close/>
                  <a:moveTo>
                    <a:pt x="2107" y="1722"/>
                  </a:moveTo>
                  <a:lnTo>
                    <a:pt x="2109" y="1722"/>
                  </a:lnTo>
                  <a:lnTo>
                    <a:pt x="2109" y="1723"/>
                  </a:lnTo>
                  <a:lnTo>
                    <a:pt x="2107" y="1723"/>
                  </a:lnTo>
                  <a:lnTo>
                    <a:pt x="2107" y="1722"/>
                  </a:lnTo>
                  <a:close/>
                  <a:moveTo>
                    <a:pt x="2109" y="1720"/>
                  </a:moveTo>
                  <a:lnTo>
                    <a:pt x="2110" y="1720"/>
                  </a:lnTo>
                  <a:lnTo>
                    <a:pt x="2110" y="1722"/>
                  </a:lnTo>
                  <a:lnTo>
                    <a:pt x="2109" y="1722"/>
                  </a:lnTo>
                  <a:lnTo>
                    <a:pt x="2109" y="1720"/>
                  </a:lnTo>
                  <a:close/>
                  <a:moveTo>
                    <a:pt x="2104" y="1719"/>
                  </a:moveTo>
                  <a:lnTo>
                    <a:pt x="2106" y="1719"/>
                  </a:lnTo>
                  <a:lnTo>
                    <a:pt x="2107" y="1720"/>
                  </a:lnTo>
                  <a:lnTo>
                    <a:pt x="2107" y="1722"/>
                  </a:lnTo>
                  <a:lnTo>
                    <a:pt x="2104" y="1722"/>
                  </a:lnTo>
                  <a:lnTo>
                    <a:pt x="2104" y="1719"/>
                  </a:lnTo>
                  <a:close/>
                  <a:moveTo>
                    <a:pt x="2092" y="1713"/>
                  </a:moveTo>
                  <a:lnTo>
                    <a:pt x="2094" y="1713"/>
                  </a:lnTo>
                  <a:lnTo>
                    <a:pt x="2094" y="1716"/>
                  </a:lnTo>
                  <a:lnTo>
                    <a:pt x="2092" y="1716"/>
                  </a:lnTo>
                  <a:lnTo>
                    <a:pt x="2092" y="1713"/>
                  </a:lnTo>
                  <a:close/>
                  <a:moveTo>
                    <a:pt x="2118" y="1698"/>
                  </a:moveTo>
                  <a:lnTo>
                    <a:pt x="2119" y="1698"/>
                  </a:lnTo>
                  <a:lnTo>
                    <a:pt x="2119" y="1701"/>
                  </a:lnTo>
                  <a:lnTo>
                    <a:pt x="2122" y="1701"/>
                  </a:lnTo>
                  <a:lnTo>
                    <a:pt x="2122" y="1702"/>
                  </a:lnTo>
                  <a:lnTo>
                    <a:pt x="2124" y="1702"/>
                  </a:lnTo>
                  <a:lnTo>
                    <a:pt x="2124" y="1704"/>
                  </a:lnTo>
                  <a:lnTo>
                    <a:pt x="2121" y="1704"/>
                  </a:lnTo>
                  <a:lnTo>
                    <a:pt x="2121" y="1707"/>
                  </a:lnTo>
                  <a:lnTo>
                    <a:pt x="2122" y="1707"/>
                  </a:lnTo>
                  <a:lnTo>
                    <a:pt x="2122" y="1708"/>
                  </a:lnTo>
                  <a:lnTo>
                    <a:pt x="2119" y="1708"/>
                  </a:lnTo>
                  <a:lnTo>
                    <a:pt x="2119" y="1711"/>
                  </a:lnTo>
                  <a:lnTo>
                    <a:pt x="2116" y="1711"/>
                  </a:lnTo>
                  <a:lnTo>
                    <a:pt x="2116" y="1707"/>
                  </a:lnTo>
                  <a:lnTo>
                    <a:pt x="2115" y="1707"/>
                  </a:lnTo>
                  <a:lnTo>
                    <a:pt x="2115" y="1705"/>
                  </a:lnTo>
                  <a:lnTo>
                    <a:pt x="2116" y="1705"/>
                  </a:lnTo>
                  <a:lnTo>
                    <a:pt x="2118" y="1707"/>
                  </a:lnTo>
                  <a:lnTo>
                    <a:pt x="2119" y="1705"/>
                  </a:lnTo>
                  <a:lnTo>
                    <a:pt x="2118" y="1705"/>
                  </a:lnTo>
                  <a:lnTo>
                    <a:pt x="2116" y="1704"/>
                  </a:lnTo>
                  <a:lnTo>
                    <a:pt x="2118" y="1702"/>
                  </a:lnTo>
                  <a:lnTo>
                    <a:pt x="2116" y="1702"/>
                  </a:lnTo>
                  <a:lnTo>
                    <a:pt x="2116" y="1699"/>
                  </a:lnTo>
                  <a:lnTo>
                    <a:pt x="2118" y="1699"/>
                  </a:lnTo>
                  <a:lnTo>
                    <a:pt x="2118" y="1698"/>
                  </a:lnTo>
                  <a:close/>
                  <a:moveTo>
                    <a:pt x="2112" y="1674"/>
                  </a:moveTo>
                  <a:lnTo>
                    <a:pt x="2112" y="1675"/>
                  </a:lnTo>
                  <a:lnTo>
                    <a:pt x="2113" y="1675"/>
                  </a:lnTo>
                  <a:lnTo>
                    <a:pt x="2113" y="1677"/>
                  </a:lnTo>
                  <a:lnTo>
                    <a:pt x="2112" y="1678"/>
                  </a:lnTo>
                  <a:lnTo>
                    <a:pt x="2109" y="1675"/>
                  </a:lnTo>
                  <a:lnTo>
                    <a:pt x="2110" y="1675"/>
                  </a:lnTo>
                  <a:lnTo>
                    <a:pt x="2112" y="1674"/>
                  </a:lnTo>
                  <a:close/>
                  <a:moveTo>
                    <a:pt x="2113" y="1656"/>
                  </a:moveTo>
                  <a:lnTo>
                    <a:pt x="2113" y="1658"/>
                  </a:lnTo>
                  <a:lnTo>
                    <a:pt x="2110" y="1658"/>
                  </a:lnTo>
                  <a:lnTo>
                    <a:pt x="2110" y="1659"/>
                  </a:lnTo>
                  <a:lnTo>
                    <a:pt x="2113" y="1659"/>
                  </a:lnTo>
                  <a:lnTo>
                    <a:pt x="2113" y="1664"/>
                  </a:lnTo>
                  <a:lnTo>
                    <a:pt x="2115" y="1664"/>
                  </a:lnTo>
                  <a:lnTo>
                    <a:pt x="2115" y="1665"/>
                  </a:lnTo>
                  <a:lnTo>
                    <a:pt x="2118" y="1665"/>
                  </a:lnTo>
                  <a:lnTo>
                    <a:pt x="2118" y="1662"/>
                  </a:lnTo>
                  <a:lnTo>
                    <a:pt x="2119" y="1662"/>
                  </a:lnTo>
                  <a:lnTo>
                    <a:pt x="2119" y="1661"/>
                  </a:lnTo>
                  <a:lnTo>
                    <a:pt x="2116" y="1658"/>
                  </a:lnTo>
                  <a:lnTo>
                    <a:pt x="2115" y="1658"/>
                  </a:lnTo>
                  <a:lnTo>
                    <a:pt x="2115" y="1656"/>
                  </a:lnTo>
                  <a:lnTo>
                    <a:pt x="2113" y="1656"/>
                  </a:lnTo>
                  <a:close/>
                  <a:moveTo>
                    <a:pt x="2115" y="1643"/>
                  </a:moveTo>
                  <a:lnTo>
                    <a:pt x="2116" y="1644"/>
                  </a:lnTo>
                  <a:lnTo>
                    <a:pt x="2118" y="1644"/>
                  </a:lnTo>
                  <a:lnTo>
                    <a:pt x="2118" y="1646"/>
                  </a:lnTo>
                  <a:lnTo>
                    <a:pt x="2116" y="1646"/>
                  </a:lnTo>
                  <a:lnTo>
                    <a:pt x="2115" y="1644"/>
                  </a:lnTo>
                  <a:lnTo>
                    <a:pt x="2115" y="1643"/>
                  </a:lnTo>
                  <a:close/>
                  <a:moveTo>
                    <a:pt x="2132" y="1640"/>
                  </a:moveTo>
                  <a:lnTo>
                    <a:pt x="2134" y="1640"/>
                  </a:lnTo>
                  <a:lnTo>
                    <a:pt x="2134" y="1644"/>
                  </a:lnTo>
                  <a:lnTo>
                    <a:pt x="2137" y="1644"/>
                  </a:lnTo>
                  <a:lnTo>
                    <a:pt x="2135" y="1646"/>
                  </a:lnTo>
                  <a:lnTo>
                    <a:pt x="2134" y="1646"/>
                  </a:lnTo>
                  <a:lnTo>
                    <a:pt x="2134" y="1647"/>
                  </a:lnTo>
                  <a:lnTo>
                    <a:pt x="2135" y="1649"/>
                  </a:lnTo>
                  <a:lnTo>
                    <a:pt x="2134" y="1649"/>
                  </a:lnTo>
                  <a:lnTo>
                    <a:pt x="2134" y="1650"/>
                  </a:lnTo>
                  <a:lnTo>
                    <a:pt x="2132" y="1650"/>
                  </a:lnTo>
                  <a:lnTo>
                    <a:pt x="2132" y="1649"/>
                  </a:lnTo>
                  <a:lnTo>
                    <a:pt x="2131" y="1650"/>
                  </a:lnTo>
                  <a:lnTo>
                    <a:pt x="2126" y="1650"/>
                  </a:lnTo>
                  <a:lnTo>
                    <a:pt x="2126" y="1653"/>
                  </a:lnTo>
                  <a:lnTo>
                    <a:pt x="2124" y="1655"/>
                  </a:lnTo>
                  <a:lnTo>
                    <a:pt x="2122" y="1655"/>
                  </a:lnTo>
                  <a:lnTo>
                    <a:pt x="2122" y="1653"/>
                  </a:lnTo>
                  <a:lnTo>
                    <a:pt x="2124" y="1653"/>
                  </a:lnTo>
                  <a:lnTo>
                    <a:pt x="2124" y="1652"/>
                  </a:lnTo>
                  <a:lnTo>
                    <a:pt x="2122" y="1652"/>
                  </a:lnTo>
                  <a:lnTo>
                    <a:pt x="2124" y="1650"/>
                  </a:lnTo>
                  <a:lnTo>
                    <a:pt x="2125" y="1650"/>
                  </a:lnTo>
                  <a:lnTo>
                    <a:pt x="2126" y="1649"/>
                  </a:lnTo>
                  <a:lnTo>
                    <a:pt x="2128" y="1649"/>
                  </a:lnTo>
                  <a:lnTo>
                    <a:pt x="2129" y="1647"/>
                  </a:lnTo>
                  <a:lnTo>
                    <a:pt x="2129" y="1644"/>
                  </a:lnTo>
                  <a:lnTo>
                    <a:pt x="2131" y="1644"/>
                  </a:lnTo>
                  <a:lnTo>
                    <a:pt x="2132" y="1641"/>
                  </a:lnTo>
                  <a:lnTo>
                    <a:pt x="2132" y="1640"/>
                  </a:lnTo>
                  <a:close/>
                  <a:moveTo>
                    <a:pt x="2144" y="1631"/>
                  </a:moveTo>
                  <a:lnTo>
                    <a:pt x="2146" y="1631"/>
                  </a:lnTo>
                  <a:lnTo>
                    <a:pt x="2146" y="1634"/>
                  </a:lnTo>
                  <a:lnTo>
                    <a:pt x="2144" y="1634"/>
                  </a:lnTo>
                  <a:lnTo>
                    <a:pt x="2144" y="1631"/>
                  </a:lnTo>
                  <a:close/>
                  <a:moveTo>
                    <a:pt x="2147" y="1622"/>
                  </a:moveTo>
                  <a:lnTo>
                    <a:pt x="2149" y="1622"/>
                  </a:lnTo>
                  <a:lnTo>
                    <a:pt x="2149" y="1623"/>
                  </a:lnTo>
                  <a:lnTo>
                    <a:pt x="2147" y="1623"/>
                  </a:lnTo>
                  <a:lnTo>
                    <a:pt x="2147" y="1622"/>
                  </a:lnTo>
                  <a:close/>
                  <a:moveTo>
                    <a:pt x="2177" y="1605"/>
                  </a:moveTo>
                  <a:lnTo>
                    <a:pt x="2179" y="1605"/>
                  </a:lnTo>
                  <a:lnTo>
                    <a:pt x="2180" y="1607"/>
                  </a:lnTo>
                  <a:lnTo>
                    <a:pt x="2177" y="1607"/>
                  </a:lnTo>
                  <a:lnTo>
                    <a:pt x="2177" y="1605"/>
                  </a:lnTo>
                  <a:close/>
                  <a:moveTo>
                    <a:pt x="2183" y="1586"/>
                  </a:moveTo>
                  <a:lnTo>
                    <a:pt x="2185" y="1586"/>
                  </a:lnTo>
                  <a:lnTo>
                    <a:pt x="2183" y="1587"/>
                  </a:lnTo>
                  <a:lnTo>
                    <a:pt x="2182" y="1587"/>
                  </a:lnTo>
                  <a:lnTo>
                    <a:pt x="2183" y="1586"/>
                  </a:lnTo>
                  <a:close/>
                  <a:moveTo>
                    <a:pt x="2182" y="1586"/>
                  </a:moveTo>
                  <a:lnTo>
                    <a:pt x="2182" y="1587"/>
                  </a:lnTo>
                  <a:lnTo>
                    <a:pt x="2180" y="1587"/>
                  </a:lnTo>
                  <a:lnTo>
                    <a:pt x="2182" y="1586"/>
                  </a:lnTo>
                  <a:close/>
                  <a:moveTo>
                    <a:pt x="2177" y="1580"/>
                  </a:moveTo>
                  <a:lnTo>
                    <a:pt x="2182" y="1580"/>
                  </a:lnTo>
                  <a:lnTo>
                    <a:pt x="2182" y="1581"/>
                  </a:lnTo>
                  <a:lnTo>
                    <a:pt x="2177" y="1581"/>
                  </a:lnTo>
                  <a:lnTo>
                    <a:pt x="2177" y="1580"/>
                  </a:lnTo>
                  <a:close/>
                  <a:moveTo>
                    <a:pt x="2156" y="1575"/>
                  </a:moveTo>
                  <a:lnTo>
                    <a:pt x="2156" y="1577"/>
                  </a:lnTo>
                  <a:lnTo>
                    <a:pt x="2158" y="1577"/>
                  </a:lnTo>
                  <a:lnTo>
                    <a:pt x="2156" y="1575"/>
                  </a:lnTo>
                  <a:close/>
                  <a:moveTo>
                    <a:pt x="2155" y="1572"/>
                  </a:moveTo>
                  <a:lnTo>
                    <a:pt x="2156" y="1574"/>
                  </a:lnTo>
                  <a:lnTo>
                    <a:pt x="2156" y="1572"/>
                  </a:lnTo>
                  <a:lnTo>
                    <a:pt x="2155" y="1572"/>
                  </a:lnTo>
                  <a:close/>
                  <a:moveTo>
                    <a:pt x="2185" y="1568"/>
                  </a:moveTo>
                  <a:lnTo>
                    <a:pt x="2188" y="1568"/>
                  </a:lnTo>
                  <a:lnTo>
                    <a:pt x="2188" y="1574"/>
                  </a:lnTo>
                  <a:lnTo>
                    <a:pt x="2186" y="1574"/>
                  </a:lnTo>
                  <a:lnTo>
                    <a:pt x="2186" y="1575"/>
                  </a:lnTo>
                  <a:lnTo>
                    <a:pt x="2185" y="1575"/>
                  </a:lnTo>
                  <a:lnTo>
                    <a:pt x="2183" y="1577"/>
                  </a:lnTo>
                  <a:lnTo>
                    <a:pt x="2182" y="1577"/>
                  </a:lnTo>
                  <a:lnTo>
                    <a:pt x="2182" y="1572"/>
                  </a:lnTo>
                  <a:lnTo>
                    <a:pt x="2180" y="1572"/>
                  </a:lnTo>
                  <a:lnTo>
                    <a:pt x="2182" y="1571"/>
                  </a:lnTo>
                  <a:lnTo>
                    <a:pt x="2183" y="1571"/>
                  </a:lnTo>
                  <a:lnTo>
                    <a:pt x="2183" y="1569"/>
                  </a:lnTo>
                  <a:lnTo>
                    <a:pt x="2185" y="1569"/>
                  </a:lnTo>
                  <a:lnTo>
                    <a:pt x="2185" y="1568"/>
                  </a:lnTo>
                  <a:close/>
                  <a:moveTo>
                    <a:pt x="2192" y="1542"/>
                  </a:moveTo>
                  <a:lnTo>
                    <a:pt x="2192" y="1544"/>
                  </a:lnTo>
                  <a:lnTo>
                    <a:pt x="2194" y="1542"/>
                  </a:lnTo>
                  <a:lnTo>
                    <a:pt x="2192" y="1542"/>
                  </a:lnTo>
                  <a:close/>
                  <a:moveTo>
                    <a:pt x="2186" y="1539"/>
                  </a:moveTo>
                  <a:lnTo>
                    <a:pt x="2188" y="1541"/>
                  </a:lnTo>
                  <a:lnTo>
                    <a:pt x="2189" y="1541"/>
                  </a:lnTo>
                  <a:lnTo>
                    <a:pt x="2189" y="1542"/>
                  </a:lnTo>
                  <a:lnTo>
                    <a:pt x="2188" y="1542"/>
                  </a:lnTo>
                  <a:lnTo>
                    <a:pt x="2188" y="1544"/>
                  </a:lnTo>
                  <a:lnTo>
                    <a:pt x="2191" y="1542"/>
                  </a:lnTo>
                  <a:lnTo>
                    <a:pt x="2191" y="1541"/>
                  </a:lnTo>
                  <a:lnTo>
                    <a:pt x="2189" y="1541"/>
                  </a:lnTo>
                  <a:lnTo>
                    <a:pt x="2189" y="1539"/>
                  </a:lnTo>
                  <a:lnTo>
                    <a:pt x="2186" y="1539"/>
                  </a:lnTo>
                  <a:close/>
                  <a:moveTo>
                    <a:pt x="2185" y="1536"/>
                  </a:moveTo>
                  <a:lnTo>
                    <a:pt x="2185" y="1538"/>
                  </a:lnTo>
                  <a:lnTo>
                    <a:pt x="2186" y="1538"/>
                  </a:lnTo>
                  <a:lnTo>
                    <a:pt x="2185" y="1536"/>
                  </a:lnTo>
                  <a:close/>
                  <a:moveTo>
                    <a:pt x="2182" y="1535"/>
                  </a:moveTo>
                  <a:lnTo>
                    <a:pt x="2183" y="1536"/>
                  </a:lnTo>
                  <a:lnTo>
                    <a:pt x="2183" y="1535"/>
                  </a:lnTo>
                  <a:lnTo>
                    <a:pt x="2182" y="1535"/>
                  </a:lnTo>
                  <a:close/>
                  <a:moveTo>
                    <a:pt x="2215" y="1518"/>
                  </a:moveTo>
                  <a:lnTo>
                    <a:pt x="2219" y="1518"/>
                  </a:lnTo>
                  <a:lnTo>
                    <a:pt x="2219" y="1521"/>
                  </a:lnTo>
                  <a:lnTo>
                    <a:pt x="2218" y="1523"/>
                  </a:lnTo>
                  <a:lnTo>
                    <a:pt x="2216" y="1523"/>
                  </a:lnTo>
                  <a:lnTo>
                    <a:pt x="2216" y="1521"/>
                  </a:lnTo>
                  <a:lnTo>
                    <a:pt x="2215" y="1520"/>
                  </a:lnTo>
                  <a:lnTo>
                    <a:pt x="2215" y="1518"/>
                  </a:lnTo>
                  <a:close/>
                  <a:moveTo>
                    <a:pt x="2212" y="1518"/>
                  </a:moveTo>
                  <a:lnTo>
                    <a:pt x="2215" y="1520"/>
                  </a:lnTo>
                  <a:lnTo>
                    <a:pt x="2215" y="1521"/>
                  </a:lnTo>
                  <a:lnTo>
                    <a:pt x="2213" y="1521"/>
                  </a:lnTo>
                  <a:lnTo>
                    <a:pt x="2213" y="1520"/>
                  </a:lnTo>
                  <a:lnTo>
                    <a:pt x="2212" y="1520"/>
                  </a:lnTo>
                  <a:lnTo>
                    <a:pt x="2212" y="1518"/>
                  </a:lnTo>
                  <a:close/>
                  <a:moveTo>
                    <a:pt x="2204" y="1511"/>
                  </a:moveTo>
                  <a:lnTo>
                    <a:pt x="2204" y="1512"/>
                  </a:lnTo>
                  <a:lnTo>
                    <a:pt x="2206" y="1512"/>
                  </a:lnTo>
                  <a:lnTo>
                    <a:pt x="2206" y="1511"/>
                  </a:lnTo>
                  <a:lnTo>
                    <a:pt x="2204" y="1511"/>
                  </a:lnTo>
                  <a:close/>
                  <a:moveTo>
                    <a:pt x="2197" y="1502"/>
                  </a:moveTo>
                  <a:lnTo>
                    <a:pt x="2198" y="1502"/>
                  </a:lnTo>
                  <a:lnTo>
                    <a:pt x="2198" y="1505"/>
                  </a:lnTo>
                  <a:lnTo>
                    <a:pt x="2197" y="1505"/>
                  </a:lnTo>
                  <a:lnTo>
                    <a:pt x="2197" y="1502"/>
                  </a:lnTo>
                  <a:close/>
                  <a:moveTo>
                    <a:pt x="2224" y="1485"/>
                  </a:moveTo>
                  <a:lnTo>
                    <a:pt x="2227" y="1485"/>
                  </a:lnTo>
                  <a:lnTo>
                    <a:pt x="2227" y="1487"/>
                  </a:lnTo>
                  <a:lnTo>
                    <a:pt x="2230" y="1490"/>
                  </a:lnTo>
                  <a:lnTo>
                    <a:pt x="2230" y="1491"/>
                  </a:lnTo>
                  <a:lnTo>
                    <a:pt x="2227" y="1491"/>
                  </a:lnTo>
                  <a:lnTo>
                    <a:pt x="2227" y="1488"/>
                  </a:lnTo>
                  <a:lnTo>
                    <a:pt x="2222" y="1488"/>
                  </a:lnTo>
                  <a:lnTo>
                    <a:pt x="2224" y="1487"/>
                  </a:lnTo>
                  <a:lnTo>
                    <a:pt x="2224" y="1485"/>
                  </a:lnTo>
                  <a:close/>
                  <a:moveTo>
                    <a:pt x="2233" y="1482"/>
                  </a:moveTo>
                  <a:lnTo>
                    <a:pt x="2236" y="1482"/>
                  </a:lnTo>
                  <a:lnTo>
                    <a:pt x="2236" y="1485"/>
                  </a:lnTo>
                  <a:lnTo>
                    <a:pt x="2234" y="1485"/>
                  </a:lnTo>
                  <a:lnTo>
                    <a:pt x="2233" y="1484"/>
                  </a:lnTo>
                  <a:lnTo>
                    <a:pt x="2233" y="1482"/>
                  </a:lnTo>
                  <a:close/>
                  <a:moveTo>
                    <a:pt x="2237" y="1481"/>
                  </a:moveTo>
                  <a:lnTo>
                    <a:pt x="2239" y="1481"/>
                  </a:lnTo>
                  <a:lnTo>
                    <a:pt x="2239" y="1482"/>
                  </a:lnTo>
                  <a:lnTo>
                    <a:pt x="2237" y="1481"/>
                  </a:lnTo>
                  <a:close/>
                  <a:moveTo>
                    <a:pt x="2236" y="1476"/>
                  </a:moveTo>
                  <a:lnTo>
                    <a:pt x="2240" y="1476"/>
                  </a:lnTo>
                  <a:lnTo>
                    <a:pt x="2240" y="1479"/>
                  </a:lnTo>
                  <a:lnTo>
                    <a:pt x="2239" y="1481"/>
                  </a:lnTo>
                  <a:lnTo>
                    <a:pt x="2239" y="1479"/>
                  </a:lnTo>
                  <a:lnTo>
                    <a:pt x="2237" y="1479"/>
                  </a:lnTo>
                  <a:lnTo>
                    <a:pt x="2237" y="1478"/>
                  </a:lnTo>
                  <a:lnTo>
                    <a:pt x="2236" y="1478"/>
                  </a:lnTo>
                  <a:lnTo>
                    <a:pt x="2236" y="1476"/>
                  </a:lnTo>
                  <a:close/>
                  <a:moveTo>
                    <a:pt x="2215" y="1469"/>
                  </a:moveTo>
                  <a:lnTo>
                    <a:pt x="2216" y="1470"/>
                  </a:lnTo>
                  <a:lnTo>
                    <a:pt x="2216" y="1472"/>
                  </a:lnTo>
                  <a:lnTo>
                    <a:pt x="2218" y="1472"/>
                  </a:lnTo>
                  <a:lnTo>
                    <a:pt x="2218" y="1473"/>
                  </a:lnTo>
                  <a:lnTo>
                    <a:pt x="2216" y="1473"/>
                  </a:lnTo>
                  <a:lnTo>
                    <a:pt x="2216" y="1475"/>
                  </a:lnTo>
                  <a:lnTo>
                    <a:pt x="2213" y="1475"/>
                  </a:lnTo>
                  <a:lnTo>
                    <a:pt x="2213" y="1470"/>
                  </a:lnTo>
                  <a:lnTo>
                    <a:pt x="2215" y="1469"/>
                  </a:lnTo>
                  <a:close/>
                  <a:moveTo>
                    <a:pt x="2161" y="1469"/>
                  </a:moveTo>
                  <a:lnTo>
                    <a:pt x="2162" y="1470"/>
                  </a:lnTo>
                  <a:lnTo>
                    <a:pt x="2164" y="1469"/>
                  </a:lnTo>
                  <a:lnTo>
                    <a:pt x="2161" y="1469"/>
                  </a:lnTo>
                  <a:close/>
                  <a:moveTo>
                    <a:pt x="2219" y="1466"/>
                  </a:moveTo>
                  <a:lnTo>
                    <a:pt x="2227" y="1466"/>
                  </a:lnTo>
                  <a:lnTo>
                    <a:pt x="2227" y="1467"/>
                  </a:lnTo>
                  <a:lnTo>
                    <a:pt x="2230" y="1467"/>
                  </a:lnTo>
                  <a:lnTo>
                    <a:pt x="2230" y="1469"/>
                  </a:lnTo>
                  <a:lnTo>
                    <a:pt x="2233" y="1469"/>
                  </a:lnTo>
                  <a:lnTo>
                    <a:pt x="2233" y="1470"/>
                  </a:lnTo>
                  <a:lnTo>
                    <a:pt x="2234" y="1470"/>
                  </a:lnTo>
                  <a:lnTo>
                    <a:pt x="2236" y="1472"/>
                  </a:lnTo>
                  <a:lnTo>
                    <a:pt x="2236" y="1476"/>
                  </a:lnTo>
                  <a:lnTo>
                    <a:pt x="2234" y="1478"/>
                  </a:lnTo>
                  <a:lnTo>
                    <a:pt x="2233" y="1475"/>
                  </a:lnTo>
                  <a:lnTo>
                    <a:pt x="2230" y="1475"/>
                  </a:lnTo>
                  <a:lnTo>
                    <a:pt x="2228" y="1473"/>
                  </a:lnTo>
                  <a:lnTo>
                    <a:pt x="2222" y="1473"/>
                  </a:lnTo>
                  <a:lnTo>
                    <a:pt x="2222" y="1472"/>
                  </a:lnTo>
                  <a:lnTo>
                    <a:pt x="2221" y="1472"/>
                  </a:lnTo>
                  <a:lnTo>
                    <a:pt x="2221" y="1469"/>
                  </a:lnTo>
                  <a:lnTo>
                    <a:pt x="2219" y="1467"/>
                  </a:lnTo>
                  <a:lnTo>
                    <a:pt x="2219" y="1466"/>
                  </a:lnTo>
                  <a:close/>
                  <a:moveTo>
                    <a:pt x="2239" y="1460"/>
                  </a:moveTo>
                  <a:lnTo>
                    <a:pt x="2240" y="1460"/>
                  </a:lnTo>
                  <a:lnTo>
                    <a:pt x="2240" y="1461"/>
                  </a:lnTo>
                  <a:lnTo>
                    <a:pt x="2239" y="1461"/>
                  </a:lnTo>
                  <a:lnTo>
                    <a:pt x="2239" y="1460"/>
                  </a:lnTo>
                  <a:close/>
                  <a:moveTo>
                    <a:pt x="2236" y="1460"/>
                  </a:moveTo>
                  <a:lnTo>
                    <a:pt x="2239" y="1460"/>
                  </a:lnTo>
                  <a:lnTo>
                    <a:pt x="2237" y="1461"/>
                  </a:lnTo>
                  <a:lnTo>
                    <a:pt x="2234" y="1461"/>
                  </a:lnTo>
                  <a:lnTo>
                    <a:pt x="2236" y="1460"/>
                  </a:lnTo>
                  <a:close/>
                  <a:moveTo>
                    <a:pt x="2230" y="1455"/>
                  </a:moveTo>
                  <a:lnTo>
                    <a:pt x="2231" y="1455"/>
                  </a:lnTo>
                  <a:lnTo>
                    <a:pt x="2231" y="1457"/>
                  </a:lnTo>
                  <a:lnTo>
                    <a:pt x="2233" y="1457"/>
                  </a:lnTo>
                  <a:lnTo>
                    <a:pt x="2231" y="1458"/>
                  </a:lnTo>
                  <a:lnTo>
                    <a:pt x="2231" y="1461"/>
                  </a:lnTo>
                  <a:lnTo>
                    <a:pt x="2230" y="1461"/>
                  </a:lnTo>
                  <a:lnTo>
                    <a:pt x="2228" y="1460"/>
                  </a:lnTo>
                  <a:lnTo>
                    <a:pt x="2227" y="1460"/>
                  </a:lnTo>
                  <a:lnTo>
                    <a:pt x="2225" y="1458"/>
                  </a:lnTo>
                  <a:lnTo>
                    <a:pt x="2225" y="1457"/>
                  </a:lnTo>
                  <a:lnTo>
                    <a:pt x="2228" y="1457"/>
                  </a:lnTo>
                  <a:lnTo>
                    <a:pt x="2230" y="1455"/>
                  </a:lnTo>
                  <a:close/>
                  <a:moveTo>
                    <a:pt x="2234" y="1449"/>
                  </a:moveTo>
                  <a:lnTo>
                    <a:pt x="2240" y="1449"/>
                  </a:lnTo>
                  <a:lnTo>
                    <a:pt x="2240" y="1452"/>
                  </a:lnTo>
                  <a:lnTo>
                    <a:pt x="2239" y="1451"/>
                  </a:lnTo>
                  <a:lnTo>
                    <a:pt x="2234" y="1451"/>
                  </a:lnTo>
                  <a:lnTo>
                    <a:pt x="2234" y="1449"/>
                  </a:lnTo>
                  <a:close/>
                  <a:moveTo>
                    <a:pt x="2240" y="1436"/>
                  </a:moveTo>
                  <a:lnTo>
                    <a:pt x="2246" y="1436"/>
                  </a:lnTo>
                  <a:lnTo>
                    <a:pt x="2245" y="1437"/>
                  </a:lnTo>
                  <a:lnTo>
                    <a:pt x="2242" y="1437"/>
                  </a:lnTo>
                  <a:lnTo>
                    <a:pt x="2240" y="1436"/>
                  </a:lnTo>
                  <a:close/>
                  <a:moveTo>
                    <a:pt x="2212" y="1402"/>
                  </a:moveTo>
                  <a:lnTo>
                    <a:pt x="2216" y="1402"/>
                  </a:lnTo>
                  <a:lnTo>
                    <a:pt x="2216" y="1404"/>
                  </a:lnTo>
                  <a:lnTo>
                    <a:pt x="2215" y="1404"/>
                  </a:lnTo>
                  <a:lnTo>
                    <a:pt x="2213" y="1406"/>
                  </a:lnTo>
                  <a:lnTo>
                    <a:pt x="2213" y="1404"/>
                  </a:lnTo>
                  <a:lnTo>
                    <a:pt x="2212" y="1402"/>
                  </a:lnTo>
                  <a:close/>
                  <a:moveTo>
                    <a:pt x="2203" y="1397"/>
                  </a:moveTo>
                  <a:lnTo>
                    <a:pt x="2204" y="1397"/>
                  </a:lnTo>
                  <a:lnTo>
                    <a:pt x="2207" y="1399"/>
                  </a:lnTo>
                  <a:lnTo>
                    <a:pt x="2209" y="1400"/>
                  </a:lnTo>
                  <a:lnTo>
                    <a:pt x="2210" y="1400"/>
                  </a:lnTo>
                  <a:lnTo>
                    <a:pt x="2210" y="1402"/>
                  </a:lnTo>
                  <a:lnTo>
                    <a:pt x="2212" y="1403"/>
                  </a:lnTo>
                  <a:lnTo>
                    <a:pt x="2210" y="1404"/>
                  </a:lnTo>
                  <a:lnTo>
                    <a:pt x="2210" y="1403"/>
                  </a:lnTo>
                  <a:lnTo>
                    <a:pt x="2209" y="1402"/>
                  </a:lnTo>
                  <a:lnTo>
                    <a:pt x="2203" y="1399"/>
                  </a:lnTo>
                  <a:lnTo>
                    <a:pt x="2203" y="1397"/>
                  </a:lnTo>
                  <a:close/>
                  <a:moveTo>
                    <a:pt x="2185" y="1376"/>
                  </a:moveTo>
                  <a:lnTo>
                    <a:pt x="2191" y="1376"/>
                  </a:lnTo>
                  <a:lnTo>
                    <a:pt x="2192" y="1378"/>
                  </a:lnTo>
                  <a:lnTo>
                    <a:pt x="2195" y="1378"/>
                  </a:lnTo>
                  <a:lnTo>
                    <a:pt x="2200" y="1382"/>
                  </a:lnTo>
                  <a:lnTo>
                    <a:pt x="2201" y="1382"/>
                  </a:lnTo>
                  <a:lnTo>
                    <a:pt x="2206" y="1387"/>
                  </a:lnTo>
                  <a:lnTo>
                    <a:pt x="2209" y="1387"/>
                  </a:lnTo>
                  <a:lnTo>
                    <a:pt x="2215" y="1388"/>
                  </a:lnTo>
                  <a:lnTo>
                    <a:pt x="2218" y="1390"/>
                  </a:lnTo>
                  <a:lnTo>
                    <a:pt x="2221" y="1393"/>
                  </a:lnTo>
                  <a:lnTo>
                    <a:pt x="2221" y="1396"/>
                  </a:lnTo>
                  <a:lnTo>
                    <a:pt x="2218" y="1397"/>
                  </a:lnTo>
                  <a:lnTo>
                    <a:pt x="2213" y="1397"/>
                  </a:lnTo>
                  <a:lnTo>
                    <a:pt x="2212" y="1396"/>
                  </a:lnTo>
                  <a:lnTo>
                    <a:pt x="2209" y="1396"/>
                  </a:lnTo>
                  <a:lnTo>
                    <a:pt x="2207" y="1394"/>
                  </a:lnTo>
                  <a:lnTo>
                    <a:pt x="2204" y="1393"/>
                  </a:lnTo>
                  <a:lnTo>
                    <a:pt x="2201" y="1393"/>
                  </a:lnTo>
                  <a:lnTo>
                    <a:pt x="2198" y="1390"/>
                  </a:lnTo>
                  <a:lnTo>
                    <a:pt x="2194" y="1388"/>
                  </a:lnTo>
                  <a:lnTo>
                    <a:pt x="2192" y="1387"/>
                  </a:lnTo>
                  <a:lnTo>
                    <a:pt x="2189" y="1387"/>
                  </a:lnTo>
                  <a:lnTo>
                    <a:pt x="2189" y="1385"/>
                  </a:lnTo>
                  <a:lnTo>
                    <a:pt x="2183" y="1379"/>
                  </a:lnTo>
                  <a:lnTo>
                    <a:pt x="2183" y="1378"/>
                  </a:lnTo>
                  <a:lnTo>
                    <a:pt x="2185" y="1378"/>
                  </a:lnTo>
                  <a:lnTo>
                    <a:pt x="2185" y="1376"/>
                  </a:lnTo>
                  <a:close/>
                  <a:moveTo>
                    <a:pt x="2116" y="1352"/>
                  </a:moveTo>
                  <a:lnTo>
                    <a:pt x="2121" y="1352"/>
                  </a:lnTo>
                  <a:lnTo>
                    <a:pt x="2122" y="1354"/>
                  </a:lnTo>
                  <a:lnTo>
                    <a:pt x="2124" y="1360"/>
                  </a:lnTo>
                  <a:lnTo>
                    <a:pt x="2124" y="1361"/>
                  </a:lnTo>
                  <a:lnTo>
                    <a:pt x="2121" y="1361"/>
                  </a:lnTo>
                  <a:lnTo>
                    <a:pt x="2119" y="1360"/>
                  </a:lnTo>
                  <a:lnTo>
                    <a:pt x="2121" y="1360"/>
                  </a:lnTo>
                  <a:lnTo>
                    <a:pt x="2121" y="1357"/>
                  </a:lnTo>
                  <a:lnTo>
                    <a:pt x="2118" y="1355"/>
                  </a:lnTo>
                  <a:lnTo>
                    <a:pt x="2116" y="1354"/>
                  </a:lnTo>
                  <a:lnTo>
                    <a:pt x="2116" y="1352"/>
                  </a:lnTo>
                  <a:close/>
                  <a:moveTo>
                    <a:pt x="2112" y="1348"/>
                  </a:moveTo>
                  <a:lnTo>
                    <a:pt x="2113" y="1349"/>
                  </a:lnTo>
                  <a:lnTo>
                    <a:pt x="2115" y="1349"/>
                  </a:lnTo>
                  <a:lnTo>
                    <a:pt x="2113" y="1348"/>
                  </a:lnTo>
                  <a:lnTo>
                    <a:pt x="2112" y="1348"/>
                  </a:lnTo>
                  <a:close/>
                  <a:moveTo>
                    <a:pt x="2137" y="1151"/>
                  </a:moveTo>
                  <a:lnTo>
                    <a:pt x="2138" y="1151"/>
                  </a:lnTo>
                  <a:lnTo>
                    <a:pt x="2137" y="1153"/>
                  </a:lnTo>
                  <a:lnTo>
                    <a:pt x="2137" y="1151"/>
                  </a:lnTo>
                  <a:close/>
                  <a:moveTo>
                    <a:pt x="2204" y="1062"/>
                  </a:moveTo>
                  <a:lnTo>
                    <a:pt x="2206" y="1062"/>
                  </a:lnTo>
                  <a:lnTo>
                    <a:pt x="2206" y="1063"/>
                  </a:lnTo>
                  <a:lnTo>
                    <a:pt x="2203" y="1063"/>
                  </a:lnTo>
                  <a:lnTo>
                    <a:pt x="2204" y="1062"/>
                  </a:lnTo>
                  <a:close/>
                  <a:moveTo>
                    <a:pt x="2224" y="1057"/>
                  </a:moveTo>
                  <a:lnTo>
                    <a:pt x="2225" y="1057"/>
                  </a:lnTo>
                  <a:lnTo>
                    <a:pt x="2225" y="1059"/>
                  </a:lnTo>
                  <a:lnTo>
                    <a:pt x="2224" y="1057"/>
                  </a:lnTo>
                  <a:close/>
                  <a:moveTo>
                    <a:pt x="2162" y="1035"/>
                  </a:moveTo>
                  <a:lnTo>
                    <a:pt x="2164" y="1035"/>
                  </a:lnTo>
                  <a:lnTo>
                    <a:pt x="2164" y="1038"/>
                  </a:lnTo>
                  <a:lnTo>
                    <a:pt x="2162" y="1038"/>
                  </a:lnTo>
                  <a:lnTo>
                    <a:pt x="2162" y="1035"/>
                  </a:lnTo>
                  <a:close/>
                  <a:moveTo>
                    <a:pt x="2156" y="1033"/>
                  </a:moveTo>
                  <a:lnTo>
                    <a:pt x="2158" y="1033"/>
                  </a:lnTo>
                  <a:lnTo>
                    <a:pt x="2158" y="1035"/>
                  </a:lnTo>
                  <a:lnTo>
                    <a:pt x="2156" y="1033"/>
                  </a:lnTo>
                  <a:close/>
                  <a:moveTo>
                    <a:pt x="2167" y="1014"/>
                  </a:moveTo>
                  <a:lnTo>
                    <a:pt x="2168" y="1014"/>
                  </a:lnTo>
                  <a:lnTo>
                    <a:pt x="2167" y="1015"/>
                  </a:lnTo>
                  <a:lnTo>
                    <a:pt x="2167" y="1014"/>
                  </a:lnTo>
                  <a:close/>
                  <a:moveTo>
                    <a:pt x="2216" y="972"/>
                  </a:moveTo>
                  <a:lnTo>
                    <a:pt x="2218" y="972"/>
                  </a:lnTo>
                  <a:lnTo>
                    <a:pt x="2218" y="973"/>
                  </a:lnTo>
                  <a:lnTo>
                    <a:pt x="2216" y="972"/>
                  </a:lnTo>
                  <a:close/>
                  <a:moveTo>
                    <a:pt x="2275" y="969"/>
                  </a:moveTo>
                  <a:lnTo>
                    <a:pt x="2276" y="969"/>
                  </a:lnTo>
                  <a:lnTo>
                    <a:pt x="2276" y="970"/>
                  </a:lnTo>
                  <a:lnTo>
                    <a:pt x="2275" y="972"/>
                  </a:lnTo>
                  <a:lnTo>
                    <a:pt x="2275" y="969"/>
                  </a:lnTo>
                  <a:close/>
                  <a:moveTo>
                    <a:pt x="2067" y="969"/>
                  </a:moveTo>
                  <a:lnTo>
                    <a:pt x="2068" y="970"/>
                  </a:lnTo>
                  <a:lnTo>
                    <a:pt x="2065" y="975"/>
                  </a:lnTo>
                  <a:lnTo>
                    <a:pt x="2061" y="978"/>
                  </a:lnTo>
                  <a:lnTo>
                    <a:pt x="2059" y="978"/>
                  </a:lnTo>
                  <a:lnTo>
                    <a:pt x="2061" y="976"/>
                  </a:lnTo>
                  <a:lnTo>
                    <a:pt x="2059" y="975"/>
                  </a:lnTo>
                  <a:lnTo>
                    <a:pt x="2059" y="970"/>
                  </a:lnTo>
                  <a:lnTo>
                    <a:pt x="2062" y="970"/>
                  </a:lnTo>
                  <a:lnTo>
                    <a:pt x="2064" y="973"/>
                  </a:lnTo>
                  <a:lnTo>
                    <a:pt x="2067" y="970"/>
                  </a:lnTo>
                  <a:lnTo>
                    <a:pt x="2067" y="969"/>
                  </a:lnTo>
                  <a:close/>
                  <a:moveTo>
                    <a:pt x="2080" y="964"/>
                  </a:moveTo>
                  <a:lnTo>
                    <a:pt x="2082" y="964"/>
                  </a:lnTo>
                  <a:lnTo>
                    <a:pt x="2080" y="966"/>
                  </a:lnTo>
                  <a:lnTo>
                    <a:pt x="2079" y="966"/>
                  </a:lnTo>
                  <a:lnTo>
                    <a:pt x="2080" y="964"/>
                  </a:lnTo>
                  <a:close/>
                  <a:moveTo>
                    <a:pt x="2237" y="961"/>
                  </a:moveTo>
                  <a:lnTo>
                    <a:pt x="2239" y="961"/>
                  </a:lnTo>
                  <a:lnTo>
                    <a:pt x="2239" y="963"/>
                  </a:lnTo>
                  <a:lnTo>
                    <a:pt x="2240" y="964"/>
                  </a:lnTo>
                  <a:lnTo>
                    <a:pt x="2236" y="964"/>
                  </a:lnTo>
                  <a:lnTo>
                    <a:pt x="2237" y="963"/>
                  </a:lnTo>
                  <a:lnTo>
                    <a:pt x="2237" y="961"/>
                  </a:lnTo>
                  <a:close/>
                  <a:moveTo>
                    <a:pt x="2254" y="960"/>
                  </a:moveTo>
                  <a:lnTo>
                    <a:pt x="2255" y="960"/>
                  </a:lnTo>
                  <a:lnTo>
                    <a:pt x="2255" y="961"/>
                  </a:lnTo>
                  <a:lnTo>
                    <a:pt x="2254" y="963"/>
                  </a:lnTo>
                  <a:lnTo>
                    <a:pt x="2254" y="960"/>
                  </a:lnTo>
                  <a:close/>
                  <a:moveTo>
                    <a:pt x="2245" y="955"/>
                  </a:moveTo>
                  <a:lnTo>
                    <a:pt x="2246" y="955"/>
                  </a:lnTo>
                  <a:lnTo>
                    <a:pt x="2248" y="957"/>
                  </a:lnTo>
                  <a:lnTo>
                    <a:pt x="2252" y="957"/>
                  </a:lnTo>
                  <a:lnTo>
                    <a:pt x="2252" y="958"/>
                  </a:lnTo>
                  <a:lnTo>
                    <a:pt x="2248" y="958"/>
                  </a:lnTo>
                  <a:lnTo>
                    <a:pt x="2245" y="955"/>
                  </a:lnTo>
                  <a:close/>
                  <a:moveTo>
                    <a:pt x="2191" y="945"/>
                  </a:moveTo>
                  <a:lnTo>
                    <a:pt x="2195" y="945"/>
                  </a:lnTo>
                  <a:lnTo>
                    <a:pt x="2195" y="946"/>
                  </a:lnTo>
                  <a:lnTo>
                    <a:pt x="2197" y="946"/>
                  </a:lnTo>
                  <a:lnTo>
                    <a:pt x="2195" y="948"/>
                  </a:lnTo>
                  <a:lnTo>
                    <a:pt x="2195" y="951"/>
                  </a:lnTo>
                  <a:lnTo>
                    <a:pt x="2194" y="952"/>
                  </a:lnTo>
                  <a:lnTo>
                    <a:pt x="2192" y="951"/>
                  </a:lnTo>
                  <a:lnTo>
                    <a:pt x="2191" y="951"/>
                  </a:lnTo>
                  <a:lnTo>
                    <a:pt x="2192" y="949"/>
                  </a:lnTo>
                  <a:lnTo>
                    <a:pt x="2192" y="948"/>
                  </a:lnTo>
                  <a:lnTo>
                    <a:pt x="2191" y="948"/>
                  </a:lnTo>
                  <a:lnTo>
                    <a:pt x="2189" y="949"/>
                  </a:lnTo>
                  <a:lnTo>
                    <a:pt x="2189" y="951"/>
                  </a:lnTo>
                  <a:lnTo>
                    <a:pt x="2188" y="951"/>
                  </a:lnTo>
                  <a:lnTo>
                    <a:pt x="2188" y="948"/>
                  </a:lnTo>
                  <a:lnTo>
                    <a:pt x="2189" y="948"/>
                  </a:lnTo>
                  <a:lnTo>
                    <a:pt x="2189" y="946"/>
                  </a:lnTo>
                  <a:lnTo>
                    <a:pt x="2191" y="946"/>
                  </a:lnTo>
                  <a:lnTo>
                    <a:pt x="2191" y="945"/>
                  </a:lnTo>
                  <a:close/>
                  <a:moveTo>
                    <a:pt x="2267" y="940"/>
                  </a:moveTo>
                  <a:lnTo>
                    <a:pt x="2269" y="942"/>
                  </a:lnTo>
                  <a:lnTo>
                    <a:pt x="2269" y="943"/>
                  </a:lnTo>
                  <a:lnTo>
                    <a:pt x="2267" y="945"/>
                  </a:lnTo>
                  <a:lnTo>
                    <a:pt x="2266" y="943"/>
                  </a:lnTo>
                  <a:lnTo>
                    <a:pt x="2266" y="942"/>
                  </a:lnTo>
                  <a:lnTo>
                    <a:pt x="2267" y="940"/>
                  </a:lnTo>
                  <a:close/>
                  <a:moveTo>
                    <a:pt x="2429" y="831"/>
                  </a:moveTo>
                  <a:lnTo>
                    <a:pt x="2429" y="833"/>
                  </a:lnTo>
                  <a:lnTo>
                    <a:pt x="2427" y="833"/>
                  </a:lnTo>
                  <a:lnTo>
                    <a:pt x="2429" y="831"/>
                  </a:lnTo>
                  <a:close/>
                  <a:moveTo>
                    <a:pt x="2278" y="0"/>
                  </a:moveTo>
                  <a:lnTo>
                    <a:pt x="2284" y="0"/>
                  </a:lnTo>
                  <a:lnTo>
                    <a:pt x="2284" y="2"/>
                  </a:lnTo>
                  <a:lnTo>
                    <a:pt x="2286" y="2"/>
                  </a:lnTo>
                  <a:lnTo>
                    <a:pt x="2289" y="3"/>
                  </a:lnTo>
                  <a:lnTo>
                    <a:pt x="2289" y="0"/>
                  </a:lnTo>
                  <a:lnTo>
                    <a:pt x="2291" y="0"/>
                  </a:lnTo>
                  <a:lnTo>
                    <a:pt x="2292" y="2"/>
                  </a:lnTo>
                  <a:lnTo>
                    <a:pt x="2291" y="3"/>
                  </a:lnTo>
                  <a:lnTo>
                    <a:pt x="2292" y="5"/>
                  </a:lnTo>
                  <a:lnTo>
                    <a:pt x="2292" y="3"/>
                  </a:lnTo>
                  <a:lnTo>
                    <a:pt x="2294" y="0"/>
                  </a:lnTo>
                  <a:lnTo>
                    <a:pt x="2295" y="0"/>
                  </a:lnTo>
                  <a:lnTo>
                    <a:pt x="2300" y="5"/>
                  </a:lnTo>
                  <a:lnTo>
                    <a:pt x="2306" y="5"/>
                  </a:lnTo>
                  <a:lnTo>
                    <a:pt x="2307" y="6"/>
                  </a:lnTo>
                  <a:lnTo>
                    <a:pt x="2312" y="9"/>
                  </a:lnTo>
                  <a:lnTo>
                    <a:pt x="2313" y="12"/>
                  </a:lnTo>
                  <a:lnTo>
                    <a:pt x="2315" y="12"/>
                  </a:lnTo>
                  <a:lnTo>
                    <a:pt x="2315" y="14"/>
                  </a:lnTo>
                  <a:lnTo>
                    <a:pt x="2316" y="14"/>
                  </a:lnTo>
                  <a:lnTo>
                    <a:pt x="2318" y="15"/>
                  </a:lnTo>
                  <a:lnTo>
                    <a:pt x="2318" y="17"/>
                  </a:lnTo>
                  <a:lnTo>
                    <a:pt x="2319" y="17"/>
                  </a:lnTo>
                  <a:lnTo>
                    <a:pt x="2321" y="15"/>
                  </a:lnTo>
                  <a:lnTo>
                    <a:pt x="2321" y="14"/>
                  </a:lnTo>
                  <a:lnTo>
                    <a:pt x="2324" y="14"/>
                  </a:lnTo>
                  <a:lnTo>
                    <a:pt x="2327" y="17"/>
                  </a:lnTo>
                  <a:lnTo>
                    <a:pt x="2327" y="18"/>
                  </a:lnTo>
                  <a:lnTo>
                    <a:pt x="2328" y="20"/>
                  </a:lnTo>
                  <a:lnTo>
                    <a:pt x="2328" y="23"/>
                  </a:lnTo>
                  <a:lnTo>
                    <a:pt x="2330" y="24"/>
                  </a:lnTo>
                  <a:lnTo>
                    <a:pt x="2331" y="24"/>
                  </a:lnTo>
                  <a:lnTo>
                    <a:pt x="2331" y="26"/>
                  </a:lnTo>
                  <a:lnTo>
                    <a:pt x="2334" y="26"/>
                  </a:lnTo>
                  <a:lnTo>
                    <a:pt x="2336" y="27"/>
                  </a:lnTo>
                  <a:lnTo>
                    <a:pt x="2343" y="27"/>
                  </a:lnTo>
                  <a:lnTo>
                    <a:pt x="2345" y="29"/>
                  </a:lnTo>
                  <a:lnTo>
                    <a:pt x="2345" y="32"/>
                  </a:lnTo>
                  <a:lnTo>
                    <a:pt x="2351" y="32"/>
                  </a:lnTo>
                  <a:lnTo>
                    <a:pt x="2352" y="35"/>
                  </a:lnTo>
                  <a:lnTo>
                    <a:pt x="2354" y="35"/>
                  </a:lnTo>
                  <a:lnTo>
                    <a:pt x="2354" y="29"/>
                  </a:lnTo>
                  <a:lnTo>
                    <a:pt x="2355" y="29"/>
                  </a:lnTo>
                  <a:lnTo>
                    <a:pt x="2360" y="27"/>
                  </a:lnTo>
                  <a:lnTo>
                    <a:pt x="2364" y="27"/>
                  </a:lnTo>
                  <a:lnTo>
                    <a:pt x="2379" y="36"/>
                  </a:lnTo>
                  <a:lnTo>
                    <a:pt x="2382" y="39"/>
                  </a:lnTo>
                  <a:lnTo>
                    <a:pt x="2382" y="41"/>
                  </a:lnTo>
                  <a:lnTo>
                    <a:pt x="2385" y="39"/>
                  </a:lnTo>
                  <a:lnTo>
                    <a:pt x="2388" y="39"/>
                  </a:lnTo>
                  <a:lnTo>
                    <a:pt x="2388" y="42"/>
                  </a:lnTo>
                  <a:lnTo>
                    <a:pt x="2390" y="44"/>
                  </a:lnTo>
                  <a:lnTo>
                    <a:pt x="2393" y="45"/>
                  </a:lnTo>
                  <a:lnTo>
                    <a:pt x="2393" y="48"/>
                  </a:lnTo>
                  <a:lnTo>
                    <a:pt x="2390" y="48"/>
                  </a:lnTo>
                  <a:lnTo>
                    <a:pt x="2390" y="50"/>
                  </a:lnTo>
                  <a:lnTo>
                    <a:pt x="2388" y="51"/>
                  </a:lnTo>
                  <a:lnTo>
                    <a:pt x="2388" y="53"/>
                  </a:lnTo>
                  <a:lnTo>
                    <a:pt x="2391" y="53"/>
                  </a:lnTo>
                  <a:lnTo>
                    <a:pt x="2393" y="51"/>
                  </a:lnTo>
                  <a:lnTo>
                    <a:pt x="2399" y="51"/>
                  </a:lnTo>
                  <a:lnTo>
                    <a:pt x="2399" y="54"/>
                  </a:lnTo>
                  <a:lnTo>
                    <a:pt x="2403" y="62"/>
                  </a:lnTo>
                  <a:lnTo>
                    <a:pt x="2405" y="62"/>
                  </a:lnTo>
                  <a:lnTo>
                    <a:pt x="2405" y="60"/>
                  </a:lnTo>
                  <a:lnTo>
                    <a:pt x="2409" y="60"/>
                  </a:lnTo>
                  <a:lnTo>
                    <a:pt x="2409" y="62"/>
                  </a:lnTo>
                  <a:lnTo>
                    <a:pt x="2406" y="65"/>
                  </a:lnTo>
                  <a:lnTo>
                    <a:pt x="2408" y="66"/>
                  </a:lnTo>
                  <a:lnTo>
                    <a:pt x="2408" y="68"/>
                  </a:lnTo>
                  <a:lnTo>
                    <a:pt x="2406" y="68"/>
                  </a:lnTo>
                  <a:lnTo>
                    <a:pt x="2403" y="71"/>
                  </a:lnTo>
                  <a:lnTo>
                    <a:pt x="2403" y="74"/>
                  </a:lnTo>
                  <a:lnTo>
                    <a:pt x="2405" y="75"/>
                  </a:lnTo>
                  <a:lnTo>
                    <a:pt x="2405" y="77"/>
                  </a:lnTo>
                  <a:lnTo>
                    <a:pt x="2408" y="77"/>
                  </a:lnTo>
                  <a:lnTo>
                    <a:pt x="2408" y="74"/>
                  </a:lnTo>
                  <a:lnTo>
                    <a:pt x="2409" y="74"/>
                  </a:lnTo>
                  <a:lnTo>
                    <a:pt x="2412" y="78"/>
                  </a:lnTo>
                  <a:lnTo>
                    <a:pt x="2415" y="78"/>
                  </a:lnTo>
                  <a:lnTo>
                    <a:pt x="2415" y="81"/>
                  </a:lnTo>
                  <a:lnTo>
                    <a:pt x="2414" y="83"/>
                  </a:lnTo>
                  <a:lnTo>
                    <a:pt x="2414" y="84"/>
                  </a:lnTo>
                  <a:lnTo>
                    <a:pt x="2418" y="84"/>
                  </a:lnTo>
                  <a:lnTo>
                    <a:pt x="2418" y="86"/>
                  </a:lnTo>
                  <a:lnTo>
                    <a:pt x="2420" y="87"/>
                  </a:lnTo>
                  <a:lnTo>
                    <a:pt x="2421" y="90"/>
                  </a:lnTo>
                  <a:lnTo>
                    <a:pt x="2421" y="92"/>
                  </a:lnTo>
                  <a:lnTo>
                    <a:pt x="2420" y="95"/>
                  </a:lnTo>
                  <a:lnTo>
                    <a:pt x="2421" y="96"/>
                  </a:lnTo>
                  <a:lnTo>
                    <a:pt x="2424" y="98"/>
                  </a:lnTo>
                  <a:lnTo>
                    <a:pt x="2426" y="98"/>
                  </a:lnTo>
                  <a:lnTo>
                    <a:pt x="2423" y="99"/>
                  </a:lnTo>
                  <a:lnTo>
                    <a:pt x="2420" y="102"/>
                  </a:lnTo>
                  <a:lnTo>
                    <a:pt x="2420" y="103"/>
                  </a:lnTo>
                  <a:lnTo>
                    <a:pt x="2421" y="105"/>
                  </a:lnTo>
                  <a:lnTo>
                    <a:pt x="2426" y="106"/>
                  </a:lnTo>
                  <a:lnTo>
                    <a:pt x="2429" y="106"/>
                  </a:lnTo>
                  <a:lnTo>
                    <a:pt x="2430" y="109"/>
                  </a:lnTo>
                  <a:lnTo>
                    <a:pt x="2429" y="114"/>
                  </a:lnTo>
                  <a:lnTo>
                    <a:pt x="2429" y="115"/>
                  </a:lnTo>
                  <a:lnTo>
                    <a:pt x="2427" y="115"/>
                  </a:lnTo>
                  <a:lnTo>
                    <a:pt x="2426" y="117"/>
                  </a:lnTo>
                  <a:lnTo>
                    <a:pt x="2426" y="120"/>
                  </a:lnTo>
                  <a:lnTo>
                    <a:pt x="2435" y="138"/>
                  </a:lnTo>
                  <a:lnTo>
                    <a:pt x="2438" y="139"/>
                  </a:lnTo>
                  <a:lnTo>
                    <a:pt x="2438" y="147"/>
                  </a:lnTo>
                  <a:lnTo>
                    <a:pt x="2436" y="148"/>
                  </a:lnTo>
                  <a:lnTo>
                    <a:pt x="2436" y="150"/>
                  </a:lnTo>
                  <a:lnTo>
                    <a:pt x="2438" y="151"/>
                  </a:lnTo>
                  <a:lnTo>
                    <a:pt x="2441" y="153"/>
                  </a:lnTo>
                  <a:lnTo>
                    <a:pt x="2442" y="153"/>
                  </a:lnTo>
                  <a:lnTo>
                    <a:pt x="2444" y="154"/>
                  </a:lnTo>
                  <a:lnTo>
                    <a:pt x="2442" y="157"/>
                  </a:lnTo>
                  <a:lnTo>
                    <a:pt x="2441" y="159"/>
                  </a:lnTo>
                  <a:lnTo>
                    <a:pt x="2441" y="160"/>
                  </a:lnTo>
                  <a:lnTo>
                    <a:pt x="2442" y="162"/>
                  </a:lnTo>
                  <a:lnTo>
                    <a:pt x="2445" y="162"/>
                  </a:lnTo>
                  <a:lnTo>
                    <a:pt x="2446" y="163"/>
                  </a:lnTo>
                  <a:lnTo>
                    <a:pt x="2446" y="166"/>
                  </a:lnTo>
                  <a:lnTo>
                    <a:pt x="2444" y="166"/>
                  </a:lnTo>
                  <a:lnTo>
                    <a:pt x="2442" y="168"/>
                  </a:lnTo>
                  <a:lnTo>
                    <a:pt x="2442" y="172"/>
                  </a:lnTo>
                  <a:lnTo>
                    <a:pt x="2444" y="174"/>
                  </a:lnTo>
                  <a:lnTo>
                    <a:pt x="2445" y="174"/>
                  </a:lnTo>
                  <a:lnTo>
                    <a:pt x="2445" y="172"/>
                  </a:lnTo>
                  <a:lnTo>
                    <a:pt x="2446" y="172"/>
                  </a:lnTo>
                  <a:lnTo>
                    <a:pt x="2445" y="171"/>
                  </a:lnTo>
                  <a:lnTo>
                    <a:pt x="2445" y="169"/>
                  </a:lnTo>
                  <a:lnTo>
                    <a:pt x="2446" y="169"/>
                  </a:lnTo>
                  <a:lnTo>
                    <a:pt x="2446" y="168"/>
                  </a:lnTo>
                  <a:lnTo>
                    <a:pt x="2449" y="168"/>
                  </a:lnTo>
                  <a:lnTo>
                    <a:pt x="2449" y="172"/>
                  </a:lnTo>
                  <a:lnTo>
                    <a:pt x="2446" y="175"/>
                  </a:lnTo>
                  <a:lnTo>
                    <a:pt x="2446" y="184"/>
                  </a:lnTo>
                  <a:lnTo>
                    <a:pt x="2448" y="186"/>
                  </a:lnTo>
                  <a:lnTo>
                    <a:pt x="2448" y="189"/>
                  </a:lnTo>
                  <a:lnTo>
                    <a:pt x="2449" y="190"/>
                  </a:lnTo>
                  <a:lnTo>
                    <a:pt x="2452" y="195"/>
                  </a:lnTo>
                  <a:lnTo>
                    <a:pt x="2457" y="199"/>
                  </a:lnTo>
                  <a:lnTo>
                    <a:pt x="2461" y="208"/>
                  </a:lnTo>
                  <a:lnTo>
                    <a:pt x="2463" y="210"/>
                  </a:lnTo>
                  <a:lnTo>
                    <a:pt x="2464" y="210"/>
                  </a:lnTo>
                  <a:lnTo>
                    <a:pt x="2464" y="216"/>
                  </a:lnTo>
                  <a:lnTo>
                    <a:pt x="2466" y="219"/>
                  </a:lnTo>
                  <a:lnTo>
                    <a:pt x="2467" y="220"/>
                  </a:lnTo>
                  <a:lnTo>
                    <a:pt x="2467" y="225"/>
                  </a:lnTo>
                  <a:lnTo>
                    <a:pt x="2466" y="226"/>
                  </a:lnTo>
                  <a:lnTo>
                    <a:pt x="2466" y="228"/>
                  </a:lnTo>
                  <a:lnTo>
                    <a:pt x="2464" y="229"/>
                  </a:lnTo>
                  <a:lnTo>
                    <a:pt x="2464" y="232"/>
                  </a:lnTo>
                  <a:lnTo>
                    <a:pt x="2467" y="234"/>
                  </a:lnTo>
                  <a:lnTo>
                    <a:pt x="2467" y="238"/>
                  </a:lnTo>
                  <a:lnTo>
                    <a:pt x="2466" y="238"/>
                  </a:lnTo>
                  <a:lnTo>
                    <a:pt x="2466" y="241"/>
                  </a:lnTo>
                  <a:lnTo>
                    <a:pt x="2469" y="244"/>
                  </a:lnTo>
                  <a:lnTo>
                    <a:pt x="2478" y="249"/>
                  </a:lnTo>
                  <a:lnTo>
                    <a:pt x="2478" y="253"/>
                  </a:lnTo>
                  <a:lnTo>
                    <a:pt x="2476" y="255"/>
                  </a:lnTo>
                  <a:lnTo>
                    <a:pt x="2473" y="259"/>
                  </a:lnTo>
                  <a:lnTo>
                    <a:pt x="2473" y="267"/>
                  </a:lnTo>
                  <a:lnTo>
                    <a:pt x="2475" y="268"/>
                  </a:lnTo>
                  <a:lnTo>
                    <a:pt x="2475" y="274"/>
                  </a:lnTo>
                  <a:lnTo>
                    <a:pt x="2473" y="276"/>
                  </a:lnTo>
                  <a:lnTo>
                    <a:pt x="2473" y="277"/>
                  </a:lnTo>
                  <a:lnTo>
                    <a:pt x="2475" y="279"/>
                  </a:lnTo>
                  <a:lnTo>
                    <a:pt x="2481" y="280"/>
                  </a:lnTo>
                  <a:lnTo>
                    <a:pt x="2482" y="283"/>
                  </a:lnTo>
                  <a:lnTo>
                    <a:pt x="2482" y="288"/>
                  </a:lnTo>
                  <a:lnTo>
                    <a:pt x="2485" y="291"/>
                  </a:lnTo>
                  <a:lnTo>
                    <a:pt x="2487" y="291"/>
                  </a:lnTo>
                  <a:lnTo>
                    <a:pt x="2488" y="292"/>
                  </a:lnTo>
                  <a:lnTo>
                    <a:pt x="2488" y="294"/>
                  </a:lnTo>
                  <a:lnTo>
                    <a:pt x="2494" y="294"/>
                  </a:lnTo>
                  <a:lnTo>
                    <a:pt x="2494" y="292"/>
                  </a:lnTo>
                  <a:lnTo>
                    <a:pt x="2496" y="292"/>
                  </a:lnTo>
                  <a:lnTo>
                    <a:pt x="2500" y="297"/>
                  </a:lnTo>
                  <a:lnTo>
                    <a:pt x="2508" y="297"/>
                  </a:lnTo>
                  <a:lnTo>
                    <a:pt x="2509" y="295"/>
                  </a:lnTo>
                  <a:lnTo>
                    <a:pt x="2511" y="297"/>
                  </a:lnTo>
                  <a:lnTo>
                    <a:pt x="2512" y="297"/>
                  </a:lnTo>
                  <a:lnTo>
                    <a:pt x="2512" y="295"/>
                  </a:lnTo>
                  <a:lnTo>
                    <a:pt x="2514" y="295"/>
                  </a:lnTo>
                  <a:lnTo>
                    <a:pt x="2514" y="294"/>
                  </a:lnTo>
                  <a:lnTo>
                    <a:pt x="2521" y="294"/>
                  </a:lnTo>
                  <a:lnTo>
                    <a:pt x="2526" y="295"/>
                  </a:lnTo>
                  <a:lnTo>
                    <a:pt x="2526" y="294"/>
                  </a:lnTo>
                  <a:lnTo>
                    <a:pt x="2527" y="292"/>
                  </a:lnTo>
                  <a:lnTo>
                    <a:pt x="2529" y="292"/>
                  </a:lnTo>
                  <a:lnTo>
                    <a:pt x="2530" y="294"/>
                  </a:lnTo>
                  <a:lnTo>
                    <a:pt x="2532" y="294"/>
                  </a:lnTo>
                  <a:lnTo>
                    <a:pt x="2533" y="295"/>
                  </a:lnTo>
                  <a:lnTo>
                    <a:pt x="2533" y="298"/>
                  </a:lnTo>
                  <a:lnTo>
                    <a:pt x="2532" y="298"/>
                  </a:lnTo>
                  <a:lnTo>
                    <a:pt x="2532" y="301"/>
                  </a:lnTo>
                  <a:lnTo>
                    <a:pt x="2533" y="303"/>
                  </a:lnTo>
                  <a:lnTo>
                    <a:pt x="2536" y="301"/>
                  </a:lnTo>
                  <a:lnTo>
                    <a:pt x="2538" y="301"/>
                  </a:lnTo>
                  <a:lnTo>
                    <a:pt x="2541" y="303"/>
                  </a:lnTo>
                  <a:lnTo>
                    <a:pt x="2542" y="304"/>
                  </a:lnTo>
                  <a:lnTo>
                    <a:pt x="2544" y="304"/>
                  </a:lnTo>
                  <a:lnTo>
                    <a:pt x="2545" y="309"/>
                  </a:lnTo>
                  <a:lnTo>
                    <a:pt x="2545" y="310"/>
                  </a:lnTo>
                  <a:lnTo>
                    <a:pt x="2548" y="310"/>
                  </a:lnTo>
                  <a:lnTo>
                    <a:pt x="2551" y="307"/>
                  </a:lnTo>
                  <a:lnTo>
                    <a:pt x="2554" y="307"/>
                  </a:lnTo>
                  <a:lnTo>
                    <a:pt x="2559" y="312"/>
                  </a:lnTo>
                  <a:lnTo>
                    <a:pt x="2559" y="310"/>
                  </a:lnTo>
                  <a:lnTo>
                    <a:pt x="2560" y="309"/>
                  </a:lnTo>
                  <a:lnTo>
                    <a:pt x="2560" y="306"/>
                  </a:lnTo>
                  <a:lnTo>
                    <a:pt x="2562" y="304"/>
                  </a:lnTo>
                  <a:lnTo>
                    <a:pt x="2563" y="304"/>
                  </a:lnTo>
                  <a:lnTo>
                    <a:pt x="2565" y="306"/>
                  </a:lnTo>
                  <a:lnTo>
                    <a:pt x="2566" y="306"/>
                  </a:lnTo>
                  <a:lnTo>
                    <a:pt x="2566" y="309"/>
                  </a:lnTo>
                  <a:lnTo>
                    <a:pt x="2568" y="312"/>
                  </a:lnTo>
                  <a:lnTo>
                    <a:pt x="2568" y="315"/>
                  </a:lnTo>
                  <a:lnTo>
                    <a:pt x="2569" y="315"/>
                  </a:lnTo>
                  <a:lnTo>
                    <a:pt x="2571" y="316"/>
                  </a:lnTo>
                  <a:lnTo>
                    <a:pt x="2574" y="315"/>
                  </a:lnTo>
                  <a:lnTo>
                    <a:pt x="2577" y="318"/>
                  </a:lnTo>
                  <a:lnTo>
                    <a:pt x="2577" y="322"/>
                  </a:lnTo>
                  <a:lnTo>
                    <a:pt x="2580" y="322"/>
                  </a:lnTo>
                  <a:lnTo>
                    <a:pt x="2581" y="324"/>
                  </a:lnTo>
                  <a:lnTo>
                    <a:pt x="2581" y="327"/>
                  </a:lnTo>
                  <a:lnTo>
                    <a:pt x="2584" y="330"/>
                  </a:lnTo>
                  <a:lnTo>
                    <a:pt x="2584" y="333"/>
                  </a:lnTo>
                  <a:lnTo>
                    <a:pt x="2586" y="333"/>
                  </a:lnTo>
                  <a:lnTo>
                    <a:pt x="2587" y="334"/>
                  </a:lnTo>
                  <a:lnTo>
                    <a:pt x="2589" y="334"/>
                  </a:lnTo>
                  <a:lnTo>
                    <a:pt x="2590" y="337"/>
                  </a:lnTo>
                  <a:lnTo>
                    <a:pt x="2598" y="343"/>
                  </a:lnTo>
                  <a:lnTo>
                    <a:pt x="2601" y="345"/>
                  </a:lnTo>
                  <a:lnTo>
                    <a:pt x="2602" y="345"/>
                  </a:lnTo>
                  <a:lnTo>
                    <a:pt x="2604" y="343"/>
                  </a:lnTo>
                  <a:lnTo>
                    <a:pt x="2606" y="342"/>
                  </a:lnTo>
                  <a:lnTo>
                    <a:pt x="2608" y="342"/>
                  </a:lnTo>
                  <a:lnTo>
                    <a:pt x="2611" y="345"/>
                  </a:lnTo>
                  <a:lnTo>
                    <a:pt x="2614" y="345"/>
                  </a:lnTo>
                  <a:lnTo>
                    <a:pt x="2617" y="343"/>
                  </a:lnTo>
                  <a:lnTo>
                    <a:pt x="2618" y="343"/>
                  </a:lnTo>
                  <a:lnTo>
                    <a:pt x="2620" y="345"/>
                  </a:lnTo>
                  <a:lnTo>
                    <a:pt x="2618" y="346"/>
                  </a:lnTo>
                  <a:lnTo>
                    <a:pt x="2617" y="349"/>
                  </a:lnTo>
                  <a:lnTo>
                    <a:pt x="2612" y="360"/>
                  </a:lnTo>
                  <a:lnTo>
                    <a:pt x="2612" y="363"/>
                  </a:lnTo>
                  <a:lnTo>
                    <a:pt x="2614" y="364"/>
                  </a:lnTo>
                  <a:lnTo>
                    <a:pt x="2617" y="364"/>
                  </a:lnTo>
                  <a:lnTo>
                    <a:pt x="2617" y="371"/>
                  </a:lnTo>
                  <a:lnTo>
                    <a:pt x="2621" y="370"/>
                  </a:lnTo>
                  <a:lnTo>
                    <a:pt x="2623" y="370"/>
                  </a:lnTo>
                  <a:lnTo>
                    <a:pt x="2623" y="377"/>
                  </a:lnTo>
                  <a:lnTo>
                    <a:pt x="2624" y="379"/>
                  </a:lnTo>
                  <a:lnTo>
                    <a:pt x="2624" y="380"/>
                  </a:lnTo>
                  <a:lnTo>
                    <a:pt x="2626" y="380"/>
                  </a:lnTo>
                  <a:lnTo>
                    <a:pt x="2626" y="385"/>
                  </a:lnTo>
                  <a:lnTo>
                    <a:pt x="2623" y="388"/>
                  </a:lnTo>
                  <a:lnTo>
                    <a:pt x="2623" y="391"/>
                  </a:lnTo>
                  <a:lnTo>
                    <a:pt x="2618" y="395"/>
                  </a:lnTo>
                  <a:lnTo>
                    <a:pt x="2618" y="398"/>
                  </a:lnTo>
                  <a:lnTo>
                    <a:pt x="2620" y="400"/>
                  </a:lnTo>
                  <a:lnTo>
                    <a:pt x="2627" y="409"/>
                  </a:lnTo>
                  <a:lnTo>
                    <a:pt x="2630" y="412"/>
                  </a:lnTo>
                  <a:lnTo>
                    <a:pt x="2632" y="416"/>
                  </a:lnTo>
                  <a:lnTo>
                    <a:pt x="2632" y="424"/>
                  </a:lnTo>
                  <a:lnTo>
                    <a:pt x="2633" y="424"/>
                  </a:lnTo>
                  <a:lnTo>
                    <a:pt x="2635" y="425"/>
                  </a:lnTo>
                  <a:lnTo>
                    <a:pt x="2641" y="425"/>
                  </a:lnTo>
                  <a:lnTo>
                    <a:pt x="2642" y="424"/>
                  </a:lnTo>
                  <a:lnTo>
                    <a:pt x="2644" y="424"/>
                  </a:lnTo>
                  <a:lnTo>
                    <a:pt x="2653" y="421"/>
                  </a:lnTo>
                  <a:lnTo>
                    <a:pt x="2654" y="421"/>
                  </a:lnTo>
                  <a:lnTo>
                    <a:pt x="2656" y="422"/>
                  </a:lnTo>
                  <a:lnTo>
                    <a:pt x="2657" y="422"/>
                  </a:lnTo>
                  <a:lnTo>
                    <a:pt x="2659" y="424"/>
                  </a:lnTo>
                  <a:lnTo>
                    <a:pt x="2660" y="427"/>
                  </a:lnTo>
                  <a:lnTo>
                    <a:pt x="2663" y="427"/>
                  </a:lnTo>
                  <a:lnTo>
                    <a:pt x="2666" y="425"/>
                  </a:lnTo>
                  <a:lnTo>
                    <a:pt x="2674" y="425"/>
                  </a:lnTo>
                  <a:lnTo>
                    <a:pt x="2675" y="427"/>
                  </a:lnTo>
                  <a:lnTo>
                    <a:pt x="2677" y="427"/>
                  </a:lnTo>
                  <a:lnTo>
                    <a:pt x="2678" y="425"/>
                  </a:lnTo>
                  <a:lnTo>
                    <a:pt x="2681" y="424"/>
                  </a:lnTo>
                  <a:lnTo>
                    <a:pt x="2684" y="425"/>
                  </a:lnTo>
                  <a:lnTo>
                    <a:pt x="2689" y="425"/>
                  </a:lnTo>
                  <a:lnTo>
                    <a:pt x="2689" y="424"/>
                  </a:lnTo>
                  <a:lnTo>
                    <a:pt x="2692" y="422"/>
                  </a:lnTo>
                  <a:lnTo>
                    <a:pt x="2699" y="422"/>
                  </a:lnTo>
                  <a:lnTo>
                    <a:pt x="2701" y="424"/>
                  </a:lnTo>
                  <a:lnTo>
                    <a:pt x="2705" y="424"/>
                  </a:lnTo>
                  <a:lnTo>
                    <a:pt x="2705" y="422"/>
                  </a:lnTo>
                  <a:lnTo>
                    <a:pt x="2707" y="422"/>
                  </a:lnTo>
                  <a:lnTo>
                    <a:pt x="2707" y="418"/>
                  </a:lnTo>
                  <a:lnTo>
                    <a:pt x="2708" y="416"/>
                  </a:lnTo>
                  <a:lnTo>
                    <a:pt x="2710" y="413"/>
                  </a:lnTo>
                  <a:lnTo>
                    <a:pt x="2711" y="412"/>
                  </a:lnTo>
                  <a:lnTo>
                    <a:pt x="2711" y="409"/>
                  </a:lnTo>
                  <a:lnTo>
                    <a:pt x="2710" y="409"/>
                  </a:lnTo>
                  <a:lnTo>
                    <a:pt x="2713" y="406"/>
                  </a:lnTo>
                  <a:lnTo>
                    <a:pt x="2713" y="407"/>
                  </a:lnTo>
                  <a:lnTo>
                    <a:pt x="2716" y="407"/>
                  </a:lnTo>
                  <a:lnTo>
                    <a:pt x="2716" y="409"/>
                  </a:lnTo>
                  <a:lnTo>
                    <a:pt x="2717" y="409"/>
                  </a:lnTo>
                  <a:lnTo>
                    <a:pt x="2717" y="407"/>
                  </a:lnTo>
                  <a:lnTo>
                    <a:pt x="2719" y="407"/>
                  </a:lnTo>
                  <a:lnTo>
                    <a:pt x="2719" y="406"/>
                  </a:lnTo>
                  <a:lnTo>
                    <a:pt x="2720" y="404"/>
                  </a:lnTo>
                  <a:lnTo>
                    <a:pt x="2723" y="403"/>
                  </a:lnTo>
                  <a:lnTo>
                    <a:pt x="2723" y="401"/>
                  </a:lnTo>
                  <a:lnTo>
                    <a:pt x="2728" y="400"/>
                  </a:lnTo>
                  <a:lnTo>
                    <a:pt x="2728" y="398"/>
                  </a:lnTo>
                  <a:lnTo>
                    <a:pt x="2729" y="397"/>
                  </a:lnTo>
                  <a:lnTo>
                    <a:pt x="2731" y="397"/>
                  </a:lnTo>
                  <a:lnTo>
                    <a:pt x="2735" y="395"/>
                  </a:lnTo>
                  <a:lnTo>
                    <a:pt x="2738" y="395"/>
                  </a:lnTo>
                  <a:lnTo>
                    <a:pt x="2740" y="397"/>
                  </a:lnTo>
                  <a:lnTo>
                    <a:pt x="2747" y="397"/>
                  </a:lnTo>
                  <a:lnTo>
                    <a:pt x="2747" y="398"/>
                  </a:lnTo>
                  <a:lnTo>
                    <a:pt x="2750" y="397"/>
                  </a:lnTo>
                  <a:lnTo>
                    <a:pt x="2752" y="397"/>
                  </a:lnTo>
                  <a:lnTo>
                    <a:pt x="2752" y="395"/>
                  </a:lnTo>
                  <a:lnTo>
                    <a:pt x="2753" y="394"/>
                  </a:lnTo>
                  <a:lnTo>
                    <a:pt x="2753" y="392"/>
                  </a:lnTo>
                  <a:lnTo>
                    <a:pt x="2755" y="392"/>
                  </a:lnTo>
                  <a:lnTo>
                    <a:pt x="2759" y="388"/>
                  </a:lnTo>
                  <a:lnTo>
                    <a:pt x="2759" y="386"/>
                  </a:lnTo>
                  <a:lnTo>
                    <a:pt x="2764" y="386"/>
                  </a:lnTo>
                  <a:lnTo>
                    <a:pt x="2765" y="385"/>
                  </a:lnTo>
                  <a:lnTo>
                    <a:pt x="2771" y="385"/>
                  </a:lnTo>
                  <a:lnTo>
                    <a:pt x="2772" y="382"/>
                  </a:lnTo>
                  <a:lnTo>
                    <a:pt x="2774" y="382"/>
                  </a:lnTo>
                  <a:lnTo>
                    <a:pt x="2777" y="380"/>
                  </a:lnTo>
                  <a:lnTo>
                    <a:pt x="2781" y="379"/>
                  </a:lnTo>
                  <a:lnTo>
                    <a:pt x="2789" y="377"/>
                  </a:lnTo>
                  <a:lnTo>
                    <a:pt x="2790" y="379"/>
                  </a:lnTo>
                  <a:lnTo>
                    <a:pt x="2793" y="380"/>
                  </a:lnTo>
                  <a:lnTo>
                    <a:pt x="2796" y="380"/>
                  </a:lnTo>
                  <a:lnTo>
                    <a:pt x="2796" y="379"/>
                  </a:lnTo>
                  <a:lnTo>
                    <a:pt x="2799" y="385"/>
                  </a:lnTo>
                  <a:lnTo>
                    <a:pt x="2802" y="385"/>
                  </a:lnTo>
                  <a:lnTo>
                    <a:pt x="2804" y="386"/>
                  </a:lnTo>
                  <a:lnTo>
                    <a:pt x="2804" y="394"/>
                  </a:lnTo>
                  <a:lnTo>
                    <a:pt x="2802" y="397"/>
                  </a:lnTo>
                  <a:lnTo>
                    <a:pt x="2801" y="397"/>
                  </a:lnTo>
                  <a:lnTo>
                    <a:pt x="2799" y="400"/>
                  </a:lnTo>
                  <a:lnTo>
                    <a:pt x="2798" y="401"/>
                  </a:lnTo>
                  <a:lnTo>
                    <a:pt x="2798" y="404"/>
                  </a:lnTo>
                  <a:lnTo>
                    <a:pt x="2799" y="407"/>
                  </a:lnTo>
                  <a:lnTo>
                    <a:pt x="2799" y="410"/>
                  </a:lnTo>
                  <a:lnTo>
                    <a:pt x="2801" y="410"/>
                  </a:lnTo>
                  <a:lnTo>
                    <a:pt x="2802" y="412"/>
                  </a:lnTo>
                  <a:lnTo>
                    <a:pt x="2802" y="416"/>
                  </a:lnTo>
                  <a:lnTo>
                    <a:pt x="2807" y="421"/>
                  </a:lnTo>
                  <a:lnTo>
                    <a:pt x="2807" y="424"/>
                  </a:lnTo>
                  <a:lnTo>
                    <a:pt x="2805" y="427"/>
                  </a:lnTo>
                  <a:lnTo>
                    <a:pt x="2804" y="428"/>
                  </a:lnTo>
                  <a:lnTo>
                    <a:pt x="2804" y="431"/>
                  </a:lnTo>
                  <a:lnTo>
                    <a:pt x="2799" y="436"/>
                  </a:lnTo>
                  <a:lnTo>
                    <a:pt x="2798" y="439"/>
                  </a:lnTo>
                  <a:lnTo>
                    <a:pt x="2798" y="440"/>
                  </a:lnTo>
                  <a:lnTo>
                    <a:pt x="2796" y="440"/>
                  </a:lnTo>
                  <a:lnTo>
                    <a:pt x="2793" y="443"/>
                  </a:lnTo>
                  <a:lnTo>
                    <a:pt x="2792" y="443"/>
                  </a:lnTo>
                  <a:lnTo>
                    <a:pt x="2790" y="442"/>
                  </a:lnTo>
                  <a:lnTo>
                    <a:pt x="2789" y="443"/>
                  </a:lnTo>
                  <a:lnTo>
                    <a:pt x="2786" y="443"/>
                  </a:lnTo>
                  <a:lnTo>
                    <a:pt x="2784" y="445"/>
                  </a:lnTo>
                  <a:lnTo>
                    <a:pt x="2784" y="446"/>
                  </a:lnTo>
                  <a:lnTo>
                    <a:pt x="2781" y="449"/>
                  </a:lnTo>
                  <a:lnTo>
                    <a:pt x="2780" y="449"/>
                  </a:lnTo>
                  <a:lnTo>
                    <a:pt x="2780" y="454"/>
                  </a:lnTo>
                  <a:lnTo>
                    <a:pt x="2778" y="454"/>
                  </a:lnTo>
                  <a:lnTo>
                    <a:pt x="2780" y="455"/>
                  </a:lnTo>
                  <a:lnTo>
                    <a:pt x="2780" y="457"/>
                  </a:lnTo>
                  <a:lnTo>
                    <a:pt x="2781" y="457"/>
                  </a:lnTo>
                  <a:lnTo>
                    <a:pt x="2781" y="458"/>
                  </a:lnTo>
                  <a:lnTo>
                    <a:pt x="2780" y="460"/>
                  </a:lnTo>
                  <a:lnTo>
                    <a:pt x="2781" y="461"/>
                  </a:lnTo>
                  <a:lnTo>
                    <a:pt x="2781" y="463"/>
                  </a:lnTo>
                  <a:lnTo>
                    <a:pt x="2783" y="464"/>
                  </a:lnTo>
                  <a:lnTo>
                    <a:pt x="2781" y="466"/>
                  </a:lnTo>
                  <a:lnTo>
                    <a:pt x="2778" y="466"/>
                  </a:lnTo>
                  <a:lnTo>
                    <a:pt x="2777" y="467"/>
                  </a:lnTo>
                  <a:lnTo>
                    <a:pt x="2775" y="472"/>
                  </a:lnTo>
                  <a:lnTo>
                    <a:pt x="2775" y="478"/>
                  </a:lnTo>
                  <a:lnTo>
                    <a:pt x="2772" y="482"/>
                  </a:lnTo>
                  <a:lnTo>
                    <a:pt x="2772" y="485"/>
                  </a:lnTo>
                  <a:lnTo>
                    <a:pt x="2774" y="485"/>
                  </a:lnTo>
                  <a:lnTo>
                    <a:pt x="2774" y="488"/>
                  </a:lnTo>
                  <a:lnTo>
                    <a:pt x="2772" y="491"/>
                  </a:lnTo>
                  <a:lnTo>
                    <a:pt x="2772" y="496"/>
                  </a:lnTo>
                  <a:lnTo>
                    <a:pt x="2771" y="497"/>
                  </a:lnTo>
                  <a:lnTo>
                    <a:pt x="2768" y="499"/>
                  </a:lnTo>
                  <a:lnTo>
                    <a:pt x="2768" y="500"/>
                  </a:lnTo>
                  <a:lnTo>
                    <a:pt x="2766" y="500"/>
                  </a:lnTo>
                  <a:lnTo>
                    <a:pt x="2766" y="503"/>
                  </a:lnTo>
                  <a:lnTo>
                    <a:pt x="2765" y="506"/>
                  </a:lnTo>
                  <a:lnTo>
                    <a:pt x="2765" y="509"/>
                  </a:lnTo>
                  <a:lnTo>
                    <a:pt x="2766" y="509"/>
                  </a:lnTo>
                  <a:lnTo>
                    <a:pt x="2769" y="512"/>
                  </a:lnTo>
                  <a:lnTo>
                    <a:pt x="2766" y="515"/>
                  </a:lnTo>
                  <a:lnTo>
                    <a:pt x="2765" y="515"/>
                  </a:lnTo>
                  <a:lnTo>
                    <a:pt x="2766" y="517"/>
                  </a:lnTo>
                  <a:lnTo>
                    <a:pt x="2768" y="517"/>
                  </a:lnTo>
                  <a:lnTo>
                    <a:pt x="2768" y="518"/>
                  </a:lnTo>
                  <a:lnTo>
                    <a:pt x="2766" y="518"/>
                  </a:lnTo>
                  <a:lnTo>
                    <a:pt x="2766" y="520"/>
                  </a:lnTo>
                  <a:lnTo>
                    <a:pt x="2768" y="520"/>
                  </a:lnTo>
                  <a:lnTo>
                    <a:pt x="2768" y="521"/>
                  </a:lnTo>
                  <a:lnTo>
                    <a:pt x="2766" y="521"/>
                  </a:lnTo>
                  <a:lnTo>
                    <a:pt x="2766" y="523"/>
                  </a:lnTo>
                  <a:lnTo>
                    <a:pt x="2765" y="523"/>
                  </a:lnTo>
                  <a:lnTo>
                    <a:pt x="2765" y="526"/>
                  </a:lnTo>
                  <a:lnTo>
                    <a:pt x="2764" y="526"/>
                  </a:lnTo>
                  <a:lnTo>
                    <a:pt x="2764" y="524"/>
                  </a:lnTo>
                  <a:lnTo>
                    <a:pt x="2762" y="524"/>
                  </a:lnTo>
                  <a:lnTo>
                    <a:pt x="2762" y="526"/>
                  </a:lnTo>
                  <a:lnTo>
                    <a:pt x="2759" y="529"/>
                  </a:lnTo>
                  <a:lnTo>
                    <a:pt x="2758" y="529"/>
                  </a:lnTo>
                  <a:lnTo>
                    <a:pt x="2758" y="530"/>
                  </a:lnTo>
                  <a:lnTo>
                    <a:pt x="2759" y="533"/>
                  </a:lnTo>
                  <a:lnTo>
                    <a:pt x="2759" y="535"/>
                  </a:lnTo>
                  <a:lnTo>
                    <a:pt x="2758" y="536"/>
                  </a:lnTo>
                  <a:lnTo>
                    <a:pt x="2756" y="542"/>
                  </a:lnTo>
                  <a:lnTo>
                    <a:pt x="2756" y="544"/>
                  </a:lnTo>
                  <a:lnTo>
                    <a:pt x="2755" y="542"/>
                  </a:lnTo>
                  <a:lnTo>
                    <a:pt x="2755" y="545"/>
                  </a:lnTo>
                  <a:lnTo>
                    <a:pt x="2753" y="545"/>
                  </a:lnTo>
                  <a:lnTo>
                    <a:pt x="2753" y="547"/>
                  </a:lnTo>
                  <a:lnTo>
                    <a:pt x="2752" y="547"/>
                  </a:lnTo>
                  <a:lnTo>
                    <a:pt x="2752" y="545"/>
                  </a:lnTo>
                  <a:lnTo>
                    <a:pt x="2750" y="545"/>
                  </a:lnTo>
                  <a:lnTo>
                    <a:pt x="2750" y="547"/>
                  </a:lnTo>
                  <a:lnTo>
                    <a:pt x="2749" y="547"/>
                  </a:lnTo>
                  <a:lnTo>
                    <a:pt x="2749" y="553"/>
                  </a:lnTo>
                  <a:lnTo>
                    <a:pt x="2750" y="553"/>
                  </a:lnTo>
                  <a:lnTo>
                    <a:pt x="2747" y="556"/>
                  </a:lnTo>
                  <a:lnTo>
                    <a:pt x="2747" y="559"/>
                  </a:lnTo>
                  <a:lnTo>
                    <a:pt x="2749" y="559"/>
                  </a:lnTo>
                  <a:lnTo>
                    <a:pt x="2749" y="560"/>
                  </a:lnTo>
                  <a:lnTo>
                    <a:pt x="2747" y="562"/>
                  </a:lnTo>
                  <a:lnTo>
                    <a:pt x="2747" y="563"/>
                  </a:lnTo>
                  <a:lnTo>
                    <a:pt x="2746" y="563"/>
                  </a:lnTo>
                  <a:lnTo>
                    <a:pt x="2746" y="566"/>
                  </a:lnTo>
                  <a:lnTo>
                    <a:pt x="2743" y="566"/>
                  </a:lnTo>
                  <a:lnTo>
                    <a:pt x="2741" y="568"/>
                  </a:lnTo>
                  <a:lnTo>
                    <a:pt x="2740" y="568"/>
                  </a:lnTo>
                  <a:lnTo>
                    <a:pt x="2738" y="569"/>
                  </a:lnTo>
                  <a:lnTo>
                    <a:pt x="2737" y="569"/>
                  </a:lnTo>
                  <a:lnTo>
                    <a:pt x="2734" y="572"/>
                  </a:lnTo>
                  <a:lnTo>
                    <a:pt x="2732" y="575"/>
                  </a:lnTo>
                  <a:lnTo>
                    <a:pt x="2732" y="578"/>
                  </a:lnTo>
                  <a:lnTo>
                    <a:pt x="2731" y="586"/>
                  </a:lnTo>
                  <a:lnTo>
                    <a:pt x="2731" y="590"/>
                  </a:lnTo>
                  <a:lnTo>
                    <a:pt x="2732" y="592"/>
                  </a:lnTo>
                  <a:lnTo>
                    <a:pt x="2732" y="595"/>
                  </a:lnTo>
                  <a:lnTo>
                    <a:pt x="2729" y="598"/>
                  </a:lnTo>
                  <a:lnTo>
                    <a:pt x="2728" y="598"/>
                  </a:lnTo>
                  <a:lnTo>
                    <a:pt x="2728" y="599"/>
                  </a:lnTo>
                  <a:lnTo>
                    <a:pt x="2725" y="602"/>
                  </a:lnTo>
                  <a:lnTo>
                    <a:pt x="2722" y="602"/>
                  </a:lnTo>
                  <a:lnTo>
                    <a:pt x="2719" y="599"/>
                  </a:lnTo>
                  <a:lnTo>
                    <a:pt x="2699" y="595"/>
                  </a:lnTo>
                  <a:lnTo>
                    <a:pt x="2678" y="589"/>
                  </a:lnTo>
                  <a:lnTo>
                    <a:pt x="2675" y="586"/>
                  </a:lnTo>
                  <a:lnTo>
                    <a:pt x="2675" y="584"/>
                  </a:lnTo>
                  <a:lnTo>
                    <a:pt x="2674" y="583"/>
                  </a:lnTo>
                  <a:lnTo>
                    <a:pt x="2674" y="581"/>
                  </a:lnTo>
                  <a:lnTo>
                    <a:pt x="2671" y="584"/>
                  </a:lnTo>
                  <a:lnTo>
                    <a:pt x="2668" y="590"/>
                  </a:lnTo>
                  <a:lnTo>
                    <a:pt x="2663" y="590"/>
                  </a:lnTo>
                  <a:lnTo>
                    <a:pt x="2662" y="592"/>
                  </a:lnTo>
                  <a:lnTo>
                    <a:pt x="2662" y="595"/>
                  </a:lnTo>
                  <a:lnTo>
                    <a:pt x="2663" y="596"/>
                  </a:lnTo>
                  <a:lnTo>
                    <a:pt x="2663" y="598"/>
                  </a:lnTo>
                  <a:lnTo>
                    <a:pt x="2662" y="598"/>
                  </a:lnTo>
                  <a:lnTo>
                    <a:pt x="2654" y="605"/>
                  </a:lnTo>
                  <a:lnTo>
                    <a:pt x="2654" y="607"/>
                  </a:lnTo>
                  <a:lnTo>
                    <a:pt x="2653" y="607"/>
                  </a:lnTo>
                  <a:lnTo>
                    <a:pt x="2650" y="605"/>
                  </a:lnTo>
                  <a:lnTo>
                    <a:pt x="2648" y="607"/>
                  </a:lnTo>
                  <a:lnTo>
                    <a:pt x="2642" y="610"/>
                  </a:lnTo>
                  <a:lnTo>
                    <a:pt x="2639" y="610"/>
                  </a:lnTo>
                  <a:lnTo>
                    <a:pt x="2639" y="608"/>
                  </a:lnTo>
                  <a:lnTo>
                    <a:pt x="2638" y="610"/>
                  </a:lnTo>
                  <a:lnTo>
                    <a:pt x="2636" y="610"/>
                  </a:lnTo>
                  <a:lnTo>
                    <a:pt x="2636" y="611"/>
                  </a:lnTo>
                  <a:lnTo>
                    <a:pt x="2635" y="613"/>
                  </a:lnTo>
                  <a:lnTo>
                    <a:pt x="2633" y="613"/>
                  </a:lnTo>
                  <a:lnTo>
                    <a:pt x="2630" y="616"/>
                  </a:lnTo>
                  <a:lnTo>
                    <a:pt x="2633" y="619"/>
                  </a:lnTo>
                  <a:lnTo>
                    <a:pt x="2635" y="619"/>
                  </a:lnTo>
                  <a:lnTo>
                    <a:pt x="2635" y="620"/>
                  </a:lnTo>
                  <a:lnTo>
                    <a:pt x="2638" y="624"/>
                  </a:lnTo>
                  <a:lnTo>
                    <a:pt x="2642" y="644"/>
                  </a:lnTo>
                  <a:lnTo>
                    <a:pt x="2647" y="665"/>
                  </a:lnTo>
                  <a:lnTo>
                    <a:pt x="2645" y="665"/>
                  </a:lnTo>
                  <a:lnTo>
                    <a:pt x="2645" y="666"/>
                  </a:lnTo>
                  <a:lnTo>
                    <a:pt x="2644" y="666"/>
                  </a:lnTo>
                  <a:lnTo>
                    <a:pt x="2644" y="674"/>
                  </a:lnTo>
                  <a:lnTo>
                    <a:pt x="2642" y="677"/>
                  </a:lnTo>
                  <a:lnTo>
                    <a:pt x="2642" y="696"/>
                  </a:lnTo>
                  <a:lnTo>
                    <a:pt x="2641" y="698"/>
                  </a:lnTo>
                  <a:lnTo>
                    <a:pt x="2642" y="698"/>
                  </a:lnTo>
                  <a:lnTo>
                    <a:pt x="2647" y="702"/>
                  </a:lnTo>
                  <a:lnTo>
                    <a:pt x="2647" y="708"/>
                  </a:lnTo>
                  <a:lnTo>
                    <a:pt x="2645" y="708"/>
                  </a:lnTo>
                  <a:lnTo>
                    <a:pt x="2645" y="714"/>
                  </a:lnTo>
                  <a:lnTo>
                    <a:pt x="2644" y="714"/>
                  </a:lnTo>
                  <a:lnTo>
                    <a:pt x="2642" y="716"/>
                  </a:lnTo>
                  <a:lnTo>
                    <a:pt x="2642" y="725"/>
                  </a:lnTo>
                  <a:lnTo>
                    <a:pt x="2641" y="725"/>
                  </a:lnTo>
                  <a:lnTo>
                    <a:pt x="2639" y="726"/>
                  </a:lnTo>
                  <a:lnTo>
                    <a:pt x="2639" y="728"/>
                  </a:lnTo>
                  <a:lnTo>
                    <a:pt x="2638" y="728"/>
                  </a:lnTo>
                  <a:lnTo>
                    <a:pt x="2638" y="734"/>
                  </a:lnTo>
                  <a:lnTo>
                    <a:pt x="2639" y="735"/>
                  </a:lnTo>
                  <a:lnTo>
                    <a:pt x="2639" y="737"/>
                  </a:lnTo>
                  <a:lnTo>
                    <a:pt x="2635" y="737"/>
                  </a:lnTo>
                  <a:lnTo>
                    <a:pt x="2635" y="740"/>
                  </a:lnTo>
                  <a:lnTo>
                    <a:pt x="2623" y="740"/>
                  </a:lnTo>
                  <a:lnTo>
                    <a:pt x="2623" y="741"/>
                  </a:lnTo>
                  <a:lnTo>
                    <a:pt x="2618" y="741"/>
                  </a:lnTo>
                  <a:lnTo>
                    <a:pt x="2615" y="743"/>
                  </a:lnTo>
                  <a:lnTo>
                    <a:pt x="2611" y="744"/>
                  </a:lnTo>
                  <a:lnTo>
                    <a:pt x="2606" y="747"/>
                  </a:lnTo>
                  <a:lnTo>
                    <a:pt x="2606" y="750"/>
                  </a:lnTo>
                  <a:lnTo>
                    <a:pt x="2608" y="752"/>
                  </a:lnTo>
                  <a:lnTo>
                    <a:pt x="2609" y="750"/>
                  </a:lnTo>
                  <a:lnTo>
                    <a:pt x="2611" y="750"/>
                  </a:lnTo>
                  <a:lnTo>
                    <a:pt x="2614" y="753"/>
                  </a:lnTo>
                  <a:lnTo>
                    <a:pt x="2614" y="755"/>
                  </a:lnTo>
                  <a:lnTo>
                    <a:pt x="2615" y="756"/>
                  </a:lnTo>
                  <a:lnTo>
                    <a:pt x="2615" y="758"/>
                  </a:lnTo>
                  <a:lnTo>
                    <a:pt x="2612" y="761"/>
                  </a:lnTo>
                  <a:lnTo>
                    <a:pt x="2612" y="756"/>
                  </a:lnTo>
                  <a:lnTo>
                    <a:pt x="2611" y="755"/>
                  </a:lnTo>
                  <a:lnTo>
                    <a:pt x="2609" y="756"/>
                  </a:lnTo>
                  <a:lnTo>
                    <a:pt x="2609" y="759"/>
                  </a:lnTo>
                  <a:lnTo>
                    <a:pt x="2608" y="758"/>
                  </a:lnTo>
                  <a:lnTo>
                    <a:pt x="2608" y="756"/>
                  </a:lnTo>
                  <a:lnTo>
                    <a:pt x="2606" y="756"/>
                  </a:lnTo>
                  <a:lnTo>
                    <a:pt x="2606" y="755"/>
                  </a:lnTo>
                  <a:lnTo>
                    <a:pt x="2604" y="753"/>
                  </a:lnTo>
                  <a:lnTo>
                    <a:pt x="2604" y="752"/>
                  </a:lnTo>
                  <a:lnTo>
                    <a:pt x="2599" y="747"/>
                  </a:lnTo>
                  <a:lnTo>
                    <a:pt x="2599" y="744"/>
                  </a:lnTo>
                  <a:lnTo>
                    <a:pt x="2601" y="740"/>
                  </a:lnTo>
                  <a:lnTo>
                    <a:pt x="2599" y="737"/>
                  </a:lnTo>
                  <a:lnTo>
                    <a:pt x="2595" y="737"/>
                  </a:lnTo>
                  <a:lnTo>
                    <a:pt x="2593" y="735"/>
                  </a:lnTo>
                  <a:lnTo>
                    <a:pt x="2595" y="734"/>
                  </a:lnTo>
                  <a:lnTo>
                    <a:pt x="2595" y="732"/>
                  </a:lnTo>
                  <a:lnTo>
                    <a:pt x="2593" y="732"/>
                  </a:lnTo>
                  <a:lnTo>
                    <a:pt x="2590" y="734"/>
                  </a:lnTo>
                  <a:lnTo>
                    <a:pt x="2589" y="734"/>
                  </a:lnTo>
                  <a:lnTo>
                    <a:pt x="2586" y="731"/>
                  </a:lnTo>
                  <a:lnTo>
                    <a:pt x="2583" y="731"/>
                  </a:lnTo>
                  <a:lnTo>
                    <a:pt x="2583" y="732"/>
                  </a:lnTo>
                  <a:lnTo>
                    <a:pt x="2581" y="734"/>
                  </a:lnTo>
                  <a:lnTo>
                    <a:pt x="2581" y="737"/>
                  </a:lnTo>
                  <a:lnTo>
                    <a:pt x="2580" y="741"/>
                  </a:lnTo>
                  <a:lnTo>
                    <a:pt x="2580" y="743"/>
                  </a:lnTo>
                  <a:lnTo>
                    <a:pt x="2578" y="744"/>
                  </a:lnTo>
                  <a:lnTo>
                    <a:pt x="2578" y="747"/>
                  </a:lnTo>
                  <a:lnTo>
                    <a:pt x="2577" y="747"/>
                  </a:lnTo>
                  <a:lnTo>
                    <a:pt x="2577" y="749"/>
                  </a:lnTo>
                  <a:lnTo>
                    <a:pt x="2578" y="750"/>
                  </a:lnTo>
                  <a:lnTo>
                    <a:pt x="2578" y="753"/>
                  </a:lnTo>
                  <a:lnTo>
                    <a:pt x="2577" y="753"/>
                  </a:lnTo>
                  <a:lnTo>
                    <a:pt x="2577" y="755"/>
                  </a:lnTo>
                  <a:lnTo>
                    <a:pt x="2578" y="755"/>
                  </a:lnTo>
                  <a:lnTo>
                    <a:pt x="2577" y="756"/>
                  </a:lnTo>
                  <a:lnTo>
                    <a:pt x="2577" y="764"/>
                  </a:lnTo>
                  <a:lnTo>
                    <a:pt x="2575" y="765"/>
                  </a:lnTo>
                  <a:lnTo>
                    <a:pt x="2569" y="765"/>
                  </a:lnTo>
                  <a:lnTo>
                    <a:pt x="2569" y="768"/>
                  </a:lnTo>
                  <a:lnTo>
                    <a:pt x="2568" y="768"/>
                  </a:lnTo>
                  <a:lnTo>
                    <a:pt x="2568" y="770"/>
                  </a:lnTo>
                  <a:lnTo>
                    <a:pt x="2566" y="770"/>
                  </a:lnTo>
                  <a:lnTo>
                    <a:pt x="2566" y="768"/>
                  </a:lnTo>
                  <a:lnTo>
                    <a:pt x="2565" y="768"/>
                  </a:lnTo>
                  <a:lnTo>
                    <a:pt x="2562" y="765"/>
                  </a:lnTo>
                  <a:lnTo>
                    <a:pt x="2562" y="767"/>
                  </a:lnTo>
                  <a:lnTo>
                    <a:pt x="2560" y="767"/>
                  </a:lnTo>
                  <a:lnTo>
                    <a:pt x="2559" y="765"/>
                  </a:lnTo>
                  <a:lnTo>
                    <a:pt x="2559" y="767"/>
                  </a:lnTo>
                  <a:lnTo>
                    <a:pt x="2557" y="767"/>
                  </a:lnTo>
                  <a:lnTo>
                    <a:pt x="2557" y="768"/>
                  </a:lnTo>
                  <a:lnTo>
                    <a:pt x="2556" y="768"/>
                  </a:lnTo>
                  <a:lnTo>
                    <a:pt x="2556" y="770"/>
                  </a:lnTo>
                  <a:lnTo>
                    <a:pt x="2553" y="770"/>
                  </a:lnTo>
                  <a:lnTo>
                    <a:pt x="2553" y="771"/>
                  </a:lnTo>
                  <a:lnTo>
                    <a:pt x="2554" y="771"/>
                  </a:lnTo>
                  <a:lnTo>
                    <a:pt x="2554" y="773"/>
                  </a:lnTo>
                  <a:lnTo>
                    <a:pt x="2551" y="773"/>
                  </a:lnTo>
                  <a:lnTo>
                    <a:pt x="2551" y="774"/>
                  </a:lnTo>
                  <a:lnTo>
                    <a:pt x="2553" y="774"/>
                  </a:lnTo>
                  <a:lnTo>
                    <a:pt x="2553" y="777"/>
                  </a:lnTo>
                  <a:lnTo>
                    <a:pt x="2551" y="777"/>
                  </a:lnTo>
                  <a:lnTo>
                    <a:pt x="2551" y="779"/>
                  </a:lnTo>
                  <a:lnTo>
                    <a:pt x="2553" y="779"/>
                  </a:lnTo>
                  <a:lnTo>
                    <a:pt x="2551" y="780"/>
                  </a:lnTo>
                  <a:lnTo>
                    <a:pt x="2551" y="782"/>
                  </a:lnTo>
                  <a:lnTo>
                    <a:pt x="2550" y="782"/>
                  </a:lnTo>
                  <a:lnTo>
                    <a:pt x="2547" y="785"/>
                  </a:lnTo>
                  <a:lnTo>
                    <a:pt x="2545" y="783"/>
                  </a:lnTo>
                  <a:lnTo>
                    <a:pt x="2545" y="785"/>
                  </a:lnTo>
                  <a:lnTo>
                    <a:pt x="2542" y="788"/>
                  </a:lnTo>
                  <a:lnTo>
                    <a:pt x="2541" y="788"/>
                  </a:lnTo>
                  <a:lnTo>
                    <a:pt x="2539" y="791"/>
                  </a:lnTo>
                  <a:lnTo>
                    <a:pt x="2524" y="791"/>
                  </a:lnTo>
                  <a:lnTo>
                    <a:pt x="2524" y="792"/>
                  </a:lnTo>
                  <a:lnTo>
                    <a:pt x="2521" y="792"/>
                  </a:lnTo>
                  <a:lnTo>
                    <a:pt x="2520" y="794"/>
                  </a:lnTo>
                  <a:lnTo>
                    <a:pt x="2518" y="794"/>
                  </a:lnTo>
                  <a:lnTo>
                    <a:pt x="2517" y="792"/>
                  </a:lnTo>
                  <a:lnTo>
                    <a:pt x="2514" y="792"/>
                  </a:lnTo>
                  <a:lnTo>
                    <a:pt x="2514" y="791"/>
                  </a:lnTo>
                  <a:lnTo>
                    <a:pt x="2509" y="791"/>
                  </a:lnTo>
                  <a:lnTo>
                    <a:pt x="2502" y="794"/>
                  </a:lnTo>
                  <a:lnTo>
                    <a:pt x="2497" y="794"/>
                  </a:lnTo>
                  <a:lnTo>
                    <a:pt x="2497" y="795"/>
                  </a:lnTo>
                  <a:lnTo>
                    <a:pt x="2499" y="800"/>
                  </a:lnTo>
                  <a:lnTo>
                    <a:pt x="2499" y="803"/>
                  </a:lnTo>
                  <a:lnTo>
                    <a:pt x="2500" y="803"/>
                  </a:lnTo>
                  <a:lnTo>
                    <a:pt x="2500" y="804"/>
                  </a:lnTo>
                  <a:lnTo>
                    <a:pt x="2503" y="809"/>
                  </a:lnTo>
                  <a:lnTo>
                    <a:pt x="2503" y="810"/>
                  </a:lnTo>
                  <a:lnTo>
                    <a:pt x="2506" y="813"/>
                  </a:lnTo>
                  <a:lnTo>
                    <a:pt x="2508" y="813"/>
                  </a:lnTo>
                  <a:lnTo>
                    <a:pt x="2509" y="815"/>
                  </a:lnTo>
                  <a:lnTo>
                    <a:pt x="2509" y="818"/>
                  </a:lnTo>
                  <a:lnTo>
                    <a:pt x="2511" y="819"/>
                  </a:lnTo>
                  <a:lnTo>
                    <a:pt x="2509" y="821"/>
                  </a:lnTo>
                  <a:lnTo>
                    <a:pt x="2505" y="830"/>
                  </a:lnTo>
                  <a:lnTo>
                    <a:pt x="2503" y="831"/>
                  </a:lnTo>
                  <a:lnTo>
                    <a:pt x="2502" y="831"/>
                  </a:lnTo>
                  <a:lnTo>
                    <a:pt x="2502" y="830"/>
                  </a:lnTo>
                  <a:lnTo>
                    <a:pt x="2500" y="831"/>
                  </a:lnTo>
                  <a:lnTo>
                    <a:pt x="2499" y="831"/>
                  </a:lnTo>
                  <a:lnTo>
                    <a:pt x="2499" y="830"/>
                  </a:lnTo>
                  <a:lnTo>
                    <a:pt x="2497" y="830"/>
                  </a:lnTo>
                  <a:lnTo>
                    <a:pt x="2497" y="825"/>
                  </a:lnTo>
                  <a:lnTo>
                    <a:pt x="2496" y="827"/>
                  </a:lnTo>
                  <a:lnTo>
                    <a:pt x="2494" y="825"/>
                  </a:lnTo>
                  <a:lnTo>
                    <a:pt x="2493" y="825"/>
                  </a:lnTo>
                  <a:lnTo>
                    <a:pt x="2490" y="828"/>
                  </a:lnTo>
                  <a:lnTo>
                    <a:pt x="2488" y="828"/>
                  </a:lnTo>
                  <a:lnTo>
                    <a:pt x="2488" y="827"/>
                  </a:lnTo>
                  <a:lnTo>
                    <a:pt x="2487" y="828"/>
                  </a:lnTo>
                  <a:lnTo>
                    <a:pt x="2482" y="827"/>
                  </a:lnTo>
                  <a:lnTo>
                    <a:pt x="2481" y="827"/>
                  </a:lnTo>
                  <a:lnTo>
                    <a:pt x="2481" y="828"/>
                  </a:lnTo>
                  <a:lnTo>
                    <a:pt x="2479" y="828"/>
                  </a:lnTo>
                  <a:lnTo>
                    <a:pt x="2478" y="827"/>
                  </a:lnTo>
                  <a:lnTo>
                    <a:pt x="2476" y="827"/>
                  </a:lnTo>
                  <a:lnTo>
                    <a:pt x="2476" y="825"/>
                  </a:lnTo>
                  <a:lnTo>
                    <a:pt x="2475" y="824"/>
                  </a:lnTo>
                  <a:lnTo>
                    <a:pt x="2475" y="825"/>
                  </a:lnTo>
                  <a:lnTo>
                    <a:pt x="2473" y="824"/>
                  </a:lnTo>
                  <a:lnTo>
                    <a:pt x="2470" y="824"/>
                  </a:lnTo>
                  <a:lnTo>
                    <a:pt x="2470" y="825"/>
                  </a:lnTo>
                  <a:lnTo>
                    <a:pt x="2469" y="825"/>
                  </a:lnTo>
                  <a:lnTo>
                    <a:pt x="2469" y="824"/>
                  </a:lnTo>
                  <a:lnTo>
                    <a:pt x="2464" y="824"/>
                  </a:lnTo>
                  <a:lnTo>
                    <a:pt x="2464" y="822"/>
                  </a:lnTo>
                  <a:lnTo>
                    <a:pt x="2461" y="822"/>
                  </a:lnTo>
                  <a:lnTo>
                    <a:pt x="2461" y="821"/>
                  </a:lnTo>
                  <a:lnTo>
                    <a:pt x="2460" y="821"/>
                  </a:lnTo>
                  <a:lnTo>
                    <a:pt x="2460" y="822"/>
                  </a:lnTo>
                  <a:lnTo>
                    <a:pt x="2455" y="822"/>
                  </a:lnTo>
                  <a:lnTo>
                    <a:pt x="2455" y="821"/>
                  </a:lnTo>
                  <a:lnTo>
                    <a:pt x="2457" y="819"/>
                  </a:lnTo>
                  <a:lnTo>
                    <a:pt x="2458" y="819"/>
                  </a:lnTo>
                  <a:lnTo>
                    <a:pt x="2458" y="818"/>
                  </a:lnTo>
                  <a:lnTo>
                    <a:pt x="2455" y="816"/>
                  </a:lnTo>
                  <a:lnTo>
                    <a:pt x="2454" y="815"/>
                  </a:lnTo>
                  <a:lnTo>
                    <a:pt x="2452" y="815"/>
                  </a:lnTo>
                  <a:lnTo>
                    <a:pt x="2452" y="813"/>
                  </a:lnTo>
                  <a:lnTo>
                    <a:pt x="2454" y="813"/>
                  </a:lnTo>
                  <a:lnTo>
                    <a:pt x="2454" y="812"/>
                  </a:lnTo>
                  <a:lnTo>
                    <a:pt x="2449" y="807"/>
                  </a:lnTo>
                  <a:lnTo>
                    <a:pt x="2448" y="807"/>
                  </a:lnTo>
                  <a:lnTo>
                    <a:pt x="2448" y="806"/>
                  </a:lnTo>
                  <a:lnTo>
                    <a:pt x="2445" y="806"/>
                  </a:lnTo>
                  <a:lnTo>
                    <a:pt x="2445" y="809"/>
                  </a:lnTo>
                  <a:lnTo>
                    <a:pt x="2442" y="810"/>
                  </a:lnTo>
                  <a:lnTo>
                    <a:pt x="2442" y="812"/>
                  </a:lnTo>
                  <a:lnTo>
                    <a:pt x="2441" y="812"/>
                  </a:lnTo>
                  <a:lnTo>
                    <a:pt x="2438" y="809"/>
                  </a:lnTo>
                  <a:lnTo>
                    <a:pt x="2436" y="809"/>
                  </a:lnTo>
                  <a:lnTo>
                    <a:pt x="2436" y="810"/>
                  </a:lnTo>
                  <a:lnTo>
                    <a:pt x="2438" y="810"/>
                  </a:lnTo>
                  <a:lnTo>
                    <a:pt x="2438" y="812"/>
                  </a:lnTo>
                  <a:lnTo>
                    <a:pt x="2436" y="813"/>
                  </a:lnTo>
                  <a:lnTo>
                    <a:pt x="2433" y="813"/>
                  </a:lnTo>
                  <a:lnTo>
                    <a:pt x="2433" y="815"/>
                  </a:lnTo>
                  <a:lnTo>
                    <a:pt x="2432" y="816"/>
                  </a:lnTo>
                  <a:lnTo>
                    <a:pt x="2432" y="819"/>
                  </a:lnTo>
                  <a:lnTo>
                    <a:pt x="2430" y="822"/>
                  </a:lnTo>
                  <a:lnTo>
                    <a:pt x="2430" y="824"/>
                  </a:lnTo>
                  <a:lnTo>
                    <a:pt x="2429" y="827"/>
                  </a:lnTo>
                  <a:lnTo>
                    <a:pt x="2429" y="831"/>
                  </a:lnTo>
                  <a:lnTo>
                    <a:pt x="2427" y="831"/>
                  </a:lnTo>
                  <a:lnTo>
                    <a:pt x="2423" y="836"/>
                  </a:lnTo>
                  <a:lnTo>
                    <a:pt x="2423" y="837"/>
                  </a:lnTo>
                  <a:lnTo>
                    <a:pt x="2421" y="839"/>
                  </a:lnTo>
                  <a:lnTo>
                    <a:pt x="2421" y="840"/>
                  </a:lnTo>
                  <a:lnTo>
                    <a:pt x="2420" y="840"/>
                  </a:lnTo>
                  <a:lnTo>
                    <a:pt x="2420" y="842"/>
                  </a:lnTo>
                  <a:lnTo>
                    <a:pt x="2418" y="845"/>
                  </a:lnTo>
                  <a:lnTo>
                    <a:pt x="2417" y="846"/>
                  </a:lnTo>
                  <a:lnTo>
                    <a:pt x="2412" y="849"/>
                  </a:lnTo>
                  <a:lnTo>
                    <a:pt x="2411" y="849"/>
                  </a:lnTo>
                  <a:lnTo>
                    <a:pt x="2411" y="852"/>
                  </a:lnTo>
                  <a:lnTo>
                    <a:pt x="2409" y="852"/>
                  </a:lnTo>
                  <a:lnTo>
                    <a:pt x="2409" y="854"/>
                  </a:lnTo>
                  <a:lnTo>
                    <a:pt x="2408" y="854"/>
                  </a:lnTo>
                  <a:lnTo>
                    <a:pt x="2408" y="858"/>
                  </a:lnTo>
                  <a:lnTo>
                    <a:pt x="2405" y="858"/>
                  </a:lnTo>
                  <a:lnTo>
                    <a:pt x="2405" y="861"/>
                  </a:lnTo>
                  <a:lnTo>
                    <a:pt x="2400" y="861"/>
                  </a:lnTo>
                  <a:lnTo>
                    <a:pt x="2400" y="860"/>
                  </a:lnTo>
                  <a:lnTo>
                    <a:pt x="2397" y="863"/>
                  </a:lnTo>
                  <a:lnTo>
                    <a:pt x="2394" y="861"/>
                  </a:lnTo>
                  <a:lnTo>
                    <a:pt x="2393" y="861"/>
                  </a:lnTo>
                  <a:lnTo>
                    <a:pt x="2393" y="863"/>
                  </a:lnTo>
                  <a:lnTo>
                    <a:pt x="2390" y="863"/>
                  </a:lnTo>
                  <a:lnTo>
                    <a:pt x="2388" y="866"/>
                  </a:lnTo>
                  <a:lnTo>
                    <a:pt x="2390" y="867"/>
                  </a:lnTo>
                  <a:lnTo>
                    <a:pt x="2390" y="869"/>
                  </a:lnTo>
                  <a:lnTo>
                    <a:pt x="2387" y="869"/>
                  </a:lnTo>
                  <a:lnTo>
                    <a:pt x="2385" y="867"/>
                  </a:lnTo>
                  <a:lnTo>
                    <a:pt x="2384" y="869"/>
                  </a:lnTo>
                  <a:lnTo>
                    <a:pt x="2384" y="872"/>
                  </a:lnTo>
                  <a:lnTo>
                    <a:pt x="2381" y="872"/>
                  </a:lnTo>
                  <a:lnTo>
                    <a:pt x="2379" y="873"/>
                  </a:lnTo>
                  <a:lnTo>
                    <a:pt x="2379" y="875"/>
                  </a:lnTo>
                  <a:lnTo>
                    <a:pt x="2378" y="875"/>
                  </a:lnTo>
                  <a:lnTo>
                    <a:pt x="2378" y="876"/>
                  </a:lnTo>
                  <a:lnTo>
                    <a:pt x="2373" y="876"/>
                  </a:lnTo>
                  <a:lnTo>
                    <a:pt x="2373" y="875"/>
                  </a:lnTo>
                  <a:lnTo>
                    <a:pt x="2372" y="876"/>
                  </a:lnTo>
                  <a:lnTo>
                    <a:pt x="2372" y="878"/>
                  </a:lnTo>
                  <a:lnTo>
                    <a:pt x="2369" y="878"/>
                  </a:lnTo>
                  <a:lnTo>
                    <a:pt x="2367" y="879"/>
                  </a:lnTo>
                  <a:lnTo>
                    <a:pt x="2366" y="879"/>
                  </a:lnTo>
                  <a:lnTo>
                    <a:pt x="2366" y="881"/>
                  </a:lnTo>
                  <a:lnTo>
                    <a:pt x="2363" y="881"/>
                  </a:lnTo>
                  <a:lnTo>
                    <a:pt x="2363" y="882"/>
                  </a:lnTo>
                  <a:lnTo>
                    <a:pt x="2360" y="882"/>
                  </a:lnTo>
                  <a:lnTo>
                    <a:pt x="2360" y="885"/>
                  </a:lnTo>
                  <a:lnTo>
                    <a:pt x="2361" y="885"/>
                  </a:lnTo>
                  <a:lnTo>
                    <a:pt x="2361" y="886"/>
                  </a:lnTo>
                  <a:lnTo>
                    <a:pt x="2355" y="886"/>
                  </a:lnTo>
                  <a:lnTo>
                    <a:pt x="2355" y="885"/>
                  </a:lnTo>
                  <a:lnTo>
                    <a:pt x="2354" y="885"/>
                  </a:lnTo>
                  <a:lnTo>
                    <a:pt x="2354" y="886"/>
                  </a:lnTo>
                  <a:lnTo>
                    <a:pt x="2349" y="891"/>
                  </a:lnTo>
                  <a:lnTo>
                    <a:pt x="2348" y="891"/>
                  </a:lnTo>
                  <a:lnTo>
                    <a:pt x="2346" y="892"/>
                  </a:lnTo>
                  <a:lnTo>
                    <a:pt x="2346" y="895"/>
                  </a:lnTo>
                  <a:lnTo>
                    <a:pt x="2345" y="895"/>
                  </a:lnTo>
                  <a:lnTo>
                    <a:pt x="2342" y="897"/>
                  </a:lnTo>
                  <a:lnTo>
                    <a:pt x="2342" y="898"/>
                  </a:lnTo>
                  <a:lnTo>
                    <a:pt x="2339" y="898"/>
                  </a:lnTo>
                  <a:lnTo>
                    <a:pt x="2339" y="901"/>
                  </a:lnTo>
                  <a:lnTo>
                    <a:pt x="2337" y="901"/>
                  </a:lnTo>
                  <a:lnTo>
                    <a:pt x="2330" y="909"/>
                  </a:lnTo>
                  <a:lnTo>
                    <a:pt x="2330" y="915"/>
                  </a:lnTo>
                  <a:lnTo>
                    <a:pt x="2327" y="916"/>
                  </a:lnTo>
                  <a:lnTo>
                    <a:pt x="2327" y="918"/>
                  </a:lnTo>
                  <a:lnTo>
                    <a:pt x="2325" y="918"/>
                  </a:lnTo>
                  <a:lnTo>
                    <a:pt x="2319" y="924"/>
                  </a:lnTo>
                  <a:lnTo>
                    <a:pt x="2318" y="924"/>
                  </a:lnTo>
                  <a:lnTo>
                    <a:pt x="2316" y="922"/>
                  </a:lnTo>
                  <a:lnTo>
                    <a:pt x="2316" y="924"/>
                  </a:lnTo>
                  <a:lnTo>
                    <a:pt x="2315" y="924"/>
                  </a:lnTo>
                  <a:lnTo>
                    <a:pt x="2315" y="925"/>
                  </a:lnTo>
                  <a:lnTo>
                    <a:pt x="2312" y="925"/>
                  </a:lnTo>
                  <a:lnTo>
                    <a:pt x="2310" y="924"/>
                  </a:lnTo>
                  <a:lnTo>
                    <a:pt x="2309" y="924"/>
                  </a:lnTo>
                  <a:lnTo>
                    <a:pt x="2309" y="925"/>
                  </a:lnTo>
                  <a:lnTo>
                    <a:pt x="2306" y="925"/>
                  </a:lnTo>
                  <a:lnTo>
                    <a:pt x="2306" y="924"/>
                  </a:lnTo>
                  <a:lnTo>
                    <a:pt x="2304" y="924"/>
                  </a:lnTo>
                  <a:lnTo>
                    <a:pt x="2303" y="925"/>
                  </a:lnTo>
                  <a:lnTo>
                    <a:pt x="2300" y="924"/>
                  </a:lnTo>
                  <a:lnTo>
                    <a:pt x="2297" y="921"/>
                  </a:lnTo>
                  <a:lnTo>
                    <a:pt x="2297" y="919"/>
                  </a:lnTo>
                  <a:lnTo>
                    <a:pt x="2295" y="919"/>
                  </a:lnTo>
                  <a:lnTo>
                    <a:pt x="2295" y="925"/>
                  </a:lnTo>
                  <a:lnTo>
                    <a:pt x="2292" y="928"/>
                  </a:lnTo>
                  <a:lnTo>
                    <a:pt x="2292" y="927"/>
                  </a:lnTo>
                  <a:lnTo>
                    <a:pt x="2289" y="927"/>
                  </a:lnTo>
                  <a:lnTo>
                    <a:pt x="2288" y="930"/>
                  </a:lnTo>
                  <a:lnTo>
                    <a:pt x="2286" y="930"/>
                  </a:lnTo>
                  <a:lnTo>
                    <a:pt x="2286" y="924"/>
                  </a:lnTo>
                  <a:lnTo>
                    <a:pt x="2285" y="925"/>
                  </a:lnTo>
                  <a:lnTo>
                    <a:pt x="2285" y="927"/>
                  </a:lnTo>
                  <a:lnTo>
                    <a:pt x="2281" y="927"/>
                  </a:lnTo>
                  <a:lnTo>
                    <a:pt x="2281" y="925"/>
                  </a:lnTo>
                  <a:lnTo>
                    <a:pt x="2278" y="925"/>
                  </a:lnTo>
                  <a:lnTo>
                    <a:pt x="2278" y="927"/>
                  </a:lnTo>
                  <a:lnTo>
                    <a:pt x="2279" y="927"/>
                  </a:lnTo>
                  <a:lnTo>
                    <a:pt x="2279" y="930"/>
                  </a:lnTo>
                  <a:lnTo>
                    <a:pt x="2278" y="928"/>
                  </a:lnTo>
                  <a:lnTo>
                    <a:pt x="2276" y="930"/>
                  </a:lnTo>
                  <a:lnTo>
                    <a:pt x="2279" y="930"/>
                  </a:lnTo>
                  <a:lnTo>
                    <a:pt x="2279" y="931"/>
                  </a:lnTo>
                  <a:lnTo>
                    <a:pt x="2278" y="933"/>
                  </a:lnTo>
                  <a:lnTo>
                    <a:pt x="2275" y="934"/>
                  </a:lnTo>
                  <a:lnTo>
                    <a:pt x="2273" y="934"/>
                  </a:lnTo>
                  <a:lnTo>
                    <a:pt x="2272" y="933"/>
                  </a:lnTo>
                  <a:lnTo>
                    <a:pt x="2270" y="933"/>
                  </a:lnTo>
                  <a:lnTo>
                    <a:pt x="2269" y="934"/>
                  </a:lnTo>
                  <a:lnTo>
                    <a:pt x="2269" y="933"/>
                  </a:lnTo>
                  <a:lnTo>
                    <a:pt x="2267" y="933"/>
                  </a:lnTo>
                  <a:lnTo>
                    <a:pt x="2267" y="936"/>
                  </a:lnTo>
                  <a:lnTo>
                    <a:pt x="2266" y="937"/>
                  </a:lnTo>
                  <a:lnTo>
                    <a:pt x="2260" y="937"/>
                  </a:lnTo>
                  <a:lnTo>
                    <a:pt x="2258" y="940"/>
                  </a:lnTo>
                  <a:lnTo>
                    <a:pt x="2257" y="940"/>
                  </a:lnTo>
                  <a:lnTo>
                    <a:pt x="2254" y="942"/>
                  </a:lnTo>
                  <a:lnTo>
                    <a:pt x="2254" y="943"/>
                  </a:lnTo>
                  <a:lnTo>
                    <a:pt x="2252" y="943"/>
                  </a:lnTo>
                  <a:lnTo>
                    <a:pt x="2252" y="942"/>
                  </a:lnTo>
                  <a:lnTo>
                    <a:pt x="2251" y="942"/>
                  </a:lnTo>
                  <a:lnTo>
                    <a:pt x="2251" y="943"/>
                  </a:lnTo>
                  <a:lnTo>
                    <a:pt x="2248" y="946"/>
                  </a:lnTo>
                  <a:lnTo>
                    <a:pt x="2248" y="945"/>
                  </a:lnTo>
                  <a:lnTo>
                    <a:pt x="2246" y="945"/>
                  </a:lnTo>
                  <a:lnTo>
                    <a:pt x="2248" y="946"/>
                  </a:lnTo>
                  <a:lnTo>
                    <a:pt x="2246" y="946"/>
                  </a:lnTo>
                  <a:lnTo>
                    <a:pt x="2243" y="949"/>
                  </a:lnTo>
                  <a:lnTo>
                    <a:pt x="2240" y="949"/>
                  </a:lnTo>
                  <a:lnTo>
                    <a:pt x="2239" y="951"/>
                  </a:lnTo>
                  <a:lnTo>
                    <a:pt x="2237" y="951"/>
                  </a:lnTo>
                  <a:lnTo>
                    <a:pt x="2236" y="952"/>
                  </a:lnTo>
                  <a:lnTo>
                    <a:pt x="2234" y="952"/>
                  </a:lnTo>
                  <a:lnTo>
                    <a:pt x="2234" y="955"/>
                  </a:lnTo>
                  <a:lnTo>
                    <a:pt x="2233" y="954"/>
                  </a:lnTo>
                  <a:lnTo>
                    <a:pt x="2233" y="957"/>
                  </a:lnTo>
                  <a:lnTo>
                    <a:pt x="2230" y="958"/>
                  </a:lnTo>
                  <a:lnTo>
                    <a:pt x="2227" y="961"/>
                  </a:lnTo>
                  <a:lnTo>
                    <a:pt x="2227" y="964"/>
                  </a:lnTo>
                  <a:lnTo>
                    <a:pt x="2228" y="964"/>
                  </a:lnTo>
                  <a:lnTo>
                    <a:pt x="2225" y="967"/>
                  </a:lnTo>
                  <a:lnTo>
                    <a:pt x="2224" y="967"/>
                  </a:lnTo>
                  <a:lnTo>
                    <a:pt x="2224" y="970"/>
                  </a:lnTo>
                  <a:lnTo>
                    <a:pt x="2221" y="970"/>
                  </a:lnTo>
                  <a:lnTo>
                    <a:pt x="2219" y="972"/>
                  </a:lnTo>
                  <a:lnTo>
                    <a:pt x="2218" y="972"/>
                  </a:lnTo>
                  <a:lnTo>
                    <a:pt x="2218" y="970"/>
                  </a:lnTo>
                  <a:lnTo>
                    <a:pt x="2216" y="970"/>
                  </a:lnTo>
                  <a:lnTo>
                    <a:pt x="2216" y="972"/>
                  </a:lnTo>
                  <a:lnTo>
                    <a:pt x="2213" y="972"/>
                  </a:lnTo>
                  <a:lnTo>
                    <a:pt x="2213" y="973"/>
                  </a:lnTo>
                  <a:lnTo>
                    <a:pt x="2216" y="973"/>
                  </a:lnTo>
                  <a:lnTo>
                    <a:pt x="2216" y="976"/>
                  </a:lnTo>
                  <a:lnTo>
                    <a:pt x="2215" y="976"/>
                  </a:lnTo>
                  <a:lnTo>
                    <a:pt x="2210" y="972"/>
                  </a:lnTo>
                  <a:lnTo>
                    <a:pt x="2209" y="972"/>
                  </a:lnTo>
                  <a:lnTo>
                    <a:pt x="2209" y="973"/>
                  </a:lnTo>
                  <a:lnTo>
                    <a:pt x="2206" y="973"/>
                  </a:lnTo>
                  <a:lnTo>
                    <a:pt x="2206" y="976"/>
                  </a:lnTo>
                  <a:lnTo>
                    <a:pt x="2203" y="976"/>
                  </a:lnTo>
                  <a:lnTo>
                    <a:pt x="2203" y="978"/>
                  </a:lnTo>
                  <a:lnTo>
                    <a:pt x="2206" y="978"/>
                  </a:lnTo>
                  <a:lnTo>
                    <a:pt x="2207" y="979"/>
                  </a:lnTo>
                  <a:lnTo>
                    <a:pt x="2207" y="982"/>
                  </a:lnTo>
                  <a:lnTo>
                    <a:pt x="2206" y="981"/>
                  </a:lnTo>
                  <a:lnTo>
                    <a:pt x="2206" y="982"/>
                  </a:lnTo>
                  <a:lnTo>
                    <a:pt x="2201" y="982"/>
                  </a:lnTo>
                  <a:lnTo>
                    <a:pt x="2198" y="984"/>
                  </a:lnTo>
                  <a:lnTo>
                    <a:pt x="2198" y="985"/>
                  </a:lnTo>
                  <a:lnTo>
                    <a:pt x="2192" y="984"/>
                  </a:lnTo>
                  <a:lnTo>
                    <a:pt x="2191" y="984"/>
                  </a:lnTo>
                  <a:lnTo>
                    <a:pt x="2189" y="985"/>
                  </a:lnTo>
                  <a:lnTo>
                    <a:pt x="2186" y="985"/>
                  </a:lnTo>
                  <a:lnTo>
                    <a:pt x="2185" y="987"/>
                  </a:lnTo>
                  <a:lnTo>
                    <a:pt x="2186" y="987"/>
                  </a:lnTo>
                  <a:lnTo>
                    <a:pt x="2185" y="990"/>
                  </a:lnTo>
                  <a:lnTo>
                    <a:pt x="2182" y="990"/>
                  </a:lnTo>
                  <a:lnTo>
                    <a:pt x="2182" y="988"/>
                  </a:lnTo>
                  <a:lnTo>
                    <a:pt x="2180" y="987"/>
                  </a:lnTo>
                  <a:lnTo>
                    <a:pt x="2182" y="987"/>
                  </a:lnTo>
                  <a:lnTo>
                    <a:pt x="2182" y="984"/>
                  </a:lnTo>
                  <a:lnTo>
                    <a:pt x="2180" y="984"/>
                  </a:lnTo>
                  <a:lnTo>
                    <a:pt x="2180" y="982"/>
                  </a:lnTo>
                  <a:lnTo>
                    <a:pt x="2182" y="981"/>
                  </a:lnTo>
                  <a:lnTo>
                    <a:pt x="2182" y="979"/>
                  </a:lnTo>
                  <a:lnTo>
                    <a:pt x="2179" y="979"/>
                  </a:lnTo>
                  <a:lnTo>
                    <a:pt x="2180" y="978"/>
                  </a:lnTo>
                  <a:lnTo>
                    <a:pt x="2180" y="976"/>
                  </a:lnTo>
                  <a:lnTo>
                    <a:pt x="2188" y="976"/>
                  </a:lnTo>
                  <a:lnTo>
                    <a:pt x="2189" y="975"/>
                  </a:lnTo>
                  <a:lnTo>
                    <a:pt x="2191" y="975"/>
                  </a:lnTo>
                  <a:lnTo>
                    <a:pt x="2191" y="972"/>
                  </a:lnTo>
                  <a:lnTo>
                    <a:pt x="2192" y="972"/>
                  </a:lnTo>
                  <a:lnTo>
                    <a:pt x="2192" y="970"/>
                  </a:lnTo>
                  <a:lnTo>
                    <a:pt x="2194" y="970"/>
                  </a:lnTo>
                  <a:lnTo>
                    <a:pt x="2194" y="972"/>
                  </a:lnTo>
                  <a:lnTo>
                    <a:pt x="2195" y="972"/>
                  </a:lnTo>
                  <a:lnTo>
                    <a:pt x="2195" y="973"/>
                  </a:lnTo>
                  <a:lnTo>
                    <a:pt x="2197" y="973"/>
                  </a:lnTo>
                  <a:lnTo>
                    <a:pt x="2200" y="970"/>
                  </a:lnTo>
                  <a:lnTo>
                    <a:pt x="2204" y="969"/>
                  </a:lnTo>
                  <a:lnTo>
                    <a:pt x="2206" y="969"/>
                  </a:lnTo>
                  <a:lnTo>
                    <a:pt x="2207" y="966"/>
                  </a:lnTo>
                  <a:lnTo>
                    <a:pt x="2204" y="963"/>
                  </a:lnTo>
                  <a:lnTo>
                    <a:pt x="2203" y="963"/>
                  </a:lnTo>
                  <a:lnTo>
                    <a:pt x="2203" y="960"/>
                  </a:lnTo>
                  <a:lnTo>
                    <a:pt x="2204" y="960"/>
                  </a:lnTo>
                  <a:lnTo>
                    <a:pt x="2203" y="958"/>
                  </a:lnTo>
                  <a:lnTo>
                    <a:pt x="2203" y="957"/>
                  </a:lnTo>
                  <a:lnTo>
                    <a:pt x="2204" y="957"/>
                  </a:lnTo>
                  <a:lnTo>
                    <a:pt x="2206" y="958"/>
                  </a:lnTo>
                  <a:lnTo>
                    <a:pt x="2209" y="955"/>
                  </a:lnTo>
                  <a:lnTo>
                    <a:pt x="2209" y="954"/>
                  </a:lnTo>
                  <a:lnTo>
                    <a:pt x="2212" y="951"/>
                  </a:lnTo>
                  <a:lnTo>
                    <a:pt x="2212" y="952"/>
                  </a:lnTo>
                  <a:lnTo>
                    <a:pt x="2215" y="952"/>
                  </a:lnTo>
                  <a:lnTo>
                    <a:pt x="2218" y="951"/>
                  </a:lnTo>
                  <a:lnTo>
                    <a:pt x="2219" y="949"/>
                  </a:lnTo>
                  <a:lnTo>
                    <a:pt x="2216" y="949"/>
                  </a:lnTo>
                  <a:lnTo>
                    <a:pt x="2215" y="951"/>
                  </a:lnTo>
                  <a:lnTo>
                    <a:pt x="2213" y="951"/>
                  </a:lnTo>
                  <a:lnTo>
                    <a:pt x="2210" y="949"/>
                  </a:lnTo>
                  <a:lnTo>
                    <a:pt x="2207" y="951"/>
                  </a:lnTo>
                  <a:lnTo>
                    <a:pt x="2209" y="951"/>
                  </a:lnTo>
                  <a:lnTo>
                    <a:pt x="2201" y="952"/>
                  </a:lnTo>
                  <a:lnTo>
                    <a:pt x="2200" y="952"/>
                  </a:lnTo>
                  <a:lnTo>
                    <a:pt x="2198" y="951"/>
                  </a:lnTo>
                  <a:lnTo>
                    <a:pt x="2197" y="945"/>
                  </a:lnTo>
                  <a:lnTo>
                    <a:pt x="2195" y="943"/>
                  </a:lnTo>
                  <a:lnTo>
                    <a:pt x="2186" y="943"/>
                  </a:lnTo>
                  <a:lnTo>
                    <a:pt x="2186" y="942"/>
                  </a:lnTo>
                  <a:lnTo>
                    <a:pt x="2191" y="937"/>
                  </a:lnTo>
                  <a:lnTo>
                    <a:pt x="2195" y="937"/>
                  </a:lnTo>
                  <a:lnTo>
                    <a:pt x="2198" y="934"/>
                  </a:lnTo>
                  <a:lnTo>
                    <a:pt x="2200" y="937"/>
                  </a:lnTo>
                  <a:lnTo>
                    <a:pt x="2200" y="934"/>
                  </a:lnTo>
                  <a:lnTo>
                    <a:pt x="2201" y="933"/>
                  </a:lnTo>
                  <a:lnTo>
                    <a:pt x="2198" y="933"/>
                  </a:lnTo>
                  <a:lnTo>
                    <a:pt x="2198" y="931"/>
                  </a:lnTo>
                  <a:lnTo>
                    <a:pt x="2197" y="930"/>
                  </a:lnTo>
                  <a:lnTo>
                    <a:pt x="2197" y="928"/>
                  </a:lnTo>
                  <a:lnTo>
                    <a:pt x="2198" y="928"/>
                  </a:lnTo>
                  <a:lnTo>
                    <a:pt x="2198" y="927"/>
                  </a:lnTo>
                  <a:lnTo>
                    <a:pt x="2197" y="927"/>
                  </a:lnTo>
                  <a:lnTo>
                    <a:pt x="2197" y="925"/>
                  </a:lnTo>
                  <a:lnTo>
                    <a:pt x="2198" y="925"/>
                  </a:lnTo>
                  <a:lnTo>
                    <a:pt x="2200" y="922"/>
                  </a:lnTo>
                  <a:lnTo>
                    <a:pt x="2204" y="922"/>
                  </a:lnTo>
                  <a:lnTo>
                    <a:pt x="2204" y="921"/>
                  </a:lnTo>
                  <a:lnTo>
                    <a:pt x="2207" y="919"/>
                  </a:lnTo>
                  <a:lnTo>
                    <a:pt x="2207" y="918"/>
                  </a:lnTo>
                  <a:lnTo>
                    <a:pt x="2209" y="919"/>
                  </a:lnTo>
                  <a:lnTo>
                    <a:pt x="2210" y="919"/>
                  </a:lnTo>
                  <a:lnTo>
                    <a:pt x="2212" y="918"/>
                  </a:lnTo>
                  <a:lnTo>
                    <a:pt x="2212" y="916"/>
                  </a:lnTo>
                  <a:lnTo>
                    <a:pt x="2213" y="916"/>
                  </a:lnTo>
                  <a:lnTo>
                    <a:pt x="2215" y="915"/>
                  </a:lnTo>
                  <a:lnTo>
                    <a:pt x="2216" y="915"/>
                  </a:lnTo>
                  <a:lnTo>
                    <a:pt x="2216" y="913"/>
                  </a:lnTo>
                  <a:lnTo>
                    <a:pt x="2213" y="913"/>
                  </a:lnTo>
                  <a:lnTo>
                    <a:pt x="2216" y="912"/>
                  </a:lnTo>
                  <a:lnTo>
                    <a:pt x="2218" y="909"/>
                  </a:lnTo>
                  <a:lnTo>
                    <a:pt x="2218" y="907"/>
                  </a:lnTo>
                  <a:lnTo>
                    <a:pt x="2221" y="907"/>
                  </a:lnTo>
                  <a:lnTo>
                    <a:pt x="2222" y="904"/>
                  </a:lnTo>
                  <a:lnTo>
                    <a:pt x="2221" y="903"/>
                  </a:lnTo>
                  <a:lnTo>
                    <a:pt x="2224" y="903"/>
                  </a:lnTo>
                  <a:lnTo>
                    <a:pt x="2224" y="901"/>
                  </a:lnTo>
                  <a:lnTo>
                    <a:pt x="2225" y="900"/>
                  </a:lnTo>
                  <a:lnTo>
                    <a:pt x="2227" y="900"/>
                  </a:lnTo>
                  <a:lnTo>
                    <a:pt x="2227" y="894"/>
                  </a:lnTo>
                  <a:lnTo>
                    <a:pt x="2230" y="892"/>
                  </a:lnTo>
                  <a:lnTo>
                    <a:pt x="2231" y="891"/>
                  </a:lnTo>
                  <a:lnTo>
                    <a:pt x="2231" y="888"/>
                  </a:lnTo>
                  <a:lnTo>
                    <a:pt x="2233" y="888"/>
                  </a:lnTo>
                  <a:lnTo>
                    <a:pt x="2233" y="886"/>
                  </a:lnTo>
                  <a:lnTo>
                    <a:pt x="2234" y="886"/>
                  </a:lnTo>
                  <a:lnTo>
                    <a:pt x="2234" y="885"/>
                  </a:lnTo>
                  <a:lnTo>
                    <a:pt x="2236" y="884"/>
                  </a:lnTo>
                  <a:lnTo>
                    <a:pt x="2234" y="884"/>
                  </a:lnTo>
                  <a:lnTo>
                    <a:pt x="2234" y="882"/>
                  </a:lnTo>
                  <a:lnTo>
                    <a:pt x="2231" y="879"/>
                  </a:lnTo>
                  <a:lnTo>
                    <a:pt x="2230" y="879"/>
                  </a:lnTo>
                  <a:lnTo>
                    <a:pt x="2228" y="878"/>
                  </a:lnTo>
                  <a:lnTo>
                    <a:pt x="2230" y="875"/>
                  </a:lnTo>
                  <a:lnTo>
                    <a:pt x="2230" y="873"/>
                  </a:lnTo>
                  <a:lnTo>
                    <a:pt x="2228" y="872"/>
                  </a:lnTo>
                  <a:lnTo>
                    <a:pt x="2228" y="873"/>
                  </a:lnTo>
                  <a:lnTo>
                    <a:pt x="2227" y="873"/>
                  </a:lnTo>
                  <a:lnTo>
                    <a:pt x="2227" y="872"/>
                  </a:lnTo>
                  <a:lnTo>
                    <a:pt x="2224" y="870"/>
                  </a:lnTo>
                  <a:lnTo>
                    <a:pt x="2216" y="866"/>
                  </a:lnTo>
                  <a:lnTo>
                    <a:pt x="2215" y="866"/>
                  </a:lnTo>
                  <a:lnTo>
                    <a:pt x="2215" y="863"/>
                  </a:lnTo>
                  <a:lnTo>
                    <a:pt x="2213" y="860"/>
                  </a:lnTo>
                  <a:lnTo>
                    <a:pt x="2213" y="857"/>
                  </a:lnTo>
                  <a:lnTo>
                    <a:pt x="2215" y="857"/>
                  </a:lnTo>
                  <a:lnTo>
                    <a:pt x="2216" y="855"/>
                  </a:lnTo>
                  <a:lnTo>
                    <a:pt x="2213" y="855"/>
                  </a:lnTo>
                  <a:lnTo>
                    <a:pt x="2212" y="857"/>
                  </a:lnTo>
                  <a:lnTo>
                    <a:pt x="2212" y="860"/>
                  </a:lnTo>
                  <a:lnTo>
                    <a:pt x="2210" y="861"/>
                  </a:lnTo>
                  <a:lnTo>
                    <a:pt x="2210" y="863"/>
                  </a:lnTo>
                  <a:lnTo>
                    <a:pt x="2207" y="863"/>
                  </a:lnTo>
                  <a:lnTo>
                    <a:pt x="2203" y="864"/>
                  </a:lnTo>
                  <a:lnTo>
                    <a:pt x="2201" y="864"/>
                  </a:lnTo>
                  <a:lnTo>
                    <a:pt x="2198" y="861"/>
                  </a:lnTo>
                  <a:lnTo>
                    <a:pt x="2195" y="861"/>
                  </a:lnTo>
                  <a:lnTo>
                    <a:pt x="2195" y="860"/>
                  </a:lnTo>
                  <a:lnTo>
                    <a:pt x="2194" y="858"/>
                  </a:lnTo>
                  <a:lnTo>
                    <a:pt x="2191" y="858"/>
                  </a:lnTo>
                  <a:lnTo>
                    <a:pt x="2189" y="860"/>
                  </a:lnTo>
                  <a:lnTo>
                    <a:pt x="2186" y="860"/>
                  </a:lnTo>
                  <a:lnTo>
                    <a:pt x="2186" y="858"/>
                  </a:lnTo>
                  <a:lnTo>
                    <a:pt x="2183" y="858"/>
                  </a:lnTo>
                  <a:lnTo>
                    <a:pt x="2182" y="860"/>
                  </a:lnTo>
                  <a:lnTo>
                    <a:pt x="2182" y="861"/>
                  </a:lnTo>
                  <a:lnTo>
                    <a:pt x="2180" y="861"/>
                  </a:lnTo>
                  <a:lnTo>
                    <a:pt x="2179" y="863"/>
                  </a:lnTo>
                  <a:lnTo>
                    <a:pt x="2179" y="866"/>
                  </a:lnTo>
                  <a:lnTo>
                    <a:pt x="2177" y="867"/>
                  </a:lnTo>
                  <a:lnTo>
                    <a:pt x="2177" y="864"/>
                  </a:lnTo>
                  <a:lnTo>
                    <a:pt x="2174" y="864"/>
                  </a:lnTo>
                  <a:lnTo>
                    <a:pt x="2174" y="867"/>
                  </a:lnTo>
                  <a:lnTo>
                    <a:pt x="2173" y="867"/>
                  </a:lnTo>
                  <a:lnTo>
                    <a:pt x="2173" y="870"/>
                  </a:lnTo>
                  <a:lnTo>
                    <a:pt x="2176" y="870"/>
                  </a:lnTo>
                  <a:lnTo>
                    <a:pt x="2176" y="872"/>
                  </a:lnTo>
                  <a:lnTo>
                    <a:pt x="2174" y="872"/>
                  </a:lnTo>
                  <a:lnTo>
                    <a:pt x="2173" y="873"/>
                  </a:lnTo>
                  <a:lnTo>
                    <a:pt x="2168" y="873"/>
                  </a:lnTo>
                  <a:lnTo>
                    <a:pt x="2167" y="875"/>
                  </a:lnTo>
                  <a:lnTo>
                    <a:pt x="2167" y="878"/>
                  </a:lnTo>
                  <a:lnTo>
                    <a:pt x="2165" y="879"/>
                  </a:lnTo>
                  <a:lnTo>
                    <a:pt x="2161" y="882"/>
                  </a:lnTo>
                  <a:lnTo>
                    <a:pt x="2161" y="884"/>
                  </a:lnTo>
                  <a:lnTo>
                    <a:pt x="2156" y="888"/>
                  </a:lnTo>
                  <a:lnTo>
                    <a:pt x="2156" y="889"/>
                  </a:lnTo>
                  <a:lnTo>
                    <a:pt x="2155" y="889"/>
                  </a:lnTo>
                  <a:lnTo>
                    <a:pt x="2155" y="891"/>
                  </a:lnTo>
                  <a:lnTo>
                    <a:pt x="2156" y="891"/>
                  </a:lnTo>
                  <a:lnTo>
                    <a:pt x="2156" y="892"/>
                  </a:lnTo>
                  <a:lnTo>
                    <a:pt x="2155" y="892"/>
                  </a:lnTo>
                  <a:lnTo>
                    <a:pt x="2153" y="894"/>
                  </a:lnTo>
                  <a:lnTo>
                    <a:pt x="2152" y="894"/>
                  </a:lnTo>
                  <a:lnTo>
                    <a:pt x="2152" y="897"/>
                  </a:lnTo>
                  <a:lnTo>
                    <a:pt x="2153" y="898"/>
                  </a:lnTo>
                  <a:lnTo>
                    <a:pt x="2153" y="900"/>
                  </a:lnTo>
                  <a:lnTo>
                    <a:pt x="2152" y="900"/>
                  </a:lnTo>
                  <a:lnTo>
                    <a:pt x="2149" y="903"/>
                  </a:lnTo>
                  <a:lnTo>
                    <a:pt x="2143" y="903"/>
                  </a:lnTo>
                  <a:lnTo>
                    <a:pt x="2143" y="904"/>
                  </a:lnTo>
                  <a:lnTo>
                    <a:pt x="2141" y="906"/>
                  </a:lnTo>
                  <a:lnTo>
                    <a:pt x="2138" y="906"/>
                  </a:lnTo>
                  <a:lnTo>
                    <a:pt x="2138" y="907"/>
                  </a:lnTo>
                  <a:lnTo>
                    <a:pt x="2137" y="907"/>
                  </a:lnTo>
                  <a:lnTo>
                    <a:pt x="2135" y="909"/>
                  </a:lnTo>
                  <a:lnTo>
                    <a:pt x="2126" y="910"/>
                  </a:lnTo>
                  <a:lnTo>
                    <a:pt x="2125" y="912"/>
                  </a:lnTo>
                  <a:lnTo>
                    <a:pt x="2125" y="915"/>
                  </a:lnTo>
                  <a:lnTo>
                    <a:pt x="2122" y="915"/>
                  </a:lnTo>
                  <a:lnTo>
                    <a:pt x="2119" y="918"/>
                  </a:lnTo>
                  <a:lnTo>
                    <a:pt x="2118" y="916"/>
                  </a:lnTo>
                  <a:lnTo>
                    <a:pt x="2116" y="918"/>
                  </a:lnTo>
                  <a:lnTo>
                    <a:pt x="2115" y="918"/>
                  </a:lnTo>
                  <a:lnTo>
                    <a:pt x="2112" y="919"/>
                  </a:lnTo>
                  <a:lnTo>
                    <a:pt x="2110" y="919"/>
                  </a:lnTo>
                  <a:lnTo>
                    <a:pt x="2107" y="922"/>
                  </a:lnTo>
                  <a:lnTo>
                    <a:pt x="2107" y="924"/>
                  </a:lnTo>
                  <a:lnTo>
                    <a:pt x="2109" y="925"/>
                  </a:lnTo>
                  <a:lnTo>
                    <a:pt x="2106" y="925"/>
                  </a:lnTo>
                  <a:lnTo>
                    <a:pt x="2104" y="927"/>
                  </a:lnTo>
                  <a:lnTo>
                    <a:pt x="2103" y="927"/>
                  </a:lnTo>
                  <a:lnTo>
                    <a:pt x="2101" y="928"/>
                  </a:lnTo>
                  <a:lnTo>
                    <a:pt x="2101" y="930"/>
                  </a:lnTo>
                  <a:lnTo>
                    <a:pt x="2100" y="930"/>
                  </a:lnTo>
                  <a:lnTo>
                    <a:pt x="2100" y="931"/>
                  </a:lnTo>
                  <a:lnTo>
                    <a:pt x="2098" y="936"/>
                  </a:lnTo>
                  <a:lnTo>
                    <a:pt x="2098" y="937"/>
                  </a:lnTo>
                  <a:lnTo>
                    <a:pt x="2097" y="939"/>
                  </a:lnTo>
                  <a:lnTo>
                    <a:pt x="2095" y="942"/>
                  </a:lnTo>
                  <a:lnTo>
                    <a:pt x="2095" y="939"/>
                  </a:lnTo>
                  <a:lnTo>
                    <a:pt x="2094" y="939"/>
                  </a:lnTo>
                  <a:lnTo>
                    <a:pt x="2094" y="940"/>
                  </a:lnTo>
                  <a:lnTo>
                    <a:pt x="2095" y="940"/>
                  </a:lnTo>
                  <a:lnTo>
                    <a:pt x="2094" y="942"/>
                  </a:lnTo>
                  <a:lnTo>
                    <a:pt x="2095" y="942"/>
                  </a:lnTo>
                  <a:lnTo>
                    <a:pt x="2095" y="945"/>
                  </a:lnTo>
                  <a:lnTo>
                    <a:pt x="2097" y="945"/>
                  </a:lnTo>
                  <a:lnTo>
                    <a:pt x="2097" y="946"/>
                  </a:lnTo>
                  <a:lnTo>
                    <a:pt x="2098" y="948"/>
                  </a:lnTo>
                  <a:lnTo>
                    <a:pt x="2097" y="949"/>
                  </a:lnTo>
                  <a:lnTo>
                    <a:pt x="2097" y="951"/>
                  </a:lnTo>
                  <a:lnTo>
                    <a:pt x="2095" y="952"/>
                  </a:lnTo>
                  <a:lnTo>
                    <a:pt x="2092" y="952"/>
                  </a:lnTo>
                  <a:lnTo>
                    <a:pt x="2089" y="957"/>
                  </a:lnTo>
                  <a:lnTo>
                    <a:pt x="2086" y="960"/>
                  </a:lnTo>
                  <a:lnTo>
                    <a:pt x="2086" y="961"/>
                  </a:lnTo>
                  <a:lnTo>
                    <a:pt x="2085" y="963"/>
                  </a:lnTo>
                  <a:lnTo>
                    <a:pt x="2083" y="963"/>
                  </a:lnTo>
                  <a:lnTo>
                    <a:pt x="2082" y="964"/>
                  </a:lnTo>
                  <a:lnTo>
                    <a:pt x="2082" y="963"/>
                  </a:lnTo>
                  <a:lnTo>
                    <a:pt x="2079" y="963"/>
                  </a:lnTo>
                  <a:lnTo>
                    <a:pt x="2077" y="961"/>
                  </a:lnTo>
                  <a:lnTo>
                    <a:pt x="2076" y="963"/>
                  </a:lnTo>
                  <a:lnTo>
                    <a:pt x="2076" y="964"/>
                  </a:lnTo>
                  <a:lnTo>
                    <a:pt x="2062" y="964"/>
                  </a:lnTo>
                  <a:lnTo>
                    <a:pt x="2062" y="966"/>
                  </a:lnTo>
                  <a:lnTo>
                    <a:pt x="2061" y="967"/>
                  </a:lnTo>
                  <a:lnTo>
                    <a:pt x="2059" y="967"/>
                  </a:lnTo>
                  <a:lnTo>
                    <a:pt x="2056" y="970"/>
                  </a:lnTo>
                  <a:lnTo>
                    <a:pt x="2055" y="970"/>
                  </a:lnTo>
                  <a:lnTo>
                    <a:pt x="2053" y="972"/>
                  </a:lnTo>
                  <a:lnTo>
                    <a:pt x="2052" y="972"/>
                  </a:lnTo>
                  <a:lnTo>
                    <a:pt x="2050" y="970"/>
                  </a:lnTo>
                  <a:lnTo>
                    <a:pt x="2049" y="970"/>
                  </a:lnTo>
                  <a:lnTo>
                    <a:pt x="2046" y="967"/>
                  </a:lnTo>
                  <a:lnTo>
                    <a:pt x="2046" y="966"/>
                  </a:lnTo>
                  <a:lnTo>
                    <a:pt x="2044" y="963"/>
                  </a:lnTo>
                  <a:lnTo>
                    <a:pt x="2043" y="961"/>
                  </a:lnTo>
                  <a:lnTo>
                    <a:pt x="2040" y="961"/>
                  </a:lnTo>
                  <a:lnTo>
                    <a:pt x="2038" y="960"/>
                  </a:lnTo>
                  <a:lnTo>
                    <a:pt x="2037" y="961"/>
                  </a:lnTo>
                  <a:lnTo>
                    <a:pt x="2032" y="961"/>
                  </a:lnTo>
                  <a:lnTo>
                    <a:pt x="2026" y="967"/>
                  </a:lnTo>
                  <a:lnTo>
                    <a:pt x="2025" y="967"/>
                  </a:lnTo>
                  <a:lnTo>
                    <a:pt x="2025" y="969"/>
                  </a:lnTo>
                  <a:lnTo>
                    <a:pt x="2026" y="969"/>
                  </a:lnTo>
                  <a:lnTo>
                    <a:pt x="2026" y="972"/>
                  </a:lnTo>
                  <a:lnTo>
                    <a:pt x="2028" y="973"/>
                  </a:lnTo>
                  <a:lnTo>
                    <a:pt x="2028" y="975"/>
                  </a:lnTo>
                  <a:lnTo>
                    <a:pt x="2025" y="975"/>
                  </a:lnTo>
                  <a:lnTo>
                    <a:pt x="2019" y="985"/>
                  </a:lnTo>
                  <a:lnTo>
                    <a:pt x="2019" y="990"/>
                  </a:lnTo>
                  <a:lnTo>
                    <a:pt x="2017" y="991"/>
                  </a:lnTo>
                  <a:lnTo>
                    <a:pt x="2017" y="996"/>
                  </a:lnTo>
                  <a:lnTo>
                    <a:pt x="2019" y="997"/>
                  </a:lnTo>
                  <a:lnTo>
                    <a:pt x="2022" y="1006"/>
                  </a:lnTo>
                  <a:lnTo>
                    <a:pt x="2025" y="1009"/>
                  </a:lnTo>
                  <a:lnTo>
                    <a:pt x="2029" y="1015"/>
                  </a:lnTo>
                  <a:lnTo>
                    <a:pt x="2031" y="1017"/>
                  </a:lnTo>
                  <a:lnTo>
                    <a:pt x="2034" y="1018"/>
                  </a:lnTo>
                  <a:lnTo>
                    <a:pt x="2035" y="1018"/>
                  </a:lnTo>
                  <a:lnTo>
                    <a:pt x="2038" y="1021"/>
                  </a:lnTo>
                  <a:lnTo>
                    <a:pt x="2040" y="1021"/>
                  </a:lnTo>
                  <a:lnTo>
                    <a:pt x="2040" y="1023"/>
                  </a:lnTo>
                  <a:lnTo>
                    <a:pt x="2041" y="1024"/>
                  </a:lnTo>
                  <a:lnTo>
                    <a:pt x="2043" y="1024"/>
                  </a:lnTo>
                  <a:lnTo>
                    <a:pt x="2043" y="1023"/>
                  </a:lnTo>
                  <a:lnTo>
                    <a:pt x="2044" y="1024"/>
                  </a:lnTo>
                  <a:lnTo>
                    <a:pt x="2052" y="1024"/>
                  </a:lnTo>
                  <a:lnTo>
                    <a:pt x="2058" y="1026"/>
                  </a:lnTo>
                  <a:lnTo>
                    <a:pt x="2059" y="1026"/>
                  </a:lnTo>
                  <a:lnTo>
                    <a:pt x="2061" y="1027"/>
                  </a:lnTo>
                  <a:lnTo>
                    <a:pt x="2062" y="1027"/>
                  </a:lnTo>
                  <a:lnTo>
                    <a:pt x="2062" y="1029"/>
                  </a:lnTo>
                  <a:lnTo>
                    <a:pt x="2064" y="1027"/>
                  </a:lnTo>
                  <a:lnTo>
                    <a:pt x="2065" y="1027"/>
                  </a:lnTo>
                  <a:lnTo>
                    <a:pt x="2065" y="1026"/>
                  </a:lnTo>
                  <a:lnTo>
                    <a:pt x="2067" y="1024"/>
                  </a:lnTo>
                  <a:lnTo>
                    <a:pt x="2068" y="1024"/>
                  </a:lnTo>
                  <a:lnTo>
                    <a:pt x="2073" y="1023"/>
                  </a:lnTo>
                  <a:lnTo>
                    <a:pt x="2076" y="1023"/>
                  </a:lnTo>
                  <a:lnTo>
                    <a:pt x="2082" y="1026"/>
                  </a:lnTo>
                  <a:lnTo>
                    <a:pt x="2080" y="1029"/>
                  </a:lnTo>
                  <a:lnTo>
                    <a:pt x="2082" y="1029"/>
                  </a:lnTo>
                  <a:lnTo>
                    <a:pt x="2082" y="1030"/>
                  </a:lnTo>
                  <a:lnTo>
                    <a:pt x="2083" y="1032"/>
                  </a:lnTo>
                  <a:lnTo>
                    <a:pt x="2083" y="1035"/>
                  </a:lnTo>
                  <a:lnTo>
                    <a:pt x="2086" y="1035"/>
                  </a:lnTo>
                  <a:lnTo>
                    <a:pt x="2089" y="1041"/>
                  </a:lnTo>
                  <a:lnTo>
                    <a:pt x="2091" y="1042"/>
                  </a:lnTo>
                  <a:lnTo>
                    <a:pt x="2094" y="1044"/>
                  </a:lnTo>
                  <a:lnTo>
                    <a:pt x="2095" y="1045"/>
                  </a:lnTo>
                  <a:lnTo>
                    <a:pt x="2095" y="1051"/>
                  </a:lnTo>
                  <a:lnTo>
                    <a:pt x="2094" y="1051"/>
                  </a:lnTo>
                  <a:lnTo>
                    <a:pt x="2089" y="1047"/>
                  </a:lnTo>
                  <a:lnTo>
                    <a:pt x="2086" y="1047"/>
                  </a:lnTo>
                  <a:lnTo>
                    <a:pt x="2085" y="1048"/>
                  </a:lnTo>
                  <a:lnTo>
                    <a:pt x="2085" y="1053"/>
                  </a:lnTo>
                  <a:lnTo>
                    <a:pt x="2083" y="1053"/>
                  </a:lnTo>
                  <a:lnTo>
                    <a:pt x="2083" y="1054"/>
                  </a:lnTo>
                  <a:lnTo>
                    <a:pt x="2082" y="1056"/>
                  </a:lnTo>
                  <a:lnTo>
                    <a:pt x="2082" y="1074"/>
                  </a:lnTo>
                  <a:lnTo>
                    <a:pt x="2085" y="1074"/>
                  </a:lnTo>
                  <a:lnTo>
                    <a:pt x="2085" y="1075"/>
                  </a:lnTo>
                  <a:lnTo>
                    <a:pt x="2086" y="1075"/>
                  </a:lnTo>
                  <a:lnTo>
                    <a:pt x="2086" y="1077"/>
                  </a:lnTo>
                  <a:lnTo>
                    <a:pt x="2089" y="1078"/>
                  </a:lnTo>
                  <a:lnTo>
                    <a:pt x="2091" y="1080"/>
                  </a:lnTo>
                  <a:lnTo>
                    <a:pt x="2097" y="1081"/>
                  </a:lnTo>
                  <a:lnTo>
                    <a:pt x="2104" y="1083"/>
                  </a:lnTo>
                  <a:lnTo>
                    <a:pt x="2106" y="1083"/>
                  </a:lnTo>
                  <a:lnTo>
                    <a:pt x="2107" y="1081"/>
                  </a:lnTo>
                  <a:lnTo>
                    <a:pt x="2119" y="1081"/>
                  </a:lnTo>
                  <a:lnTo>
                    <a:pt x="2119" y="1080"/>
                  </a:lnTo>
                  <a:lnTo>
                    <a:pt x="2121" y="1080"/>
                  </a:lnTo>
                  <a:lnTo>
                    <a:pt x="2125" y="1075"/>
                  </a:lnTo>
                  <a:lnTo>
                    <a:pt x="2125" y="1074"/>
                  </a:lnTo>
                  <a:lnTo>
                    <a:pt x="2124" y="1071"/>
                  </a:lnTo>
                  <a:lnTo>
                    <a:pt x="2122" y="1071"/>
                  </a:lnTo>
                  <a:lnTo>
                    <a:pt x="2124" y="1069"/>
                  </a:lnTo>
                  <a:lnTo>
                    <a:pt x="2124" y="1068"/>
                  </a:lnTo>
                  <a:lnTo>
                    <a:pt x="2126" y="1068"/>
                  </a:lnTo>
                  <a:lnTo>
                    <a:pt x="2132" y="1065"/>
                  </a:lnTo>
                  <a:lnTo>
                    <a:pt x="2138" y="1060"/>
                  </a:lnTo>
                  <a:lnTo>
                    <a:pt x="2143" y="1056"/>
                  </a:lnTo>
                  <a:lnTo>
                    <a:pt x="2144" y="1053"/>
                  </a:lnTo>
                  <a:lnTo>
                    <a:pt x="2143" y="1051"/>
                  </a:lnTo>
                  <a:lnTo>
                    <a:pt x="2140" y="1051"/>
                  </a:lnTo>
                  <a:lnTo>
                    <a:pt x="2140" y="1050"/>
                  </a:lnTo>
                  <a:lnTo>
                    <a:pt x="2147" y="1050"/>
                  </a:lnTo>
                  <a:lnTo>
                    <a:pt x="2150" y="1047"/>
                  </a:lnTo>
                  <a:lnTo>
                    <a:pt x="2155" y="1045"/>
                  </a:lnTo>
                  <a:lnTo>
                    <a:pt x="2156" y="1045"/>
                  </a:lnTo>
                  <a:lnTo>
                    <a:pt x="2159" y="1044"/>
                  </a:lnTo>
                  <a:lnTo>
                    <a:pt x="2161" y="1044"/>
                  </a:lnTo>
                  <a:lnTo>
                    <a:pt x="2162" y="1042"/>
                  </a:lnTo>
                  <a:lnTo>
                    <a:pt x="2171" y="1042"/>
                  </a:lnTo>
                  <a:lnTo>
                    <a:pt x="2173" y="1044"/>
                  </a:lnTo>
                  <a:lnTo>
                    <a:pt x="2173" y="1045"/>
                  </a:lnTo>
                  <a:lnTo>
                    <a:pt x="2174" y="1047"/>
                  </a:lnTo>
                  <a:lnTo>
                    <a:pt x="2176" y="1047"/>
                  </a:lnTo>
                  <a:lnTo>
                    <a:pt x="2176" y="1048"/>
                  </a:lnTo>
                  <a:lnTo>
                    <a:pt x="2180" y="1048"/>
                  </a:lnTo>
                  <a:lnTo>
                    <a:pt x="2182" y="1050"/>
                  </a:lnTo>
                  <a:lnTo>
                    <a:pt x="2182" y="1056"/>
                  </a:lnTo>
                  <a:lnTo>
                    <a:pt x="2183" y="1057"/>
                  </a:lnTo>
                  <a:lnTo>
                    <a:pt x="2185" y="1057"/>
                  </a:lnTo>
                  <a:lnTo>
                    <a:pt x="2189" y="1056"/>
                  </a:lnTo>
                  <a:lnTo>
                    <a:pt x="2191" y="1056"/>
                  </a:lnTo>
                  <a:lnTo>
                    <a:pt x="2192" y="1054"/>
                  </a:lnTo>
                  <a:lnTo>
                    <a:pt x="2192" y="1053"/>
                  </a:lnTo>
                  <a:lnTo>
                    <a:pt x="2195" y="1056"/>
                  </a:lnTo>
                  <a:lnTo>
                    <a:pt x="2192" y="1056"/>
                  </a:lnTo>
                  <a:lnTo>
                    <a:pt x="2192" y="1057"/>
                  </a:lnTo>
                  <a:lnTo>
                    <a:pt x="2194" y="1059"/>
                  </a:lnTo>
                  <a:lnTo>
                    <a:pt x="2195" y="1059"/>
                  </a:lnTo>
                  <a:lnTo>
                    <a:pt x="2195" y="1060"/>
                  </a:lnTo>
                  <a:lnTo>
                    <a:pt x="2197" y="1062"/>
                  </a:lnTo>
                  <a:lnTo>
                    <a:pt x="2197" y="1063"/>
                  </a:lnTo>
                  <a:lnTo>
                    <a:pt x="2200" y="1063"/>
                  </a:lnTo>
                  <a:lnTo>
                    <a:pt x="2201" y="1065"/>
                  </a:lnTo>
                  <a:lnTo>
                    <a:pt x="2206" y="1065"/>
                  </a:lnTo>
                  <a:lnTo>
                    <a:pt x="2206" y="1063"/>
                  </a:lnTo>
                  <a:lnTo>
                    <a:pt x="2219" y="1063"/>
                  </a:lnTo>
                  <a:lnTo>
                    <a:pt x="2219" y="1065"/>
                  </a:lnTo>
                  <a:lnTo>
                    <a:pt x="2221" y="1065"/>
                  </a:lnTo>
                  <a:lnTo>
                    <a:pt x="2221" y="1062"/>
                  </a:lnTo>
                  <a:lnTo>
                    <a:pt x="2222" y="1060"/>
                  </a:lnTo>
                  <a:lnTo>
                    <a:pt x="2222" y="1059"/>
                  </a:lnTo>
                  <a:lnTo>
                    <a:pt x="2227" y="1059"/>
                  </a:lnTo>
                  <a:lnTo>
                    <a:pt x="2227" y="1057"/>
                  </a:lnTo>
                  <a:lnTo>
                    <a:pt x="2228" y="1059"/>
                  </a:lnTo>
                  <a:lnTo>
                    <a:pt x="2228" y="1060"/>
                  </a:lnTo>
                  <a:lnTo>
                    <a:pt x="2227" y="1062"/>
                  </a:lnTo>
                  <a:lnTo>
                    <a:pt x="2228" y="1063"/>
                  </a:lnTo>
                  <a:lnTo>
                    <a:pt x="2228" y="1065"/>
                  </a:lnTo>
                  <a:lnTo>
                    <a:pt x="2230" y="1066"/>
                  </a:lnTo>
                  <a:lnTo>
                    <a:pt x="2230" y="1065"/>
                  </a:lnTo>
                  <a:lnTo>
                    <a:pt x="2231" y="1065"/>
                  </a:lnTo>
                  <a:lnTo>
                    <a:pt x="2231" y="1063"/>
                  </a:lnTo>
                  <a:lnTo>
                    <a:pt x="2233" y="1063"/>
                  </a:lnTo>
                  <a:lnTo>
                    <a:pt x="2234" y="1065"/>
                  </a:lnTo>
                  <a:lnTo>
                    <a:pt x="2234" y="1066"/>
                  </a:lnTo>
                  <a:lnTo>
                    <a:pt x="2254" y="1066"/>
                  </a:lnTo>
                  <a:lnTo>
                    <a:pt x="2254" y="1068"/>
                  </a:lnTo>
                  <a:lnTo>
                    <a:pt x="2249" y="1068"/>
                  </a:lnTo>
                  <a:lnTo>
                    <a:pt x="2248" y="1069"/>
                  </a:lnTo>
                  <a:lnTo>
                    <a:pt x="2249" y="1072"/>
                  </a:lnTo>
                  <a:lnTo>
                    <a:pt x="2246" y="1071"/>
                  </a:lnTo>
                  <a:lnTo>
                    <a:pt x="2246" y="1072"/>
                  </a:lnTo>
                  <a:lnTo>
                    <a:pt x="2248" y="1074"/>
                  </a:lnTo>
                  <a:lnTo>
                    <a:pt x="2248" y="1075"/>
                  </a:lnTo>
                  <a:lnTo>
                    <a:pt x="2249" y="1077"/>
                  </a:lnTo>
                  <a:lnTo>
                    <a:pt x="2249" y="1078"/>
                  </a:lnTo>
                  <a:lnTo>
                    <a:pt x="2248" y="1078"/>
                  </a:lnTo>
                  <a:lnTo>
                    <a:pt x="2248" y="1081"/>
                  </a:lnTo>
                  <a:lnTo>
                    <a:pt x="2242" y="1081"/>
                  </a:lnTo>
                  <a:lnTo>
                    <a:pt x="2242" y="1087"/>
                  </a:lnTo>
                  <a:lnTo>
                    <a:pt x="2240" y="1087"/>
                  </a:lnTo>
                  <a:lnTo>
                    <a:pt x="2240" y="1090"/>
                  </a:lnTo>
                  <a:lnTo>
                    <a:pt x="2242" y="1089"/>
                  </a:lnTo>
                  <a:lnTo>
                    <a:pt x="2246" y="1089"/>
                  </a:lnTo>
                  <a:lnTo>
                    <a:pt x="2246" y="1095"/>
                  </a:lnTo>
                  <a:lnTo>
                    <a:pt x="2245" y="1095"/>
                  </a:lnTo>
                  <a:lnTo>
                    <a:pt x="2245" y="1093"/>
                  </a:lnTo>
                  <a:lnTo>
                    <a:pt x="2243" y="1095"/>
                  </a:lnTo>
                  <a:lnTo>
                    <a:pt x="2240" y="1095"/>
                  </a:lnTo>
                  <a:lnTo>
                    <a:pt x="2240" y="1096"/>
                  </a:lnTo>
                  <a:lnTo>
                    <a:pt x="2242" y="1096"/>
                  </a:lnTo>
                  <a:lnTo>
                    <a:pt x="2242" y="1098"/>
                  </a:lnTo>
                  <a:lnTo>
                    <a:pt x="2239" y="1098"/>
                  </a:lnTo>
                  <a:lnTo>
                    <a:pt x="2239" y="1099"/>
                  </a:lnTo>
                  <a:lnTo>
                    <a:pt x="2231" y="1099"/>
                  </a:lnTo>
                  <a:lnTo>
                    <a:pt x="2230" y="1098"/>
                  </a:lnTo>
                  <a:lnTo>
                    <a:pt x="2230" y="1096"/>
                  </a:lnTo>
                  <a:lnTo>
                    <a:pt x="2234" y="1096"/>
                  </a:lnTo>
                  <a:lnTo>
                    <a:pt x="2233" y="1095"/>
                  </a:lnTo>
                  <a:lnTo>
                    <a:pt x="2231" y="1095"/>
                  </a:lnTo>
                  <a:lnTo>
                    <a:pt x="2230" y="1093"/>
                  </a:lnTo>
                  <a:lnTo>
                    <a:pt x="2228" y="1093"/>
                  </a:lnTo>
                  <a:lnTo>
                    <a:pt x="2230" y="1090"/>
                  </a:lnTo>
                  <a:lnTo>
                    <a:pt x="2230" y="1089"/>
                  </a:lnTo>
                  <a:lnTo>
                    <a:pt x="2228" y="1089"/>
                  </a:lnTo>
                  <a:lnTo>
                    <a:pt x="2228" y="1093"/>
                  </a:lnTo>
                  <a:lnTo>
                    <a:pt x="2225" y="1093"/>
                  </a:lnTo>
                  <a:lnTo>
                    <a:pt x="2225" y="1095"/>
                  </a:lnTo>
                  <a:lnTo>
                    <a:pt x="2224" y="1095"/>
                  </a:lnTo>
                  <a:lnTo>
                    <a:pt x="2224" y="1096"/>
                  </a:lnTo>
                  <a:lnTo>
                    <a:pt x="2222" y="1096"/>
                  </a:lnTo>
                  <a:lnTo>
                    <a:pt x="2222" y="1093"/>
                  </a:lnTo>
                  <a:lnTo>
                    <a:pt x="2224" y="1092"/>
                  </a:lnTo>
                  <a:lnTo>
                    <a:pt x="2224" y="1090"/>
                  </a:lnTo>
                  <a:lnTo>
                    <a:pt x="2218" y="1090"/>
                  </a:lnTo>
                  <a:lnTo>
                    <a:pt x="2218" y="1092"/>
                  </a:lnTo>
                  <a:lnTo>
                    <a:pt x="2219" y="1093"/>
                  </a:lnTo>
                  <a:lnTo>
                    <a:pt x="2218" y="1095"/>
                  </a:lnTo>
                  <a:lnTo>
                    <a:pt x="2212" y="1096"/>
                  </a:lnTo>
                  <a:lnTo>
                    <a:pt x="2210" y="1098"/>
                  </a:lnTo>
                  <a:lnTo>
                    <a:pt x="2210" y="1099"/>
                  </a:lnTo>
                  <a:lnTo>
                    <a:pt x="2207" y="1099"/>
                  </a:lnTo>
                  <a:lnTo>
                    <a:pt x="2206" y="1101"/>
                  </a:lnTo>
                  <a:lnTo>
                    <a:pt x="2206" y="1099"/>
                  </a:lnTo>
                  <a:lnTo>
                    <a:pt x="2204" y="1099"/>
                  </a:lnTo>
                  <a:lnTo>
                    <a:pt x="2204" y="1105"/>
                  </a:lnTo>
                  <a:lnTo>
                    <a:pt x="2203" y="1105"/>
                  </a:lnTo>
                  <a:lnTo>
                    <a:pt x="2203" y="1104"/>
                  </a:lnTo>
                  <a:lnTo>
                    <a:pt x="2198" y="1104"/>
                  </a:lnTo>
                  <a:lnTo>
                    <a:pt x="2198" y="1102"/>
                  </a:lnTo>
                  <a:lnTo>
                    <a:pt x="2200" y="1102"/>
                  </a:lnTo>
                  <a:lnTo>
                    <a:pt x="2200" y="1101"/>
                  </a:lnTo>
                  <a:lnTo>
                    <a:pt x="2201" y="1101"/>
                  </a:lnTo>
                  <a:lnTo>
                    <a:pt x="2203" y="1099"/>
                  </a:lnTo>
                  <a:lnTo>
                    <a:pt x="2200" y="1099"/>
                  </a:lnTo>
                  <a:lnTo>
                    <a:pt x="2200" y="1101"/>
                  </a:lnTo>
                  <a:lnTo>
                    <a:pt x="2198" y="1101"/>
                  </a:lnTo>
                  <a:lnTo>
                    <a:pt x="2198" y="1099"/>
                  </a:lnTo>
                  <a:lnTo>
                    <a:pt x="2197" y="1099"/>
                  </a:lnTo>
                  <a:lnTo>
                    <a:pt x="2197" y="1104"/>
                  </a:lnTo>
                  <a:lnTo>
                    <a:pt x="2194" y="1104"/>
                  </a:lnTo>
                  <a:lnTo>
                    <a:pt x="2192" y="1105"/>
                  </a:lnTo>
                  <a:lnTo>
                    <a:pt x="2192" y="1107"/>
                  </a:lnTo>
                  <a:lnTo>
                    <a:pt x="2189" y="1107"/>
                  </a:lnTo>
                  <a:lnTo>
                    <a:pt x="2183" y="1108"/>
                  </a:lnTo>
                  <a:lnTo>
                    <a:pt x="2182" y="1110"/>
                  </a:lnTo>
                  <a:lnTo>
                    <a:pt x="2179" y="1111"/>
                  </a:lnTo>
                  <a:lnTo>
                    <a:pt x="2179" y="1113"/>
                  </a:lnTo>
                  <a:lnTo>
                    <a:pt x="2177" y="1111"/>
                  </a:lnTo>
                  <a:lnTo>
                    <a:pt x="2177" y="1113"/>
                  </a:lnTo>
                  <a:lnTo>
                    <a:pt x="2176" y="1114"/>
                  </a:lnTo>
                  <a:lnTo>
                    <a:pt x="2176" y="1113"/>
                  </a:lnTo>
                  <a:lnTo>
                    <a:pt x="2173" y="1113"/>
                  </a:lnTo>
                  <a:lnTo>
                    <a:pt x="2173" y="1111"/>
                  </a:lnTo>
                  <a:lnTo>
                    <a:pt x="2170" y="1111"/>
                  </a:lnTo>
                  <a:lnTo>
                    <a:pt x="2170" y="1110"/>
                  </a:lnTo>
                  <a:lnTo>
                    <a:pt x="2167" y="1110"/>
                  </a:lnTo>
                  <a:lnTo>
                    <a:pt x="2165" y="1111"/>
                  </a:lnTo>
                  <a:lnTo>
                    <a:pt x="2164" y="1111"/>
                  </a:lnTo>
                  <a:lnTo>
                    <a:pt x="2164" y="1116"/>
                  </a:lnTo>
                  <a:lnTo>
                    <a:pt x="2165" y="1116"/>
                  </a:lnTo>
                  <a:lnTo>
                    <a:pt x="2167" y="1114"/>
                  </a:lnTo>
                  <a:lnTo>
                    <a:pt x="2167" y="1113"/>
                  </a:lnTo>
                  <a:lnTo>
                    <a:pt x="2170" y="1113"/>
                  </a:lnTo>
                  <a:lnTo>
                    <a:pt x="2170" y="1114"/>
                  </a:lnTo>
                  <a:lnTo>
                    <a:pt x="2171" y="1116"/>
                  </a:lnTo>
                  <a:lnTo>
                    <a:pt x="2171" y="1117"/>
                  </a:lnTo>
                  <a:lnTo>
                    <a:pt x="2173" y="1116"/>
                  </a:lnTo>
                  <a:lnTo>
                    <a:pt x="2174" y="1116"/>
                  </a:lnTo>
                  <a:lnTo>
                    <a:pt x="2174" y="1117"/>
                  </a:lnTo>
                  <a:lnTo>
                    <a:pt x="2173" y="1117"/>
                  </a:lnTo>
                  <a:lnTo>
                    <a:pt x="2173" y="1120"/>
                  </a:lnTo>
                  <a:lnTo>
                    <a:pt x="2171" y="1120"/>
                  </a:lnTo>
                  <a:lnTo>
                    <a:pt x="2171" y="1122"/>
                  </a:lnTo>
                  <a:lnTo>
                    <a:pt x="2170" y="1122"/>
                  </a:lnTo>
                  <a:lnTo>
                    <a:pt x="2171" y="1123"/>
                  </a:lnTo>
                  <a:lnTo>
                    <a:pt x="2170" y="1125"/>
                  </a:lnTo>
                  <a:lnTo>
                    <a:pt x="2168" y="1125"/>
                  </a:lnTo>
                  <a:lnTo>
                    <a:pt x="2168" y="1123"/>
                  </a:lnTo>
                  <a:lnTo>
                    <a:pt x="2167" y="1122"/>
                  </a:lnTo>
                  <a:lnTo>
                    <a:pt x="2168" y="1120"/>
                  </a:lnTo>
                  <a:lnTo>
                    <a:pt x="2164" y="1120"/>
                  </a:lnTo>
                  <a:lnTo>
                    <a:pt x="2164" y="1122"/>
                  </a:lnTo>
                  <a:lnTo>
                    <a:pt x="2162" y="1122"/>
                  </a:lnTo>
                  <a:lnTo>
                    <a:pt x="2161" y="1125"/>
                  </a:lnTo>
                  <a:lnTo>
                    <a:pt x="2161" y="1126"/>
                  </a:lnTo>
                  <a:lnTo>
                    <a:pt x="2162" y="1126"/>
                  </a:lnTo>
                  <a:lnTo>
                    <a:pt x="2162" y="1129"/>
                  </a:lnTo>
                  <a:lnTo>
                    <a:pt x="2161" y="1128"/>
                  </a:lnTo>
                  <a:lnTo>
                    <a:pt x="2159" y="1128"/>
                  </a:lnTo>
                  <a:lnTo>
                    <a:pt x="2159" y="1131"/>
                  </a:lnTo>
                  <a:lnTo>
                    <a:pt x="2161" y="1132"/>
                  </a:lnTo>
                  <a:lnTo>
                    <a:pt x="2161" y="1137"/>
                  </a:lnTo>
                  <a:lnTo>
                    <a:pt x="2162" y="1138"/>
                  </a:lnTo>
                  <a:lnTo>
                    <a:pt x="2161" y="1138"/>
                  </a:lnTo>
                  <a:lnTo>
                    <a:pt x="2158" y="1140"/>
                  </a:lnTo>
                  <a:lnTo>
                    <a:pt x="2156" y="1141"/>
                  </a:lnTo>
                  <a:lnTo>
                    <a:pt x="2155" y="1140"/>
                  </a:lnTo>
                  <a:lnTo>
                    <a:pt x="2155" y="1141"/>
                  </a:lnTo>
                  <a:lnTo>
                    <a:pt x="2150" y="1141"/>
                  </a:lnTo>
                  <a:lnTo>
                    <a:pt x="2149" y="1143"/>
                  </a:lnTo>
                  <a:lnTo>
                    <a:pt x="2146" y="1144"/>
                  </a:lnTo>
                  <a:lnTo>
                    <a:pt x="2144" y="1144"/>
                  </a:lnTo>
                  <a:lnTo>
                    <a:pt x="2143" y="1143"/>
                  </a:lnTo>
                  <a:lnTo>
                    <a:pt x="2144" y="1141"/>
                  </a:lnTo>
                  <a:lnTo>
                    <a:pt x="2144" y="1140"/>
                  </a:lnTo>
                  <a:lnTo>
                    <a:pt x="2146" y="1135"/>
                  </a:lnTo>
                  <a:lnTo>
                    <a:pt x="2144" y="1134"/>
                  </a:lnTo>
                  <a:lnTo>
                    <a:pt x="2144" y="1132"/>
                  </a:lnTo>
                  <a:lnTo>
                    <a:pt x="2143" y="1131"/>
                  </a:lnTo>
                  <a:lnTo>
                    <a:pt x="2143" y="1132"/>
                  </a:lnTo>
                  <a:lnTo>
                    <a:pt x="2141" y="1134"/>
                  </a:lnTo>
                  <a:lnTo>
                    <a:pt x="2141" y="1135"/>
                  </a:lnTo>
                  <a:lnTo>
                    <a:pt x="2143" y="1135"/>
                  </a:lnTo>
                  <a:lnTo>
                    <a:pt x="2143" y="1137"/>
                  </a:lnTo>
                  <a:lnTo>
                    <a:pt x="2141" y="1137"/>
                  </a:lnTo>
                  <a:lnTo>
                    <a:pt x="2140" y="1135"/>
                  </a:lnTo>
                  <a:lnTo>
                    <a:pt x="2140" y="1134"/>
                  </a:lnTo>
                  <a:lnTo>
                    <a:pt x="2138" y="1134"/>
                  </a:lnTo>
                  <a:lnTo>
                    <a:pt x="2135" y="1135"/>
                  </a:lnTo>
                  <a:lnTo>
                    <a:pt x="2134" y="1134"/>
                  </a:lnTo>
                  <a:lnTo>
                    <a:pt x="2134" y="1141"/>
                  </a:lnTo>
                  <a:lnTo>
                    <a:pt x="2135" y="1141"/>
                  </a:lnTo>
                  <a:lnTo>
                    <a:pt x="2135" y="1143"/>
                  </a:lnTo>
                  <a:lnTo>
                    <a:pt x="2137" y="1143"/>
                  </a:lnTo>
                  <a:lnTo>
                    <a:pt x="2137" y="1147"/>
                  </a:lnTo>
                  <a:lnTo>
                    <a:pt x="2140" y="1147"/>
                  </a:lnTo>
                  <a:lnTo>
                    <a:pt x="2140" y="1148"/>
                  </a:lnTo>
                  <a:lnTo>
                    <a:pt x="2141" y="1147"/>
                  </a:lnTo>
                  <a:lnTo>
                    <a:pt x="2143" y="1147"/>
                  </a:lnTo>
                  <a:lnTo>
                    <a:pt x="2143" y="1148"/>
                  </a:lnTo>
                  <a:lnTo>
                    <a:pt x="2141" y="1148"/>
                  </a:lnTo>
                  <a:lnTo>
                    <a:pt x="2138" y="1151"/>
                  </a:lnTo>
                  <a:lnTo>
                    <a:pt x="2138" y="1150"/>
                  </a:lnTo>
                  <a:lnTo>
                    <a:pt x="2137" y="1150"/>
                  </a:lnTo>
                  <a:lnTo>
                    <a:pt x="2135" y="1151"/>
                  </a:lnTo>
                  <a:lnTo>
                    <a:pt x="2134" y="1151"/>
                  </a:lnTo>
                  <a:lnTo>
                    <a:pt x="2132" y="1154"/>
                  </a:lnTo>
                  <a:lnTo>
                    <a:pt x="2131" y="1156"/>
                  </a:lnTo>
                  <a:lnTo>
                    <a:pt x="2131" y="1160"/>
                  </a:lnTo>
                  <a:lnTo>
                    <a:pt x="2129" y="1162"/>
                  </a:lnTo>
                  <a:lnTo>
                    <a:pt x="2128" y="1162"/>
                  </a:lnTo>
                  <a:lnTo>
                    <a:pt x="2126" y="1160"/>
                  </a:lnTo>
                  <a:lnTo>
                    <a:pt x="2125" y="1160"/>
                  </a:lnTo>
                  <a:lnTo>
                    <a:pt x="2125" y="1162"/>
                  </a:lnTo>
                  <a:lnTo>
                    <a:pt x="2126" y="1163"/>
                  </a:lnTo>
                  <a:lnTo>
                    <a:pt x="2125" y="1165"/>
                  </a:lnTo>
                  <a:lnTo>
                    <a:pt x="2125" y="1168"/>
                  </a:lnTo>
                  <a:lnTo>
                    <a:pt x="2124" y="1168"/>
                  </a:lnTo>
                  <a:lnTo>
                    <a:pt x="2124" y="1169"/>
                  </a:lnTo>
                  <a:lnTo>
                    <a:pt x="2122" y="1168"/>
                  </a:lnTo>
                  <a:lnTo>
                    <a:pt x="2122" y="1166"/>
                  </a:lnTo>
                  <a:lnTo>
                    <a:pt x="2121" y="1166"/>
                  </a:lnTo>
                  <a:lnTo>
                    <a:pt x="2119" y="1169"/>
                  </a:lnTo>
                  <a:lnTo>
                    <a:pt x="2118" y="1171"/>
                  </a:lnTo>
                  <a:lnTo>
                    <a:pt x="2118" y="1168"/>
                  </a:lnTo>
                  <a:lnTo>
                    <a:pt x="2116" y="1168"/>
                  </a:lnTo>
                  <a:lnTo>
                    <a:pt x="2116" y="1169"/>
                  </a:lnTo>
                  <a:lnTo>
                    <a:pt x="2113" y="1169"/>
                  </a:lnTo>
                  <a:lnTo>
                    <a:pt x="2113" y="1172"/>
                  </a:lnTo>
                  <a:lnTo>
                    <a:pt x="2112" y="1175"/>
                  </a:lnTo>
                  <a:lnTo>
                    <a:pt x="2112" y="1177"/>
                  </a:lnTo>
                  <a:lnTo>
                    <a:pt x="2110" y="1178"/>
                  </a:lnTo>
                  <a:lnTo>
                    <a:pt x="2110" y="1180"/>
                  </a:lnTo>
                  <a:lnTo>
                    <a:pt x="2107" y="1183"/>
                  </a:lnTo>
                  <a:lnTo>
                    <a:pt x="2107" y="1184"/>
                  </a:lnTo>
                  <a:lnTo>
                    <a:pt x="2103" y="1184"/>
                  </a:lnTo>
                  <a:lnTo>
                    <a:pt x="2103" y="1189"/>
                  </a:lnTo>
                  <a:lnTo>
                    <a:pt x="2101" y="1192"/>
                  </a:lnTo>
                  <a:lnTo>
                    <a:pt x="2101" y="1196"/>
                  </a:lnTo>
                  <a:lnTo>
                    <a:pt x="2100" y="1198"/>
                  </a:lnTo>
                  <a:lnTo>
                    <a:pt x="2097" y="1198"/>
                  </a:lnTo>
                  <a:lnTo>
                    <a:pt x="2095" y="1199"/>
                  </a:lnTo>
                  <a:lnTo>
                    <a:pt x="2094" y="1199"/>
                  </a:lnTo>
                  <a:lnTo>
                    <a:pt x="2094" y="1201"/>
                  </a:lnTo>
                  <a:lnTo>
                    <a:pt x="2092" y="1202"/>
                  </a:lnTo>
                  <a:lnTo>
                    <a:pt x="2092" y="1205"/>
                  </a:lnTo>
                  <a:lnTo>
                    <a:pt x="2094" y="1207"/>
                  </a:lnTo>
                  <a:lnTo>
                    <a:pt x="2092" y="1211"/>
                  </a:lnTo>
                  <a:lnTo>
                    <a:pt x="2092" y="1213"/>
                  </a:lnTo>
                  <a:lnTo>
                    <a:pt x="2094" y="1214"/>
                  </a:lnTo>
                  <a:lnTo>
                    <a:pt x="2092" y="1216"/>
                  </a:lnTo>
                  <a:lnTo>
                    <a:pt x="2092" y="1219"/>
                  </a:lnTo>
                  <a:lnTo>
                    <a:pt x="2094" y="1219"/>
                  </a:lnTo>
                  <a:lnTo>
                    <a:pt x="2094" y="1216"/>
                  </a:lnTo>
                  <a:lnTo>
                    <a:pt x="2101" y="1216"/>
                  </a:lnTo>
                  <a:lnTo>
                    <a:pt x="2103" y="1217"/>
                  </a:lnTo>
                  <a:lnTo>
                    <a:pt x="2106" y="1217"/>
                  </a:lnTo>
                  <a:lnTo>
                    <a:pt x="2106" y="1219"/>
                  </a:lnTo>
                  <a:lnTo>
                    <a:pt x="2104" y="1220"/>
                  </a:lnTo>
                  <a:lnTo>
                    <a:pt x="2110" y="1226"/>
                  </a:lnTo>
                  <a:lnTo>
                    <a:pt x="2112" y="1226"/>
                  </a:lnTo>
                  <a:lnTo>
                    <a:pt x="2113" y="1228"/>
                  </a:lnTo>
                  <a:lnTo>
                    <a:pt x="2113" y="1229"/>
                  </a:lnTo>
                  <a:lnTo>
                    <a:pt x="2118" y="1229"/>
                  </a:lnTo>
                  <a:lnTo>
                    <a:pt x="2121" y="1232"/>
                  </a:lnTo>
                  <a:lnTo>
                    <a:pt x="2126" y="1232"/>
                  </a:lnTo>
                  <a:lnTo>
                    <a:pt x="2128" y="1234"/>
                  </a:lnTo>
                  <a:lnTo>
                    <a:pt x="2131" y="1235"/>
                  </a:lnTo>
                  <a:lnTo>
                    <a:pt x="2132" y="1237"/>
                  </a:lnTo>
                  <a:lnTo>
                    <a:pt x="2135" y="1238"/>
                  </a:lnTo>
                  <a:lnTo>
                    <a:pt x="2140" y="1240"/>
                  </a:lnTo>
                  <a:lnTo>
                    <a:pt x="2141" y="1241"/>
                  </a:lnTo>
                  <a:lnTo>
                    <a:pt x="2141" y="1244"/>
                  </a:lnTo>
                  <a:lnTo>
                    <a:pt x="2143" y="1247"/>
                  </a:lnTo>
                  <a:lnTo>
                    <a:pt x="2144" y="1249"/>
                  </a:lnTo>
                  <a:lnTo>
                    <a:pt x="2144" y="1252"/>
                  </a:lnTo>
                  <a:lnTo>
                    <a:pt x="2146" y="1253"/>
                  </a:lnTo>
                  <a:lnTo>
                    <a:pt x="2146" y="1256"/>
                  </a:lnTo>
                  <a:lnTo>
                    <a:pt x="2149" y="1262"/>
                  </a:lnTo>
                  <a:lnTo>
                    <a:pt x="2149" y="1264"/>
                  </a:lnTo>
                  <a:lnTo>
                    <a:pt x="2147" y="1265"/>
                  </a:lnTo>
                  <a:lnTo>
                    <a:pt x="2150" y="1268"/>
                  </a:lnTo>
                  <a:lnTo>
                    <a:pt x="2150" y="1271"/>
                  </a:lnTo>
                  <a:lnTo>
                    <a:pt x="2152" y="1271"/>
                  </a:lnTo>
                  <a:lnTo>
                    <a:pt x="2153" y="1273"/>
                  </a:lnTo>
                  <a:lnTo>
                    <a:pt x="2153" y="1277"/>
                  </a:lnTo>
                  <a:lnTo>
                    <a:pt x="2152" y="1277"/>
                  </a:lnTo>
                  <a:lnTo>
                    <a:pt x="2153" y="1280"/>
                  </a:lnTo>
                  <a:lnTo>
                    <a:pt x="2155" y="1280"/>
                  </a:lnTo>
                  <a:lnTo>
                    <a:pt x="2155" y="1283"/>
                  </a:lnTo>
                  <a:lnTo>
                    <a:pt x="2156" y="1283"/>
                  </a:lnTo>
                  <a:lnTo>
                    <a:pt x="2158" y="1286"/>
                  </a:lnTo>
                  <a:lnTo>
                    <a:pt x="2158" y="1288"/>
                  </a:lnTo>
                  <a:lnTo>
                    <a:pt x="2159" y="1289"/>
                  </a:lnTo>
                  <a:lnTo>
                    <a:pt x="2159" y="1295"/>
                  </a:lnTo>
                  <a:lnTo>
                    <a:pt x="2161" y="1297"/>
                  </a:lnTo>
                  <a:lnTo>
                    <a:pt x="2162" y="1297"/>
                  </a:lnTo>
                  <a:lnTo>
                    <a:pt x="2162" y="1298"/>
                  </a:lnTo>
                  <a:lnTo>
                    <a:pt x="2164" y="1298"/>
                  </a:lnTo>
                  <a:lnTo>
                    <a:pt x="2164" y="1300"/>
                  </a:lnTo>
                  <a:lnTo>
                    <a:pt x="2162" y="1300"/>
                  </a:lnTo>
                  <a:lnTo>
                    <a:pt x="2164" y="1301"/>
                  </a:lnTo>
                  <a:lnTo>
                    <a:pt x="2162" y="1301"/>
                  </a:lnTo>
                  <a:lnTo>
                    <a:pt x="2167" y="1306"/>
                  </a:lnTo>
                  <a:lnTo>
                    <a:pt x="2165" y="1307"/>
                  </a:lnTo>
                  <a:lnTo>
                    <a:pt x="2167" y="1307"/>
                  </a:lnTo>
                  <a:lnTo>
                    <a:pt x="2167" y="1312"/>
                  </a:lnTo>
                  <a:lnTo>
                    <a:pt x="2170" y="1312"/>
                  </a:lnTo>
                  <a:lnTo>
                    <a:pt x="2170" y="1315"/>
                  </a:lnTo>
                  <a:lnTo>
                    <a:pt x="2171" y="1322"/>
                  </a:lnTo>
                  <a:lnTo>
                    <a:pt x="2171" y="1324"/>
                  </a:lnTo>
                  <a:lnTo>
                    <a:pt x="2168" y="1327"/>
                  </a:lnTo>
                  <a:lnTo>
                    <a:pt x="2168" y="1328"/>
                  </a:lnTo>
                  <a:lnTo>
                    <a:pt x="2167" y="1328"/>
                  </a:lnTo>
                  <a:lnTo>
                    <a:pt x="2167" y="1330"/>
                  </a:lnTo>
                  <a:lnTo>
                    <a:pt x="2170" y="1331"/>
                  </a:lnTo>
                  <a:lnTo>
                    <a:pt x="2171" y="1331"/>
                  </a:lnTo>
                  <a:lnTo>
                    <a:pt x="2171" y="1333"/>
                  </a:lnTo>
                  <a:lnTo>
                    <a:pt x="2176" y="1337"/>
                  </a:lnTo>
                  <a:lnTo>
                    <a:pt x="2179" y="1337"/>
                  </a:lnTo>
                  <a:lnTo>
                    <a:pt x="2179" y="1339"/>
                  </a:lnTo>
                  <a:lnTo>
                    <a:pt x="2180" y="1339"/>
                  </a:lnTo>
                  <a:lnTo>
                    <a:pt x="2180" y="1340"/>
                  </a:lnTo>
                  <a:lnTo>
                    <a:pt x="2183" y="1340"/>
                  </a:lnTo>
                  <a:lnTo>
                    <a:pt x="2183" y="1342"/>
                  </a:lnTo>
                  <a:lnTo>
                    <a:pt x="2185" y="1342"/>
                  </a:lnTo>
                  <a:lnTo>
                    <a:pt x="2188" y="1343"/>
                  </a:lnTo>
                  <a:lnTo>
                    <a:pt x="2192" y="1345"/>
                  </a:lnTo>
                  <a:lnTo>
                    <a:pt x="2194" y="1346"/>
                  </a:lnTo>
                  <a:lnTo>
                    <a:pt x="2194" y="1352"/>
                  </a:lnTo>
                  <a:lnTo>
                    <a:pt x="2195" y="1354"/>
                  </a:lnTo>
                  <a:lnTo>
                    <a:pt x="2192" y="1354"/>
                  </a:lnTo>
                  <a:lnTo>
                    <a:pt x="2192" y="1355"/>
                  </a:lnTo>
                  <a:lnTo>
                    <a:pt x="2194" y="1358"/>
                  </a:lnTo>
                  <a:lnTo>
                    <a:pt x="2195" y="1358"/>
                  </a:lnTo>
                  <a:lnTo>
                    <a:pt x="2195" y="1361"/>
                  </a:lnTo>
                  <a:lnTo>
                    <a:pt x="2201" y="1361"/>
                  </a:lnTo>
                  <a:lnTo>
                    <a:pt x="2203" y="1363"/>
                  </a:lnTo>
                  <a:lnTo>
                    <a:pt x="2206" y="1364"/>
                  </a:lnTo>
                  <a:lnTo>
                    <a:pt x="2207" y="1366"/>
                  </a:lnTo>
                  <a:lnTo>
                    <a:pt x="2209" y="1366"/>
                  </a:lnTo>
                  <a:lnTo>
                    <a:pt x="2209" y="1367"/>
                  </a:lnTo>
                  <a:lnTo>
                    <a:pt x="2210" y="1367"/>
                  </a:lnTo>
                  <a:lnTo>
                    <a:pt x="2213" y="1370"/>
                  </a:lnTo>
                  <a:lnTo>
                    <a:pt x="2213" y="1372"/>
                  </a:lnTo>
                  <a:lnTo>
                    <a:pt x="2216" y="1375"/>
                  </a:lnTo>
                  <a:lnTo>
                    <a:pt x="2216" y="1379"/>
                  </a:lnTo>
                  <a:lnTo>
                    <a:pt x="2218" y="1381"/>
                  </a:lnTo>
                  <a:lnTo>
                    <a:pt x="2218" y="1384"/>
                  </a:lnTo>
                  <a:lnTo>
                    <a:pt x="2210" y="1384"/>
                  </a:lnTo>
                  <a:lnTo>
                    <a:pt x="2207" y="1382"/>
                  </a:lnTo>
                  <a:lnTo>
                    <a:pt x="2206" y="1382"/>
                  </a:lnTo>
                  <a:lnTo>
                    <a:pt x="2203" y="1381"/>
                  </a:lnTo>
                  <a:lnTo>
                    <a:pt x="2201" y="1381"/>
                  </a:lnTo>
                  <a:lnTo>
                    <a:pt x="2201" y="1379"/>
                  </a:lnTo>
                  <a:lnTo>
                    <a:pt x="2198" y="1379"/>
                  </a:lnTo>
                  <a:lnTo>
                    <a:pt x="2198" y="1378"/>
                  </a:lnTo>
                  <a:lnTo>
                    <a:pt x="2197" y="1378"/>
                  </a:lnTo>
                  <a:lnTo>
                    <a:pt x="2194" y="1376"/>
                  </a:lnTo>
                  <a:lnTo>
                    <a:pt x="2189" y="1373"/>
                  </a:lnTo>
                  <a:lnTo>
                    <a:pt x="2188" y="1373"/>
                  </a:lnTo>
                  <a:lnTo>
                    <a:pt x="2186" y="1375"/>
                  </a:lnTo>
                  <a:lnTo>
                    <a:pt x="2180" y="1378"/>
                  </a:lnTo>
                  <a:lnTo>
                    <a:pt x="2174" y="1378"/>
                  </a:lnTo>
                  <a:lnTo>
                    <a:pt x="2173" y="1376"/>
                  </a:lnTo>
                  <a:lnTo>
                    <a:pt x="2173" y="1373"/>
                  </a:lnTo>
                  <a:lnTo>
                    <a:pt x="2171" y="1373"/>
                  </a:lnTo>
                  <a:lnTo>
                    <a:pt x="2171" y="1372"/>
                  </a:lnTo>
                  <a:lnTo>
                    <a:pt x="2168" y="1367"/>
                  </a:lnTo>
                  <a:lnTo>
                    <a:pt x="2167" y="1366"/>
                  </a:lnTo>
                  <a:lnTo>
                    <a:pt x="2164" y="1366"/>
                  </a:lnTo>
                  <a:lnTo>
                    <a:pt x="2158" y="1363"/>
                  </a:lnTo>
                  <a:lnTo>
                    <a:pt x="2152" y="1363"/>
                  </a:lnTo>
                  <a:lnTo>
                    <a:pt x="2146" y="1366"/>
                  </a:lnTo>
                  <a:lnTo>
                    <a:pt x="2141" y="1370"/>
                  </a:lnTo>
                  <a:lnTo>
                    <a:pt x="2134" y="1370"/>
                  </a:lnTo>
                  <a:lnTo>
                    <a:pt x="2131" y="1367"/>
                  </a:lnTo>
                  <a:lnTo>
                    <a:pt x="2129" y="1367"/>
                  </a:lnTo>
                  <a:lnTo>
                    <a:pt x="2126" y="1361"/>
                  </a:lnTo>
                  <a:lnTo>
                    <a:pt x="2125" y="1361"/>
                  </a:lnTo>
                  <a:lnTo>
                    <a:pt x="2125" y="1358"/>
                  </a:lnTo>
                  <a:lnTo>
                    <a:pt x="2126" y="1357"/>
                  </a:lnTo>
                  <a:lnTo>
                    <a:pt x="2126" y="1355"/>
                  </a:lnTo>
                  <a:lnTo>
                    <a:pt x="2125" y="1357"/>
                  </a:lnTo>
                  <a:lnTo>
                    <a:pt x="2125" y="1355"/>
                  </a:lnTo>
                  <a:lnTo>
                    <a:pt x="2124" y="1354"/>
                  </a:lnTo>
                  <a:lnTo>
                    <a:pt x="2124" y="1352"/>
                  </a:lnTo>
                  <a:lnTo>
                    <a:pt x="2122" y="1351"/>
                  </a:lnTo>
                  <a:lnTo>
                    <a:pt x="2119" y="1351"/>
                  </a:lnTo>
                  <a:lnTo>
                    <a:pt x="2119" y="1349"/>
                  </a:lnTo>
                  <a:lnTo>
                    <a:pt x="2118" y="1349"/>
                  </a:lnTo>
                  <a:lnTo>
                    <a:pt x="2116" y="1351"/>
                  </a:lnTo>
                  <a:lnTo>
                    <a:pt x="2115" y="1349"/>
                  </a:lnTo>
                  <a:lnTo>
                    <a:pt x="2115" y="1352"/>
                  </a:lnTo>
                  <a:lnTo>
                    <a:pt x="2113" y="1355"/>
                  </a:lnTo>
                  <a:lnTo>
                    <a:pt x="2113" y="1357"/>
                  </a:lnTo>
                  <a:lnTo>
                    <a:pt x="2115" y="1357"/>
                  </a:lnTo>
                  <a:lnTo>
                    <a:pt x="2115" y="1355"/>
                  </a:lnTo>
                  <a:lnTo>
                    <a:pt x="2116" y="1355"/>
                  </a:lnTo>
                  <a:lnTo>
                    <a:pt x="2118" y="1357"/>
                  </a:lnTo>
                  <a:lnTo>
                    <a:pt x="2121" y="1357"/>
                  </a:lnTo>
                  <a:lnTo>
                    <a:pt x="2119" y="1358"/>
                  </a:lnTo>
                  <a:lnTo>
                    <a:pt x="2119" y="1361"/>
                  </a:lnTo>
                  <a:lnTo>
                    <a:pt x="2124" y="1363"/>
                  </a:lnTo>
                  <a:lnTo>
                    <a:pt x="2125" y="1366"/>
                  </a:lnTo>
                  <a:lnTo>
                    <a:pt x="2126" y="1366"/>
                  </a:lnTo>
                  <a:lnTo>
                    <a:pt x="2128" y="1367"/>
                  </a:lnTo>
                  <a:lnTo>
                    <a:pt x="2128" y="1369"/>
                  </a:lnTo>
                  <a:lnTo>
                    <a:pt x="2129" y="1370"/>
                  </a:lnTo>
                  <a:lnTo>
                    <a:pt x="2131" y="1370"/>
                  </a:lnTo>
                  <a:lnTo>
                    <a:pt x="2135" y="1372"/>
                  </a:lnTo>
                  <a:lnTo>
                    <a:pt x="2137" y="1373"/>
                  </a:lnTo>
                  <a:lnTo>
                    <a:pt x="2140" y="1372"/>
                  </a:lnTo>
                  <a:lnTo>
                    <a:pt x="2149" y="1369"/>
                  </a:lnTo>
                  <a:lnTo>
                    <a:pt x="2150" y="1369"/>
                  </a:lnTo>
                  <a:lnTo>
                    <a:pt x="2150" y="1366"/>
                  </a:lnTo>
                  <a:lnTo>
                    <a:pt x="2153" y="1366"/>
                  </a:lnTo>
                  <a:lnTo>
                    <a:pt x="2158" y="1367"/>
                  </a:lnTo>
                  <a:lnTo>
                    <a:pt x="2161" y="1367"/>
                  </a:lnTo>
                  <a:lnTo>
                    <a:pt x="2164" y="1369"/>
                  </a:lnTo>
                  <a:lnTo>
                    <a:pt x="2167" y="1375"/>
                  </a:lnTo>
                  <a:lnTo>
                    <a:pt x="2167" y="1378"/>
                  </a:lnTo>
                  <a:lnTo>
                    <a:pt x="2164" y="1376"/>
                  </a:lnTo>
                  <a:lnTo>
                    <a:pt x="2162" y="1376"/>
                  </a:lnTo>
                  <a:lnTo>
                    <a:pt x="2162" y="1378"/>
                  </a:lnTo>
                  <a:lnTo>
                    <a:pt x="2164" y="1378"/>
                  </a:lnTo>
                  <a:lnTo>
                    <a:pt x="2168" y="1379"/>
                  </a:lnTo>
                  <a:lnTo>
                    <a:pt x="2170" y="1381"/>
                  </a:lnTo>
                  <a:lnTo>
                    <a:pt x="2176" y="1381"/>
                  </a:lnTo>
                  <a:lnTo>
                    <a:pt x="2182" y="1384"/>
                  </a:lnTo>
                  <a:lnTo>
                    <a:pt x="2185" y="1388"/>
                  </a:lnTo>
                  <a:lnTo>
                    <a:pt x="2186" y="1388"/>
                  </a:lnTo>
                  <a:lnTo>
                    <a:pt x="2191" y="1394"/>
                  </a:lnTo>
                  <a:lnTo>
                    <a:pt x="2192" y="1396"/>
                  </a:lnTo>
                  <a:lnTo>
                    <a:pt x="2195" y="1397"/>
                  </a:lnTo>
                  <a:lnTo>
                    <a:pt x="2195" y="1399"/>
                  </a:lnTo>
                  <a:lnTo>
                    <a:pt x="2200" y="1402"/>
                  </a:lnTo>
                  <a:lnTo>
                    <a:pt x="2204" y="1403"/>
                  </a:lnTo>
                  <a:lnTo>
                    <a:pt x="2206" y="1404"/>
                  </a:lnTo>
                  <a:lnTo>
                    <a:pt x="2209" y="1406"/>
                  </a:lnTo>
                  <a:lnTo>
                    <a:pt x="2212" y="1409"/>
                  </a:lnTo>
                  <a:lnTo>
                    <a:pt x="2216" y="1415"/>
                  </a:lnTo>
                  <a:lnTo>
                    <a:pt x="2219" y="1422"/>
                  </a:lnTo>
                  <a:lnTo>
                    <a:pt x="2221" y="1425"/>
                  </a:lnTo>
                  <a:lnTo>
                    <a:pt x="2218" y="1428"/>
                  </a:lnTo>
                  <a:lnTo>
                    <a:pt x="2209" y="1428"/>
                  </a:lnTo>
                  <a:lnTo>
                    <a:pt x="2204" y="1430"/>
                  </a:lnTo>
                  <a:lnTo>
                    <a:pt x="2200" y="1430"/>
                  </a:lnTo>
                  <a:lnTo>
                    <a:pt x="2197" y="1433"/>
                  </a:lnTo>
                  <a:lnTo>
                    <a:pt x="2194" y="1433"/>
                  </a:lnTo>
                  <a:lnTo>
                    <a:pt x="2191" y="1436"/>
                  </a:lnTo>
                  <a:lnTo>
                    <a:pt x="2191" y="1437"/>
                  </a:lnTo>
                  <a:lnTo>
                    <a:pt x="2188" y="1437"/>
                  </a:lnTo>
                  <a:lnTo>
                    <a:pt x="2186" y="1439"/>
                  </a:lnTo>
                  <a:lnTo>
                    <a:pt x="2185" y="1439"/>
                  </a:lnTo>
                  <a:lnTo>
                    <a:pt x="2183" y="1440"/>
                  </a:lnTo>
                  <a:lnTo>
                    <a:pt x="2182" y="1440"/>
                  </a:lnTo>
                  <a:lnTo>
                    <a:pt x="2182" y="1442"/>
                  </a:lnTo>
                  <a:lnTo>
                    <a:pt x="2180" y="1442"/>
                  </a:lnTo>
                  <a:lnTo>
                    <a:pt x="2180" y="1443"/>
                  </a:lnTo>
                  <a:lnTo>
                    <a:pt x="2176" y="1443"/>
                  </a:lnTo>
                  <a:lnTo>
                    <a:pt x="2176" y="1445"/>
                  </a:lnTo>
                  <a:lnTo>
                    <a:pt x="2174" y="1445"/>
                  </a:lnTo>
                  <a:lnTo>
                    <a:pt x="2173" y="1446"/>
                  </a:lnTo>
                  <a:lnTo>
                    <a:pt x="2173" y="1452"/>
                  </a:lnTo>
                  <a:lnTo>
                    <a:pt x="2170" y="1452"/>
                  </a:lnTo>
                  <a:lnTo>
                    <a:pt x="2171" y="1454"/>
                  </a:lnTo>
                  <a:lnTo>
                    <a:pt x="2170" y="1454"/>
                  </a:lnTo>
                  <a:lnTo>
                    <a:pt x="2168" y="1457"/>
                  </a:lnTo>
                  <a:lnTo>
                    <a:pt x="2168" y="1458"/>
                  </a:lnTo>
                  <a:lnTo>
                    <a:pt x="2165" y="1458"/>
                  </a:lnTo>
                  <a:lnTo>
                    <a:pt x="2164" y="1457"/>
                  </a:lnTo>
                  <a:lnTo>
                    <a:pt x="2164" y="1455"/>
                  </a:lnTo>
                  <a:lnTo>
                    <a:pt x="2161" y="1452"/>
                  </a:lnTo>
                  <a:lnTo>
                    <a:pt x="2152" y="1452"/>
                  </a:lnTo>
                  <a:lnTo>
                    <a:pt x="2149" y="1454"/>
                  </a:lnTo>
                  <a:lnTo>
                    <a:pt x="2149" y="1455"/>
                  </a:lnTo>
                  <a:lnTo>
                    <a:pt x="2147" y="1457"/>
                  </a:lnTo>
                  <a:lnTo>
                    <a:pt x="2147" y="1460"/>
                  </a:lnTo>
                  <a:lnTo>
                    <a:pt x="2146" y="1460"/>
                  </a:lnTo>
                  <a:lnTo>
                    <a:pt x="2144" y="1458"/>
                  </a:lnTo>
                  <a:lnTo>
                    <a:pt x="2140" y="1458"/>
                  </a:lnTo>
                  <a:lnTo>
                    <a:pt x="2138" y="1461"/>
                  </a:lnTo>
                  <a:lnTo>
                    <a:pt x="2137" y="1463"/>
                  </a:lnTo>
                  <a:lnTo>
                    <a:pt x="2138" y="1463"/>
                  </a:lnTo>
                  <a:lnTo>
                    <a:pt x="2141" y="1460"/>
                  </a:lnTo>
                  <a:lnTo>
                    <a:pt x="2144" y="1460"/>
                  </a:lnTo>
                  <a:lnTo>
                    <a:pt x="2144" y="1461"/>
                  </a:lnTo>
                  <a:lnTo>
                    <a:pt x="2147" y="1461"/>
                  </a:lnTo>
                  <a:lnTo>
                    <a:pt x="2147" y="1460"/>
                  </a:lnTo>
                  <a:lnTo>
                    <a:pt x="2149" y="1458"/>
                  </a:lnTo>
                  <a:lnTo>
                    <a:pt x="2150" y="1454"/>
                  </a:lnTo>
                  <a:lnTo>
                    <a:pt x="2158" y="1454"/>
                  </a:lnTo>
                  <a:lnTo>
                    <a:pt x="2159" y="1455"/>
                  </a:lnTo>
                  <a:lnTo>
                    <a:pt x="2159" y="1457"/>
                  </a:lnTo>
                  <a:lnTo>
                    <a:pt x="2161" y="1460"/>
                  </a:lnTo>
                  <a:lnTo>
                    <a:pt x="2161" y="1461"/>
                  </a:lnTo>
                  <a:lnTo>
                    <a:pt x="2164" y="1461"/>
                  </a:lnTo>
                  <a:lnTo>
                    <a:pt x="2161" y="1463"/>
                  </a:lnTo>
                  <a:lnTo>
                    <a:pt x="2159" y="1466"/>
                  </a:lnTo>
                  <a:lnTo>
                    <a:pt x="2158" y="1467"/>
                  </a:lnTo>
                  <a:lnTo>
                    <a:pt x="2159" y="1469"/>
                  </a:lnTo>
                  <a:lnTo>
                    <a:pt x="2159" y="1466"/>
                  </a:lnTo>
                  <a:lnTo>
                    <a:pt x="2162" y="1464"/>
                  </a:lnTo>
                  <a:lnTo>
                    <a:pt x="2164" y="1461"/>
                  </a:lnTo>
                  <a:lnTo>
                    <a:pt x="2167" y="1463"/>
                  </a:lnTo>
                  <a:lnTo>
                    <a:pt x="2167" y="1464"/>
                  </a:lnTo>
                  <a:lnTo>
                    <a:pt x="2173" y="1464"/>
                  </a:lnTo>
                  <a:lnTo>
                    <a:pt x="2173" y="1463"/>
                  </a:lnTo>
                  <a:lnTo>
                    <a:pt x="2176" y="1463"/>
                  </a:lnTo>
                  <a:lnTo>
                    <a:pt x="2180" y="1458"/>
                  </a:lnTo>
                  <a:lnTo>
                    <a:pt x="2182" y="1458"/>
                  </a:lnTo>
                  <a:lnTo>
                    <a:pt x="2182" y="1457"/>
                  </a:lnTo>
                  <a:lnTo>
                    <a:pt x="2183" y="1455"/>
                  </a:lnTo>
                  <a:lnTo>
                    <a:pt x="2189" y="1455"/>
                  </a:lnTo>
                  <a:lnTo>
                    <a:pt x="2195" y="1458"/>
                  </a:lnTo>
                  <a:lnTo>
                    <a:pt x="2198" y="1463"/>
                  </a:lnTo>
                  <a:lnTo>
                    <a:pt x="2203" y="1467"/>
                  </a:lnTo>
                  <a:lnTo>
                    <a:pt x="2204" y="1470"/>
                  </a:lnTo>
                  <a:lnTo>
                    <a:pt x="2204" y="1472"/>
                  </a:lnTo>
                  <a:lnTo>
                    <a:pt x="2207" y="1475"/>
                  </a:lnTo>
                  <a:lnTo>
                    <a:pt x="2209" y="1475"/>
                  </a:lnTo>
                  <a:lnTo>
                    <a:pt x="2209" y="1476"/>
                  </a:lnTo>
                  <a:lnTo>
                    <a:pt x="2210" y="1475"/>
                  </a:lnTo>
                  <a:lnTo>
                    <a:pt x="2212" y="1476"/>
                  </a:lnTo>
                  <a:lnTo>
                    <a:pt x="2215" y="1476"/>
                  </a:lnTo>
                  <a:lnTo>
                    <a:pt x="2215" y="1478"/>
                  </a:lnTo>
                  <a:lnTo>
                    <a:pt x="2218" y="1478"/>
                  </a:lnTo>
                  <a:lnTo>
                    <a:pt x="2218" y="1479"/>
                  </a:lnTo>
                  <a:lnTo>
                    <a:pt x="2219" y="1479"/>
                  </a:lnTo>
                  <a:lnTo>
                    <a:pt x="2218" y="1478"/>
                  </a:lnTo>
                  <a:lnTo>
                    <a:pt x="2219" y="1478"/>
                  </a:lnTo>
                  <a:lnTo>
                    <a:pt x="2219" y="1476"/>
                  </a:lnTo>
                  <a:lnTo>
                    <a:pt x="2221" y="1476"/>
                  </a:lnTo>
                  <a:lnTo>
                    <a:pt x="2221" y="1479"/>
                  </a:lnTo>
                  <a:lnTo>
                    <a:pt x="2228" y="1479"/>
                  </a:lnTo>
                  <a:lnTo>
                    <a:pt x="2227" y="1481"/>
                  </a:lnTo>
                  <a:lnTo>
                    <a:pt x="2224" y="1482"/>
                  </a:lnTo>
                  <a:lnTo>
                    <a:pt x="2222" y="1482"/>
                  </a:lnTo>
                  <a:lnTo>
                    <a:pt x="2221" y="1484"/>
                  </a:lnTo>
                  <a:lnTo>
                    <a:pt x="2219" y="1484"/>
                  </a:lnTo>
                  <a:lnTo>
                    <a:pt x="2216" y="1487"/>
                  </a:lnTo>
                  <a:lnTo>
                    <a:pt x="2215" y="1487"/>
                  </a:lnTo>
                  <a:lnTo>
                    <a:pt x="2215" y="1490"/>
                  </a:lnTo>
                  <a:lnTo>
                    <a:pt x="2213" y="1490"/>
                  </a:lnTo>
                  <a:lnTo>
                    <a:pt x="2212" y="1493"/>
                  </a:lnTo>
                  <a:lnTo>
                    <a:pt x="2209" y="1496"/>
                  </a:lnTo>
                  <a:lnTo>
                    <a:pt x="2207" y="1496"/>
                  </a:lnTo>
                  <a:lnTo>
                    <a:pt x="2207" y="1497"/>
                  </a:lnTo>
                  <a:lnTo>
                    <a:pt x="2201" y="1497"/>
                  </a:lnTo>
                  <a:lnTo>
                    <a:pt x="2200" y="1500"/>
                  </a:lnTo>
                  <a:lnTo>
                    <a:pt x="2200" y="1497"/>
                  </a:lnTo>
                  <a:lnTo>
                    <a:pt x="2198" y="1497"/>
                  </a:lnTo>
                  <a:lnTo>
                    <a:pt x="2197" y="1499"/>
                  </a:lnTo>
                  <a:lnTo>
                    <a:pt x="2195" y="1499"/>
                  </a:lnTo>
                  <a:lnTo>
                    <a:pt x="2197" y="1500"/>
                  </a:lnTo>
                  <a:lnTo>
                    <a:pt x="2195" y="1502"/>
                  </a:lnTo>
                  <a:lnTo>
                    <a:pt x="2195" y="1505"/>
                  </a:lnTo>
                  <a:lnTo>
                    <a:pt x="2197" y="1505"/>
                  </a:lnTo>
                  <a:lnTo>
                    <a:pt x="2198" y="1506"/>
                  </a:lnTo>
                  <a:lnTo>
                    <a:pt x="2201" y="1503"/>
                  </a:lnTo>
                  <a:lnTo>
                    <a:pt x="2201" y="1502"/>
                  </a:lnTo>
                  <a:lnTo>
                    <a:pt x="2203" y="1502"/>
                  </a:lnTo>
                  <a:lnTo>
                    <a:pt x="2204" y="1500"/>
                  </a:lnTo>
                  <a:lnTo>
                    <a:pt x="2206" y="1500"/>
                  </a:lnTo>
                  <a:lnTo>
                    <a:pt x="2206" y="1499"/>
                  </a:lnTo>
                  <a:lnTo>
                    <a:pt x="2210" y="1499"/>
                  </a:lnTo>
                  <a:lnTo>
                    <a:pt x="2210" y="1502"/>
                  </a:lnTo>
                  <a:lnTo>
                    <a:pt x="2212" y="1502"/>
                  </a:lnTo>
                  <a:lnTo>
                    <a:pt x="2213" y="1500"/>
                  </a:lnTo>
                  <a:lnTo>
                    <a:pt x="2213" y="1499"/>
                  </a:lnTo>
                  <a:lnTo>
                    <a:pt x="2215" y="1499"/>
                  </a:lnTo>
                  <a:lnTo>
                    <a:pt x="2213" y="1497"/>
                  </a:lnTo>
                  <a:lnTo>
                    <a:pt x="2210" y="1497"/>
                  </a:lnTo>
                  <a:lnTo>
                    <a:pt x="2210" y="1496"/>
                  </a:lnTo>
                  <a:lnTo>
                    <a:pt x="2212" y="1494"/>
                  </a:lnTo>
                  <a:lnTo>
                    <a:pt x="2216" y="1494"/>
                  </a:lnTo>
                  <a:lnTo>
                    <a:pt x="2216" y="1493"/>
                  </a:lnTo>
                  <a:lnTo>
                    <a:pt x="2218" y="1493"/>
                  </a:lnTo>
                  <a:lnTo>
                    <a:pt x="2219" y="1494"/>
                  </a:lnTo>
                  <a:lnTo>
                    <a:pt x="2219" y="1499"/>
                  </a:lnTo>
                  <a:lnTo>
                    <a:pt x="2218" y="1499"/>
                  </a:lnTo>
                  <a:lnTo>
                    <a:pt x="2218" y="1500"/>
                  </a:lnTo>
                  <a:lnTo>
                    <a:pt x="2219" y="1500"/>
                  </a:lnTo>
                  <a:lnTo>
                    <a:pt x="2219" y="1505"/>
                  </a:lnTo>
                  <a:lnTo>
                    <a:pt x="2218" y="1505"/>
                  </a:lnTo>
                  <a:lnTo>
                    <a:pt x="2218" y="1511"/>
                  </a:lnTo>
                  <a:lnTo>
                    <a:pt x="2216" y="1511"/>
                  </a:lnTo>
                  <a:lnTo>
                    <a:pt x="2216" y="1512"/>
                  </a:lnTo>
                  <a:lnTo>
                    <a:pt x="2221" y="1512"/>
                  </a:lnTo>
                  <a:lnTo>
                    <a:pt x="2219" y="1514"/>
                  </a:lnTo>
                  <a:lnTo>
                    <a:pt x="2219" y="1517"/>
                  </a:lnTo>
                  <a:lnTo>
                    <a:pt x="2216" y="1517"/>
                  </a:lnTo>
                  <a:lnTo>
                    <a:pt x="2213" y="1518"/>
                  </a:lnTo>
                  <a:lnTo>
                    <a:pt x="2212" y="1518"/>
                  </a:lnTo>
                  <a:lnTo>
                    <a:pt x="2212" y="1511"/>
                  </a:lnTo>
                  <a:lnTo>
                    <a:pt x="2213" y="1511"/>
                  </a:lnTo>
                  <a:lnTo>
                    <a:pt x="2213" y="1509"/>
                  </a:lnTo>
                  <a:lnTo>
                    <a:pt x="2212" y="1509"/>
                  </a:lnTo>
                  <a:lnTo>
                    <a:pt x="2212" y="1506"/>
                  </a:lnTo>
                  <a:lnTo>
                    <a:pt x="2210" y="1508"/>
                  </a:lnTo>
                  <a:lnTo>
                    <a:pt x="2210" y="1509"/>
                  </a:lnTo>
                  <a:lnTo>
                    <a:pt x="2212" y="1511"/>
                  </a:lnTo>
                  <a:lnTo>
                    <a:pt x="2210" y="1514"/>
                  </a:lnTo>
                  <a:lnTo>
                    <a:pt x="2210" y="1515"/>
                  </a:lnTo>
                  <a:lnTo>
                    <a:pt x="2209" y="1517"/>
                  </a:lnTo>
                  <a:lnTo>
                    <a:pt x="2206" y="1517"/>
                  </a:lnTo>
                  <a:lnTo>
                    <a:pt x="2204" y="1515"/>
                  </a:lnTo>
                  <a:lnTo>
                    <a:pt x="2203" y="1515"/>
                  </a:lnTo>
                  <a:lnTo>
                    <a:pt x="2203" y="1511"/>
                  </a:lnTo>
                  <a:lnTo>
                    <a:pt x="2201" y="1511"/>
                  </a:lnTo>
                  <a:lnTo>
                    <a:pt x="2201" y="1512"/>
                  </a:lnTo>
                  <a:lnTo>
                    <a:pt x="2200" y="1512"/>
                  </a:lnTo>
                  <a:lnTo>
                    <a:pt x="2200" y="1515"/>
                  </a:lnTo>
                  <a:lnTo>
                    <a:pt x="2198" y="1515"/>
                  </a:lnTo>
                  <a:lnTo>
                    <a:pt x="2198" y="1517"/>
                  </a:lnTo>
                  <a:lnTo>
                    <a:pt x="2197" y="1517"/>
                  </a:lnTo>
                  <a:lnTo>
                    <a:pt x="2197" y="1518"/>
                  </a:lnTo>
                  <a:lnTo>
                    <a:pt x="2195" y="1517"/>
                  </a:lnTo>
                  <a:lnTo>
                    <a:pt x="2194" y="1518"/>
                  </a:lnTo>
                  <a:lnTo>
                    <a:pt x="2195" y="1518"/>
                  </a:lnTo>
                  <a:lnTo>
                    <a:pt x="2195" y="1520"/>
                  </a:lnTo>
                  <a:lnTo>
                    <a:pt x="2194" y="1520"/>
                  </a:lnTo>
                  <a:lnTo>
                    <a:pt x="2194" y="1521"/>
                  </a:lnTo>
                  <a:lnTo>
                    <a:pt x="2198" y="1521"/>
                  </a:lnTo>
                  <a:lnTo>
                    <a:pt x="2200" y="1520"/>
                  </a:lnTo>
                  <a:lnTo>
                    <a:pt x="2204" y="1521"/>
                  </a:lnTo>
                  <a:lnTo>
                    <a:pt x="2204" y="1523"/>
                  </a:lnTo>
                  <a:lnTo>
                    <a:pt x="2203" y="1524"/>
                  </a:lnTo>
                  <a:lnTo>
                    <a:pt x="2201" y="1523"/>
                  </a:lnTo>
                  <a:lnTo>
                    <a:pt x="2200" y="1523"/>
                  </a:lnTo>
                  <a:lnTo>
                    <a:pt x="2200" y="1526"/>
                  </a:lnTo>
                  <a:lnTo>
                    <a:pt x="2201" y="1526"/>
                  </a:lnTo>
                  <a:lnTo>
                    <a:pt x="2201" y="1524"/>
                  </a:lnTo>
                  <a:lnTo>
                    <a:pt x="2204" y="1524"/>
                  </a:lnTo>
                  <a:lnTo>
                    <a:pt x="2207" y="1526"/>
                  </a:lnTo>
                  <a:lnTo>
                    <a:pt x="2206" y="1526"/>
                  </a:lnTo>
                  <a:lnTo>
                    <a:pt x="2206" y="1529"/>
                  </a:lnTo>
                  <a:lnTo>
                    <a:pt x="2209" y="1529"/>
                  </a:lnTo>
                  <a:lnTo>
                    <a:pt x="2207" y="1530"/>
                  </a:lnTo>
                  <a:lnTo>
                    <a:pt x="2204" y="1530"/>
                  </a:lnTo>
                  <a:lnTo>
                    <a:pt x="2203" y="1529"/>
                  </a:lnTo>
                  <a:lnTo>
                    <a:pt x="2203" y="1530"/>
                  </a:lnTo>
                  <a:lnTo>
                    <a:pt x="2201" y="1530"/>
                  </a:lnTo>
                  <a:lnTo>
                    <a:pt x="2200" y="1529"/>
                  </a:lnTo>
                  <a:lnTo>
                    <a:pt x="2198" y="1529"/>
                  </a:lnTo>
                  <a:lnTo>
                    <a:pt x="2198" y="1530"/>
                  </a:lnTo>
                  <a:lnTo>
                    <a:pt x="2200" y="1532"/>
                  </a:lnTo>
                  <a:lnTo>
                    <a:pt x="2203" y="1532"/>
                  </a:lnTo>
                  <a:lnTo>
                    <a:pt x="2204" y="1533"/>
                  </a:lnTo>
                  <a:lnTo>
                    <a:pt x="2204" y="1535"/>
                  </a:lnTo>
                  <a:lnTo>
                    <a:pt x="2206" y="1535"/>
                  </a:lnTo>
                  <a:lnTo>
                    <a:pt x="2206" y="1536"/>
                  </a:lnTo>
                  <a:lnTo>
                    <a:pt x="2204" y="1536"/>
                  </a:lnTo>
                  <a:lnTo>
                    <a:pt x="2204" y="1541"/>
                  </a:lnTo>
                  <a:lnTo>
                    <a:pt x="2203" y="1541"/>
                  </a:lnTo>
                  <a:lnTo>
                    <a:pt x="2198" y="1542"/>
                  </a:lnTo>
                  <a:lnTo>
                    <a:pt x="2197" y="1542"/>
                  </a:lnTo>
                  <a:lnTo>
                    <a:pt x="2198" y="1544"/>
                  </a:lnTo>
                  <a:lnTo>
                    <a:pt x="2200" y="1547"/>
                  </a:lnTo>
                  <a:lnTo>
                    <a:pt x="2200" y="1548"/>
                  </a:lnTo>
                  <a:lnTo>
                    <a:pt x="2201" y="1550"/>
                  </a:lnTo>
                  <a:lnTo>
                    <a:pt x="2201" y="1551"/>
                  </a:lnTo>
                  <a:lnTo>
                    <a:pt x="2203" y="1553"/>
                  </a:lnTo>
                  <a:lnTo>
                    <a:pt x="2203" y="1557"/>
                  </a:lnTo>
                  <a:lnTo>
                    <a:pt x="2204" y="1557"/>
                  </a:lnTo>
                  <a:lnTo>
                    <a:pt x="2204" y="1560"/>
                  </a:lnTo>
                  <a:lnTo>
                    <a:pt x="2206" y="1560"/>
                  </a:lnTo>
                  <a:lnTo>
                    <a:pt x="2204" y="1562"/>
                  </a:lnTo>
                  <a:lnTo>
                    <a:pt x="2204" y="1563"/>
                  </a:lnTo>
                  <a:lnTo>
                    <a:pt x="2203" y="1565"/>
                  </a:lnTo>
                  <a:lnTo>
                    <a:pt x="2201" y="1565"/>
                  </a:lnTo>
                  <a:lnTo>
                    <a:pt x="2203" y="1563"/>
                  </a:lnTo>
                  <a:lnTo>
                    <a:pt x="2201" y="1563"/>
                  </a:lnTo>
                  <a:lnTo>
                    <a:pt x="2200" y="1562"/>
                  </a:lnTo>
                  <a:lnTo>
                    <a:pt x="2195" y="1562"/>
                  </a:lnTo>
                  <a:lnTo>
                    <a:pt x="2195" y="1563"/>
                  </a:lnTo>
                  <a:lnTo>
                    <a:pt x="2194" y="1563"/>
                  </a:lnTo>
                  <a:lnTo>
                    <a:pt x="2194" y="1566"/>
                  </a:lnTo>
                  <a:lnTo>
                    <a:pt x="2192" y="1566"/>
                  </a:lnTo>
                  <a:lnTo>
                    <a:pt x="2192" y="1571"/>
                  </a:lnTo>
                  <a:lnTo>
                    <a:pt x="2191" y="1571"/>
                  </a:lnTo>
                  <a:lnTo>
                    <a:pt x="2188" y="1568"/>
                  </a:lnTo>
                  <a:lnTo>
                    <a:pt x="2188" y="1566"/>
                  </a:lnTo>
                  <a:lnTo>
                    <a:pt x="2186" y="1566"/>
                  </a:lnTo>
                  <a:lnTo>
                    <a:pt x="2186" y="1563"/>
                  </a:lnTo>
                  <a:lnTo>
                    <a:pt x="2185" y="1562"/>
                  </a:lnTo>
                  <a:lnTo>
                    <a:pt x="2185" y="1560"/>
                  </a:lnTo>
                  <a:lnTo>
                    <a:pt x="2183" y="1559"/>
                  </a:lnTo>
                  <a:lnTo>
                    <a:pt x="2183" y="1560"/>
                  </a:lnTo>
                  <a:lnTo>
                    <a:pt x="2182" y="1560"/>
                  </a:lnTo>
                  <a:lnTo>
                    <a:pt x="2182" y="1563"/>
                  </a:lnTo>
                  <a:lnTo>
                    <a:pt x="2179" y="1563"/>
                  </a:lnTo>
                  <a:lnTo>
                    <a:pt x="2179" y="1562"/>
                  </a:lnTo>
                  <a:lnTo>
                    <a:pt x="2177" y="1563"/>
                  </a:lnTo>
                  <a:lnTo>
                    <a:pt x="2177" y="1565"/>
                  </a:lnTo>
                  <a:lnTo>
                    <a:pt x="2179" y="1565"/>
                  </a:lnTo>
                  <a:lnTo>
                    <a:pt x="2180" y="1563"/>
                  </a:lnTo>
                  <a:lnTo>
                    <a:pt x="2182" y="1565"/>
                  </a:lnTo>
                  <a:lnTo>
                    <a:pt x="2182" y="1566"/>
                  </a:lnTo>
                  <a:lnTo>
                    <a:pt x="2180" y="1568"/>
                  </a:lnTo>
                  <a:lnTo>
                    <a:pt x="2180" y="1569"/>
                  </a:lnTo>
                  <a:lnTo>
                    <a:pt x="2179" y="1569"/>
                  </a:lnTo>
                  <a:lnTo>
                    <a:pt x="2177" y="1571"/>
                  </a:lnTo>
                  <a:lnTo>
                    <a:pt x="2177" y="1572"/>
                  </a:lnTo>
                  <a:lnTo>
                    <a:pt x="2176" y="1574"/>
                  </a:lnTo>
                  <a:lnTo>
                    <a:pt x="2176" y="1575"/>
                  </a:lnTo>
                  <a:lnTo>
                    <a:pt x="2174" y="1577"/>
                  </a:lnTo>
                  <a:lnTo>
                    <a:pt x="2174" y="1580"/>
                  </a:lnTo>
                  <a:lnTo>
                    <a:pt x="2171" y="1580"/>
                  </a:lnTo>
                  <a:lnTo>
                    <a:pt x="2171" y="1578"/>
                  </a:lnTo>
                  <a:lnTo>
                    <a:pt x="2168" y="1578"/>
                  </a:lnTo>
                  <a:lnTo>
                    <a:pt x="2167" y="1580"/>
                  </a:lnTo>
                  <a:lnTo>
                    <a:pt x="2167" y="1578"/>
                  </a:lnTo>
                  <a:lnTo>
                    <a:pt x="2164" y="1578"/>
                  </a:lnTo>
                  <a:lnTo>
                    <a:pt x="2164" y="1577"/>
                  </a:lnTo>
                  <a:lnTo>
                    <a:pt x="2161" y="1577"/>
                  </a:lnTo>
                  <a:lnTo>
                    <a:pt x="2164" y="1580"/>
                  </a:lnTo>
                  <a:lnTo>
                    <a:pt x="2168" y="1581"/>
                  </a:lnTo>
                  <a:lnTo>
                    <a:pt x="2170" y="1583"/>
                  </a:lnTo>
                  <a:lnTo>
                    <a:pt x="2168" y="1584"/>
                  </a:lnTo>
                  <a:lnTo>
                    <a:pt x="2170" y="1584"/>
                  </a:lnTo>
                  <a:lnTo>
                    <a:pt x="2168" y="1586"/>
                  </a:lnTo>
                  <a:lnTo>
                    <a:pt x="2167" y="1586"/>
                  </a:lnTo>
                  <a:lnTo>
                    <a:pt x="2167" y="1587"/>
                  </a:lnTo>
                  <a:lnTo>
                    <a:pt x="2165" y="1589"/>
                  </a:lnTo>
                  <a:lnTo>
                    <a:pt x="2165" y="1590"/>
                  </a:lnTo>
                  <a:lnTo>
                    <a:pt x="2162" y="1593"/>
                  </a:lnTo>
                  <a:lnTo>
                    <a:pt x="2161" y="1593"/>
                  </a:lnTo>
                  <a:lnTo>
                    <a:pt x="2161" y="1595"/>
                  </a:lnTo>
                  <a:lnTo>
                    <a:pt x="2159" y="1596"/>
                  </a:lnTo>
                  <a:lnTo>
                    <a:pt x="2161" y="1596"/>
                  </a:lnTo>
                  <a:lnTo>
                    <a:pt x="2159" y="1598"/>
                  </a:lnTo>
                  <a:lnTo>
                    <a:pt x="2159" y="1599"/>
                  </a:lnTo>
                  <a:lnTo>
                    <a:pt x="2158" y="1599"/>
                  </a:lnTo>
                  <a:lnTo>
                    <a:pt x="2158" y="1601"/>
                  </a:lnTo>
                  <a:lnTo>
                    <a:pt x="2156" y="1601"/>
                  </a:lnTo>
                  <a:lnTo>
                    <a:pt x="2158" y="1602"/>
                  </a:lnTo>
                  <a:lnTo>
                    <a:pt x="2158" y="1604"/>
                  </a:lnTo>
                  <a:lnTo>
                    <a:pt x="2159" y="1604"/>
                  </a:lnTo>
                  <a:lnTo>
                    <a:pt x="2161" y="1605"/>
                  </a:lnTo>
                  <a:lnTo>
                    <a:pt x="2161" y="1607"/>
                  </a:lnTo>
                  <a:lnTo>
                    <a:pt x="2159" y="1607"/>
                  </a:lnTo>
                  <a:lnTo>
                    <a:pt x="2159" y="1611"/>
                  </a:lnTo>
                  <a:lnTo>
                    <a:pt x="2158" y="1611"/>
                  </a:lnTo>
                  <a:lnTo>
                    <a:pt x="2155" y="1610"/>
                  </a:lnTo>
                  <a:lnTo>
                    <a:pt x="2155" y="1611"/>
                  </a:lnTo>
                  <a:lnTo>
                    <a:pt x="2153" y="1613"/>
                  </a:lnTo>
                  <a:lnTo>
                    <a:pt x="2155" y="1613"/>
                  </a:lnTo>
                  <a:lnTo>
                    <a:pt x="2155" y="1616"/>
                  </a:lnTo>
                  <a:lnTo>
                    <a:pt x="2153" y="1616"/>
                  </a:lnTo>
                  <a:lnTo>
                    <a:pt x="2153" y="1620"/>
                  </a:lnTo>
                  <a:lnTo>
                    <a:pt x="2150" y="1620"/>
                  </a:lnTo>
                  <a:lnTo>
                    <a:pt x="2150" y="1619"/>
                  </a:lnTo>
                  <a:lnTo>
                    <a:pt x="2149" y="1619"/>
                  </a:lnTo>
                  <a:lnTo>
                    <a:pt x="2149" y="1622"/>
                  </a:lnTo>
                  <a:lnTo>
                    <a:pt x="2147" y="1620"/>
                  </a:lnTo>
                  <a:lnTo>
                    <a:pt x="2147" y="1619"/>
                  </a:lnTo>
                  <a:lnTo>
                    <a:pt x="2146" y="1617"/>
                  </a:lnTo>
                  <a:lnTo>
                    <a:pt x="2143" y="1617"/>
                  </a:lnTo>
                  <a:lnTo>
                    <a:pt x="2143" y="1614"/>
                  </a:lnTo>
                  <a:lnTo>
                    <a:pt x="2140" y="1614"/>
                  </a:lnTo>
                  <a:lnTo>
                    <a:pt x="2140" y="1616"/>
                  </a:lnTo>
                  <a:lnTo>
                    <a:pt x="2138" y="1614"/>
                  </a:lnTo>
                  <a:lnTo>
                    <a:pt x="2138" y="1617"/>
                  </a:lnTo>
                  <a:lnTo>
                    <a:pt x="2137" y="1617"/>
                  </a:lnTo>
                  <a:lnTo>
                    <a:pt x="2137" y="1619"/>
                  </a:lnTo>
                  <a:lnTo>
                    <a:pt x="2138" y="1619"/>
                  </a:lnTo>
                  <a:lnTo>
                    <a:pt x="2140" y="1617"/>
                  </a:lnTo>
                  <a:lnTo>
                    <a:pt x="2141" y="1617"/>
                  </a:lnTo>
                  <a:lnTo>
                    <a:pt x="2143" y="1619"/>
                  </a:lnTo>
                  <a:lnTo>
                    <a:pt x="2146" y="1619"/>
                  </a:lnTo>
                  <a:lnTo>
                    <a:pt x="2146" y="1620"/>
                  </a:lnTo>
                  <a:lnTo>
                    <a:pt x="2147" y="1620"/>
                  </a:lnTo>
                  <a:lnTo>
                    <a:pt x="2147" y="1622"/>
                  </a:lnTo>
                  <a:lnTo>
                    <a:pt x="2146" y="1623"/>
                  </a:lnTo>
                  <a:lnTo>
                    <a:pt x="2147" y="1625"/>
                  </a:lnTo>
                  <a:lnTo>
                    <a:pt x="2141" y="1625"/>
                  </a:lnTo>
                  <a:lnTo>
                    <a:pt x="2143" y="1626"/>
                  </a:lnTo>
                  <a:lnTo>
                    <a:pt x="2141" y="1628"/>
                  </a:lnTo>
                  <a:lnTo>
                    <a:pt x="2141" y="1626"/>
                  </a:lnTo>
                  <a:lnTo>
                    <a:pt x="2140" y="1628"/>
                  </a:lnTo>
                  <a:lnTo>
                    <a:pt x="2141" y="1629"/>
                  </a:lnTo>
                  <a:lnTo>
                    <a:pt x="2141" y="1631"/>
                  </a:lnTo>
                  <a:lnTo>
                    <a:pt x="2140" y="1631"/>
                  </a:lnTo>
                  <a:lnTo>
                    <a:pt x="2140" y="1635"/>
                  </a:lnTo>
                  <a:lnTo>
                    <a:pt x="2138" y="1635"/>
                  </a:lnTo>
                  <a:lnTo>
                    <a:pt x="2137" y="1634"/>
                  </a:lnTo>
                  <a:lnTo>
                    <a:pt x="2134" y="1634"/>
                  </a:lnTo>
                  <a:lnTo>
                    <a:pt x="2135" y="1635"/>
                  </a:lnTo>
                  <a:lnTo>
                    <a:pt x="2134" y="1635"/>
                  </a:lnTo>
                  <a:lnTo>
                    <a:pt x="2134" y="1637"/>
                  </a:lnTo>
                  <a:lnTo>
                    <a:pt x="2132" y="1635"/>
                  </a:lnTo>
                  <a:lnTo>
                    <a:pt x="2131" y="1637"/>
                  </a:lnTo>
                  <a:lnTo>
                    <a:pt x="2131" y="1640"/>
                  </a:lnTo>
                  <a:lnTo>
                    <a:pt x="2132" y="1640"/>
                  </a:lnTo>
                  <a:lnTo>
                    <a:pt x="2129" y="1641"/>
                  </a:lnTo>
                  <a:lnTo>
                    <a:pt x="2126" y="1641"/>
                  </a:lnTo>
                  <a:lnTo>
                    <a:pt x="2126" y="1644"/>
                  </a:lnTo>
                  <a:lnTo>
                    <a:pt x="2125" y="1646"/>
                  </a:lnTo>
                  <a:lnTo>
                    <a:pt x="2125" y="1647"/>
                  </a:lnTo>
                  <a:lnTo>
                    <a:pt x="2124" y="1647"/>
                  </a:lnTo>
                  <a:lnTo>
                    <a:pt x="2124" y="1646"/>
                  </a:lnTo>
                  <a:lnTo>
                    <a:pt x="2122" y="1646"/>
                  </a:lnTo>
                  <a:lnTo>
                    <a:pt x="2122" y="1644"/>
                  </a:lnTo>
                  <a:lnTo>
                    <a:pt x="2121" y="1644"/>
                  </a:lnTo>
                  <a:lnTo>
                    <a:pt x="2121" y="1640"/>
                  </a:lnTo>
                  <a:lnTo>
                    <a:pt x="2122" y="1638"/>
                  </a:lnTo>
                  <a:lnTo>
                    <a:pt x="2119" y="1638"/>
                  </a:lnTo>
                  <a:lnTo>
                    <a:pt x="2119" y="1644"/>
                  </a:lnTo>
                  <a:lnTo>
                    <a:pt x="2118" y="1644"/>
                  </a:lnTo>
                  <a:lnTo>
                    <a:pt x="2118" y="1641"/>
                  </a:lnTo>
                  <a:lnTo>
                    <a:pt x="2116" y="1640"/>
                  </a:lnTo>
                  <a:lnTo>
                    <a:pt x="2115" y="1640"/>
                  </a:lnTo>
                  <a:lnTo>
                    <a:pt x="2115" y="1643"/>
                  </a:lnTo>
                  <a:lnTo>
                    <a:pt x="2112" y="1643"/>
                  </a:lnTo>
                  <a:lnTo>
                    <a:pt x="2112" y="1641"/>
                  </a:lnTo>
                  <a:lnTo>
                    <a:pt x="2110" y="1641"/>
                  </a:lnTo>
                  <a:lnTo>
                    <a:pt x="2110" y="1643"/>
                  </a:lnTo>
                  <a:lnTo>
                    <a:pt x="2109" y="1643"/>
                  </a:lnTo>
                  <a:lnTo>
                    <a:pt x="2109" y="1646"/>
                  </a:lnTo>
                  <a:lnTo>
                    <a:pt x="2112" y="1646"/>
                  </a:lnTo>
                  <a:lnTo>
                    <a:pt x="2112" y="1649"/>
                  </a:lnTo>
                  <a:lnTo>
                    <a:pt x="2110" y="1647"/>
                  </a:lnTo>
                  <a:lnTo>
                    <a:pt x="2109" y="1647"/>
                  </a:lnTo>
                  <a:lnTo>
                    <a:pt x="2109" y="1650"/>
                  </a:lnTo>
                  <a:lnTo>
                    <a:pt x="2112" y="1652"/>
                  </a:lnTo>
                  <a:lnTo>
                    <a:pt x="2113" y="1650"/>
                  </a:lnTo>
                  <a:lnTo>
                    <a:pt x="2118" y="1650"/>
                  </a:lnTo>
                  <a:lnTo>
                    <a:pt x="2118" y="1652"/>
                  </a:lnTo>
                  <a:lnTo>
                    <a:pt x="2119" y="1652"/>
                  </a:lnTo>
                  <a:lnTo>
                    <a:pt x="2119" y="1655"/>
                  </a:lnTo>
                  <a:lnTo>
                    <a:pt x="2121" y="1655"/>
                  </a:lnTo>
                  <a:lnTo>
                    <a:pt x="2121" y="1661"/>
                  </a:lnTo>
                  <a:lnTo>
                    <a:pt x="2122" y="1659"/>
                  </a:lnTo>
                  <a:lnTo>
                    <a:pt x="2122" y="1662"/>
                  </a:lnTo>
                  <a:lnTo>
                    <a:pt x="2124" y="1662"/>
                  </a:lnTo>
                  <a:lnTo>
                    <a:pt x="2125" y="1664"/>
                  </a:lnTo>
                  <a:lnTo>
                    <a:pt x="2125" y="1662"/>
                  </a:lnTo>
                  <a:lnTo>
                    <a:pt x="2126" y="1662"/>
                  </a:lnTo>
                  <a:lnTo>
                    <a:pt x="2125" y="1665"/>
                  </a:lnTo>
                  <a:lnTo>
                    <a:pt x="2121" y="1665"/>
                  </a:lnTo>
                  <a:lnTo>
                    <a:pt x="2119" y="1666"/>
                  </a:lnTo>
                  <a:lnTo>
                    <a:pt x="2113" y="1666"/>
                  </a:lnTo>
                  <a:lnTo>
                    <a:pt x="2113" y="1668"/>
                  </a:lnTo>
                  <a:lnTo>
                    <a:pt x="2115" y="1668"/>
                  </a:lnTo>
                  <a:lnTo>
                    <a:pt x="2115" y="1669"/>
                  </a:lnTo>
                  <a:lnTo>
                    <a:pt x="2113" y="1669"/>
                  </a:lnTo>
                  <a:lnTo>
                    <a:pt x="2113" y="1671"/>
                  </a:lnTo>
                  <a:lnTo>
                    <a:pt x="2112" y="1671"/>
                  </a:lnTo>
                  <a:lnTo>
                    <a:pt x="2112" y="1672"/>
                  </a:lnTo>
                  <a:lnTo>
                    <a:pt x="2110" y="1672"/>
                  </a:lnTo>
                  <a:lnTo>
                    <a:pt x="2112" y="1674"/>
                  </a:lnTo>
                  <a:lnTo>
                    <a:pt x="2110" y="1674"/>
                  </a:lnTo>
                  <a:lnTo>
                    <a:pt x="2109" y="1675"/>
                  </a:lnTo>
                  <a:lnTo>
                    <a:pt x="2107" y="1678"/>
                  </a:lnTo>
                  <a:lnTo>
                    <a:pt x="2106" y="1680"/>
                  </a:lnTo>
                  <a:lnTo>
                    <a:pt x="2106" y="1681"/>
                  </a:lnTo>
                  <a:lnTo>
                    <a:pt x="2103" y="1681"/>
                  </a:lnTo>
                  <a:lnTo>
                    <a:pt x="2103" y="1680"/>
                  </a:lnTo>
                  <a:lnTo>
                    <a:pt x="2101" y="1680"/>
                  </a:lnTo>
                  <a:lnTo>
                    <a:pt x="2100" y="1678"/>
                  </a:lnTo>
                  <a:lnTo>
                    <a:pt x="2097" y="1678"/>
                  </a:lnTo>
                  <a:lnTo>
                    <a:pt x="2098" y="1680"/>
                  </a:lnTo>
                  <a:lnTo>
                    <a:pt x="2101" y="1680"/>
                  </a:lnTo>
                  <a:lnTo>
                    <a:pt x="2103" y="1681"/>
                  </a:lnTo>
                  <a:lnTo>
                    <a:pt x="2101" y="1683"/>
                  </a:lnTo>
                  <a:lnTo>
                    <a:pt x="2100" y="1683"/>
                  </a:lnTo>
                  <a:lnTo>
                    <a:pt x="2098" y="1681"/>
                  </a:lnTo>
                  <a:lnTo>
                    <a:pt x="2095" y="1681"/>
                  </a:lnTo>
                  <a:lnTo>
                    <a:pt x="2095" y="1678"/>
                  </a:lnTo>
                  <a:lnTo>
                    <a:pt x="2094" y="1678"/>
                  </a:lnTo>
                  <a:lnTo>
                    <a:pt x="2094" y="1675"/>
                  </a:lnTo>
                  <a:lnTo>
                    <a:pt x="2091" y="1675"/>
                  </a:lnTo>
                  <a:lnTo>
                    <a:pt x="2089" y="1674"/>
                  </a:lnTo>
                  <a:lnTo>
                    <a:pt x="2088" y="1674"/>
                  </a:lnTo>
                  <a:lnTo>
                    <a:pt x="2089" y="1675"/>
                  </a:lnTo>
                  <a:lnTo>
                    <a:pt x="2091" y="1675"/>
                  </a:lnTo>
                  <a:lnTo>
                    <a:pt x="2091" y="1677"/>
                  </a:lnTo>
                  <a:lnTo>
                    <a:pt x="2092" y="1675"/>
                  </a:lnTo>
                  <a:lnTo>
                    <a:pt x="2092" y="1677"/>
                  </a:lnTo>
                  <a:lnTo>
                    <a:pt x="2094" y="1678"/>
                  </a:lnTo>
                  <a:lnTo>
                    <a:pt x="2094" y="1680"/>
                  </a:lnTo>
                  <a:lnTo>
                    <a:pt x="2095" y="1681"/>
                  </a:lnTo>
                  <a:lnTo>
                    <a:pt x="2095" y="1683"/>
                  </a:lnTo>
                  <a:lnTo>
                    <a:pt x="2097" y="1683"/>
                  </a:lnTo>
                  <a:lnTo>
                    <a:pt x="2098" y="1684"/>
                  </a:lnTo>
                  <a:lnTo>
                    <a:pt x="2101" y="1684"/>
                  </a:lnTo>
                  <a:lnTo>
                    <a:pt x="2103" y="1683"/>
                  </a:lnTo>
                  <a:lnTo>
                    <a:pt x="2104" y="1683"/>
                  </a:lnTo>
                  <a:lnTo>
                    <a:pt x="2106" y="1681"/>
                  </a:lnTo>
                  <a:lnTo>
                    <a:pt x="2107" y="1681"/>
                  </a:lnTo>
                  <a:lnTo>
                    <a:pt x="2107" y="1678"/>
                  </a:lnTo>
                  <a:lnTo>
                    <a:pt x="2110" y="1678"/>
                  </a:lnTo>
                  <a:lnTo>
                    <a:pt x="2112" y="1680"/>
                  </a:lnTo>
                  <a:lnTo>
                    <a:pt x="2115" y="1680"/>
                  </a:lnTo>
                  <a:lnTo>
                    <a:pt x="2116" y="1681"/>
                  </a:lnTo>
                  <a:lnTo>
                    <a:pt x="2116" y="1683"/>
                  </a:lnTo>
                  <a:lnTo>
                    <a:pt x="2115" y="1684"/>
                  </a:lnTo>
                  <a:lnTo>
                    <a:pt x="2115" y="1686"/>
                  </a:lnTo>
                  <a:lnTo>
                    <a:pt x="2112" y="1686"/>
                  </a:lnTo>
                  <a:lnTo>
                    <a:pt x="2112" y="1689"/>
                  </a:lnTo>
                  <a:lnTo>
                    <a:pt x="2110" y="1687"/>
                  </a:lnTo>
                  <a:lnTo>
                    <a:pt x="2110" y="1690"/>
                  </a:lnTo>
                  <a:lnTo>
                    <a:pt x="2112" y="1690"/>
                  </a:lnTo>
                  <a:lnTo>
                    <a:pt x="2112" y="1696"/>
                  </a:lnTo>
                  <a:lnTo>
                    <a:pt x="2104" y="1696"/>
                  </a:lnTo>
                  <a:lnTo>
                    <a:pt x="2104" y="1699"/>
                  </a:lnTo>
                  <a:lnTo>
                    <a:pt x="2106" y="1701"/>
                  </a:lnTo>
                  <a:lnTo>
                    <a:pt x="2106" y="1702"/>
                  </a:lnTo>
                  <a:lnTo>
                    <a:pt x="2107" y="1704"/>
                  </a:lnTo>
                  <a:lnTo>
                    <a:pt x="2107" y="1702"/>
                  </a:lnTo>
                  <a:lnTo>
                    <a:pt x="2109" y="1702"/>
                  </a:lnTo>
                  <a:lnTo>
                    <a:pt x="2109" y="1704"/>
                  </a:lnTo>
                  <a:lnTo>
                    <a:pt x="2110" y="1702"/>
                  </a:lnTo>
                  <a:lnTo>
                    <a:pt x="2110" y="1705"/>
                  </a:lnTo>
                  <a:lnTo>
                    <a:pt x="2112" y="1705"/>
                  </a:lnTo>
                  <a:lnTo>
                    <a:pt x="2110" y="1707"/>
                  </a:lnTo>
                  <a:lnTo>
                    <a:pt x="2112" y="1707"/>
                  </a:lnTo>
                  <a:lnTo>
                    <a:pt x="2112" y="1710"/>
                  </a:lnTo>
                  <a:lnTo>
                    <a:pt x="2113" y="1710"/>
                  </a:lnTo>
                  <a:lnTo>
                    <a:pt x="2113" y="1713"/>
                  </a:lnTo>
                  <a:lnTo>
                    <a:pt x="2112" y="1714"/>
                  </a:lnTo>
                  <a:lnTo>
                    <a:pt x="2110" y="1714"/>
                  </a:lnTo>
                  <a:lnTo>
                    <a:pt x="2110" y="1713"/>
                  </a:lnTo>
                  <a:lnTo>
                    <a:pt x="2112" y="1713"/>
                  </a:lnTo>
                  <a:lnTo>
                    <a:pt x="2110" y="1711"/>
                  </a:lnTo>
                  <a:lnTo>
                    <a:pt x="2110" y="1708"/>
                  </a:lnTo>
                  <a:lnTo>
                    <a:pt x="2109" y="1708"/>
                  </a:lnTo>
                  <a:lnTo>
                    <a:pt x="2109" y="1713"/>
                  </a:lnTo>
                  <a:lnTo>
                    <a:pt x="2106" y="1713"/>
                  </a:lnTo>
                  <a:lnTo>
                    <a:pt x="2107" y="1711"/>
                  </a:lnTo>
                  <a:lnTo>
                    <a:pt x="2107" y="1710"/>
                  </a:lnTo>
                  <a:lnTo>
                    <a:pt x="2106" y="1710"/>
                  </a:lnTo>
                  <a:lnTo>
                    <a:pt x="2106" y="1708"/>
                  </a:lnTo>
                  <a:lnTo>
                    <a:pt x="2104" y="1708"/>
                  </a:lnTo>
                  <a:lnTo>
                    <a:pt x="2104" y="1705"/>
                  </a:lnTo>
                  <a:lnTo>
                    <a:pt x="2100" y="1705"/>
                  </a:lnTo>
                  <a:lnTo>
                    <a:pt x="2100" y="1707"/>
                  </a:lnTo>
                  <a:lnTo>
                    <a:pt x="2098" y="1708"/>
                  </a:lnTo>
                  <a:lnTo>
                    <a:pt x="2100" y="1708"/>
                  </a:lnTo>
                  <a:lnTo>
                    <a:pt x="2100" y="1710"/>
                  </a:lnTo>
                  <a:lnTo>
                    <a:pt x="2097" y="1710"/>
                  </a:lnTo>
                  <a:lnTo>
                    <a:pt x="2097" y="1707"/>
                  </a:lnTo>
                  <a:lnTo>
                    <a:pt x="2098" y="1704"/>
                  </a:lnTo>
                  <a:lnTo>
                    <a:pt x="2100" y="1702"/>
                  </a:lnTo>
                  <a:lnTo>
                    <a:pt x="2100" y="1704"/>
                  </a:lnTo>
                  <a:lnTo>
                    <a:pt x="2101" y="1702"/>
                  </a:lnTo>
                  <a:lnTo>
                    <a:pt x="2100" y="1702"/>
                  </a:lnTo>
                  <a:lnTo>
                    <a:pt x="2100" y="1701"/>
                  </a:lnTo>
                  <a:lnTo>
                    <a:pt x="2098" y="1701"/>
                  </a:lnTo>
                  <a:lnTo>
                    <a:pt x="2098" y="1702"/>
                  </a:lnTo>
                  <a:lnTo>
                    <a:pt x="2097" y="1702"/>
                  </a:lnTo>
                  <a:lnTo>
                    <a:pt x="2097" y="1705"/>
                  </a:lnTo>
                  <a:lnTo>
                    <a:pt x="2095" y="1705"/>
                  </a:lnTo>
                  <a:lnTo>
                    <a:pt x="2095" y="1707"/>
                  </a:lnTo>
                  <a:lnTo>
                    <a:pt x="2094" y="1708"/>
                  </a:lnTo>
                  <a:lnTo>
                    <a:pt x="2091" y="1708"/>
                  </a:lnTo>
                  <a:lnTo>
                    <a:pt x="2089" y="1710"/>
                  </a:lnTo>
                  <a:lnTo>
                    <a:pt x="2088" y="1710"/>
                  </a:lnTo>
                  <a:lnTo>
                    <a:pt x="2091" y="1713"/>
                  </a:lnTo>
                  <a:lnTo>
                    <a:pt x="2091" y="1714"/>
                  </a:lnTo>
                  <a:lnTo>
                    <a:pt x="2092" y="1716"/>
                  </a:lnTo>
                  <a:lnTo>
                    <a:pt x="2092" y="1719"/>
                  </a:lnTo>
                  <a:lnTo>
                    <a:pt x="2094" y="1717"/>
                  </a:lnTo>
                  <a:lnTo>
                    <a:pt x="2095" y="1717"/>
                  </a:lnTo>
                  <a:lnTo>
                    <a:pt x="2095" y="1716"/>
                  </a:lnTo>
                  <a:lnTo>
                    <a:pt x="2097" y="1716"/>
                  </a:lnTo>
                  <a:lnTo>
                    <a:pt x="2098" y="1717"/>
                  </a:lnTo>
                  <a:lnTo>
                    <a:pt x="2100" y="1717"/>
                  </a:lnTo>
                  <a:lnTo>
                    <a:pt x="2100" y="1719"/>
                  </a:lnTo>
                  <a:lnTo>
                    <a:pt x="2098" y="1720"/>
                  </a:lnTo>
                  <a:lnTo>
                    <a:pt x="2097" y="1719"/>
                  </a:lnTo>
                  <a:lnTo>
                    <a:pt x="2097" y="1722"/>
                  </a:lnTo>
                  <a:lnTo>
                    <a:pt x="2095" y="1723"/>
                  </a:lnTo>
                  <a:lnTo>
                    <a:pt x="2095" y="1722"/>
                  </a:lnTo>
                  <a:lnTo>
                    <a:pt x="2092" y="1722"/>
                  </a:lnTo>
                  <a:lnTo>
                    <a:pt x="2092" y="1723"/>
                  </a:lnTo>
                  <a:lnTo>
                    <a:pt x="2091" y="1722"/>
                  </a:lnTo>
                  <a:lnTo>
                    <a:pt x="2091" y="1720"/>
                  </a:lnTo>
                  <a:lnTo>
                    <a:pt x="2089" y="1720"/>
                  </a:lnTo>
                  <a:lnTo>
                    <a:pt x="2088" y="1722"/>
                  </a:lnTo>
                  <a:lnTo>
                    <a:pt x="2089" y="1722"/>
                  </a:lnTo>
                  <a:lnTo>
                    <a:pt x="2089" y="1725"/>
                  </a:lnTo>
                  <a:lnTo>
                    <a:pt x="2088" y="1725"/>
                  </a:lnTo>
                  <a:lnTo>
                    <a:pt x="2088" y="1723"/>
                  </a:lnTo>
                  <a:lnTo>
                    <a:pt x="2086" y="1723"/>
                  </a:lnTo>
                  <a:lnTo>
                    <a:pt x="2086" y="1725"/>
                  </a:lnTo>
                  <a:lnTo>
                    <a:pt x="2085" y="1725"/>
                  </a:lnTo>
                  <a:lnTo>
                    <a:pt x="2085" y="1723"/>
                  </a:lnTo>
                  <a:lnTo>
                    <a:pt x="2086" y="1722"/>
                  </a:lnTo>
                  <a:lnTo>
                    <a:pt x="2086" y="1720"/>
                  </a:lnTo>
                  <a:lnTo>
                    <a:pt x="2082" y="1720"/>
                  </a:lnTo>
                  <a:lnTo>
                    <a:pt x="2083" y="1719"/>
                  </a:lnTo>
                  <a:lnTo>
                    <a:pt x="2085" y="1719"/>
                  </a:lnTo>
                  <a:lnTo>
                    <a:pt x="2085" y="1717"/>
                  </a:lnTo>
                  <a:lnTo>
                    <a:pt x="2083" y="1717"/>
                  </a:lnTo>
                  <a:lnTo>
                    <a:pt x="2080" y="1719"/>
                  </a:lnTo>
                  <a:lnTo>
                    <a:pt x="2079" y="1719"/>
                  </a:lnTo>
                  <a:lnTo>
                    <a:pt x="2077" y="1720"/>
                  </a:lnTo>
                  <a:lnTo>
                    <a:pt x="2080" y="1720"/>
                  </a:lnTo>
                  <a:lnTo>
                    <a:pt x="2080" y="1722"/>
                  </a:lnTo>
                  <a:lnTo>
                    <a:pt x="2083" y="1722"/>
                  </a:lnTo>
                  <a:lnTo>
                    <a:pt x="2082" y="1723"/>
                  </a:lnTo>
                  <a:lnTo>
                    <a:pt x="2082" y="1726"/>
                  </a:lnTo>
                  <a:lnTo>
                    <a:pt x="2077" y="1726"/>
                  </a:lnTo>
                  <a:lnTo>
                    <a:pt x="2077" y="1729"/>
                  </a:lnTo>
                  <a:lnTo>
                    <a:pt x="2079" y="1729"/>
                  </a:lnTo>
                  <a:lnTo>
                    <a:pt x="2080" y="1731"/>
                  </a:lnTo>
                  <a:lnTo>
                    <a:pt x="2083" y="1731"/>
                  </a:lnTo>
                  <a:lnTo>
                    <a:pt x="2083" y="1734"/>
                  </a:lnTo>
                  <a:lnTo>
                    <a:pt x="2085" y="1734"/>
                  </a:lnTo>
                  <a:lnTo>
                    <a:pt x="2083" y="1735"/>
                  </a:lnTo>
                  <a:lnTo>
                    <a:pt x="2082" y="1734"/>
                  </a:lnTo>
                  <a:lnTo>
                    <a:pt x="2080" y="1734"/>
                  </a:lnTo>
                  <a:lnTo>
                    <a:pt x="2079" y="1735"/>
                  </a:lnTo>
                  <a:lnTo>
                    <a:pt x="2080" y="1737"/>
                  </a:lnTo>
                  <a:lnTo>
                    <a:pt x="2083" y="1737"/>
                  </a:lnTo>
                  <a:lnTo>
                    <a:pt x="2083" y="1738"/>
                  </a:lnTo>
                  <a:lnTo>
                    <a:pt x="2079" y="1738"/>
                  </a:lnTo>
                  <a:lnTo>
                    <a:pt x="2079" y="1737"/>
                  </a:lnTo>
                  <a:lnTo>
                    <a:pt x="2077" y="1737"/>
                  </a:lnTo>
                  <a:lnTo>
                    <a:pt x="2076" y="1738"/>
                  </a:lnTo>
                  <a:lnTo>
                    <a:pt x="2074" y="1737"/>
                  </a:lnTo>
                  <a:lnTo>
                    <a:pt x="2074" y="1738"/>
                  </a:lnTo>
                  <a:lnTo>
                    <a:pt x="2073" y="1738"/>
                  </a:lnTo>
                  <a:lnTo>
                    <a:pt x="2071" y="1740"/>
                  </a:lnTo>
                  <a:lnTo>
                    <a:pt x="2070" y="1740"/>
                  </a:lnTo>
                  <a:lnTo>
                    <a:pt x="2070" y="1738"/>
                  </a:lnTo>
                  <a:lnTo>
                    <a:pt x="2071" y="1737"/>
                  </a:lnTo>
                  <a:lnTo>
                    <a:pt x="2071" y="1735"/>
                  </a:lnTo>
                  <a:lnTo>
                    <a:pt x="2067" y="1735"/>
                  </a:lnTo>
                  <a:lnTo>
                    <a:pt x="2068" y="1737"/>
                  </a:lnTo>
                  <a:lnTo>
                    <a:pt x="2068" y="1738"/>
                  </a:lnTo>
                  <a:lnTo>
                    <a:pt x="2065" y="1738"/>
                  </a:lnTo>
                  <a:lnTo>
                    <a:pt x="2064" y="1737"/>
                  </a:lnTo>
                  <a:lnTo>
                    <a:pt x="2067" y="1740"/>
                  </a:lnTo>
                  <a:lnTo>
                    <a:pt x="2067" y="1743"/>
                  </a:lnTo>
                  <a:lnTo>
                    <a:pt x="2070" y="1743"/>
                  </a:lnTo>
                  <a:lnTo>
                    <a:pt x="2070" y="1741"/>
                  </a:lnTo>
                  <a:lnTo>
                    <a:pt x="2071" y="1741"/>
                  </a:lnTo>
                  <a:lnTo>
                    <a:pt x="2071" y="1743"/>
                  </a:lnTo>
                  <a:lnTo>
                    <a:pt x="2073" y="1743"/>
                  </a:lnTo>
                  <a:lnTo>
                    <a:pt x="2073" y="1746"/>
                  </a:lnTo>
                  <a:lnTo>
                    <a:pt x="2071" y="1746"/>
                  </a:lnTo>
                  <a:lnTo>
                    <a:pt x="2070" y="1747"/>
                  </a:lnTo>
                  <a:lnTo>
                    <a:pt x="2070" y="1749"/>
                  </a:lnTo>
                  <a:lnTo>
                    <a:pt x="2068" y="1749"/>
                  </a:lnTo>
                  <a:lnTo>
                    <a:pt x="2068" y="1747"/>
                  </a:lnTo>
                  <a:lnTo>
                    <a:pt x="2067" y="1747"/>
                  </a:lnTo>
                  <a:lnTo>
                    <a:pt x="2067" y="1750"/>
                  </a:lnTo>
                  <a:lnTo>
                    <a:pt x="2068" y="1750"/>
                  </a:lnTo>
                  <a:lnTo>
                    <a:pt x="2068" y="1752"/>
                  </a:lnTo>
                  <a:lnTo>
                    <a:pt x="2067" y="1753"/>
                  </a:lnTo>
                  <a:lnTo>
                    <a:pt x="2067" y="1755"/>
                  </a:lnTo>
                  <a:lnTo>
                    <a:pt x="2065" y="1755"/>
                  </a:lnTo>
                  <a:lnTo>
                    <a:pt x="2064" y="1756"/>
                  </a:lnTo>
                  <a:lnTo>
                    <a:pt x="2064" y="1753"/>
                  </a:lnTo>
                  <a:lnTo>
                    <a:pt x="2061" y="1752"/>
                  </a:lnTo>
                  <a:lnTo>
                    <a:pt x="2059" y="1750"/>
                  </a:lnTo>
                  <a:lnTo>
                    <a:pt x="2058" y="1750"/>
                  </a:lnTo>
                  <a:lnTo>
                    <a:pt x="2058" y="1747"/>
                  </a:lnTo>
                  <a:lnTo>
                    <a:pt x="2056" y="1747"/>
                  </a:lnTo>
                  <a:lnTo>
                    <a:pt x="2056" y="1749"/>
                  </a:lnTo>
                  <a:lnTo>
                    <a:pt x="2058" y="1750"/>
                  </a:lnTo>
                  <a:lnTo>
                    <a:pt x="2056" y="1752"/>
                  </a:lnTo>
                  <a:lnTo>
                    <a:pt x="2055" y="1752"/>
                  </a:lnTo>
                  <a:lnTo>
                    <a:pt x="2053" y="1753"/>
                  </a:lnTo>
                  <a:lnTo>
                    <a:pt x="2053" y="1752"/>
                  </a:lnTo>
                  <a:lnTo>
                    <a:pt x="2050" y="1752"/>
                  </a:lnTo>
                  <a:lnTo>
                    <a:pt x="2050" y="1753"/>
                  </a:lnTo>
                  <a:lnTo>
                    <a:pt x="2049" y="1753"/>
                  </a:lnTo>
                  <a:lnTo>
                    <a:pt x="2049" y="1755"/>
                  </a:lnTo>
                  <a:lnTo>
                    <a:pt x="2047" y="1755"/>
                  </a:lnTo>
                  <a:lnTo>
                    <a:pt x="2047" y="1753"/>
                  </a:lnTo>
                  <a:lnTo>
                    <a:pt x="2046" y="1753"/>
                  </a:lnTo>
                  <a:lnTo>
                    <a:pt x="2046" y="1752"/>
                  </a:lnTo>
                  <a:lnTo>
                    <a:pt x="2047" y="1752"/>
                  </a:lnTo>
                  <a:lnTo>
                    <a:pt x="2047" y="1750"/>
                  </a:lnTo>
                  <a:lnTo>
                    <a:pt x="2046" y="1750"/>
                  </a:lnTo>
                  <a:lnTo>
                    <a:pt x="2046" y="1747"/>
                  </a:lnTo>
                  <a:lnTo>
                    <a:pt x="2044" y="1749"/>
                  </a:lnTo>
                  <a:lnTo>
                    <a:pt x="2044" y="1750"/>
                  </a:lnTo>
                  <a:lnTo>
                    <a:pt x="2043" y="1752"/>
                  </a:lnTo>
                  <a:lnTo>
                    <a:pt x="2041" y="1752"/>
                  </a:lnTo>
                  <a:lnTo>
                    <a:pt x="2040" y="1750"/>
                  </a:lnTo>
                  <a:lnTo>
                    <a:pt x="2040" y="1753"/>
                  </a:lnTo>
                  <a:lnTo>
                    <a:pt x="2037" y="1753"/>
                  </a:lnTo>
                  <a:lnTo>
                    <a:pt x="2037" y="1755"/>
                  </a:lnTo>
                  <a:lnTo>
                    <a:pt x="2040" y="1755"/>
                  </a:lnTo>
                  <a:lnTo>
                    <a:pt x="2040" y="1758"/>
                  </a:lnTo>
                  <a:lnTo>
                    <a:pt x="2038" y="1758"/>
                  </a:lnTo>
                  <a:lnTo>
                    <a:pt x="2038" y="1759"/>
                  </a:lnTo>
                  <a:lnTo>
                    <a:pt x="2034" y="1758"/>
                  </a:lnTo>
                  <a:lnTo>
                    <a:pt x="2032" y="1758"/>
                  </a:lnTo>
                  <a:lnTo>
                    <a:pt x="2034" y="1759"/>
                  </a:lnTo>
                  <a:lnTo>
                    <a:pt x="2029" y="1758"/>
                  </a:lnTo>
                  <a:lnTo>
                    <a:pt x="2028" y="1758"/>
                  </a:lnTo>
                  <a:lnTo>
                    <a:pt x="2028" y="1759"/>
                  </a:lnTo>
                  <a:lnTo>
                    <a:pt x="2032" y="1762"/>
                  </a:lnTo>
                  <a:lnTo>
                    <a:pt x="2037" y="1762"/>
                  </a:lnTo>
                  <a:lnTo>
                    <a:pt x="2038" y="1761"/>
                  </a:lnTo>
                  <a:lnTo>
                    <a:pt x="2040" y="1761"/>
                  </a:lnTo>
                  <a:lnTo>
                    <a:pt x="2040" y="1764"/>
                  </a:lnTo>
                  <a:lnTo>
                    <a:pt x="2038" y="1764"/>
                  </a:lnTo>
                  <a:lnTo>
                    <a:pt x="2038" y="1765"/>
                  </a:lnTo>
                  <a:lnTo>
                    <a:pt x="2040" y="1765"/>
                  </a:lnTo>
                  <a:lnTo>
                    <a:pt x="2040" y="1764"/>
                  </a:lnTo>
                  <a:lnTo>
                    <a:pt x="2041" y="1764"/>
                  </a:lnTo>
                  <a:lnTo>
                    <a:pt x="2041" y="1765"/>
                  </a:lnTo>
                  <a:lnTo>
                    <a:pt x="2043" y="1765"/>
                  </a:lnTo>
                  <a:lnTo>
                    <a:pt x="2043" y="1768"/>
                  </a:lnTo>
                  <a:lnTo>
                    <a:pt x="2041" y="1770"/>
                  </a:lnTo>
                  <a:lnTo>
                    <a:pt x="2040" y="1770"/>
                  </a:lnTo>
                  <a:lnTo>
                    <a:pt x="2040" y="1771"/>
                  </a:lnTo>
                  <a:lnTo>
                    <a:pt x="2038" y="1771"/>
                  </a:lnTo>
                  <a:lnTo>
                    <a:pt x="2037" y="1773"/>
                  </a:lnTo>
                  <a:lnTo>
                    <a:pt x="2037" y="1774"/>
                  </a:lnTo>
                  <a:lnTo>
                    <a:pt x="2035" y="1773"/>
                  </a:lnTo>
                  <a:lnTo>
                    <a:pt x="2035" y="1771"/>
                  </a:lnTo>
                  <a:lnTo>
                    <a:pt x="2034" y="1771"/>
                  </a:lnTo>
                  <a:lnTo>
                    <a:pt x="2034" y="1773"/>
                  </a:lnTo>
                  <a:lnTo>
                    <a:pt x="2035" y="1773"/>
                  </a:lnTo>
                  <a:lnTo>
                    <a:pt x="2035" y="1774"/>
                  </a:lnTo>
                  <a:lnTo>
                    <a:pt x="2034" y="1777"/>
                  </a:lnTo>
                  <a:lnTo>
                    <a:pt x="2032" y="1777"/>
                  </a:lnTo>
                  <a:lnTo>
                    <a:pt x="2032" y="1779"/>
                  </a:lnTo>
                  <a:lnTo>
                    <a:pt x="2034" y="1779"/>
                  </a:lnTo>
                  <a:lnTo>
                    <a:pt x="2034" y="1780"/>
                  </a:lnTo>
                  <a:lnTo>
                    <a:pt x="2031" y="1780"/>
                  </a:lnTo>
                  <a:lnTo>
                    <a:pt x="2026" y="1785"/>
                  </a:lnTo>
                  <a:lnTo>
                    <a:pt x="2028" y="1782"/>
                  </a:lnTo>
                  <a:lnTo>
                    <a:pt x="2028" y="1779"/>
                  </a:lnTo>
                  <a:lnTo>
                    <a:pt x="2026" y="1779"/>
                  </a:lnTo>
                  <a:lnTo>
                    <a:pt x="2026" y="1780"/>
                  </a:lnTo>
                  <a:lnTo>
                    <a:pt x="2025" y="1780"/>
                  </a:lnTo>
                  <a:lnTo>
                    <a:pt x="2023" y="1782"/>
                  </a:lnTo>
                  <a:lnTo>
                    <a:pt x="2023" y="1785"/>
                  </a:lnTo>
                  <a:lnTo>
                    <a:pt x="2020" y="1788"/>
                  </a:lnTo>
                  <a:lnTo>
                    <a:pt x="2020" y="1791"/>
                  </a:lnTo>
                  <a:lnTo>
                    <a:pt x="2022" y="1792"/>
                  </a:lnTo>
                  <a:lnTo>
                    <a:pt x="2019" y="1795"/>
                  </a:lnTo>
                  <a:lnTo>
                    <a:pt x="2019" y="1788"/>
                  </a:lnTo>
                  <a:lnTo>
                    <a:pt x="2017" y="1786"/>
                  </a:lnTo>
                  <a:lnTo>
                    <a:pt x="2013" y="1786"/>
                  </a:lnTo>
                  <a:lnTo>
                    <a:pt x="2011" y="1785"/>
                  </a:lnTo>
                  <a:lnTo>
                    <a:pt x="2010" y="1785"/>
                  </a:lnTo>
                  <a:lnTo>
                    <a:pt x="2011" y="1786"/>
                  </a:lnTo>
                  <a:lnTo>
                    <a:pt x="2013" y="1786"/>
                  </a:lnTo>
                  <a:lnTo>
                    <a:pt x="2014" y="1788"/>
                  </a:lnTo>
                  <a:lnTo>
                    <a:pt x="2014" y="1791"/>
                  </a:lnTo>
                  <a:lnTo>
                    <a:pt x="2011" y="1794"/>
                  </a:lnTo>
                  <a:lnTo>
                    <a:pt x="2010" y="1792"/>
                  </a:lnTo>
                  <a:lnTo>
                    <a:pt x="2008" y="1792"/>
                  </a:lnTo>
                  <a:lnTo>
                    <a:pt x="2008" y="1794"/>
                  </a:lnTo>
                  <a:lnTo>
                    <a:pt x="2005" y="1794"/>
                  </a:lnTo>
                  <a:lnTo>
                    <a:pt x="2005" y="1792"/>
                  </a:lnTo>
                  <a:lnTo>
                    <a:pt x="2004" y="1792"/>
                  </a:lnTo>
                  <a:lnTo>
                    <a:pt x="2005" y="1794"/>
                  </a:lnTo>
                  <a:lnTo>
                    <a:pt x="2005" y="1795"/>
                  </a:lnTo>
                  <a:lnTo>
                    <a:pt x="2004" y="1795"/>
                  </a:lnTo>
                  <a:lnTo>
                    <a:pt x="2004" y="1800"/>
                  </a:lnTo>
                  <a:lnTo>
                    <a:pt x="2005" y="1800"/>
                  </a:lnTo>
                  <a:lnTo>
                    <a:pt x="2004" y="1801"/>
                  </a:lnTo>
                  <a:lnTo>
                    <a:pt x="2002" y="1801"/>
                  </a:lnTo>
                  <a:lnTo>
                    <a:pt x="2002" y="1798"/>
                  </a:lnTo>
                  <a:lnTo>
                    <a:pt x="2001" y="1798"/>
                  </a:lnTo>
                  <a:lnTo>
                    <a:pt x="2002" y="1800"/>
                  </a:lnTo>
                  <a:lnTo>
                    <a:pt x="2001" y="1801"/>
                  </a:lnTo>
                  <a:lnTo>
                    <a:pt x="1999" y="1801"/>
                  </a:lnTo>
                  <a:lnTo>
                    <a:pt x="1996" y="1804"/>
                  </a:lnTo>
                  <a:lnTo>
                    <a:pt x="1995" y="1804"/>
                  </a:lnTo>
                  <a:lnTo>
                    <a:pt x="1995" y="1803"/>
                  </a:lnTo>
                  <a:lnTo>
                    <a:pt x="1996" y="1803"/>
                  </a:lnTo>
                  <a:lnTo>
                    <a:pt x="1995" y="1801"/>
                  </a:lnTo>
                  <a:lnTo>
                    <a:pt x="1995" y="1800"/>
                  </a:lnTo>
                  <a:lnTo>
                    <a:pt x="1992" y="1800"/>
                  </a:lnTo>
                  <a:lnTo>
                    <a:pt x="1990" y="1801"/>
                  </a:lnTo>
                  <a:lnTo>
                    <a:pt x="1989" y="1801"/>
                  </a:lnTo>
                  <a:lnTo>
                    <a:pt x="1987" y="1800"/>
                  </a:lnTo>
                  <a:lnTo>
                    <a:pt x="1989" y="1798"/>
                  </a:lnTo>
                  <a:lnTo>
                    <a:pt x="1987" y="1798"/>
                  </a:lnTo>
                  <a:lnTo>
                    <a:pt x="1987" y="1800"/>
                  </a:lnTo>
                  <a:lnTo>
                    <a:pt x="1986" y="1801"/>
                  </a:lnTo>
                  <a:lnTo>
                    <a:pt x="1986" y="1806"/>
                  </a:lnTo>
                  <a:lnTo>
                    <a:pt x="1984" y="1806"/>
                  </a:lnTo>
                  <a:lnTo>
                    <a:pt x="1984" y="1807"/>
                  </a:lnTo>
                  <a:lnTo>
                    <a:pt x="1986" y="1809"/>
                  </a:lnTo>
                  <a:lnTo>
                    <a:pt x="1981" y="1815"/>
                  </a:lnTo>
                  <a:lnTo>
                    <a:pt x="1978" y="1815"/>
                  </a:lnTo>
                  <a:lnTo>
                    <a:pt x="1978" y="1813"/>
                  </a:lnTo>
                  <a:lnTo>
                    <a:pt x="1977" y="1813"/>
                  </a:lnTo>
                  <a:lnTo>
                    <a:pt x="1975" y="1815"/>
                  </a:lnTo>
                  <a:lnTo>
                    <a:pt x="1972" y="1812"/>
                  </a:lnTo>
                  <a:lnTo>
                    <a:pt x="1971" y="1812"/>
                  </a:lnTo>
                  <a:lnTo>
                    <a:pt x="1971" y="1810"/>
                  </a:lnTo>
                  <a:lnTo>
                    <a:pt x="1969" y="1810"/>
                  </a:lnTo>
                  <a:lnTo>
                    <a:pt x="1969" y="1813"/>
                  </a:lnTo>
                  <a:lnTo>
                    <a:pt x="1971" y="1813"/>
                  </a:lnTo>
                  <a:lnTo>
                    <a:pt x="1971" y="1815"/>
                  </a:lnTo>
                  <a:lnTo>
                    <a:pt x="1972" y="1816"/>
                  </a:lnTo>
                  <a:lnTo>
                    <a:pt x="1975" y="1816"/>
                  </a:lnTo>
                  <a:lnTo>
                    <a:pt x="1977" y="1815"/>
                  </a:lnTo>
                  <a:lnTo>
                    <a:pt x="1978" y="1816"/>
                  </a:lnTo>
                  <a:lnTo>
                    <a:pt x="1981" y="1816"/>
                  </a:lnTo>
                  <a:lnTo>
                    <a:pt x="1981" y="1821"/>
                  </a:lnTo>
                  <a:lnTo>
                    <a:pt x="1980" y="1821"/>
                  </a:lnTo>
                  <a:lnTo>
                    <a:pt x="1980" y="1819"/>
                  </a:lnTo>
                  <a:lnTo>
                    <a:pt x="1978" y="1818"/>
                  </a:lnTo>
                  <a:lnTo>
                    <a:pt x="1977" y="1818"/>
                  </a:lnTo>
                  <a:lnTo>
                    <a:pt x="1978" y="1819"/>
                  </a:lnTo>
                  <a:lnTo>
                    <a:pt x="1977" y="1821"/>
                  </a:lnTo>
                  <a:lnTo>
                    <a:pt x="1977" y="1822"/>
                  </a:lnTo>
                  <a:lnTo>
                    <a:pt x="1975" y="1824"/>
                  </a:lnTo>
                  <a:lnTo>
                    <a:pt x="1974" y="1822"/>
                  </a:lnTo>
                  <a:lnTo>
                    <a:pt x="1972" y="1822"/>
                  </a:lnTo>
                  <a:lnTo>
                    <a:pt x="1971" y="1825"/>
                  </a:lnTo>
                  <a:lnTo>
                    <a:pt x="1971" y="1830"/>
                  </a:lnTo>
                  <a:lnTo>
                    <a:pt x="1972" y="1831"/>
                  </a:lnTo>
                  <a:lnTo>
                    <a:pt x="1969" y="1831"/>
                  </a:lnTo>
                  <a:lnTo>
                    <a:pt x="1969" y="1833"/>
                  </a:lnTo>
                  <a:lnTo>
                    <a:pt x="1968" y="1834"/>
                  </a:lnTo>
                  <a:lnTo>
                    <a:pt x="1965" y="1834"/>
                  </a:lnTo>
                  <a:lnTo>
                    <a:pt x="1963" y="1836"/>
                  </a:lnTo>
                  <a:lnTo>
                    <a:pt x="1962" y="1834"/>
                  </a:lnTo>
                  <a:lnTo>
                    <a:pt x="1959" y="1834"/>
                  </a:lnTo>
                  <a:lnTo>
                    <a:pt x="1958" y="1836"/>
                  </a:lnTo>
                  <a:lnTo>
                    <a:pt x="1956" y="1836"/>
                  </a:lnTo>
                  <a:lnTo>
                    <a:pt x="1955" y="1837"/>
                  </a:lnTo>
                  <a:lnTo>
                    <a:pt x="1955" y="1839"/>
                  </a:lnTo>
                  <a:lnTo>
                    <a:pt x="1953" y="1839"/>
                  </a:lnTo>
                  <a:lnTo>
                    <a:pt x="1952" y="1840"/>
                  </a:lnTo>
                  <a:lnTo>
                    <a:pt x="1950" y="1840"/>
                  </a:lnTo>
                  <a:lnTo>
                    <a:pt x="1950" y="1839"/>
                  </a:lnTo>
                  <a:lnTo>
                    <a:pt x="1952" y="1837"/>
                  </a:lnTo>
                  <a:lnTo>
                    <a:pt x="1950" y="1836"/>
                  </a:lnTo>
                  <a:lnTo>
                    <a:pt x="1949" y="1836"/>
                  </a:lnTo>
                  <a:lnTo>
                    <a:pt x="1949" y="1837"/>
                  </a:lnTo>
                  <a:lnTo>
                    <a:pt x="1950" y="1837"/>
                  </a:lnTo>
                  <a:lnTo>
                    <a:pt x="1950" y="1839"/>
                  </a:lnTo>
                  <a:lnTo>
                    <a:pt x="1947" y="1839"/>
                  </a:lnTo>
                  <a:lnTo>
                    <a:pt x="1947" y="1840"/>
                  </a:lnTo>
                  <a:lnTo>
                    <a:pt x="1944" y="1840"/>
                  </a:lnTo>
                  <a:lnTo>
                    <a:pt x="1944" y="1842"/>
                  </a:lnTo>
                  <a:lnTo>
                    <a:pt x="1941" y="1842"/>
                  </a:lnTo>
                  <a:lnTo>
                    <a:pt x="1940" y="1843"/>
                  </a:lnTo>
                  <a:lnTo>
                    <a:pt x="1938" y="1843"/>
                  </a:lnTo>
                  <a:lnTo>
                    <a:pt x="1938" y="1842"/>
                  </a:lnTo>
                  <a:lnTo>
                    <a:pt x="1937" y="1842"/>
                  </a:lnTo>
                  <a:lnTo>
                    <a:pt x="1937" y="1840"/>
                  </a:lnTo>
                  <a:lnTo>
                    <a:pt x="1935" y="1840"/>
                  </a:lnTo>
                  <a:lnTo>
                    <a:pt x="1934" y="1839"/>
                  </a:lnTo>
                  <a:lnTo>
                    <a:pt x="1932" y="1839"/>
                  </a:lnTo>
                  <a:lnTo>
                    <a:pt x="1932" y="1837"/>
                  </a:lnTo>
                  <a:lnTo>
                    <a:pt x="1934" y="1837"/>
                  </a:lnTo>
                  <a:lnTo>
                    <a:pt x="1934" y="1836"/>
                  </a:lnTo>
                  <a:lnTo>
                    <a:pt x="1932" y="1836"/>
                  </a:lnTo>
                  <a:lnTo>
                    <a:pt x="1931" y="1837"/>
                  </a:lnTo>
                  <a:lnTo>
                    <a:pt x="1926" y="1837"/>
                  </a:lnTo>
                  <a:lnTo>
                    <a:pt x="1926" y="1839"/>
                  </a:lnTo>
                  <a:lnTo>
                    <a:pt x="1925" y="1839"/>
                  </a:lnTo>
                  <a:lnTo>
                    <a:pt x="1925" y="1837"/>
                  </a:lnTo>
                  <a:lnTo>
                    <a:pt x="1923" y="1837"/>
                  </a:lnTo>
                  <a:lnTo>
                    <a:pt x="1922" y="1836"/>
                  </a:lnTo>
                  <a:lnTo>
                    <a:pt x="1919" y="1836"/>
                  </a:lnTo>
                  <a:lnTo>
                    <a:pt x="1920" y="1837"/>
                  </a:lnTo>
                  <a:lnTo>
                    <a:pt x="1922" y="1836"/>
                  </a:lnTo>
                  <a:lnTo>
                    <a:pt x="1922" y="1837"/>
                  </a:lnTo>
                  <a:lnTo>
                    <a:pt x="1923" y="1837"/>
                  </a:lnTo>
                  <a:lnTo>
                    <a:pt x="1923" y="1839"/>
                  </a:lnTo>
                  <a:lnTo>
                    <a:pt x="1925" y="1840"/>
                  </a:lnTo>
                  <a:lnTo>
                    <a:pt x="1926" y="1840"/>
                  </a:lnTo>
                  <a:lnTo>
                    <a:pt x="1928" y="1839"/>
                  </a:lnTo>
                  <a:lnTo>
                    <a:pt x="1926" y="1842"/>
                  </a:lnTo>
                  <a:lnTo>
                    <a:pt x="1925" y="1842"/>
                  </a:lnTo>
                  <a:lnTo>
                    <a:pt x="1925" y="1845"/>
                  </a:lnTo>
                  <a:lnTo>
                    <a:pt x="1926" y="1846"/>
                  </a:lnTo>
                  <a:lnTo>
                    <a:pt x="1926" y="1848"/>
                  </a:lnTo>
                  <a:lnTo>
                    <a:pt x="1923" y="1848"/>
                  </a:lnTo>
                  <a:lnTo>
                    <a:pt x="1922" y="1846"/>
                  </a:lnTo>
                  <a:lnTo>
                    <a:pt x="1920" y="1846"/>
                  </a:lnTo>
                  <a:lnTo>
                    <a:pt x="1920" y="1848"/>
                  </a:lnTo>
                  <a:lnTo>
                    <a:pt x="1919" y="1848"/>
                  </a:lnTo>
                  <a:lnTo>
                    <a:pt x="1917" y="1846"/>
                  </a:lnTo>
                  <a:lnTo>
                    <a:pt x="1916" y="1846"/>
                  </a:lnTo>
                  <a:lnTo>
                    <a:pt x="1916" y="1845"/>
                  </a:lnTo>
                  <a:lnTo>
                    <a:pt x="1919" y="1845"/>
                  </a:lnTo>
                  <a:lnTo>
                    <a:pt x="1919" y="1843"/>
                  </a:lnTo>
                  <a:lnTo>
                    <a:pt x="1920" y="1843"/>
                  </a:lnTo>
                  <a:lnTo>
                    <a:pt x="1919" y="1842"/>
                  </a:lnTo>
                  <a:lnTo>
                    <a:pt x="1917" y="1843"/>
                  </a:lnTo>
                  <a:lnTo>
                    <a:pt x="1916" y="1842"/>
                  </a:lnTo>
                  <a:lnTo>
                    <a:pt x="1911" y="1842"/>
                  </a:lnTo>
                  <a:lnTo>
                    <a:pt x="1913" y="1840"/>
                  </a:lnTo>
                  <a:lnTo>
                    <a:pt x="1914" y="1840"/>
                  </a:lnTo>
                  <a:lnTo>
                    <a:pt x="1914" y="1837"/>
                  </a:lnTo>
                  <a:lnTo>
                    <a:pt x="1913" y="1839"/>
                  </a:lnTo>
                  <a:lnTo>
                    <a:pt x="1911" y="1839"/>
                  </a:lnTo>
                  <a:lnTo>
                    <a:pt x="1911" y="1840"/>
                  </a:lnTo>
                  <a:lnTo>
                    <a:pt x="1908" y="1840"/>
                  </a:lnTo>
                  <a:lnTo>
                    <a:pt x="1908" y="1842"/>
                  </a:lnTo>
                  <a:lnTo>
                    <a:pt x="1904" y="1842"/>
                  </a:lnTo>
                  <a:lnTo>
                    <a:pt x="1901" y="1845"/>
                  </a:lnTo>
                  <a:lnTo>
                    <a:pt x="1902" y="1846"/>
                  </a:lnTo>
                  <a:lnTo>
                    <a:pt x="1899" y="1846"/>
                  </a:lnTo>
                  <a:lnTo>
                    <a:pt x="1899" y="1848"/>
                  </a:lnTo>
                  <a:lnTo>
                    <a:pt x="1898" y="1846"/>
                  </a:lnTo>
                  <a:lnTo>
                    <a:pt x="1898" y="1843"/>
                  </a:lnTo>
                  <a:lnTo>
                    <a:pt x="1896" y="1843"/>
                  </a:lnTo>
                  <a:lnTo>
                    <a:pt x="1896" y="1845"/>
                  </a:lnTo>
                  <a:lnTo>
                    <a:pt x="1895" y="1843"/>
                  </a:lnTo>
                  <a:lnTo>
                    <a:pt x="1893" y="1843"/>
                  </a:lnTo>
                  <a:lnTo>
                    <a:pt x="1895" y="1845"/>
                  </a:lnTo>
                  <a:lnTo>
                    <a:pt x="1895" y="1846"/>
                  </a:lnTo>
                  <a:lnTo>
                    <a:pt x="1898" y="1846"/>
                  </a:lnTo>
                  <a:lnTo>
                    <a:pt x="1898" y="1849"/>
                  </a:lnTo>
                  <a:lnTo>
                    <a:pt x="1896" y="1849"/>
                  </a:lnTo>
                  <a:lnTo>
                    <a:pt x="1896" y="1854"/>
                  </a:lnTo>
                  <a:lnTo>
                    <a:pt x="1895" y="1854"/>
                  </a:lnTo>
                  <a:lnTo>
                    <a:pt x="1895" y="1852"/>
                  </a:lnTo>
                  <a:lnTo>
                    <a:pt x="1889" y="1852"/>
                  </a:lnTo>
                  <a:lnTo>
                    <a:pt x="1889" y="1845"/>
                  </a:lnTo>
                  <a:lnTo>
                    <a:pt x="1890" y="1843"/>
                  </a:lnTo>
                  <a:lnTo>
                    <a:pt x="1892" y="1843"/>
                  </a:lnTo>
                  <a:lnTo>
                    <a:pt x="1892" y="1842"/>
                  </a:lnTo>
                  <a:lnTo>
                    <a:pt x="1889" y="1842"/>
                  </a:lnTo>
                  <a:lnTo>
                    <a:pt x="1889" y="1843"/>
                  </a:lnTo>
                  <a:lnTo>
                    <a:pt x="1887" y="1843"/>
                  </a:lnTo>
                  <a:lnTo>
                    <a:pt x="1887" y="1842"/>
                  </a:lnTo>
                  <a:lnTo>
                    <a:pt x="1886" y="1842"/>
                  </a:lnTo>
                  <a:lnTo>
                    <a:pt x="1886" y="1843"/>
                  </a:lnTo>
                  <a:lnTo>
                    <a:pt x="1883" y="1843"/>
                  </a:lnTo>
                  <a:lnTo>
                    <a:pt x="1883" y="1845"/>
                  </a:lnTo>
                  <a:lnTo>
                    <a:pt x="1880" y="1845"/>
                  </a:lnTo>
                  <a:lnTo>
                    <a:pt x="1880" y="1846"/>
                  </a:lnTo>
                  <a:lnTo>
                    <a:pt x="1878" y="1846"/>
                  </a:lnTo>
                  <a:lnTo>
                    <a:pt x="1878" y="1848"/>
                  </a:lnTo>
                  <a:lnTo>
                    <a:pt x="1877" y="1848"/>
                  </a:lnTo>
                  <a:lnTo>
                    <a:pt x="1877" y="1849"/>
                  </a:lnTo>
                  <a:lnTo>
                    <a:pt x="1881" y="1849"/>
                  </a:lnTo>
                  <a:lnTo>
                    <a:pt x="1878" y="1852"/>
                  </a:lnTo>
                  <a:lnTo>
                    <a:pt x="1877" y="1852"/>
                  </a:lnTo>
                  <a:lnTo>
                    <a:pt x="1877" y="1854"/>
                  </a:lnTo>
                  <a:lnTo>
                    <a:pt x="1874" y="1854"/>
                  </a:lnTo>
                  <a:lnTo>
                    <a:pt x="1874" y="1851"/>
                  </a:lnTo>
                  <a:lnTo>
                    <a:pt x="1871" y="1851"/>
                  </a:lnTo>
                  <a:lnTo>
                    <a:pt x="1869" y="1852"/>
                  </a:lnTo>
                  <a:lnTo>
                    <a:pt x="1866" y="1852"/>
                  </a:lnTo>
                  <a:lnTo>
                    <a:pt x="1866" y="1855"/>
                  </a:lnTo>
                  <a:lnTo>
                    <a:pt x="1868" y="1857"/>
                  </a:lnTo>
                  <a:lnTo>
                    <a:pt x="1868" y="1858"/>
                  </a:lnTo>
                  <a:lnTo>
                    <a:pt x="1865" y="1858"/>
                  </a:lnTo>
                  <a:lnTo>
                    <a:pt x="1865" y="1860"/>
                  </a:lnTo>
                  <a:lnTo>
                    <a:pt x="1863" y="1860"/>
                  </a:lnTo>
                  <a:lnTo>
                    <a:pt x="1863" y="1858"/>
                  </a:lnTo>
                  <a:lnTo>
                    <a:pt x="1862" y="1860"/>
                  </a:lnTo>
                  <a:lnTo>
                    <a:pt x="1863" y="1860"/>
                  </a:lnTo>
                  <a:lnTo>
                    <a:pt x="1863" y="1861"/>
                  </a:lnTo>
                  <a:lnTo>
                    <a:pt x="1865" y="1861"/>
                  </a:lnTo>
                  <a:lnTo>
                    <a:pt x="1865" y="1860"/>
                  </a:lnTo>
                  <a:lnTo>
                    <a:pt x="1866" y="1860"/>
                  </a:lnTo>
                  <a:lnTo>
                    <a:pt x="1866" y="1866"/>
                  </a:lnTo>
                  <a:lnTo>
                    <a:pt x="1868" y="1866"/>
                  </a:lnTo>
                  <a:lnTo>
                    <a:pt x="1868" y="1869"/>
                  </a:lnTo>
                  <a:lnTo>
                    <a:pt x="1866" y="1867"/>
                  </a:lnTo>
                  <a:lnTo>
                    <a:pt x="1865" y="1867"/>
                  </a:lnTo>
                  <a:lnTo>
                    <a:pt x="1863" y="1866"/>
                  </a:lnTo>
                  <a:lnTo>
                    <a:pt x="1862" y="1867"/>
                  </a:lnTo>
                  <a:lnTo>
                    <a:pt x="1862" y="1866"/>
                  </a:lnTo>
                  <a:lnTo>
                    <a:pt x="1860" y="1864"/>
                  </a:lnTo>
                  <a:lnTo>
                    <a:pt x="1859" y="1864"/>
                  </a:lnTo>
                  <a:lnTo>
                    <a:pt x="1859" y="1863"/>
                  </a:lnTo>
                  <a:lnTo>
                    <a:pt x="1857" y="1863"/>
                  </a:lnTo>
                  <a:lnTo>
                    <a:pt x="1856" y="1864"/>
                  </a:lnTo>
                  <a:lnTo>
                    <a:pt x="1854" y="1864"/>
                  </a:lnTo>
                  <a:lnTo>
                    <a:pt x="1854" y="1863"/>
                  </a:lnTo>
                  <a:lnTo>
                    <a:pt x="1850" y="1863"/>
                  </a:lnTo>
                  <a:lnTo>
                    <a:pt x="1850" y="1861"/>
                  </a:lnTo>
                  <a:lnTo>
                    <a:pt x="1851" y="1861"/>
                  </a:lnTo>
                  <a:lnTo>
                    <a:pt x="1851" y="1860"/>
                  </a:lnTo>
                  <a:lnTo>
                    <a:pt x="1854" y="1857"/>
                  </a:lnTo>
                  <a:lnTo>
                    <a:pt x="1854" y="1858"/>
                  </a:lnTo>
                  <a:lnTo>
                    <a:pt x="1856" y="1858"/>
                  </a:lnTo>
                  <a:lnTo>
                    <a:pt x="1856" y="1855"/>
                  </a:lnTo>
                  <a:lnTo>
                    <a:pt x="1851" y="1855"/>
                  </a:lnTo>
                  <a:lnTo>
                    <a:pt x="1851" y="1857"/>
                  </a:lnTo>
                  <a:lnTo>
                    <a:pt x="1850" y="1857"/>
                  </a:lnTo>
                  <a:lnTo>
                    <a:pt x="1850" y="1858"/>
                  </a:lnTo>
                  <a:lnTo>
                    <a:pt x="1848" y="1858"/>
                  </a:lnTo>
                  <a:lnTo>
                    <a:pt x="1848" y="1855"/>
                  </a:lnTo>
                  <a:lnTo>
                    <a:pt x="1845" y="1852"/>
                  </a:lnTo>
                  <a:lnTo>
                    <a:pt x="1845" y="1849"/>
                  </a:lnTo>
                  <a:lnTo>
                    <a:pt x="1844" y="1848"/>
                  </a:lnTo>
                  <a:lnTo>
                    <a:pt x="1844" y="1845"/>
                  </a:lnTo>
                  <a:lnTo>
                    <a:pt x="1842" y="1845"/>
                  </a:lnTo>
                  <a:lnTo>
                    <a:pt x="1842" y="1843"/>
                  </a:lnTo>
                  <a:lnTo>
                    <a:pt x="1841" y="1843"/>
                  </a:lnTo>
                  <a:lnTo>
                    <a:pt x="1839" y="1845"/>
                  </a:lnTo>
                  <a:lnTo>
                    <a:pt x="1838" y="1843"/>
                  </a:lnTo>
                  <a:lnTo>
                    <a:pt x="1839" y="1842"/>
                  </a:lnTo>
                  <a:lnTo>
                    <a:pt x="1838" y="1840"/>
                  </a:lnTo>
                  <a:lnTo>
                    <a:pt x="1838" y="1839"/>
                  </a:lnTo>
                  <a:lnTo>
                    <a:pt x="1836" y="1837"/>
                  </a:lnTo>
                  <a:lnTo>
                    <a:pt x="1835" y="1837"/>
                  </a:lnTo>
                  <a:lnTo>
                    <a:pt x="1836" y="1836"/>
                  </a:lnTo>
                  <a:lnTo>
                    <a:pt x="1835" y="1836"/>
                  </a:lnTo>
                  <a:lnTo>
                    <a:pt x="1835" y="1834"/>
                  </a:lnTo>
                  <a:lnTo>
                    <a:pt x="1836" y="1834"/>
                  </a:lnTo>
                  <a:lnTo>
                    <a:pt x="1836" y="1831"/>
                  </a:lnTo>
                  <a:lnTo>
                    <a:pt x="1835" y="1834"/>
                  </a:lnTo>
                  <a:lnTo>
                    <a:pt x="1835" y="1831"/>
                  </a:lnTo>
                  <a:lnTo>
                    <a:pt x="1833" y="1833"/>
                  </a:lnTo>
                  <a:lnTo>
                    <a:pt x="1833" y="1831"/>
                  </a:lnTo>
                  <a:lnTo>
                    <a:pt x="1832" y="1831"/>
                  </a:lnTo>
                  <a:lnTo>
                    <a:pt x="1832" y="1830"/>
                  </a:lnTo>
                  <a:lnTo>
                    <a:pt x="1835" y="1827"/>
                  </a:lnTo>
                  <a:lnTo>
                    <a:pt x="1838" y="1827"/>
                  </a:lnTo>
                  <a:lnTo>
                    <a:pt x="1839" y="1825"/>
                  </a:lnTo>
                  <a:lnTo>
                    <a:pt x="1842" y="1825"/>
                  </a:lnTo>
                  <a:lnTo>
                    <a:pt x="1841" y="1824"/>
                  </a:lnTo>
                  <a:lnTo>
                    <a:pt x="1839" y="1824"/>
                  </a:lnTo>
                  <a:lnTo>
                    <a:pt x="1836" y="1825"/>
                  </a:lnTo>
                  <a:lnTo>
                    <a:pt x="1835" y="1827"/>
                  </a:lnTo>
                  <a:lnTo>
                    <a:pt x="1833" y="1827"/>
                  </a:lnTo>
                  <a:lnTo>
                    <a:pt x="1833" y="1828"/>
                  </a:lnTo>
                  <a:lnTo>
                    <a:pt x="1830" y="1828"/>
                  </a:lnTo>
                  <a:lnTo>
                    <a:pt x="1829" y="1827"/>
                  </a:lnTo>
                  <a:lnTo>
                    <a:pt x="1827" y="1827"/>
                  </a:lnTo>
                  <a:lnTo>
                    <a:pt x="1826" y="1828"/>
                  </a:lnTo>
                  <a:lnTo>
                    <a:pt x="1829" y="1828"/>
                  </a:lnTo>
                  <a:lnTo>
                    <a:pt x="1832" y="1831"/>
                  </a:lnTo>
                  <a:lnTo>
                    <a:pt x="1832" y="1833"/>
                  </a:lnTo>
                  <a:lnTo>
                    <a:pt x="1830" y="1834"/>
                  </a:lnTo>
                  <a:lnTo>
                    <a:pt x="1830" y="1836"/>
                  </a:lnTo>
                  <a:lnTo>
                    <a:pt x="1829" y="1836"/>
                  </a:lnTo>
                  <a:lnTo>
                    <a:pt x="1833" y="1840"/>
                  </a:lnTo>
                  <a:lnTo>
                    <a:pt x="1835" y="1840"/>
                  </a:lnTo>
                  <a:lnTo>
                    <a:pt x="1835" y="1842"/>
                  </a:lnTo>
                  <a:lnTo>
                    <a:pt x="1836" y="1843"/>
                  </a:lnTo>
                  <a:lnTo>
                    <a:pt x="1833" y="1843"/>
                  </a:lnTo>
                  <a:lnTo>
                    <a:pt x="1833" y="1842"/>
                  </a:lnTo>
                  <a:lnTo>
                    <a:pt x="1830" y="1842"/>
                  </a:lnTo>
                  <a:lnTo>
                    <a:pt x="1830" y="1840"/>
                  </a:lnTo>
                  <a:lnTo>
                    <a:pt x="1829" y="1840"/>
                  </a:lnTo>
                  <a:lnTo>
                    <a:pt x="1829" y="1839"/>
                  </a:lnTo>
                  <a:lnTo>
                    <a:pt x="1827" y="1837"/>
                  </a:lnTo>
                  <a:lnTo>
                    <a:pt x="1826" y="1837"/>
                  </a:lnTo>
                  <a:lnTo>
                    <a:pt x="1827" y="1836"/>
                  </a:lnTo>
                  <a:lnTo>
                    <a:pt x="1824" y="1837"/>
                  </a:lnTo>
                  <a:lnTo>
                    <a:pt x="1826" y="1837"/>
                  </a:lnTo>
                  <a:lnTo>
                    <a:pt x="1827" y="1840"/>
                  </a:lnTo>
                  <a:lnTo>
                    <a:pt x="1830" y="1843"/>
                  </a:lnTo>
                  <a:lnTo>
                    <a:pt x="1829" y="1843"/>
                  </a:lnTo>
                  <a:lnTo>
                    <a:pt x="1829" y="1845"/>
                  </a:lnTo>
                  <a:lnTo>
                    <a:pt x="1836" y="1852"/>
                  </a:lnTo>
                  <a:lnTo>
                    <a:pt x="1833" y="1858"/>
                  </a:lnTo>
                  <a:lnTo>
                    <a:pt x="1833" y="1863"/>
                  </a:lnTo>
                  <a:lnTo>
                    <a:pt x="1836" y="1863"/>
                  </a:lnTo>
                  <a:lnTo>
                    <a:pt x="1836" y="1866"/>
                  </a:lnTo>
                  <a:lnTo>
                    <a:pt x="1835" y="1866"/>
                  </a:lnTo>
                  <a:lnTo>
                    <a:pt x="1835" y="1870"/>
                  </a:lnTo>
                  <a:lnTo>
                    <a:pt x="1833" y="1870"/>
                  </a:lnTo>
                  <a:lnTo>
                    <a:pt x="1830" y="1873"/>
                  </a:lnTo>
                  <a:lnTo>
                    <a:pt x="1829" y="1873"/>
                  </a:lnTo>
                  <a:lnTo>
                    <a:pt x="1827" y="1872"/>
                  </a:lnTo>
                  <a:lnTo>
                    <a:pt x="1827" y="1870"/>
                  </a:lnTo>
                  <a:lnTo>
                    <a:pt x="1824" y="1869"/>
                  </a:lnTo>
                  <a:lnTo>
                    <a:pt x="1824" y="1866"/>
                  </a:lnTo>
                  <a:lnTo>
                    <a:pt x="1820" y="1861"/>
                  </a:lnTo>
                  <a:lnTo>
                    <a:pt x="1820" y="1858"/>
                  </a:lnTo>
                  <a:lnTo>
                    <a:pt x="1818" y="1858"/>
                  </a:lnTo>
                  <a:lnTo>
                    <a:pt x="1817" y="1854"/>
                  </a:lnTo>
                  <a:lnTo>
                    <a:pt x="1815" y="1852"/>
                  </a:lnTo>
                  <a:lnTo>
                    <a:pt x="1815" y="1858"/>
                  </a:lnTo>
                  <a:lnTo>
                    <a:pt x="1817" y="1858"/>
                  </a:lnTo>
                  <a:lnTo>
                    <a:pt x="1818" y="1860"/>
                  </a:lnTo>
                  <a:lnTo>
                    <a:pt x="1823" y="1866"/>
                  </a:lnTo>
                  <a:lnTo>
                    <a:pt x="1823" y="1869"/>
                  </a:lnTo>
                  <a:lnTo>
                    <a:pt x="1824" y="1869"/>
                  </a:lnTo>
                  <a:lnTo>
                    <a:pt x="1824" y="1870"/>
                  </a:lnTo>
                  <a:lnTo>
                    <a:pt x="1827" y="1872"/>
                  </a:lnTo>
                  <a:lnTo>
                    <a:pt x="1824" y="1873"/>
                  </a:lnTo>
                  <a:lnTo>
                    <a:pt x="1823" y="1872"/>
                  </a:lnTo>
                  <a:lnTo>
                    <a:pt x="1821" y="1873"/>
                  </a:lnTo>
                  <a:lnTo>
                    <a:pt x="1821" y="1875"/>
                  </a:lnTo>
                  <a:lnTo>
                    <a:pt x="1820" y="1875"/>
                  </a:lnTo>
                  <a:lnTo>
                    <a:pt x="1820" y="1879"/>
                  </a:lnTo>
                  <a:lnTo>
                    <a:pt x="1817" y="1879"/>
                  </a:lnTo>
                  <a:lnTo>
                    <a:pt x="1815" y="1881"/>
                  </a:lnTo>
                  <a:lnTo>
                    <a:pt x="1814" y="1879"/>
                  </a:lnTo>
                  <a:lnTo>
                    <a:pt x="1814" y="1870"/>
                  </a:lnTo>
                  <a:lnTo>
                    <a:pt x="1812" y="1872"/>
                  </a:lnTo>
                  <a:lnTo>
                    <a:pt x="1812" y="1875"/>
                  </a:lnTo>
                  <a:lnTo>
                    <a:pt x="1809" y="1875"/>
                  </a:lnTo>
                  <a:lnTo>
                    <a:pt x="1809" y="1884"/>
                  </a:lnTo>
                  <a:lnTo>
                    <a:pt x="1808" y="1884"/>
                  </a:lnTo>
                  <a:lnTo>
                    <a:pt x="1808" y="1887"/>
                  </a:lnTo>
                  <a:lnTo>
                    <a:pt x="1806" y="1887"/>
                  </a:lnTo>
                  <a:lnTo>
                    <a:pt x="1805" y="1888"/>
                  </a:lnTo>
                  <a:lnTo>
                    <a:pt x="1803" y="1887"/>
                  </a:lnTo>
                  <a:lnTo>
                    <a:pt x="1802" y="1887"/>
                  </a:lnTo>
                  <a:lnTo>
                    <a:pt x="1802" y="1884"/>
                  </a:lnTo>
                  <a:lnTo>
                    <a:pt x="1799" y="1884"/>
                  </a:lnTo>
                  <a:lnTo>
                    <a:pt x="1796" y="1885"/>
                  </a:lnTo>
                  <a:lnTo>
                    <a:pt x="1796" y="1887"/>
                  </a:lnTo>
                  <a:lnTo>
                    <a:pt x="1795" y="1887"/>
                  </a:lnTo>
                  <a:lnTo>
                    <a:pt x="1795" y="1888"/>
                  </a:lnTo>
                  <a:lnTo>
                    <a:pt x="1792" y="1888"/>
                  </a:lnTo>
                  <a:lnTo>
                    <a:pt x="1792" y="1891"/>
                  </a:lnTo>
                  <a:lnTo>
                    <a:pt x="1790" y="1893"/>
                  </a:lnTo>
                  <a:lnTo>
                    <a:pt x="1787" y="1893"/>
                  </a:lnTo>
                  <a:lnTo>
                    <a:pt x="1783" y="1890"/>
                  </a:lnTo>
                  <a:lnTo>
                    <a:pt x="1783" y="1888"/>
                  </a:lnTo>
                  <a:lnTo>
                    <a:pt x="1781" y="1888"/>
                  </a:lnTo>
                  <a:lnTo>
                    <a:pt x="1781" y="1887"/>
                  </a:lnTo>
                  <a:lnTo>
                    <a:pt x="1786" y="1882"/>
                  </a:lnTo>
                  <a:lnTo>
                    <a:pt x="1784" y="1882"/>
                  </a:lnTo>
                  <a:lnTo>
                    <a:pt x="1784" y="1884"/>
                  </a:lnTo>
                  <a:lnTo>
                    <a:pt x="1780" y="1884"/>
                  </a:lnTo>
                  <a:lnTo>
                    <a:pt x="1780" y="1881"/>
                  </a:lnTo>
                  <a:lnTo>
                    <a:pt x="1781" y="1879"/>
                  </a:lnTo>
                  <a:lnTo>
                    <a:pt x="1781" y="1878"/>
                  </a:lnTo>
                  <a:lnTo>
                    <a:pt x="1780" y="1878"/>
                  </a:lnTo>
                  <a:lnTo>
                    <a:pt x="1780" y="1879"/>
                  </a:lnTo>
                  <a:lnTo>
                    <a:pt x="1778" y="1881"/>
                  </a:lnTo>
                  <a:lnTo>
                    <a:pt x="1778" y="1882"/>
                  </a:lnTo>
                  <a:lnTo>
                    <a:pt x="1780" y="1884"/>
                  </a:lnTo>
                  <a:lnTo>
                    <a:pt x="1780" y="1885"/>
                  </a:lnTo>
                  <a:lnTo>
                    <a:pt x="1781" y="1887"/>
                  </a:lnTo>
                  <a:lnTo>
                    <a:pt x="1780" y="1887"/>
                  </a:lnTo>
                  <a:lnTo>
                    <a:pt x="1780" y="1888"/>
                  </a:lnTo>
                  <a:lnTo>
                    <a:pt x="1781" y="1888"/>
                  </a:lnTo>
                  <a:lnTo>
                    <a:pt x="1781" y="1891"/>
                  </a:lnTo>
                  <a:lnTo>
                    <a:pt x="1780" y="1893"/>
                  </a:lnTo>
                  <a:lnTo>
                    <a:pt x="1780" y="1894"/>
                  </a:lnTo>
                  <a:lnTo>
                    <a:pt x="1778" y="1894"/>
                  </a:lnTo>
                  <a:lnTo>
                    <a:pt x="1775" y="1896"/>
                  </a:lnTo>
                  <a:lnTo>
                    <a:pt x="1774" y="1896"/>
                  </a:lnTo>
                  <a:lnTo>
                    <a:pt x="1771" y="1893"/>
                  </a:lnTo>
                  <a:lnTo>
                    <a:pt x="1772" y="1891"/>
                  </a:lnTo>
                  <a:lnTo>
                    <a:pt x="1772" y="1890"/>
                  </a:lnTo>
                  <a:lnTo>
                    <a:pt x="1771" y="1890"/>
                  </a:lnTo>
                  <a:lnTo>
                    <a:pt x="1766" y="1891"/>
                  </a:lnTo>
                  <a:lnTo>
                    <a:pt x="1763" y="1891"/>
                  </a:lnTo>
                  <a:lnTo>
                    <a:pt x="1763" y="1890"/>
                  </a:lnTo>
                  <a:lnTo>
                    <a:pt x="1765" y="1888"/>
                  </a:lnTo>
                  <a:lnTo>
                    <a:pt x="1765" y="1887"/>
                  </a:lnTo>
                  <a:lnTo>
                    <a:pt x="1762" y="1890"/>
                  </a:lnTo>
                  <a:lnTo>
                    <a:pt x="1760" y="1888"/>
                  </a:lnTo>
                  <a:lnTo>
                    <a:pt x="1760" y="1887"/>
                  </a:lnTo>
                  <a:lnTo>
                    <a:pt x="1759" y="1885"/>
                  </a:lnTo>
                  <a:lnTo>
                    <a:pt x="1757" y="1885"/>
                  </a:lnTo>
                  <a:lnTo>
                    <a:pt x="1757" y="1890"/>
                  </a:lnTo>
                  <a:lnTo>
                    <a:pt x="1759" y="1890"/>
                  </a:lnTo>
                  <a:lnTo>
                    <a:pt x="1759" y="1891"/>
                  </a:lnTo>
                  <a:lnTo>
                    <a:pt x="1760" y="1891"/>
                  </a:lnTo>
                  <a:lnTo>
                    <a:pt x="1762" y="1893"/>
                  </a:lnTo>
                  <a:lnTo>
                    <a:pt x="1759" y="1896"/>
                  </a:lnTo>
                  <a:lnTo>
                    <a:pt x="1757" y="1896"/>
                  </a:lnTo>
                  <a:lnTo>
                    <a:pt x="1757" y="1897"/>
                  </a:lnTo>
                  <a:lnTo>
                    <a:pt x="1756" y="1897"/>
                  </a:lnTo>
                  <a:lnTo>
                    <a:pt x="1756" y="1896"/>
                  </a:lnTo>
                  <a:lnTo>
                    <a:pt x="1754" y="1894"/>
                  </a:lnTo>
                  <a:lnTo>
                    <a:pt x="1753" y="1894"/>
                  </a:lnTo>
                  <a:lnTo>
                    <a:pt x="1753" y="1893"/>
                  </a:lnTo>
                  <a:lnTo>
                    <a:pt x="1748" y="1893"/>
                  </a:lnTo>
                  <a:lnTo>
                    <a:pt x="1751" y="1894"/>
                  </a:lnTo>
                  <a:lnTo>
                    <a:pt x="1753" y="1896"/>
                  </a:lnTo>
                  <a:lnTo>
                    <a:pt x="1753" y="1900"/>
                  </a:lnTo>
                  <a:lnTo>
                    <a:pt x="1748" y="1900"/>
                  </a:lnTo>
                  <a:lnTo>
                    <a:pt x="1747" y="1903"/>
                  </a:lnTo>
                  <a:lnTo>
                    <a:pt x="1745" y="1905"/>
                  </a:lnTo>
                  <a:lnTo>
                    <a:pt x="1744" y="1903"/>
                  </a:lnTo>
                  <a:lnTo>
                    <a:pt x="1744" y="1905"/>
                  </a:lnTo>
                  <a:lnTo>
                    <a:pt x="1738" y="1905"/>
                  </a:lnTo>
                  <a:lnTo>
                    <a:pt x="1738" y="1903"/>
                  </a:lnTo>
                  <a:lnTo>
                    <a:pt x="1736" y="1903"/>
                  </a:lnTo>
                  <a:lnTo>
                    <a:pt x="1736" y="1902"/>
                  </a:lnTo>
                  <a:lnTo>
                    <a:pt x="1735" y="1902"/>
                  </a:lnTo>
                  <a:lnTo>
                    <a:pt x="1735" y="1903"/>
                  </a:lnTo>
                  <a:lnTo>
                    <a:pt x="1733" y="1903"/>
                  </a:lnTo>
                  <a:lnTo>
                    <a:pt x="1733" y="1905"/>
                  </a:lnTo>
                  <a:lnTo>
                    <a:pt x="1735" y="1905"/>
                  </a:lnTo>
                  <a:lnTo>
                    <a:pt x="1733" y="1906"/>
                  </a:lnTo>
                  <a:lnTo>
                    <a:pt x="1732" y="1906"/>
                  </a:lnTo>
                  <a:lnTo>
                    <a:pt x="1729" y="1909"/>
                  </a:lnTo>
                  <a:lnTo>
                    <a:pt x="1729" y="1908"/>
                  </a:lnTo>
                  <a:lnTo>
                    <a:pt x="1730" y="1906"/>
                  </a:lnTo>
                  <a:lnTo>
                    <a:pt x="1729" y="1906"/>
                  </a:lnTo>
                  <a:lnTo>
                    <a:pt x="1729" y="1905"/>
                  </a:lnTo>
                  <a:lnTo>
                    <a:pt x="1724" y="1905"/>
                  </a:lnTo>
                  <a:lnTo>
                    <a:pt x="1724" y="1906"/>
                  </a:lnTo>
                  <a:lnTo>
                    <a:pt x="1726" y="1906"/>
                  </a:lnTo>
                  <a:lnTo>
                    <a:pt x="1724" y="1908"/>
                  </a:lnTo>
                  <a:lnTo>
                    <a:pt x="1721" y="1908"/>
                  </a:lnTo>
                  <a:lnTo>
                    <a:pt x="1721" y="1906"/>
                  </a:lnTo>
                  <a:lnTo>
                    <a:pt x="1720" y="1906"/>
                  </a:lnTo>
                  <a:lnTo>
                    <a:pt x="1720" y="1905"/>
                  </a:lnTo>
                  <a:lnTo>
                    <a:pt x="1715" y="1905"/>
                  </a:lnTo>
                  <a:lnTo>
                    <a:pt x="1717" y="1906"/>
                  </a:lnTo>
                  <a:lnTo>
                    <a:pt x="1717" y="1908"/>
                  </a:lnTo>
                  <a:lnTo>
                    <a:pt x="1715" y="1908"/>
                  </a:lnTo>
                  <a:lnTo>
                    <a:pt x="1715" y="1909"/>
                  </a:lnTo>
                  <a:lnTo>
                    <a:pt x="1714" y="1909"/>
                  </a:lnTo>
                  <a:lnTo>
                    <a:pt x="1712" y="1911"/>
                  </a:lnTo>
                  <a:lnTo>
                    <a:pt x="1711" y="1911"/>
                  </a:lnTo>
                  <a:lnTo>
                    <a:pt x="1711" y="1912"/>
                  </a:lnTo>
                  <a:lnTo>
                    <a:pt x="1709" y="1911"/>
                  </a:lnTo>
                  <a:lnTo>
                    <a:pt x="1706" y="1911"/>
                  </a:lnTo>
                  <a:lnTo>
                    <a:pt x="1703" y="1914"/>
                  </a:lnTo>
                  <a:lnTo>
                    <a:pt x="1700" y="1914"/>
                  </a:lnTo>
                  <a:lnTo>
                    <a:pt x="1700" y="1912"/>
                  </a:lnTo>
                  <a:lnTo>
                    <a:pt x="1699" y="1914"/>
                  </a:lnTo>
                  <a:lnTo>
                    <a:pt x="1699" y="1917"/>
                  </a:lnTo>
                  <a:lnTo>
                    <a:pt x="1700" y="1918"/>
                  </a:lnTo>
                  <a:lnTo>
                    <a:pt x="1700" y="1920"/>
                  </a:lnTo>
                  <a:lnTo>
                    <a:pt x="1699" y="1920"/>
                  </a:lnTo>
                  <a:lnTo>
                    <a:pt x="1697" y="1918"/>
                  </a:lnTo>
                  <a:lnTo>
                    <a:pt x="1697" y="1920"/>
                  </a:lnTo>
                  <a:lnTo>
                    <a:pt x="1693" y="1920"/>
                  </a:lnTo>
                  <a:lnTo>
                    <a:pt x="1693" y="1921"/>
                  </a:lnTo>
                  <a:lnTo>
                    <a:pt x="1694" y="1921"/>
                  </a:lnTo>
                  <a:lnTo>
                    <a:pt x="1696" y="1920"/>
                  </a:lnTo>
                  <a:lnTo>
                    <a:pt x="1696" y="1923"/>
                  </a:lnTo>
                  <a:lnTo>
                    <a:pt x="1697" y="1921"/>
                  </a:lnTo>
                  <a:lnTo>
                    <a:pt x="1699" y="1921"/>
                  </a:lnTo>
                  <a:lnTo>
                    <a:pt x="1697" y="1924"/>
                  </a:lnTo>
                  <a:lnTo>
                    <a:pt x="1696" y="1925"/>
                  </a:lnTo>
                  <a:lnTo>
                    <a:pt x="1694" y="1924"/>
                  </a:lnTo>
                  <a:lnTo>
                    <a:pt x="1694" y="1923"/>
                  </a:lnTo>
                  <a:lnTo>
                    <a:pt x="1691" y="1923"/>
                  </a:lnTo>
                  <a:lnTo>
                    <a:pt x="1691" y="1918"/>
                  </a:lnTo>
                  <a:lnTo>
                    <a:pt x="1690" y="1918"/>
                  </a:lnTo>
                  <a:lnTo>
                    <a:pt x="1690" y="1917"/>
                  </a:lnTo>
                  <a:lnTo>
                    <a:pt x="1693" y="1917"/>
                  </a:lnTo>
                  <a:lnTo>
                    <a:pt x="1693" y="1915"/>
                  </a:lnTo>
                  <a:lnTo>
                    <a:pt x="1691" y="1915"/>
                  </a:lnTo>
                  <a:lnTo>
                    <a:pt x="1693" y="1914"/>
                  </a:lnTo>
                  <a:lnTo>
                    <a:pt x="1691" y="1914"/>
                  </a:lnTo>
                  <a:lnTo>
                    <a:pt x="1691" y="1915"/>
                  </a:lnTo>
                  <a:lnTo>
                    <a:pt x="1690" y="1915"/>
                  </a:lnTo>
                  <a:lnTo>
                    <a:pt x="1690" y="1914"/>
                  </a:lnTo>
                  <a:lnTo>
                    <a:pt x="1691" y="1911"/>
                  </a:lnTo>
                  <a:lnTo>
                    <a:pt x="1690" y="1911"/>
                  </a:lnTo>
                  <a:lnTo>
                    <a:pt x="1690" y="1912"/>
                  </a:lnTo>
                  <a:lnTo>
                    <a:pt x="1688" y="1911"/>
                  </a:lnTo>
                  <a:lnTo>
                    <a:pt x="1688" y="1915"/>
                  </a:lnTo>
                  <a:lnTo>
                    <a:pt x="1687" y="1915"/>
                  </a:lnTo>
                  <a:lnTo>
                    <a:pt x="1687" y="1917"/>
                  </a:lnTo>
                  <a:lnTo>
                    <a:pt x="1688" y="1917"/>
                  </a:lnTo>
                  <a:lnTo>
                    <a:pt x="1688" y="1918"/>
                  </a:lnTo>
                  <a:lnTo>
                    <a:pt x="1690" y="1918"/>
                  </a:lnTo>
                  <a:lnTo>
                    <a:pt x="1690" y="1920"/>
                  </a:lnTo>
                  <a:lnTo>
                    <a:pt x="1691" y="1920"/>
                  </a:lnTo>
                  <a:lnTo>
                    <a:pt x="1690" y="1921"/>
                  </a:lnTo>
                  <a:lnTo>
                    <a:pt x="1688" y="1921"/>
                  </a:lnTo>
                  <a:lnTo>
                    <a:pt x="1688" y="1923"/>
                  </a:lnTo>
                  <a:lnTo>
                    <a:pt x="1687" y="1924"/>
                  </a:lnTo>
                  <a:lnTo>
                    <a:pt x="1685" y="1924"/>
                  </a:lnTo>
                  <a:lnTo>
                    <a:pt x="1685" y="1925"/>
                  </a:lnTo>
                  <a:lnTo>
                    <a:pt x="1682" y="1925"/>
                  </a:lnTo>
                  <a:lnTo>
                    <a:pt x="1681" y="1928"/>
                  </a:lnTo>
                  <a:lnTo>
                    <a:pt x="1679" y="1928"/>
                  </a:lnTo>
                  <a:lnTo>
                    <a:pt x="1678" y="1931"/>
                  </a:lnTo>
                  <a:lnTo>
                    <a:pt x="1678" y="1937"/>
                  </a:lnTo>
                  <a:lnTo>
                    <a:pt x="1679" y="1937"/>
                  </a:lnTo>
                  <a:lnTo>
                    <a:pt x="1679" y="1939"/>
                  </a:lnTo>
                  <a:lnTo>
                    <a:pt x="1681" y="1937"/>
                  </a:lnTo>
                  <a:lnTo>
                    <a:pt x="1687" y="1937"/>
                  </a:lnTo>
                  <a:lnTo>
                    <a:pt x="1690" y="1940"/>
                  </a:lnTo>
                  <a:lnTo>
                    <a:pt x="1690" y="1942"/>
                  </a:lnTo>
                  <a:lnTo>
                    <a:pt x="1688" y="1943"/>
                  </a:lnTo>
                  <a:lnTo>
                    <a:pt x="1688" y="1945"/>
                  </a:lnTo>
                  <a:lnTo>
                    <a:pt x="1687" y="1943"/>
                  </a:lnTo>
                  <a:lnTo>
                    <a:pt x="1687" y="1939"/>
                  </a:lnTo>
                  <a:lnTo>
                    <a:pt x="1685" y="1939"/>
                  </a:lnTo>
                  <a:lnTo>
                    <a:pt x="1685" y="1943"/>
                  </a:lnTo>
                  <a:lnTo>
                    <a:pt x="1687" y="1943"/>
                  </a:lnTo>
                  <a:lnTo>
                    <a:pt x="1684" y="1946"/>
                  </a:lnTo>
                  <a:lnTo>
                    <a:pt x="1685" y="1946"/>
                  </a:lnTo>
                  <a:lnTo>
                    <a:pt x="1685" y="1948"/>
                  </a:lnTo>
                  <a:lnTo>
                    <a:pt x="1688" y="1948"/>
                  </a:lnTo>
                  <a:lnTo>
                    <a:pt x="1688" y="1949"/>
                  </a:lnTo>
                  <a:lnTo>
                    <a:pt x="1690" y="1951"/>
                  </a:lnTo>
                  <a:lnTo>
                    <a:pt x="1693" y="1951"/>
                  </a:lnTo>
                  <a:lnTo>
                    <a:pt x="1693" y="1952"/>
                  </a:lnTo>
                  <a:lnTo>
                    <a:pt x="1696" y="1955"/>
                  </a:lnTo>
                  <a:lnTo>
                    <a:pt x="1694" y="1958"/>
                  </a:lnTo>
                  <a:lnTo>
                    <a:pt x="1691" y="1961"/>
                  </a:lnTo>
                  <a:lnTo>
                    <a:pt x="1690" y="1964"/>
                  </a:lnTo>
                  <a:lnTo>
                    <a:pt x="1687" y="1964"/>
                  </a:lnTo>
                  <a:lnTo>
                    <a:pt x="1687" y="1966"/>
                  </a:lnTo>
                  <a:lnTo>
                    <a:pt x="1679" y="1966"/>
                  </a:lnTo>
                  <a:lnTo>
                    <a:pt x="1676" y="1967"/>
                  </a:lnTo>
                  <a:lnTo>
                    <a:pt x="1676" y="1966"/>
                  </a:lnTo>
                  <a:lnTo>
                    <a:pt x="1673" y="1966"/>
                  </a:lnTo>
                  <a:lnTo>
                    <a:pt x="1673" y="1964"/>
                  </a:lnTo>
                  <a:lnTo>
                    <a:pt x="1672" y="1964"/>
                  </a:lnTo>
                  <a:lnTo>
                    <a:pt x="1672" y="1966"/>
                  </a:lnTo>
                  <a:lnTo>
                    <a:pt x="1670" y="1966"/>
                  </a:lnTo>
                  <a:lnTo>
                    <a:pt x="1670" y="1964"/>
                  </a:lnTo>
                  <a:lnTo>
                    <a:pt x="1669" y="1966"/>
                  </a:lnTo>
                  <a:lnTo>
                    <a:pt x="1667" y="1966"/>
                  </a:lnTo>
                  <a:lnTo>
                    <a:pt x="1667" y="1961"/>
                  </a:lnTo>
                  <a:lnTo>
                    <a:pt x="1666" y="1961"/>
                  </a:lnTo>
                  <a:lnTo>
                    <a:pt x="1664" y="1960"/>
                  </a:lnTo>
                  <a:lnTo>
                    <a:pt x="1664" y="1958"/>
                  </a:lnTo>
                  <a:lnTo>
                    <a:pt x="1667" y="1958"/>
                  </a:lnTo>
                  <a:lnTo>
                    <a:pt x="1667" y="1960"/>
                  </a:lnTo>
                  <a:lnTo>
                    <a:pt x="1669" y="1960"/>
                  </a:lnTo>
                  <a:lnTo>
                    <a:pt x="1669" y="1961"/>
                  </a:lnTo>
                  <a:lnTo>
                    <a:pt x="1670" y="1961"/>
                  </a:lnTo>
                  <a:lnTo>
                    <a:pt x="1670" y="1960"/>
                  </a:lnTo>
                  <a:lnTo>
                    <a:pt x="1672" y="1958"/>
                  </a:lnTo>
                  <a:lnTo>
                    <a:pt x="1670" y="1958"/>
                  </a:lnTo>
                  <a:lnTo>
                    <a:pt x="1670" y="1957"/>
                  </a:lnTo>
                  <a:lnTo>
                    <a:pt x="1667" y="1957"/>
                  </a:lnTo>
                  <a:lnTo>
                    <a:pt x="1664" y="1954"/>
                  </a:lnTo>
                  <a:lnTo>
                    <a:pt x="1663" y="1954"/>
                  </a:lnTo>
                  <a:lnTo>
                    <a:pt x="1663" y="1951"/>
                  </a:lnTo>
                  <a:lnTo>
                    <a:pt x="1664" y="1949"/>
                  </a:lnTo>
                  <a:lnTo>
                    <a:pt x="1663" y="1949"/>
                  </a:lnTo>
                  <a:lnTo>
                    <a:pt x="1663" y="1951"/>
                  </a:lnTo>
                  <a:lnTo>
                    <a:pt x="1658" y="1946"/>
                  </a:lnTo>
                  <a:lnTo>
                    <a:pt x="1660" y="1946"/>
                  </a:lnTo>
                  <a:lnTo>
                    <a:pt x="1660" y="1945"/>
                  </a:lnTo>
                  <a:lnTo>
                    <a:pt x="1661" y="1946"/>
                  </a:lnTo>
                  <a:lnTo>
                    <a:pt x="1661" y="1945"/>
                  </a:lnTo>
                  <a:lnTo>
                    <a:pt x="1660" y="1943"/>
                  </a:lnTo>
                  <a:lnTo>
                    <a:pt x="1660" y="1937"/>
                  </a:lnTo>
                  <a:lnTo>
                    <a:pt x="1658" y="1936"/>
                  </a:lnTo>
                  <a:lnTo>
                    <a:pt x="1658" y="1939"/>
                  </a:lnTo>
                  <a:lnTo>
                    <a:pt x="1657" y="1939"/>
                  </a:lnTo>
                  <a:lnTo>
                    <a:pt x="1655" y="1936"/>
                  </a:lnTo>
                  <a:lnTo>
                    <a:pt x="1655" y="1934"/>
                  </a:lnTo>
                  <a:lnTo>
                    <a:pt x="1657" y="1933"/>
                  </a:lnTo>
                  <a:lnTo>
                    <a:pt x="1655" y="1931"/>
                  </a:lnTo>
                  <a:lnTo>
                    <a:pt x="1655" y="1930"/>
                  </a:lnTo>
                  <a:lnTo>
                    <a:pt x="1657" y="1928"/>
                  </a:lnTo>
                  <a:lnTo>
                    <a:pt x="1657" y="1925"/>
                  </a:lnTo>
                  <a:lnTo>
                    <a:pt x="1655" y="1924"/>
                  </a:lnTo>
                  <a:lnTo>
                    <a:pt x="1657" y="1923"/>
                  </a:lnTo>
                  <a:lnTo>
                    <a:pt x="1657" y="1921"/>
                  </a:lnTo>
                  <a:lnTo>
                    <a:pt x="1658" y="1921"/>
                  </a:lnTo>
                  <a:lnTo>
                    <a:pt x="1658" y="1923"/>
                  </a:lnTo>
                  <a:lnTo>
                    <a:pt x="1660" y="1923"/>
                  </a:lnTo>
                  <a:lnTo>
                    <a:pt x="1658" y="1921"/>
                  </a:lnTo>
                  <a:lnTo>
                    <a:pt x="1660" y="1921"/>
                  </a:lnTo>
                  <a:lnTo>
                    <a:pt x="1660" y="1914"/>
                  </a:lnTo>
                  <a:lnTo>
                    <a:pt x="1661" y="1914"/>
                  </a:lnTo>
                  <a:lnTo>
                    <a:pt x="1663" y="1912"/>
                  </a:lnTo>
                  <a:lnTo>
                    <a:pt x="1663" y="1914"/>
                  </a:lnTo>
                  <a:lnTo>
                    <a:pt x="1667" y="1912"/>
                  </a:lnTo>
                  <a:lnTo>
                    <a:pt x="1666" y="1911"/>
                  </a:lnTo>
                  <a:lnTo>
                    <a:pt x="1667" y="1911"/>
                  </a:lnTo>
                  <a:lnTo>
                    <a:pt x="1667" y="1909"/>
                  </a:lnTo>
                  <a:lnTo>
                    <a:pt x="1669" y="1908"/>
                  </a:lnTo>
                  <a:lnTo>
                    <a:pt x="1667" y="1908"/>
                  </a:lnTo>
                  <a:lnTo>
                    <a:pt x="1667" y="1906"/>
                  </a:lnTo>
                  <a:lnTo>
                    <a:pt x="1663" y="1906"/>
                  </a:lnTo>
                  <a:lnTo>
                    <a:pt x="1663" y="1908"/>
                  </a:lnTo>
                  <a:lnTo>
                    <a:pt x="1661" y="1908"/>
                  </a:lnTo>
                  <a:lnTo>
                    <a:pt x="1661" y="1903"/>
                  </a:lnTo>
                  <a:lnTo>
                    <a:pt x="1660" y="1903"/>
                  </a:lnTo>
                  <a:lnTo>
                    <a:pt x="1660" y="1902"/>
                  </a:lnTo>
                  <a:lnTo>
                    <a:pt x="1658" y="1902"/>
                  </a:lnTo>
                  <a:lnTo>
                    <a:pt x="1658" y="1903"/>
                  </a:lnTo>
                  <a:lnTo>
                    <a:pt x="1660" y="1905"/>
                  </a:lnTo>
                  <a:lnTo>
                    <a:pt x="1660" y="1906"/>
                  </a:lnTo>
                  <a:lnTo>
                    <a:pt x="1658" y="1908"/>
                  </a:lnTo>
                  <a:lnTo>
                    <a:pt x="1657" y="1906"/>
                  </a:lnTo>
                  <a:lnTo>
                    <a:pt x="1654" y="1905"/>
                  </a:lnTo>
                  <a:lnTo>
                    <a:pt x="1655" y="1905"/>
                  </a:lnTo>
                  <a:lnTo>
                    <a:pt x="1655" y="1900"/>
                  </a:lnTo>
                  <a:lnTo>
                    <a:pt x="1654" y="1900"/>
                  </a:lnTo>
                  <a:lnTo>
                    <a:pt x="1654" y="1903"/>
                  </a:lnTo>
                  <a:lnTo>
                    <a:pt x="1652" y="1902"/>
                  </a:lnTo>
                  <a:lnTo>
                    <a:pt x="1652" y="1899"/>
                  </a:lnTo>
                  <a:lnTo>
                    <a:pt x="1651" y="1899"/>
                  </a:lnTo>
                  <a:lnTo>
                    <a:pt x="1651" y="1893"/>
                  </a:lnTo>
                  <a:lnTo>
                    <a:pt x="1648" y="1896"/>
                  </a:lnTo>
                  <a:lnTo>
                    <a:pt x="1648" y="1899"/>
                  </a:lnTo>
                  <a:lnTo>
                    <a:pt x="1649" y="1899"/>
                  </a:lnTo>
                  <a:lnTo>
                    <a:pt x="1649" y="1900"/>
                  </a:lnTo>
                  <a:lnTo>
                    <a:pt x="1651" y="1902"/>
                  </a:lnTo>
                  <a:lnTo>
                    <a:pt x="1651" y="1905"/>
                  </a:lnTo>
                  <a:lnTo>
                    <a:pt x="1649" y="1906"/>
                  </a:lnTo>
                  <a:lnTo>
                    <a:pt x="1646" y="1908"/>
                  </a:lnTo>
                  <a:lnTo>
                    <a:pt x="1646" y="1906"/>
                  </a:lnTo>
                  <a:lnTo>
                    <a:pt x="1645" y="1906"/>
                  </a:lnTo>
                  <a:lnTo>
                    <a:pt x="1645" y="1908"/>
                  </a:lnTo>
                  <a:lnTo>
                    <a:pt x="1641" y="1908"/>
                  </a:lnTo>
                  <a:lnTo>
                    <a:pt x="1639" y="1906"/>
                  </a:lnTo>
                  <a:lnTo>
                    <a:pt x="1639" y="1909"/>
                  </a:lnTo>
                  <a:lnTo>
                    <a:pt x="1636" y="1909"/>
                  </a:lnTo>
                  <a:lnTo>
                    <a:pt x="1636" y="1906"/>
                  </a:lnTo>
                  <a:lnTo>
                    <a:pt x="1635" y="1908"/>
                  </a:lnTo>
                  <a:lnTo>
                    <a:pt x="1635" y="1909"/>
                  </a:lnTo>
                  <a:lnTo>
                    <a:pt x="1632" y="1909"/>
                  </a:lnTo>
                  <a:lnTo>
                    <a:pt x="1632" y="1911"/>
                  </a:lnTo>
                  <a:lnTo>
                    <a:pt x="1629" y="1909"/>
                  </a:lnTo>
                  <a:lnTo>
                    <a:pt x="1627" y="1909"/>
                  </a:lnTo>
                  <a:lnTo>
                    <a:pt x="1627" y="1906"/>
                  </a:lnTo>
                  <a:lnTo>
                    <a:pt x="1632" y="1906"/>
                  </a:lnTo>
                  <a:lnTo>
                    <a:pt x="1632" y="1900"/>
                  </a:lnTo>
                  <a:lnTo>
                    <a:pt x="1627" y="1900"/>
                  </a:lnTo>
                  <a:lnTo>
                    <a:pt x="1629" y="1899"/>
                  </a:lnTo>
                  <a:lnTo>
                    <a:pt x="1627" y="1899"/>
                  </a:lnTo>
                  <a:lnTo>
                    <a:pt x="1626" y="1900"/>
                  </a:lnTo>
                  <a:lnTo>
                    <a:pt x="1621" y="1900"/>
                  </a:lnTo>
                  <a:lnTo>
                    <a:pt x="1621" y="1899"/>
                  </a:lnTo>
                  <a:lnTo>
                    <a:pt x="1620" y="1897"/>
                  </a:lnTo>
                  <a:lnTo>
                    <a:pt x="1618" y="1897"/>
                  </a:lnTo>
                  <a:lnTo>
                    <a:pt x="1618" y="1894"/>
                  </a:lnTo>
                  <a:lnTo>
                    <a:pt x="1620" y="1894"/>
                  </a:lnTo>
                  <a:lnTo>
                    <a:pt x="1621" y="1893"/>
                  </a:lnTo>
                  <a:lnTo>
                    <a:pt x="1618" y="1893"/>
                  </a:lnTo>
                  <a:lnTo>
                    <a:pt x="1620" y="1891"/>
                  </a:lnTo>
                  <a:lnTo>
                    <a:pt x="1618" y="1891"/>
                  </a:lnTo>
                  <a:lnTo>
                    <a:pt x="1615" y="1890"/>
                  </a:lnTo>
                  <a:lnTo>
                    <a:pt x="1615" y="1891"/>
                  </a:lnTo>
                  <a:lnTo>
                    <a:pt x="1617" y="1891"/>
                  </a:lnTo>
                  <a:lnTo>
                    <a:pt x="1618" y="1893"/>
                  </a:lnTo>
                  <a:lnTo>
                    <a:pt x="1618" y="1894"/>
                  </a:lnTo>
                  <a:lnTo>
                    <a:pt x="1617" y="1894"/>
                  </a:lnTo>
                  <a:lnTo>
                    <a:pt x="1617" y="1893"/>
                  </a:lnTo>
                  <a:lnTo>
                    <a:pt x="1615" y="1893"/>
                  </a:lnTo>
                  <a:lnTo>
                    <a:pt x="1615" y="1896"/>
                  </a:lnTo>
                  <a:lnTo>
                    <a:pt x="1617" y="1896"/>
                  </a:lnTo>
                  <a:lnTo>
                    <a:pt x="1617" y="1897"/>
                  </a:lnTo>
                  <a:lnTo>
                    <a:pt x="1618" y="1897"/>
                  </a:lnTo>
                  <a:lnTo>
                    <a:pt x="1617" y="1899"/>
                  </a:lnTo>
                  <a:lnTo>
                    <a:pt x="1615" y="1899"/>
                  </a:lnTo>
                  <a:lnTo>
                    <a:pt x="1615" y="1900"/>
                  </a:lnTo>
                  <a:lnTo>
                    <a:pt x="1612" y="1900"/>
                  </a:lnTo>
                  <a:lnTo>
                    <a:pt x="1612" y="1897"/>
                  </a:lnTo>
                  <a:lnTo>
                    <a:pt x="1614" y="1899"/>
                  </a:lnTo>
                  <a:lnTo>
                    <a:pt x="1614" y="1897"/>
                  </a:lnTo>
                  <a:lnTo>
                    <a:pt x="1612" y="1897"/>
                  </a:lnTo>
                  <a:lnTo>
                    <a:pt x="1612" y="1894"/>
                  </a:lnTo>
                  <a:lnTo>
                    <a:pt x="1611" y="1894"/>
                  </a:lnTo>
                  <a:lnTo>
                    <a:pt x="1611" y="1896"/>
                  </a:lnTo>
                  <a:lnTo>
                    <a:pt x="1609" y="1896"/>
                  </a:lnTo>
                  <a:lnTo>
                    <a:pt x="1609" y="1891"/>
                  </a:lnTo>
                  <a:lnTo>
                    <a:pt x="1611" y="1890"/>
                  </a:lnTo>
                  <a:lnTo>
                    <a:pt x="1608" y="1890"/>
                  </a:lnTo>
                  <a:lnTo>
                    <a:pt x="1609" y="1891"/>
                  </a:lnTo>
                  <a:lnTo>
                    <a:pt x="1608" y="1891"/>
                  </a:lnTo>
                  <a:lnTo>
                    <a:pt x="1608" y="1894"/>
                  </a:lnTo>
                  <a:lnTo>
                    <a:pt x="1606" y="1894"/>
                  </a:lnTo>
                  <a:lnTo>
                    <a:pt x="1606" y="1893"/>
                  </a:lnTo>
                  <a:lnTo>
                    <a:pt x="1605" y="1891"/>
                  </a:lnTo>
                  <a:lnTo>
                    <a:pt x="1608" y="1888"/>
                  </a:lnTo>
                  <a:lnTo>
                    <a:pt x="1608" y="1887"/>
                  </a:lnTo>
                  <a:lnTo>
                    <a:pt x="1606" y="1885"/>
                  </a:lnTo>
                  <a:lnTo>
                    <a:pt x="1606" y="1887"/>
                  </a:lnTo>
                  <a:lnTo>
                    <a:pt x="1605" y="1887"/>
                  </a:lnTo>
                  <a:lnTo>
                    <a:pt x="1605" y="1885"/>
                  </a:lnTo>
                  <a:lnTo>
                    <a:pt x="1602" y="1885"/>
                  </a:lnTo>
                  <a:lnTo>
                    <a:pt x="1602" y="1887"/>
                  </a:lnTo>
                  <a:lnTo>
                    <a:pt x="1600" y="1888"/>
                  </a:lnTo>
                  <a:lnTo>
                    <a:pt x="1600" y="1891"/>
                  </a:lnTo>
                  <a:lnTo>
                    <a:pt x="1602" y="1890"/>
                  </a:lnTo>
                  <a:lnTo>
                    <a:pt x="1602" y="1897"/>
                  </a:lnTo>
                  <a:lnTo>
                    <a:pt x="1603" y="1896"/>
                  </a:lnTo>
                  <a:lnTo>
                    <a:pt x="1603" y="1897"/>
                  </a:lnTo>
                  <a:lnTo>
                    <a:pt x="1605" y="1896"/>
                  </a:lnTo>
                  <a:lnTo>
                    <a:pt x="1605" y="1897"/>
                  </a:lnTo>
                  <a:lnTo>
                    <a:pt x="1603" y="1899"/>
                  </a:lnTo>
                  <a:lnTo>
                    <a:pt x="1603" y="1900"/>
                  </a:lnTo>
                  <a:lnTo>
                    <a:pt x="1600" y="1900"/>
                  </a:lnTo>
                  <a:lnTo>
                    <a:pt x="1600" y="1903"/>
                  </a:lnTo>
                  <a:lnTo>
                    <a:pt x="1597" y="1903"/>
                  </a:lnTo>
                  <a:lnTo>
                    <a:pt x="1597" y="1900"/>
                  </a:lnTo>
                  <a:lnTo>
                    <a:pt x="1599" y="1902"/>
                  </a:lnTo>
                  <a:lnTo>
                    <a:pt x="1599" y="1899"/>
                  </a:lnTo>
                  <a:lnTo>
                    <a:pt x="1600" y="1899"/>
                  </a:lnTo>
                  <a:lnTo>
                    <a:pt x="1600" y="1897"/>
                  </a:lnTo>
                  <a:lnTo>
                    <a:pt x="1599" y="1897"/>
                  </a:lnTo>
                  <a:lnTo>
                    <a:pt x="1599" y="1896"/>
                  </a:lnTo>
                  <a:lnTo>
                    <a:pt x="1597" y="1897"/>
                  </a:lnTo>
                  <a:lnTo>
                    <a:pt x="1594" y="1896"/>
                  </a:lnTo>
                  <a:lnTo>
                    <a:pt x="1593" y="1897"/>
                  </a:lnTo>
                  <a:lnTo>
                    <a:pt x="1593" y="1899"/>
                  </a:lnTo>
                  <a:lnTo>
                    <a:pt x="1594" y="1900"/>
                  </a:lnTo>
                  <a:lnTo>
                    <a:pt x="1593" y="1900"/>
                  </a:lnTo>
                  <a:lnTo>
                    <a:pt x="1593" y="1903"/>
                  </a:lnTo>
                  <a:lnTo>
                    <a:pt x="1591" y="1903"/>
                  </a:lnTo>
                  <a:lnTo>
                    <a:pt x="1591" y="1905"/>
                  </a:lnTo>
                  <a:lnTo>
                    <a:pt x="1590" y="1906"/>
                  </a:lnTo>
                  <a:lnTo>
                    <a:pt x="1588" y="1906"/>
                  </a:lnTo>
                  <a:lnTo>
                    <a:pt x="1588" y="1905"/>
                  </a:lnTo>
                  <a:lnTo>
                    <a:pt x="1590" y="1905"/>
                  </a:lnTo>
                  <a:lnTo>
                    <a:pt x="1590" y="1903"/>
                  </a:lnTo>
                  <a:lnTo>
                    <a:pt x="1591" y="1902"/>
                  </a:lnTo>
                  <a:lnTo>
                    <a:pt x="1590" y="1900"/>
                  </a:lnTo>
                  <a:lnTo>
                    <a:pt x="1590" y="1899"/>
                  </a:lnTo>
                  <a:lnTo>
                    <a:pt x="1588" y="1899"/>
                  </a:lnTo>
                  <a:lnTo>
                    <a:pt x="1588" y="1900"/>
                  </a:lnTo>
                  <a:lnTo>
                    <a:pt x="1587" y="1902"/>
                  </a:lnTo>
                  <a:lnTo>
                    <a:pt x="1585" y="1902"/>
                  </a:lnTo>
                  <a:lnTo>
                    <a:pt x="1585" y="1903"/>
                  </a:lnTo>
                  <a:lnTo>
                    <a:pt x="1584" y="1902"/>
                  </a:lnTo>
                  <a:lnTo>
                    <a:pt x="1584" y="1903"/>
                  </a:lnTo>
                  <a:lnTo>
                    <a:pt x="1582" y="1903"/>
                  </a:lnTo>
                  <a:lnTo>
                    <a:pt x="1582" y="1905"/>
                  </a:lnTo>
                  <a:lnTo>
                    <a:pt x="1581" y="1903"/>
                  </a:lnTo>
                  <a:lnTo>
                    <a:pt x="1579" y="1903"/>
                  </a:lnTo>
                  <a:lnTo>
                    <a:pt x="1581" y="1905"/>
                  </a:lnTo>
                  <a:lnTo>
                    <a:pt x="1579" y="1905"/>
                  </a:lnTo>
                  <a:lnTo>
                    <a:pt x="1579" y="1906"/>
                  </a:lnTo>
                  <a:lnTo>
                    <a:pt x="1576" y="1905"/>
                  </a:lnTo>
                  <a:lnTo>
                    <a:pt x="1572" y="1900"/>
                  </a:lnTo>
                  <a:lnTo>
                    <a:pt x="1572" y="1899"/>
                  </a:lnTo>
                  <a:lnTo>
                    <a:pt x="1566" y="1899"/>
                  </a:lnTo>
                  <a:lnTo>
                    <a:pt x="1564" y="1900"/>
                  </a:lnTo>
                  <a:lnTo>
                    <a:pt x="1557" y="1900"/>
                  </a:lnTo>
                  <a:lnTo>
                    <a:pt x="1557" y="1902"/>
                  </a:lnTo>
                  <a:lnTo>
                    <a:pt x="1554" y="1902"/>
                  </a:lnTo>
                  <a:lnTo>
                    <a:pt x="1554" y="1899"/>
                  </a:lnTo>
                  <a:lnTo>
                    <a:pt x="1552" y="1899"/>
                  </a:lnTo>
                  <a:lnTo>
                    <a:pt x="1549" y="1902"/>
                  </a:lnTo>
                  <a:lnTo>
                    <a:pt x="1548" y="1900"/>
                  </a:lnTo>
                  <a:lnTo>
                    <a:pt x="1546" y="1897"/>
                  </a:lnTo>
                  <a:lnTo>
                    <a:pt x="1545" y="1896"/>
                  </a:lnTo>
                  <a:lnTo>
                    <a:pt x="1540" y="1896"/>
                  </a:lnTo>
                  <a:lnTo>
                    <a:pt x="1536" y="1891"/>
                  </a:lnTo>
                  <a:lnTo>
                    <a:pt x="1533" y="1891"/>
                  </a:lnTo>
                  <a:lnTo>
                    <a:pt x="1533" y="1887"/>
                  </a:lnTo>
                  <a:lnTo>
                    <a:pt x="1534" y="1887"/>
                  </a:lnTo>
                  <a:lnTo>
                    <a:pt x="1534" y="1885"/>
                  </a:lnTo>
                  <a:lnTo>
                    <a:pt x="1533" y="1885"/>
                  </a:lnTo>
                  <a:lnTo>
                    <a:pt x="1533" y="1884"/>
                  </a:lnTo>
                  <a:lnTo>
                    <a:pt x="1531" y="1884"/>
                  </a:lnTo>
                  <a:lnTo>
                    <a:pt x="1531" y="1885"/>
                  </a:lnTo>
                  <a:lnTo>
                    <a:pt x="1528" y="1885"/>
                  </a:lnTo>
                  <a:lnTo>
                    <a:pt x="1528" y="1884"/>
                  </a:lnTo>
                  <a:lnTo>
                    <a:pt x="1527" y="1884"/>
                  </a:lnTo>
                  <a:lnTo>
                    <a:pt x="1527" y="1882"/>
                  </a:lnTo>
                  <a:lnTo>
                    <a:pt x="1522" y="1882"/>
                  </a:lnTo>
                  <a:lnTo>
                    <a:pt x="1521" y="1881"/>
                  </a:lnTo>
                  <a:lnTo>
                    <a:pt x="1518" y="1884"/>
                  </a:lnTo>
                  <a:lnTo>
                    <a:pt x="1516" y="1882"/>
                  </a:lnTo>
                  <a:lnTo>
                    <a:pt x="1518" y="1879"/>
                  </a:lnTo>
                  <a:lnTo>
                    <a:pt x="1518" y="1873"/>
                  </a:lnTo>
                  <a:lnTo>
                    <a:pt x="1516" y="1873"/>
                  </a:lnTo>
                  <a:lnTo>
                    <a:pt x="1516" y="1872"/>
                  </a:lnTo>
                  <a:lnTo>
                    <a:pt x="1518" y="1870"/>
                  </a:lnTo>
                  <a:lnTo>
                    <a:pt x="1516" y="1867"/>
                  </a:lnTo>
                  <a:lnTo>
                    <a:pt x="1516" y="1866"/>
                  </a:lnTo>
                  <a:lnTo>
                    <a:pt x="1513" y="1866"/>
                  </a:lnTo>
                  <a:lnTo>
                    <a:pt x="1512" y="1864"/>
                  </a:lnTo>
                  <a:lnTo>
                    <a:pt x="1512" y="1858"/>
                  </a:lnTo>
                  <a:lnTo>
                    <a:pt x="1513" y="1852"/>
                  </a:lnTo>
                  <a:lnTo>
                    <a:pt x="1513" y="1851"/>
                  </a:lnTo>
                  <a:lnTo>
                    <a:pt x="1515" y="1851"/>
                  </a:lnTo>
                  <a:lnTo>
                    <a:pt x="1515" y="1852"/>
                  </a:lnTo>
                  <a:lnTo>
                    <a:pt x="1516" y="1852"/>
                  </a:lnTo>
                  <a:lnTo>
                    <a:pt x="1516" y="1854"/>
                  </a:lnTo>
                  <a:lnTo>
                    <a:pt x="1518" y="1854"/>
                  </a:lnTo>
                  <a:lnTo>
                    <a:pt x="1518" y="1852"/>
                  </a:lnTo>
                  <a:lnTo>
                    <a:pt x="1519" y="1851"/>
                  </a:lnTo>
                  <a:lnTo>
                    <a:pt x="1519" y="1849"/>
                  </a:lnTo>
                  <a:lnTo>
                    <a:pt x="1521" y="1848"/>
                  </a:lnTo>
                  <a:lnTo>
                    <a:pt x="1521" y="1845"/>
                  </a:lnTo>
                  <a:lnTo>
                    <a:pt x="1522" y="1843"/>
                  </a:lnTo>
                  <a:lnTo>
                    <a:pt x="1524" y="1843"/>
                  </a:lnTo>
                  <a:lnTo>
                    <a:pt x="1524" y="1842"/>
                  </a:lnTo>
                  <a:lnTo>
                    <a:pt x="1521" y="1842"/>
                  </a:lnTo>
                  <a:lnTo>
                    <a:pt x="1518" y="1839"/>
                  </a:lnTo>
                  <a:lnTo>
                    <a:pt x="1515" y="1839"/>
                  </a:lnTo>
                  <a:lnTo>
                    <a:pt x="1515" y="1837"/>
                  </a:lnTo>
                  <a:lnTo>
                    <a:pt x="1513" y="1837"/>
                  </a:lnTo>
                  <a:lnTo>
                    <a:pt x="1510" y="1836"/>
                  </a:lnTo>
                  <a:lnTo>
                    <a:pt x="1509" y="1836"/>
                  </a:lnTo>
                  <a:lnTo>
                    <a:pt x="1509" y="1837"/>
                  </a:lnTo>
                  <a:lnTo>
                    <a:pt x="1507" y="1837"/>
                  </a:lnTo>
                  <a:lnTo>
                    <a:pt x="1501" y="1839"/>
                  </a:lnTo>
                  <a:lnTo>
                    <a:pt x="1498" y="1839"/>
                  </a:lnTo>
                  <a:lnTo>
                    <a:pt x="1497" y="1837"/>
                  </a:lnTo>
                  <a:lnTo>
                    <a:pt x="1497" y="1834"/>
                  </a:lnTo>
                  <a:lnTo>
                    <a:pt x="1495" y="1833"/>
                  </a:lnTo>
                  <a:lnTo>
                    <a:pt x="1486" y="1833"/>
                  </a:lnTo>
                  <a:lnTo>
                    <a:pt x="1486" y="1834"/>
                  </a:lnTo>
                  <a:lnTo>
                    <a:pt x="1485" y="1836"/>
                  </a:lnTo>
                  <a:lnTo>
                    <a:pt x="1481" y="1836"/>
                  </a:lnTo>
                  <a:lnTo>
                    <a:pt x="1481" y="1837"/>
                  </a:lnTo>
                  <a:lnTo>
                    <a:pt x="1479" y="1836"/>
                  </a:lnTo>
                  <a:lnTo>
                    <a:pt x="1478" y="1833"/>
                  </a:lnTo>
                  <a:lnTo>
                    <a:pt x="1476" y="1831"/>
                  </a:lnTo>
                  <a:lnTo>
                    <a:pt x="1475" y="1831"/>
                  </a:lnTo>
                  <a:lnTo>
                    <a:pt x="1473" y="1830"/>
                  </a:lnTo>
                  <a:lnTo>
                    <a:pt x="1467" y="1830"/>
                  </a:lnTo>
                  <a:lnTo>
                    <a:pt x="1467" y="1828"/>
                  </a:lnTo>
                  <a:lnTo>
                    <a:pt x="1466" y="1828"/>
                  </a:lnTo>
                  <a:lnTo>
                    <a:pt x="1466" y="1824"/>
                  </a:lnTo>
                  <a:lnTo>
                    <a:pt x="1463" y="1822"/>
                  </a:lnTo>
                  <a:lnTo>
                    <a:pt x="1461" y="1819"/>
                  </a:lnTo>
                  <a:lnTo>
                    <a:pt x="1461" y="1818"/>
                  </a:lnTo>
                  <a:lnTo>
                    <a:pt x="1458" y="1818"/>
                  </a:lnTo>
                  <a:lnTo>
                    <a:pt x="1457" y="1816"/>
                  </a:lnTo>
                  <a:lnTo>
                    <a:pt x="1457" y="1815"/>
                  </a:lnTo>
                  <a:lnTo>
                    <a:pt x="1455" y="1813"/>
                  </a:lnTo>
                  <a:lnTo>
                    <a:pt x="1454" y="1813"/>
                  </a:lnTo>
                  <a:lnTo>
                    <a:pt x="1452" y="1815"/>
                  </a:lnTo>
                  <a:lnTo>
                    <a:pt x="1452" y="1818"/>
                  </a:lnTo>
                  <a:lnTo>
                    <a:pt x="1451" y="1819"/>
                  </a:lnTo>
                  <a:lnTo>
                    <a:pt x="1449" y="1819"/>
                  </a:lnTo>
                  <a:lnTo>
                    <a:pt x="1449" y="1818"/>
                  </a:lnTo>
                  <a:lnTo>
                    <a:pt x="1448" y="1819"/>
                  </a:lnTo>
                  <a:lnTo>
                    <a:pt x="1445" y="1821"/>
                  </a:lnTo>
                  <a:lnTo>
                    <a:pt x="1442" y="1821"/>
                  </a:lnTo>
                  <a:lnTo>
                    <a:pt x="1439" y="1824"/>
                  </a:lnTo>
                  <a:lnTo>
                    <a:pt x="1436" y="1824"/>
                  </a:lnTo>
                  <a:lnTo>
                    <a:pt x="1436" y="1825"/>
                  </a:lnTo>
                  <a:lnTo>
                    <a:pt x="1434" y="1825"/>
                  </a:lnTo>
                  <a:lnTo>
                    <a:pt x="1434" y="1827"/>
                  </a:lnTo>
                  <a:lnTo>
                    <a:pt x="1433" y="1827"/>
                  </a:lnTo>
                  <a:lnTo>
                    <a:pt x="1433" y="1836"/>
                  </a:lnTo>
                  <a:lnTo>
                    <a:pt x="1431" y="1837"/>
                  </a:lnTo>
                  <a:lnTo>
                    <a:pt x="1430" y="1837"/>
                  </a:lnTo>
                  <a:lnTo>
                    <a:pt x="1428" y="1840"/>
                  </a:lnTo>
                  <a:lnTo>
                    <a:pt x="1427" y="1842"/>
                  </a:lnTo>
                  <a:lnTo>
                    <a:pt x="1425" y="1842"/>
                  </a:lnTo>
                  <a:lnTo>
                    <a:pt x="1424" y="1840"/>
                  </a:lnTo>
                  <a:lnTo>
                    <a:pt x="1422" y="1842"/>
                  </a:lnTo>
                  <a:lnTo>
                    <a:pt x="1422" y="1840"/>
                  </a:lnTo>
                  <a:lnTo>
                    <a:pt x="1419" y="1840"/>
                  </a:lnTo>
                  <a:lnTo>
                    <a:pt x="1416" y="1843"/>
                  </a:lnTo>
                  <a:lnTo>
                    <a:pt x="1416" y="1845"/>
                  </a:lnTo>
                  <a:lnTo>
                    <a:pt x="1412" y="1848"/>
                  </a:lnTo>
                  <a:lnTo>
                    <a:pt x="1410" y="1848"/>
                  </a:lnTo>
                  <a:lnTo>
                    <a:pt x="1407" y="1845"/>
                  </a:lnTo>
                  <a:lnTo>
                    <a:pt x="1406" y="1845"/>
                  </a:lnTo>
                  <a:lnTo>
                    <a:pt x="1406" y="1840"/>
                  </a:lnTo>
                  <a:lnTo>
                    <a:pt x="1401" y="1842"/>
                  </a:lnTo>
                  <a:lnTo>
                    <a:pt x="1400" y="1842"/>
                  </a:lnTo>
                  <a:lnTo>
                    <a:pt x="1397" y="1845"/>
                  </a:lnTo>
                  <a:lnTo>
                    <a:pt x="1397" y="1846"/>
                  </a:lnTo>
                  <a:lnTo>
                    <a:pt x="1395" y="1848"/>
                  </a:lnTo>
                  <a:lnTo>
                    <a:pt x="1395" y="1855"/>
                  </a:lnTo>
                  <a:lnTo>
                    <a:pt x="1392" y="1855"/>
                  </a:lnTo>
                  <a:lnTo>
                    <a:pt x="1389" y="1852"/>
                  </a:lnTo>
                  <a:lnTo>
                    <a:pt x="1388" y="1852"/>
                  </a:lnTo>
                  <a:lnTo>
                    <a:pt x="1388" y="1851"/>
                  </a:lnTo>
                  <a:lnTo>
                    <a:pt x="1383" y="1846"/>
                  </a:lnTo>
                  <a:lnTo>
                    <a:pt x="1380" y="1842"/>
                  </a:lnTo>
                  <a:lnTo>
                    <a:pt x="1379" y="1842"/>
                  </a:lnTo>
                  <a:lnTo>
                    <a:pt x="1377" y="1843"/>
                  </a:lnTo>
                  <a:lnTo>
                    <a:pt x="1376" y="1843"/>
                  </a:lnTo>
                  <a:lnTo>
                    <a:pt x="1376" y="1845"/>
                  </a:lnTo>
                  <a:lnTo>
                    <a:pt x="1374" y="1846"/>
                  </a:lnTo>
                  <a:lnTo>
                    <a:pt x="1374" y="1851"/>
                  </a:lnTo>
                  <a:lnTo>
                    <a:pt x="1373" y="1852"/>
                  </a:lnTo>
                  <a:lnTo>
                    <a:pt x="1371" y="1852"/>
                  </a:lnTo>
                  <a:lnTo>
                    <a:pt x="1370" y="1851"/>
                  </a:lnTo>
                  <a:lnTo>
                    <a:pt x="1368" y="1848"/>
                  </a:lnTo>
                  <a:lnTo>
                    <a:pt x="1368" y="1845"/>
                  </a:lnTo>
                  <a:lnTo>
                    <a:pt x="1367" y="1845"/>
                  </a:lnTo>
                  <a:lnTo>
                    <a:pt x="1367" y="1843"/>
                  </a:lnTo>
                  <a:lnTo>
                    <a:pt x="1365" y="1843"/>
                  </a:lnTo>
                  <a:lnTo>
                    <a:pt x="1364" y="1842"/>
                  </a:lnTo>
                  <a:lnTo>
                    <a:pt x="1362" y="1846"/>
                  </a:lnTo>
                  <a:lnTo>
                    <a:pt x="1358" y="1851"/>
                  </a:lnTo>
                  <a:lnTo>
                    <a:pt x="1356" y="1851"/>
                  </a:lnTo>
                  <a:lnTo>
                    <a:pt x="1355" y="1852"/>
                  </a:lnTo>
                  <a:lnTo>
                    <a:pt x="1355" y="1854"/>
                  </a:lnTo>
                  <a:lnTo>
                    <a:pt x="1356" y="1854"/>
                  </a:lnTo>
                  <a:lnTo>
                    <a:pt x="1356" y="1855"/>
                  </a:lnTo>
                  <a:lnTo>
                    <a:pt x="1353" y="1857"/>
                  </a:lnTo>
                  <a:lnTo>
                    <a:pt x="1352" y="1857"/>
                  </a:lnTo>
                  <a:lnTo>
                    <a:pt x="1352" y="1860"/>
                  </a:lnTo>
                  <a:lnTo>
                    <a:pt x="1349" y="1860"/>
                  </a:lnTo>
                  <a:lnTo>
                    <a:pt x="1347" y="1858"/>
                  </a:lnTo>
                  <a:lnTo>
                    <a:pt x="1344" y="1858"/>
                  </a:lnTo>
                  <a:lnTo>
                    <a:pt x="1344" y="1857"/>
                  </a:lnTo>
                  <a:lnTo>
                    <a:pt x="1343" y="1854"/>
                  </a:lnTo>
                  <a:lnTo>
                    <a:pt x="1343" y="1852"/>
                  </a:lnTo>
                  <a:lnTo>
                    <a:pt x="1341" y="1852"/>
                  </a:lnTo>
                  <a:lnTo>
                    <a:pt x="1341" y="1851"/>
                  </a:lnTo>
                  <a:lnTo>
                    <a:pt x="1338" y="1851"/>
                  </a:lnTo>
                  <a:lnTo>
                    <a:pt x="1335" y="1848"/>
                  </a:lnTo>
                  <a:lnTo>
                    <a:pt x="1331" y="1848"/>
                  </a:lnTo>
                  <a:lnTo>
                    <a:pt x="1331" y="1846"/>
                  </a:lnTo>
                  <a:lnTo>
                    <a:pt x="1328" y="1846"/>
                  </a:lnTo>
                  <a:lnTo>
                    <a:pt x="1328" y="1845"/>
                  </a:lnTo>
                  <a:lnTo>
                    <a:pt x="1326" y="1843"/>
                  </a:lnTo>
                  <a:lnTo>
                    <a:pt x="1323" y="1843"/>
                  </a:lnTo>
                  <a:lnTo>
                    <a:pt x="1323" y="1845"/>
                  </a:lnTo>
                  <a:lnTo>
                    <a:pt x="1322" y="1846"/>
                  </a:lnTo>
                  <a:lnTo>
                    <a:pt x="1322" y="1848"/>
                  </a:lnTo>
                  <a:lnTo>
                    <a:pt x="1321" y="1848"/>
                  </a:lnTo>
                  <a:lnTo>
                    <a:pt x="1321" y="1851"/>
                  </a:lnTo>
                  <a:lnTo>
                    <a:pt x="1315" y="1857"/>
                  </a:lnTo>
                  <a:lnTo>
                    <a:pt x="1315" y="1860"/>
                  </a:lnTo>
                  <a:lnTo>
                    <a:pt x="1313" y="1861"/>
                  </a:lnTo>
                  <a:lnTo>
                    <a:pt x="1312" y="1860"/>
                  </a:lnTo>
                  <a:lnTo>
                    <a:pt x="1310" y="1860"/>
                  </a:lnTo>
                  <a:lnTo>
                    <a:pt x="1310" y="1861"/>
                  </a:lnTo>
                  <a:lnTo>
                    <a:pt x="1309" y="1861"/>
                  </a:lnTo>
                  <a:lnTo>
                    <a:pt x="1309" y="1860"/>
                  </a:lnTo>
                  <a:lnTo>
                    <a:pt x="1298" y="1860"/>
                  </a:lnTo>
                  <a:lnTo>
                    <a:pt x="1298" y="1863"/>
                  </a:lnTo>
                  <a:lnTo>
                    <a:pt x="1297" y="1863"/>
                  </a:lnTo>
                  <a:lnTo>
                    <a:pt x="1295" y="1861"/>
                  </a:lnTo>
                  <a:lnTo>
                    <a:pt x="1294" y="1858"/>
                  </a:lnTo>
                  <a:lnTo>
                    <a:pt x="1292" y="1857"/>
                  </a:lnTo>
                  <a:lnTo>
                    <a:pt x="1291" y="1857"/>
                  </a:lnTo>
                  <a:lnTo>
                    <a:pt x="1288" y="1860"/>
                  </a:lnTo>
                  <a:lnTo>
                    <a:pt x="1288" y="1863"/>
                  </a:lnTo>
                  <a:lnTo>
                    <a:pt x="1286" y="1864"/>
                  </a:lnTo>
                  <a:lnTo>
                    <a:pt x="1286" y="1867"/>
                  </a:lnTo>
                  <a:lnTo>
                    <a:pt x="1283" y="1867"/>
                  </a:lnTo>
                  <a:lnTo>
                    <a:pt x="1282" y="1869"/>
                  </a:lnTo>
                  <a:lnTo>
                    <a:pt x="1282" y="1870"/>
                  </a:lnTo>
                  <a:lnTo>
                    <a:pt x="1283" y="1872"/>
                  </a:lnTo>
                  <a:lnTo>
                    <a:pt x="1283" y="1878"/>
                  </a:lnTo>
                  <a:lnTo>
                    <a:pt x="1285" y="1879"/>
                  </a:lnTo>
                  <a:lnTo>
                    <a:pt x="1285" y="1881"/>
                  </a:lnTo>
                  <a:lnTo>
                    <a:pt x="1286" y="1882"/>
                  </a:lnTo>
                  <a:lnTo>
                    <a:pt x="1286" y="1884"/>
                  </a:lnTo>
                  <a:lnTo>
                    <a:pt x="1288" y="1884"/>
                  </a:lnTo>
                  <a:lnTo>
                    <a:pt x="1289" y="1885"/>
                  </a:lnTo>
                  <a:lnTo>
                    <a:pt x="1289" y="1887"/>
                  </a:lnTo>
                  <a:lnTo>
                    <a:pt x="1291" y="1888"/>
                  </a:lnTo>
                  <a:lnTo>
                    <a:pt x="1291" y="1890"/>
                  </a:lnTo>
                  <a:lnTo>
                    <a:pt x="1292" y="1890"/>
                  </a:lnTo>
                  <a:lnTo>
                    <a:pt x="1292" y="1891"/>
                  </a:lnTo>
                  <a:lnTo>
                    <a:pt x="1291" y="1894"/>
                  </a:lnTo>
                  <a:lnTo>
                    <a:pt x="1291" y="1896"/>
                  </a:lnTo>
                  <a:lnTo>
                    <a:pt x="1292" y="1896"/>
                  </a:lnTo>
                  <a:lnTo>
                    <a:pt x="1292" y="1899"/>
                  </a:lnTo>
                  <a:lnTo>
                    <a:pt x="1294" y="1899"/>
                  </a:lnTo>
                  <a:lnTo>
                    <a:pt x="1295" y="1900"/>
                  </a:lnTo>
                  <a:lnTo>
                    <a:pt x="1294" y="1902"/>
                  </a:lnTo>
                  <a:lnTo>
                    <a:pt x="1292" y="1902"/>
                  </a:lnTo>
                  <a:lnTo>
                    <a:pt x="1292" y="1906"/>
                  </a:lnTo>
                  <a:lnTo>
                    <a:pt x="1291" y="1908"/>
                  </a:lnTo>
                  <a:lnTo>
                    <a:pt x="1291" y="1915"/>
                  </a:lnTo>
                  <a:lnTo>
                    <a:pt x="1292" y="1917"/>
                  </a:lnTo>
                  <a:lnTo>
                    <a:pt x="1295" y="1917"/>
                  </a:lnTo>
                  <a:lnTo>
                    <a:pt x="1295" y="1920"/>
                  </a:lnTo>
                  <a:lnTo>
                    <a:pt x="1294" y="1921"/>
                  </a:lnTo>
                  <a:lnTo>
                    <a:pt x="1294" y="1920"/>
                  </a:lnTo>
                  <a:lnTo>
                    <a:pt x="1292" y="1921"/>
                  </a:lnTo>
                  <a:lnTo>
                    <a:pt x="1294" y="1923"/>
                  </a:lnTo>
                  <a:lnTo>
                    <a:pt x="1292" y="1923"/>
                  </a:lnTo>
                  <a:lnTo>
                    <a:pt x="1292" y="1924"/>
                  </a:lnTo>
                  <a:lnTo>
                    <a:pt x="1291" y="1924"/>
                  </a:lnTo>
                  <a:lnTo>
                    <a:pt x="1289" y="1923"/>
                  </a:lnTo>
                  <a:lnTo>
                    <a:pt x="1289" y="1921"/>
                  </a:lnTo>
                  <a:lnTo>
                    <a:pt x="1285" y="1921"/>
                  </a:lnTo>
                  <a:lnTo>
                    <a:pt x="1285" y="1920"/>
                  </a:lnTo>
                  <a:lnTo>
                    <a:pt x="1283" y="1918"/>
                  </a:lnTo>
                  <a:lnTo>
                    <a:pt x="1280" y="1918"/>
                  </a:lnTo>
                  <a:lnTo>
                    <a:pt x="1276" y="1920"/>
                  </a:lnTo>
                  <a:lnTo>
                    <a:pt x="1274" y="1920"/>
                  </a:lnTo>
                  <a:lnTo>
                    <a:pt x="1273" y="1921"/>
                  </a:lnTo>
                  <a:lnTo>
                    <a:pt x="1268" y="1921"/>
                  </a:lnTo>
                  <a:lnTo>
                    <a:pt x="1268" y="1920"/>
                  </a:lnTo>
                  <a:lnTo>
                    <a:pt x="1267" y="1918"/>
                  </a:lnTo>
                  <a:lnTo>
                    <a:pt x="1268" y="1917"/>
                  </a:lnTo>
                  <a:lnTo>
                    <a:pt x="1268" y="1915"/>
                  </a:lnTo>
                  <a:lnTo>
                    <a:pt x="1267" y="1915"/>
                  </a:lnTo>
                  <a:lnTo>
                    <a:pt x="1268" y="1914"/>
                  </a:lnTo>
                  <a:lnTo>
                    <a:pt x="1268" y="1912"/>
                  </a:lnTo>
                  <a:lnTo>
                    <a:pt x="1267" y="1912"/>
                  </a:lnTo>
                  <a:lnTo>
                    <a:pt x="1265" y="1911"/>
                  </a:lnTo>
                  <a:lnTo>
                    <a:pt x="1265" y="1909"/>
                  </a:lnTo>
                  <a:lnTo>
                    <a:pt x="1267" y="1906"/>
                  </a:lnTo>
                  <a:lnTo>
                    <a:pt x="1267" y="1905"/>
                  </a:lnTo>
                  <a:lnTo>
                    <a:pt x="1265" y="1903"/>
                  </a:lnTo>
                  <a:lnTo>
                    <a:pt x="1265" y="1897"/>
                  </a:lnTo>
                  <a:lnTo>
                    <a:pt x="1264" y="1897"/>
                  </a:lnTo>
                  <a:lnTo>
                    <a:pt x="1264" y="1893"/>
                  </a:lnTo>
                  <a:lnTo>
                    <a:pt x="1261" y="1893"/>
                  </a:lnTo>
                  <a:lnTo>
                    <a:pt x="1258" y="1896"/>
                  </a:lnTo>
                  <a:lnTo>
                    <a:pt x="1256" y="1896"/>
                  </a:lnTo>
                  <a:lnTo>
                    <a:pt x="1252" y="1897"/>
                  </a:lnTo>
                  <a:lnTo>
                    <a:pt x="1243" y="1906"/>
                  </a:lnTo>
                  <a:lnTo>
                    <a:pt x="1241" y="1906"/>
                  </a:lnTo>
                  <a:lnTo>
                    <a:pt x="1240" y="1908"/>
                  </a:lnTo>
                  <a:lnTo>
                    <a:pt x="1232" y="1908"/>
                  </a:lnTo>
                  <a:lnTo>
                    <a:pt x="1232" y="1906"/>
                  </a:lnTo>
                  <a:lnTo>
                    <a:pt x="1231" y="1906"/>
                  </a:lnTo>
                  <a:lnTo>
                    <a:pt x="1231" y="1905"/>
                  </a:lnTo>
                  <a:lnTo>
                    <a:pt x="1226" y="1905"/>
                  </a:lnTo>
                  <a:lnTo>
                    <a:pt x="1226" y="1906"/>
                  </a:lnTo>
                  <a:lnTo>
                    <a:pt x="1225" y="1906"/>
                  </a:lnTo>
                  <a:lnTo>
                    <a:pt x="1225" y="1908"/>
                  </a:lnTo>
                  <a:lnTo>
                    <a:pt x="1222" y="1908"/>
                  </a:lnTo>
                  <a:lnTo>
                    <a:pt x="1220" y="1909"/>
                  </a:lnTo>
                  <a:lnTo>
                    <a:pt x="1219" y="1909"/>
                  </a:lnTo>
                  <a:lnTo>
                    <a:pt x="1217" y="1906"/>
                  </a:lnTo>
                  <a:lnTo>
                    <a:pt x="1216" y="1906"/>
                  </a:lnTo>
                  <a:lnTo>
                    <a:pt x="1216" y="1902"/>
                  </a:lnTo>
                  <a:lnTo>
                    <a:pt x="1217" y="1900"/>
                  </a:lnTo>
                  <a:lnTo>
                    <a:pt x="1217" y="1899"/>
                  </a:lnTo>
                  <a:lnTo>
                    <a:pt x="1219" y="1899"/>
                  </a:lnTo>
                  <a:lnTo>
                    <a:pt x="1217" y="1897"/>
                  </a:lnTo>
                  <a:lnTo>
                    <a:pt x="1211" y="1897"/>
                  </a:lnTo>
                  <a:lnTo>
                    <a:pt x="1210" y="1896"/>
                  </a:lnTo>
                  <a:lnTo>
                    <a:pt x="1208" y="1893"/>
                  </a:lnTo>
                  <a:lnTo>
                    <a:pt x="1208" y="1888"/>
                  </a:lnTo>
                  <a:lnTo>
                    <a:pt x="1210" y="1885"/>
                  </a:lnTo>
                  <a:lnTo>
                    <a:pt x="1210" y="1882"/>
                  </a:lnTo>
                  <a:lnTo>
                    <a:pt x="1208" y="1881"/>
                  </a:lnTo>
                  <a:lnTo>
                    <a:pt x="1208" y="1879"/>
                  </a:lnTo>
                  <a:lnTo>
                    <a:pt x="1210" y="1879"/>
                  </a:lnTo>
                  <a:lnTo>
                    <a:pt x="1205" y="1878"/>
                  </a:lnTo>
                  <a:lnTo>
                    <a:pt x="1205" y="1879"/>
                  </a:lnTo>
                  <a:lnTo>
                    <a:pt x="1204" y="1879"/>
                  </a:lnTo>
                  <a:lnTo>
                    <a:pt x="1204" y="1881"/>
                  </a:lnTo>
                  <a:lnTo>
                    <a:pt x="1202" y="1879"/>
                  </a:lnTo>
                  <a:lnTo>
                    <a:pt x="1199" y="1878"/>
                  </a:lnTo>
                  <a:lnTo>
                    <a:pt x="1198" y="1878"/>
                  </a:lnTo>
                  <a:lnTo>
                    <a:pt x="1198" y="1879"/>
                  </a:lnTo>
                  <a:lnTo>
                    <a:pt x="1196" y="1879"/>
                  </a:lnTo>
                  <a:lnTo>
                    <a:pt x="1196" y="1878"/>
                  </a:lnTo>
                  <a:lnTo>
                    <a:pt x="1195" y="1878"/>
                  </a:lnTo>
                  <a:lnTo>
                    <a:pt x="1190" y="1876"/>
                  </a:lnTo>
                  <a:lnTo>
                    <a:pt x="1189" y="1876"/>
                  </a:lnTo>
                  <a:lnTo>
                    <a:pt x="1186" y="1875"/>
                  </a:lnTo>
                  <a:lnTo>
                    <a:pt x="1183" y="1876"/>
                  </a:lnTo>
                  <a:lnTo>
                    <a:pt x="1175" y="1876"/>
                  </a:lnTo>
                  <a:lnTo>
                    <a:pt x="1172" y="1873"/>
                  </a:lnTo>
                  <a:lnTo>
                    <a:pt x="1174" y="1873"/>
                  </a:lnTo>
                  <a:lnTo>
                    <a:pt x="1174" y="1872"/>
                  </a:lnTo>
                  <a:lnTo>
                    <a:pt x="1175" y="1869"/>
                  </a:lnTo>
                  <a:lnTo>
                    <a:pt x="1175" y="1866"/>
                  </a:lnTo>
                  <a:lnTo>
                    <a:pt x="1177" y="1866"/>
                  </a:lnTo>
                  <a:lnTo>
                    <a:pt x="1177" y="1861"/>
                  </a:lnTo>
                  <a:lnTo>
                    <a:pt x="1178" y="1861"/>
                  </a:lnTo>
                  <a:lnTo>
                    <a:pt x="1181" y="1858"/>
                  </a:lnTo>
                  <a:lnTo>
                    <a:pt x="1181" y="1857"/>
                  </a:lnTo>
                  <a:lnTo>
                    <a:pt x="1183" y="1857"/>
                  </a:lnTo>
                  <a:lnTo>
                    <a:pt x="1181" y="1855"/>
                  </a:lnTo>
                  <a:lnTo>
                    <a:pt x="1181" y="1854"/>
                  </a:lnTo>
                  <a:lnTo>
                    <a:pt x="1183" y="1852"/>
                  </a:lnTo>
                  <a:lnTo>
                    <a:pt x="1183" y="1851"/>
                  </a:lnTo>
                  <a:lnTo>
                    <a:pt x="1180" y="1846"/>
                  </a:lnTo>
                  <a:lnTo>
                    <a:pt x="1180" y="1843"/>
                  </a:lnTo>
                  <a:lnTo>
                    <a:pt x="1183" y="1843"/>
                  </a:lnTo>
                  <a:lnTo>
                    <a:pt x="1183" y="1842"/>
                  </a:lnTo>
                  <a:lnTo>
                    <a:pt x="1184" y="1840"/>
                  </a:lnTo>
                  <a:lnTo>
                    <a:pt x="1184" y="1836"/>
                  </a:lnTo>
                  <a:lnTo>
                    <a:pt x="1186" y="1834"/>
                  </a:lnTo>
                  <a:lnTo>
                    <a:pt x="1187" y="1836"/>
                  </a:lnTo>
                  <a:lnTo>
                    <a:pt x="1190" y="1836"/>
                  </a:lnTo>
                  <a:lnTo>
                    <a:pt x="1190" y="1834"/>
                  </a:lnTo>
                  <a:lnTo>
                    <a:pt x="1189" y="1831"/>
                  </a:lnTo>
                  <a:lnTo>
                    <a:pt x="1189" y="1828"/>
                  </a:lnTo>
                  <a:lnTo>
                    <a:pt x="1183" y="1828"/>
                  </a:lnTo>
                  <a:lnTo>
                    <a:pt x="1181" y="1825"/>
                  </a:lnTo>
                  <a:lnTo>
                    <a:pt x="1180" y="1825"/>
                  </a:lnTo>
                  <a:lnTo>
                    <a:pt x="1180" y="1827"/>
                  </a:lnTo>
                  <a:lnTo>
                    <a:pt x="1178" y="1827"/>
                  </a:lnTo>
                  <a:lnTo>
                    <a:pt x="1178" y="1828"/>
                  </a:lnTo>
                  <a:lnTo>
                    <a:pt x="1175" y="1828"/>
                  </a:lnTo>
                  <a:lnTo>
                    <a:pt x="1175" y="1827"/>
                  </a:lnTo>
                  <a:lnTo>
                    <a:pt x="1168" y="1827"/>
                  </a:lnTo>
                  <a:lnTo>
                    <a:pt x="1168" y="1824"/>
                  </a:lnTo>
                  <a:lnTo>
                    <a:pt x="1163" y="1824"/>
                  </a:lnTo>
                  <a:lnTo>
                    <a:pt x="1159" y="1822"/>
                  </a:lnTo>
                  <a:lnTo>
                    <a:pt x="1159" y="1821"/>
                  </a:lnTo>
                  <a:lnTo>
                    <a:pt x="1162" y="1816"/>
                  </a:lnTo>
                  <a:lnTo>
                    <a:pt x="1159" y="1816"/>
                  </a:lnTo>
                  <a:lnTo>
                    <a:pt x="1159" y="1815"/>
                  </a:lnTo>
                  <a:lnTo>
                    <a:pt x="1161" y="1815"/>
                  </a:lnTo>
                  <a:lnTo>
                    <a:pt x="1161" y="1810"/>
                  </a:lnTo>
                  <a:lnTo>
                    <a:pt x="1159" y="1809"/>
                  </a:lnTo>
                  <a:lnTo>
                    <a:pt x="1159" y="1807"/>
                  </a:lnTo>
                  <a:lnTo>
                    <a:pt x="1158" y="1807"/>
                  </a:lnTo>
                  <a:lnTo>
                    <a:pt x="1158" y="1809"/>
                  </a:lnTo>
                  <a:lnTo>
                    <a:pt x="1156" y="1807"/>
                  </a:lnTo>
                  <a:lnTo>
                    <a:pt x="1156" y="1804"/>
                  </a:lnTo>
                  <a:lnTo>
                    <a:pt x="1159" y="1803"/>
                  </a:lnTo>
                  <a:lnTo>
                    <a:pt x="1159" y="1801"/>
                  </a:lnTo>
                  <a:lnTo>
                    <a:pt x="1158" y="1798"/>
                  </a:lnTo>
                  <a:lnTo>
                    <a:pt x="1156" y="1797"/>
                  </a:lnTo>
                  <a:lnTo>
                    <a:pt x="1156" y="1794"/>
                  </a:lnTo>
                  <a:lnTo>
                    <a:pt x="1155" y="1794"/>
                  </a:lnTo>
                  <a:lnTo>
                    <a:pt x="1153" y="1792"/>
                  </a:lnTo>
                  <a:lnTo>
                    <a:pt x="1150" y="1792"/>
                  </a:lnTo>
                  <a:lnTo>
                    <a:pt x="1150" y="1791"/>
                  </a:lnTo>
                  <a:lnTo>
                    <a:pt x="1152" y="1791"/>
                  </a:lnTo>
                  <a:lnTo>
                    <a:pt x="1150" y="1788"/>
                  </a:lnTo>
                  <a:lnTo>
                    <a:pt x="1150" y="1786"/>
                  </a:lnTo>
                  <a:lnTo>
                    <a:pt x="1152" y="1785"/>
                  </a:lnTo>
                  <a:lnTo>
                    <a:pt x="1150" y="1785"/>
                  </a:lnTo>
                  <a:lnTo>
                    <a:pt x="1150" y="1783"/>
                  </a:lnTo>
                  <a:lnTo>
                    <a:pt x="1152" y="1783"/>
                  </a:lnTo>
                  <a:lnTo>
                    <a:pt x="1155" y="1780"/>
                  </a:lnTo>
                  <a:lnTo>
                    <a:pt x="1159" y="1777"/>
                  </a:lnTo>
                  <a:lnTo>
                    <a:pt x="1161" y="1776"/>
                  </a:lnTo>
                  <a:lnTo>
                    <a:pt x="1161" y="1774"/>
                  </a:lnTo>
                  <a:lnTo>
                    <a:pt x="1159" y="1774"/>
                  </a:lnTo>
                  <a:lnTo>
                    <a:pt x="1158" y="1776"/>
                  </a:lnTo>
                  <a:lnTo>
                    <a:pt x="1152" y="1776"/>
                  </a:lnTo>
                  <a:lnTo>
                    <a:pt x="1150" y="1777"/>
                  </a:lnTo>
                  <a:lnTo>
                    <a:pt x="1147" y="1777"/>
                  </a:lnTo>
                  <a:lnTo>
                    <a:pt x="1147" y="1779"/>
                  </a:lnTo>
                  <a:lnTo>
                    <a:pt x="1146" y="1777"/>
                  </a:lnTo>
                  <a:lnTo>
                    <a:pt x="1143" y="1776"/>
                  </a:lnTo>
                  <a:lnTo>
                    <a:pt x="1138" y="1776"/>
                  </a:lnTo>
                  <a:lnTo>
                    <a:pt x="1137" y="1777"/>
                  </a:lnTo>
                  <a:lnTo>
                    <a:pt x="1134" y="1777"/>
                  </a:lnTo>
                  <a:lnTo>
                    <a:pt x="1131" y="1776"/>
                  </a:lnTo>
                  <a:lnTo>
                    <a:pt x="1129" y="1776"/>
                  </a:lnTo>
                  <a:lnTo>
                    <a:pt x="1116" y="1780"/>
                  </a:lnTo>
                  <a:lnTo>
                    <a:pt x="1113" y="1783"/>
                  </a:lnTo>
                  <a:lnTo>
                    <a:pt x="1111" y="1783"/>
                  </a:lnTo>
                  <a:lnTo>
                    <a:pt x="1111" y="1785"/>
                  </a:lnTo>
                  <a:lnTo>
                    <a:pt x="1108" y="1785"/>
                  </a:lnTo>
                  <a:lnTo>
                    <a:pt x="1107" y="1788"/>
                  </a:lnTo>
                  <a:lnTo>
                    <a:pt x="1104" y="1788"/>
                  </a:lnTo>
                  <a:lnTo>
                    <a:pt x="1104" y="1789"/>
                  </a:lnTo>
                  <a:lnTo>
                    <a:pt x="1102" y="1789"/>
                  </a:lnTo>
                  <a:lnTo>
                    <a:pt x="1102" y="1788"/>
                  </a:lnTo>
                  <a:lnTo>
                    <a:pt x="1101" y="1786"/>
                  </a:lnTo>
                  <a:lnTo>
                    <a:pt x="1099" y="1786"/>
                  </a:lnTo>
                  <a:lnTo>
                    <a:pt x="1098" y="1785"/>
                  </a:lnTo>
                  <a:lnTo>
                    <a:pt x="1107" y="1776"/>
                  </a:lnTo>
                  <a:lnTo>
                    <a:pt x="1107" y="1768"/>
                  </a:lnTo>
                  <a:lnTo>
                    <a:pt x="1104" y="1767"/>
                  </a:lnTo>
                  <a:lnTo>
                    <a:pt x="1104" y="1765"/>
                  </a:lnTo>
                  <a:lnTo>
                    <a:pt x="1105" y="1765"/>
                  </a:lnTo>
                  <a:lnTo>
                    <a:pt x="1105" y="1762"/>
                  </a:lnTo>
                  <a:lnTo>
                    <a:pt x="1104" y="1762"/>
                  </a:lnTo>
                  <a:lnTo>
                    <a:pt x="1104" y="1759"/>
                  </a:lnTo>
                  <a:lnTo>
                    <a:pt x="1102" y="1759"/>
                  </a:lnTo>
                  <a:lnTo>
                    <a:pt x="1098" y="1761"/>
                  </a:lnTo>
                  <a:lnTo>
                    <a:pt x="1098" y="1759"/>
                  </a:lnTo>
                  <a:lnTo>
                    <a:pt x="1099" y="1752"/>
                  </a:lnTo>
                  <a:lnTo>
                    <a:pt x="1099" y="1744"/>
                  </a:lnTo>
                  <a:lnTo>
                    <a:pt x="1102" y="1743"/>
                  </a:lnTo>
                  <a:lnTo>
                    <a:pt x="1105" y="1740"/>
                  </a:lnTo>
                  <a:lnTo>
                    <a:pt x="1110" y="1740"/>
                  </a:lnTo>
                  <a:lnTo>
                    <a:pt x="1110" y="1738"/>
                  </a:lnTo>
                  <a:lnTo>
                    <a:pt x="1107" y="1737"/>
                  </a:lnTo>
                  <a:lnTo>
                    <a:pt x="1107" y="1728"/>
                  </a:lnTo>
                  <a:lnTo>
                    <a:pt x="1108" y="1726"/>
                  </a:lnTo>
                  <a:lnTo>
                    <a:pt x="1111" y="1720"/>
                  </a:lnTo>
                  <a:lnTo>
                    <a:pt x="1113" y="1719"/>
                  </a:lnTo>
                  <a:lnTo>
                    <a:pt x="1114" y="1719"/>
                  </a:lnTo>
                  <a:lnTo>
                    <a:pt x="1114" y="1720"/>
                  </a:lnTo>
                  <a:lnTo>
                    <a:pt x="1116" y="1722"/>
                  </a:lnTo>
                  <a:lnTo>
                    <a:pt x="1117" y="1720"/>
                  </a:lnTo>
                  <a:lnTo>
                    <a:pt x="1119" y="1717"/>
                  </a:lnTo>
                  <a:lnTo>
                    <a:pt x="1120" y="1717"/>
                  </a:lnTo>
                  <a:lnTo>
                    <a:pt x="1123" y="1714"/>
                  </a:lnTo>
                  <a:lnTo>
                    <a:pt x="1123" y="1713"/>
                  </a:lnTo>
                  <a:lnTo>
                    <a:pt x="1125" y="1713"/>
                  </a:lnTo>
                  <a:lnTo>
                    <a:pt x="1125" y="1705"/>
                  </a:lnTo>
                  <a:lnTo>
                    <a:pt x="1126" y="1705"/>
                  </a:lnTo>
                  <a:lnTo>
                    <a:pt x="1126" y="1701"/>
                  </a:lnTo>
                  <a:lnTo>
                    <a:pt x="1128" y="1701"/>
                  </a:lnTo>
                  <a:lnTo>
                    <a:pt x="1131" y="1702"/>
                  </a:lnTo>
                  <a:lnTo>
                    <a:pt x="1132" y="1702"/>
                  </a:lnTo>
                  <a:lnTo>
                    <a:pt x="1132" y="1704"/>
                  </a:lnTo>
                  <a:lnTo>
                    <a:pt x="1135" y="1704"/>
                  </a:lnTo>
                  <a:lnTo>
                    <a:pt x="1135" y="1702"/>
                  </a:lnTo>
                  <a:lnTo>
                    <a:pt x="1137" y="1702"/>
                  </a:lnTo>
                  <a:lnTo>
                    <a:pt x="1137" y="1699"/>
                  </a:lnTo>
                  <a:lnTo>
                    <a:pt x="1140" y="1696"/>
                  </a:lnTo>
                  <a:lnTo>
                    <a:pt x="1140" y="1693"/>
                  </a:lnTo>
                  <a:lnTo>
                    <a:pt x="1143" y="1690"/>
                  </a:lnTo>
                  <a:lnTo>
                    <a:pt x="1143" y="1689"/>
                  </a:lnTo>
                  <a:lnTo>
                    <a:pt x="1144" y="1689"/>
                  </a:lnTo>
                  <a:lnTo>
                    <a:pt x="1146" y="1690"/>
                  </a:lnTo>
                  <a:lnTo>
                    <a:pt x="1149" y="1690"/>
                  </a:lnTo>
                  <a:lnTo>
                    <a:pt x="1152" y="1689"/>
                  </a:lnTo>
                  <a:lnTo>
                    <a:pt x="1152" y="1686"/>
                  </a:lnTo>
                  <a:lnTo>
                    <a:pt x="1150" y="1686"/>
                  </a:lnTo>
                  <a:lnTo>
                    <a:pt x="1150" y="1684"/>
                  </a:lnTo>
                  <a:lnTo>
                    <a:pt x="1149" y="1683"/>
                  </a:lnTo>
                  <a:lnTo>
                    <a:pt x="1149" y="1681"/>
                  </a:lnTo>
                  <a:lnTo>
                    <a:pt x="1147" y="1681"/>
                  </a:lnTo>
                  <a:lnTo>
                    <a:pt x="1147" y="1680"/>
                  </a:lnTo>
                  <a:lnTo>
                    <a:pt x="1146" y="1677"/>
                  </a:lnTo>
                  <a:lnTo>
                    <a:pt x="1146" y="1674"/>
                  </a:lnTo>
                  <a:lnTo>
                    <a:pt x="1149" y="1674"/>
                  </a:lnTo>
                  <a:lnTo>
                    <a:pt x="1149" y="1675"/>
                  </a:lnTo>
                  <a:lnTo>
                    <a:pt x="1150" y="1675"/>
                  </a:lnTo>
                  <a:lnTo>
                    <a:pt x="1152" y="1674"/>
                  </a:lnTo>
                  <a:lnTo>
                    <a:pt x="1152" y="1672"/>
                  </a:lnTo>
                  <a:lnTo>
                    <a:pt x="1153" y="1672"/>
                  </a:lnTo>
                  <a:lnTo>
                    <a:pt x="1152" y="1671"/>
                  </a:lnTo>
                  <a:lnTo>
                    <a:pt x="1152" y="1669"/>
                  </a:lnTo>
                  <a:lnTo>
                    <a:pt x="1150" y="1668"/>
                  </a:lnTo>
                  <a:lnTo>
                    <a:pt x="1150" y="1665"/>
                  </a:lnTo>
                  <a:lnTo>
                    <a:pt x="1153" y="1662"/>
                  </a:lnTo>
                  <a:lnTo>
                    <a:pt x="1153" y="1652"/>
                  </a:lnTo>
                  <a:lnTo>
                    <a:pt x="1155" y="1650"/>
                  </a:lnTo>
                  <a:lnTo>
                    <a:pt x="1155" y="1647"/>
                  </a:lnTo>
                  <a:lnTo>
                    <a:pt x="1153" y="1644"/>
                  </a:lnTo>
                  <a:lnTo>
                    <a:pt x="1155" y="1641"/>
                  </a:lnTo>
                  <a:lnTo>
                    <a:pt x="1155" y="1640"/>
                  </a:lnTo>
                  <a:lnTo>
                    <a:pt x="1153" y="1638"/>
                  </a:lnTo>
                  <a:lnTo>
                    <a:pt x="1153" y="1635"/>
                  </a:lnTo>
                  <a:lnTo>
                    <a:pt x="1155" y="1635"/>
                  </a:lnTo>
                  <a:lnTo>
                    <a:pt x="1153" y="1631"/>
                  </a:lnTo>
                  <a:lnTo>
                    <a:pt x="1153" y="1629"/>
                  </a:lnTo>
                  <a:lnTo>
                    <a:pt x="1155" y="1628"/>
                  </a:lnTo>
                  <a:lnTo>
                    <a:pt x="1152" y="1625"/>
                  </a:lnTo>
                  <a:lnTo>
                    <a:pt x="1152" y="1617"/>
                  </a:lnTo>
                  <a:lnTo>
                    <a:pt x="1153" y="1614"/>
                  </a:lnTo>
                  <a:lnTo>
                    <a:pt x="1153" y="1613"/>
                  </a:lnTo>
                  <a:lnTo>
                    <a:pt x="1152" y="1611"/>
                  </a:lnTo>
                  <a:lnTo>
                    <a:pt x="1152" y="1610"/>
                  </a:lnTo>
                  <a:lnTo>
                    <a:pt x="1150" y="1605"/>
                  </a:lnTo>
                  <a:lnTo>
                    <a:pt x="1152" y="1604"/>
                  </a:lnTo>
                  <a:lnTo>
                    <a:pt x="1152" y="1599"/>
                  </a:lnTo>
                  <a:lnTo>
                    <a:pt x="1146" y="1599"/>
                  </a:lnTo>
                  <a:lnTo>
                    <a:pt x="1146" y="1598"/>
                  </a:lnTo>
                  <a:lnTo>
                    <a:pt x="1144" y="1596"/>
                  </a:lnTo>
                  <a:lnTo>
                    <a:pt x="1143" y="1598"/>
                  </a:lnTo>
                  <a:lnTo>
                    <a:pt x="1143" y="1596"/>
                  </a:lnTo>
                  <a:lnTo>
                    <a:pt x="1140" y="1595"/>
                  </a:lnTo>
                  <a:lnTo>
                    <a:pt x="1138" y="1595"/>
                  </a:lnTo>
                  <a:lnTo>
                    <a:pt x="1138" y="1602"/>
                  </a:lnTo>
                  <a:lnTo>
                    <a:pt x="1137" y="1602"/>
                  </a:lnTo>
                  <a:lnTo>
                    <a:pt x="1135" y="1604"/>
                  </a:lnTo>
                  <a:lnTo>
                    <a:pt x="1132" y="1601"/>
                  </a:lnTo>
                  <a:lnTo>
                    <a:pt x="1132" y="1596"/>
                  </a:lnTo>
                  <a:lnTo>
                    <a:pt x="1129" y="1593"/>
                  </a:lnTo>
                  <a:lnTo>
                    <a:pt x="1129" y="1587"/>
                  </a:lnTo>
                  <a:lnTo>
                    <a:pt x="1128" y="1587"/>
                  </a:lnTo>
                  <a:lnTo>
                    <a:pt x="1126" y="1586"/>
                  </a:lnTo>
                  <a:lnTo>
                    <a:pt x="1126" y="1584"/>
                  </a:lnTo>
                  <a:lnTo>
                    <a:pt x="1128" y="1584"/>
                  </a:lnTo>
                  <a:lnTo>
                    <a:pt x="1128" y="1581"/>
                  </a:lnTo>
                  <a:lnTo>
                    <a:pt x="1125" y="1581"/>
                  </a:lnTo>
                  <a:lnTo>
                    <a:pt x="1125" y="1580"/>
                  </a:lnTo>
                  <a:lnTo>
                    <a:pt x="1126" y="1578"/>
                  </a:lnTo>
                  <a:lnTo>
                    <a:pt x="1126" y="1571"/>
                  </a:lnTo>
                  <a:lnTo>
                    <a:pt x="1125" y="1571"/>
                  </a:lnTo>
                  <a:lnTo>
                    <a:pt x="1122" y="1568"/>
                  </a:lnTo>
                  <a:lnTo>
                    <a:pt x="1120" y="1568"/>
                  </a:lnTo>
                  <a:lnTo>
                    <a:pt x="1119" y="1566"/>
                  </a:lnTo>
                  <a:lnTo>
                    <a:pt x="1120" y="1565"/>
                  </a:lnTo>
                  <a:lnTo>
                    <a:pt x="1119" y="1563"/>
                  </a:lnTo>
                  <a:lnTo>
                    <a:pt x="1117" y="1563"/>
                  </a:lnTo>
                  <a:lnTo>
                    <a:pt x="1116" y="1560"/>
                  </a:lnTo>
                  <a:lnTo>
                    <a:pt x="1114" y="1559"/>
                  </a:lnTo>
                  <a:lnTo>
                    <a:pt x="1111" y="1560"/>
                  </a:lnTo>
                  <a:lnTo>
                    <a:pt x="1110" y="1560"/>
                  </a:lnTo>
                  <a:lnTo>
                    <a:pt x="1108" y="1559"/>
                  </a:lnTo>
                  <a:lnTo>
                    <a:pt x="1107" y="1553"/>
                  </a:lnTo>
                  <a:lnTo>
                    <a:pt x="1105" y="1551"/>
                  </a:lnTo>
                  <a:lnTo>
                    <a:pt x="1102" y="1554"/>
                  </a:lnTo>
                  <a:lnTo>
                    <a:pt x="1101" y="1553"/>
                  </a:lnTo>
                  <a:lnTo>
                    <a:pt x="1101" y="1551"/>
                  </a:lnTo>
                  <a:lnTo>
                    <a:pt x="1098" y="1551"/>
                  </a:lnTo>
                  <a:lnTo>
                    <a:pt x="1098" y="1554"/>
                  </a:lnTo>
                  <a:lnTo>
                    <a:pt x="1096" y="1556"/>
                  </a:lnTo>
                  <a:lnTo>
                    <a:pt x="1096" y="1557"/>
                  </a:lnTo>
                  <a:lnTo>
                    <a:pt x="1095" y="1559"/>
                  </a:lnTo>
                  <a:lnTo>
                    <a:pt x="1095" y="1563"/>
                  </a:lnTo>
                  <a:lnTo>
                    <a:pt x="1092" y="1563"/>
                  </a:lnTo>
                  <a:lnTo>
                    <a:pt x="1092" y="1565"/>
                  </a:lnTo>
                  <a:lnTo>
                    <a:pt x="1089" y="1568"/>
                  </a:lnTo>
                  <a:lnTo>
                    <a:pt x="1087" y="1566"/>
                  </a:lnTo>
                  <a:lnTo>
                    <a:pt x="1084" y="1565"/>
                  </a:lnTo>
                  <a:lnTo>
                    <a:pt x="1084" y="1563"/>
                  </a:lnTo>
                  <a:lnTo>
                    <a:pt x="1083" y="1562"/>
                  </a:lnTo>
                  <a:lnTo>
                    <a:pt x="1080" y="1560"/>
                  </a:lnTo>
                  <a:lnTo>
                    <a:pt x="1078" y="1559"/>
                  </a:lnTo>
                  <a:lnTo>
                    <a:pt x="1075" y="1560"/>
                  </a:lnTo>
                  <a:lnTo>
                    <a:pt x="1074" y="1562"/>
                  </a:lnTo>
                  <a:lnTo>
                    <a:pt x="1071" y="1562"/>
                  </a:lnTo>
                  <a:lnTo>
                    <a:pt x="1069" y="1560"/>
                  </a:lnTo>
                  <a:lnTo>
                    <a:pt x="1069" y="1556"/>
                  </a:lnTo>
                  <a:lnTo>
                    <a:pt x="1066" y="1554"/>
                  </a:lnTo>
                  <a:lnTo>
                    <a:pt x="1060" y="1548"/>
                  </a:lnTo>
                  <a:lnTo>
                    <a:pt x="1056" y="1547"/>
                  </a:lnTo>
                  <a:lnTo>
                    <a:pt x="1054" y="1548"/>
                  </a:lnTo>
                  <a:lnTo>
                    <a:pt x="1053" y="1551"/>
                  </a:lnTo>
                  <a:lnTo>
                    <a:pt x="1051" y="1553"/>
                  </a:lnTo>
                  <a:lnTo>
                    <a:pt x="1051" y="1557"/>
                  </a:lnTo>
                  <a:lnTo>
                    <a:pt x="1050" y="1553"/>
                  </a:lnTo>
                  <a:lnTo>
                    <a:pt x="1048" y="1551"/>
                  </a:lnTo>
                  <a:lnTo>
                    <a:pt x="1050" y="1550"/>
                  </a:lnTo>
                  <a:lnTo>
                    <a:pt x="1048" y="1547"/>
                  </a:lnTo>
                  <a:lnTo>
                    <a:pt x="1051" y="1545"/>
                  </a:lnTo>
                  <a:lnTo>
                    <a:pt x="1056" y="1542"/>
                  </a:lnTo>
                  <a:lnTo>
                    <a:pt x="1056" y="1539"/>
                  </a:lnTo>
                  <a:lnTo>
                    <a:pt x="1053" y="1533"/>
                  </a:lnTo>
                  <a:lnTo>
                    <a:pt x="1051" y="1532"/>
                  </a:lnTo>
                  <a:lnTo>
                    <a:pt x="1051" y="1529"/>
                  </a:lnTo>
                  <a:lnTo>
                    <a:pt x="1048" y="1529"/>
                  </a:lnTo>
                  <a:lnTo>
                    <a:pt x="1048" y="1527"/>
                  </a:lnTo>
                  <a:lnTo>
                    <a:pt x="1050" y="1527"/>
                  </a:lnTo>
                  <a:lnTo>
                    <a:pt x="1045" y="1524"/>
                  </a:lnTo>
                  <a:lnTo>
                    <a:pt x="1044" y="1521"/>
                  </a:lnTo>
                  <a:lnTo>
                    <a:pt x="1041" y="1523"/>
                  </a:lnTo>
                  <a:lnTo>
                    <a:pt x="1038" y="1526"/>
                  </a:lnTo>
                  <a:lnTo>
                    <a:pt x="1036" y="1521"/>
                  </a:lnTo>
                  <a:lnTo>
                    <a:pt x="1036" y="1520"/>
                  </a:lnTo>
                  <a:lnTo>
                    <a:pt x="1038" y="1520"/>
                  </a:lnTo>
                  <a:lnTo>
                    <a:pt x="1038" y="1518"/>
                  </a:lnTo>
                  <a:lnTo>
                    <a:pt x="1042" y="1517"/>
                  </a:lnTo>
                  <a:lnTo>
                    <a:pt x="1044" y="1517"/>
                  </a:lnTo>
                  <a:lnTo>
                    <a:pt x="1044" y="1515"/>
                  </a:lnTo>
                  <a:lnTo>
                    <a:pt x="1045" y="1514"/>
                  </a:lnTo>
                  <a:lnTo>
                    <a:pt x="1045" y="1512"/>
                  </a:lnTo>
                  <a:lnTo>
                    <a:pt x="1042" y="1512"/>
                  </a:lnTo>
                  <a:lnTo>
                    <a:pt x="1041" y="1514"/>
                  </a:lnTo>
                  <a:lnTo>
                    <a:pt x="1039" y="1514"/>
                  </a:lnTo>
                  <a:lnTo>
                    <a:pt x="1036" y="1511"/>
                  </a:lnTo>
                  <a:lnTo>
                    <a:pt x="1035" y="1508"/>
                  </a:lnTo>
                  <a:lnTo>
                    <a:pt x="1026" y="1508"/>
                  </a:lnTo>
                  <a:lnTo>
                    <a:pt x="1021" y="1509"/>
                  </a:lnTo>
                  <a:lnTo>
                    <a:pt x="1018" y="1508"/>
                  </a:lnTo>
                  <a:lnTo>
                    <a:pt x="1017" y="1509"/>
                  </a:lnTo>
                  <a:lnTo>
                    <a:pt x="1017" y="1512"/>
                  </a:lnTo>
                  <a:lnTo>
                    <a:pt x="1015" y="1515"/>
                  </a:lnTo>
                  <a:lnTo>
                    <a:pt x="1012" y="1514"/>
                  </a:lnTo>
                  <a:lnTo>
                    <a:pt x="1008" y="1514"/>
                  </a:lnTo>
                  <a:lnTo>
                    <a:pt x="1008" y="1515"/>
                  </a:lnTo>
                  <a:lnTo>
                    <a:pt x="1006" y="1515"/>
                  </a:lnTo>
                  <a:lnTo>
                    <a:pt x="1006" y="1520"/>
                  </a:lnTo>
                  <a:lnTo>
                    <a:pt x="1003" y="1520"/>
                  </a:lnTo>
                  <a:lnTo>
                    <a:pt x="1003" y="1517"/>
                  </a:lnTo>
                  <a:lnTo>
                    <a:pt x="1002" y="1517"/>
                  </a:lnTo>
                  <a:lnTo>
                    <a:pt x="1001" y="1520"/>
                  </a:lnTo>
                  <a:lnTo>
                    <a:pt x="996" y="1520"/>
                  </a:lnTo>
                  <a:lnTo>
                    <a:pt x="995" y="1521"/>
                  </a:lnTo>
                  <a:lnTo>
                    <a:pt x="996" y="1524"/>
                  </a:lnTo>
                  <a:lnTo>
                    <a:pt x="993" y="1523"/>
                  </a:lnTo>
                  <a:lnTo>
                    <a:pt x="992" y="1523"/>
                  </a:lnTo>
                  <a:lnTo>
                    <a:pt x="992" y="1521"/>
                  </a:lnTo>
                  <a:lnTo>
                    <a:pt x="987" y="1521"/>
                  </a:lnTo>
                  <a:lnTo>
                    <a:pt x="987" y="1520"/>
                  </a:lnTo>
                  <a:lnTo>
                    <a:pt x="984" y="1520"/>
                  </a:lnTo>
                  <a:lnTo>
                    <a:pt x="983" y="1518"/>
                  </a:lnTo>
                  <a:lnTo>
                    <a:pt x="981" y="1518"/>
                  </a:lnTo>
                  <a:lnTo>
                    <a:pt x="981" y="1520"/>
                  </a:lnTo>
                  <a:lnTo>
                    <a:pt x="978" y="1518"/>
                  </a:lnTo>
                  <a:lnTo>
                    <a:pt x="972" y="1518"/>
                  </a:lnTo>
                  <a:lnTo>
                    <a:pt x="972" y="1515"/>
                  </a:lnTo>
                  <a:lnTo>
                    <a:pt x="966" y="1509"/>
                  </a:lnTo>
                  <a:lnTo>
                    <a:pt x="965" y="1509"/>
                  </a:lnTo>
                  <a:lnTo>
                    <a:pt x="960" y="1514"/>
                  </a:lnTo>
                  <a:lnTo>
                    <a:pt x="960" y="1515"/>
                  </a:lnTo>
                  <a:lnTo>
                    <a:pt x="954" y="1515"/>
                  </a:lnTo>
                  <a:lnTo>
                    <a:pt x="954" y="1517"/>
                  </a:lnTo>
                  <a:lnTo>
                    <a:pt x="953" y="1517"/>
                  </a:lnTo>
                  <a:lnTo>
                    <a:pt x="953" y="1518"/>
                  </a:lnTo>
                  <a:lnTo>
                    <a:pt x="950" y="1518"/>
                  </a:lnTo>
                  <a:lnTo>
                    <a:pt x="950" y="1521"/>
                  </a:lnTo>
                  <a:lnTo>
                    <a:pt x="951" y="1523"/>
                  </a:lnTo>
                  <a:lnTo>
                    <a:pt x="953" y="1526"/>
                  </a:lnTo>
                  <a:lnTo>
                    <a:pt x="950" y="1527"/>
                  </a:lnTo>
                  <a:lnTo>
                    <a:pt x="948" y="1530"/>
                  </a:lnTo>
                  <a:lnTo>
                    <a:pt x="945" y="1530"/>
                  </a:lnTo>
                  <a:lnTo>
                    <a:pt x="942" y="1532"/>
                  </a:lnTo>
                  <a:lnTo>
                    <a:pt x="941" y="1533"/>
                  </a:lnTo>
                  <a:lnTo>
                    <a:pt x="938" y="1533"/>
                  </a:lnTo>
                  <a:lnTo>
                    <a:pt x="938" y="1535"/>
                  </a:lnTo>
                  <a:lnTo>
                    <a:pt x="933" y="1535"/>
                  </a:lnTo>
                  <a:lnTo>
                    <a:pt x="932" y="1536"/>
                  </a:lnTo>
                  <a:lnTo>
                    <a:pt x="933" y="1536"/>
                  </a:lnTo>
                  <a:lnTo>
                    <a:pt x="932" y="1538"/>
                  </a:lnTo>
                  <a:lnTo>
                    <a:pt x="930" y="1538"/>
                  </a:lnTo>
                  <a:lnTo>
                    <a:pt x="927" y="1539"/>
                  </a:lnTo>
                  <a:lnTo>
                    <a:pt x="924" y="1542"/>
                  </a:lnTo>
                  <a:lnTo>
                    <a:pt x="921" y="1542"/>
                  </a:lnTo>
                  <a:lnTo>
                    <a:pt x="920" y="1544"/>
                  </a:lnTo>
                  <a:lnTo>
                    <a:pt x="911" y="1544"/>
                  </a:lnTo>
                  <a:lnTo>
                    <a:pt x="906" y="1547"/>
                  </a:lnTo>
                  <a:lnTo>
                    <a:pt x="905" y="1547"/>
                  </a:lnTo>
                  <a:lnTo>
                    <a:pt x="903" y="1550"/>
                  </a:lnTo>
                  <a:lnTo>
                    <a:pt x="900" y="1550"/>
                  </a:lnTo>
                  <a:lnTo>
                    <a:pt x="897" y="1553"/>
                  </a:lnTo>
                  <a:lnTo>
                    <a:pt x="897" y="1556"/>
                  </a:lnTo>
                  <a:lnTo>
                    <a:pt x="896" y="1559"/>
                  </a:lnTo>
                  <a:lnTo>
                    <a:pt x="891" y="1563"/>
                  </a:lnTo>
                  <a:lnTo>
                    <a:pt x="890" y="1563"/>
                  </a:lnTo>
                  <a:lnTo>
                    <a:pt x="888" y="1565"/>
                  </a:lnTo>
                  <a:lnTo>
                    <a:pt x="887" y="1565"/>
                  </a:lnTo>
                  <a:lnTo>
                    <a:pt x="887" y="1566"/>
                  </a:lnTo>
                  <a:lnTo>
                    <a:pt x="885" y="1566"/>
                  </a:lnTo>
                  <a:lnTo>
                    <a:pt x="884" y="1568"/>
                  </a:lnTo>
                  <a:lnTo>
                    <a:pt x="884" y="1569"/>
                  </a:lnTo>
                  <a:lnTo>
                    <a:pt x="881" y="1569"/>
                  </a:lnTo>
                  <a:lnTo>
                    <a:pt x="881" y="1568"/>
                  </a:lnTo>
                  <a:lnTo>
                    <a:pt x="873" y="1575"/>
                  </a:lnTo>
                  <a:lnTo>
                    <a:pt x="875" y="1575"/>
                  </a:lnTo>
                  <a:lnTo>
                    <a:pt x="876" y="1577"/>
                  </a:lnTo>
                  <a:lnTo>
                    <a:pt x="876" y="1580"/>
                  </a:lnTo>
                  <a:lnTo>
                    <a:pt x="873" y="1583"/>
                  </a:lnTo>
                  <a:lnTo>
                    <a:pt x="872" y="1583"/>
                  </a:lnTo>
                  <a:lnTo>
                    <a:pt x="872" y="1584"/>
                  </a:lnTo>
                  <a:lnTo>
                    <a:pt x="870" y="1584"/>
                  </a:lnTo>
                  <a:lnTo>
                    <a:pt x="869" y="1586"/>
                  </a:lnTo>
                  <a:lnTo>
                    <a:pt x="866" y="1587"/>
                  </a:lnTo>
                  <a:lnTo>
                    <a:pt x="864" y="1587"/>
                  </a:lnTo>
                  <a:lnTo>
                    <a:pt x="863" y="1586"/>
                  </a:lnTo>
                  <a:lnTo>
                    <a:pt x="863" y="1587"/>
                  </a:lnTo>
                  <a:lnTo>
                    <a:pt x="861" y="1587"/>
                  </a:lnTo>
                  <a:lnTo>
                    <a:pt x="861" y="1589"/>
                  </a:lnTo>
                  <a:lnTo>
                    <a:pt x="860" y="1589"/>
                  </a:lnTo>
                  <a:lnTo>
                    <a:pt x="858" y="1590"/>
                  </a:lnTo>
                  <a:lnTo>
                    <a:pt x="858" y="1589"/>
                  </a:lnTo>
                  <a:lnTo>
                    <a:pt x="857" y="1589"/>
                  </a:lnTo>
                  <a:lnTo>
                    <a:pt x="857" y="1586"/>
                  </a:lnTo>
                  <a:lnTo>
                    <a:pt x="855" y="1586"/>
                  </a:lnTo>
                  <a:lnTo>
                    <a:pt x="855" y="1589"/>
                  </a:lnTo>
                  <a:lnTo>
                    <a:pt x="848" y="1589"/>
                  </a:lnTo>
                  <a:lnTo>
                    <a:pt x="843" y="1593"/>
                  </a:lnTo>
                  <a:lnTo>
                    <a:pt x="842" y="1593"/>
                  </a:lnTo>
                  <a:lnTo>
                    <a:pt x="841" y="1592"/>
                  </a:lnTo>
                  <a:lnTo>
                    <a:pt x="839" y="1593"/>
                  </a:lnTo>
                  <a:lnTo>
                    <a:pt x="838" y="1592"/>
                  </a:lnTo>
                  <a:lnTo>
                    <a:pt x="836" y="1592"/>
                  </a:lnTo>
                  <a:lnTo>
                    <a:pt x="835" y="1590"/>
                  </a:lnTo>
                  <a:lnTo>
                    <a:pt x="829" y="1592"/>
                  </a:lnTo>
                  <a:lnTo>
                    <a:pt x="827" y="1587"/>
                  </a:lnTo>
                  <a:lnTo>
                    <a:pt x="827" y="1586"/>
                  </a:lnTo>
                  <a:lnTo>
                    <a:pt x="829" y="1584"/>
                  </a:lnTo>
                  <a:lnTo>
                    <a:pt x="829" y="1581"/>
                  </a:lnTo>
                  <a:lnTo>
                    <a:pt x="827" y="1581"/>
                  </a:lnTo>
                  <a:lnTo>
                    <a:pt x="826" y="1580"/>
                  </a:lnTo>
                  <a:lnTo>
                    <a:pt x="820" y="1580"/>
                  </a:lnTo>
                  <a:lnTo>
                    <a:pt x="818" y="1578"/>
                  </a:lnTo>
                  <a:lnTo>
                    <a:pt x="815" y="1577"/>
                  </a:lnTo>
                  <a:lnTo>
                    <a:pt x="812" y="1574"/>
                  </a:lnTo>
                  <a:lnTo>
                    <a:pt x="811" y="1575"/>
                  </a:lnTo>
                  <a:lnTo>
                    <a:pt x="808" y="1575"/>
                  </a:lnTo>
                  <a:lnTo>
                    <a:pt x="803" y="1580"/>
                  </a:lnTo>
                  <a:lnTo>
                    <a:pt x="797" y="1580"/>
                  </a:lnTo>
                  <a:lnTo>
                    <a:pt x="797" y="1578"/>
                  </a:lnTo>
                  <a:lnTo>
                    <a:pt x="794" y="1577"/>
                  </a:lnTo>
                  <a:lnTo>
                    <a:pt x="790" y="1577"/>
                  </a:lnTo>
                  <a:lnTo>
                    <a:pt x="788" y="1575"/>
                  </a:lnTo>
                  <a:lnTo>
                    <a:pt x="787" y="1575"/>
                  </a:lnTo>
                  <a:lnTo>
                    <a:pt x="784" y="1574"/>
                  </a:lnTo>
                  <a:lnTo>
                    <a:pt x="782" y="1574"/>
                  </a:lnTo>
                  <a:lnTo>
                    <a:pt x="782" y="1575"/>
                  </a:lnTo>
                  <a:lnTo>
                    <a:pt x="775" y="1575"/>
                  </a:lnTo>
                  <a:lnTo>
                    <a:pt x="775" y="1572"/>
                  </a:lnTo>
                  <a:lnTo>
                    <a:pt x="776" y="1571"/>
                  </a:lnTo>
                  <a:lnTo>
                    <a:pt x="778" y="1571"/>
                  </a:lnTo>
                  <a:lnTo>
                    <a:pt x="781" y="1568"/>
                  </a:lnTo>
                  <a:lnTo>
                    <a:pt x="779" y="1566"/>
                  </a:lnTo>
                  <a:lnTo>
                    <a:pt x="776" y="1566"/>
                  </a:lnTo>
                  <a:lnTo>
                    <a:pt x="773" y="1563"/>
                  </a:lnTo>
                  <a:lnTo>
                    <a:pt x="769" y="1563"/>
                  </a:lnTo>
                  <a:lnTo>
                    <a:pt x="769" y="1565"/>
                  </a:lnTo>
                  <a:lnTo>
                    <a:pt x="766" y="1565"/>
                  </a:lnTo>
                  <a:lnTo>
                    <a:pt x="764" y="1563"/>
                  </a:lnTo>
                  <a:lnTo>
                    <a:pt x="764" y="1562"/>
                  </a:lnTo>
                  <a:lnTo>
                    <a:pt x="763" y="1560"/>
                  </a:lnTo>
                  <a:lnTo>
                    <a:pt x="761" y="1562"/>
                  </a:lnTo>
                  <a:lnTo>
                    <a:pt x="758" y="1562"/>
                  </a:lnTo>
                  <a:lnTo>
                    <a:pt x="757" y="1560"/>
                  </a:lnTo>
                  <a:lnTo>
                    <a:pt x="752" y="1562"/>
                  </a:lnTo>
                  <a:lnTo>
                    <a:pt x="751" y="1563"/>
                  </a:lnTo>
                  <a:lnTo>
                    <a:pt x="749" y="1562"/>
                  </a:lnTo>
                  <a:lnTo>
                    <a:pt x="748" y="1563"/>
                  </a:lnTo>
                  <a:lnTo>
                    <a:pt x="746" y="1563"/>
                  </a:lnTo>
                  <a:lnTo>
                    <a:pt x="746" y="1565"/>
                  </a:lnTo>
                  <a:lnTo>
                    <a:pt x="745" y="1565"/>
                  </a:lnTo>
                  <a:lnTo>
                    <a:pt x="743" y="1566"/>
                  </a:lnTo>
                  <a:lnTo>
                    <a:pt x="743" y="1568"/>
                  </a:lnTo>
                  <a:lnTo>
                    <a:pt x="742" y="1569"/>
                  </a:lnTo>
                  <a:lnTo>
                    <a:pt x="740" y="1569"/>
                  </a:lnTo>
                  <a:lnTo>
                    <a:pt x="734" y="1571"/>
                  </a:lnTo>
                  <a:lnTo>
                    <a:pt x="730" y="1575"/>
                  </a:lnTo>
                  <a:lnTo>
                    <a:pt x="728" y="1575"/>
                  </a:lnTo>
                  <a:lnTo>
                    <a:pt x="728" y="1577"/>
                  </a:lnTo>
                  <a:lnTo>
                    <a:pt x="727" y="1577"/>
                  </a:lnTo>
                  <a:lnTo>
                    <a:pt x="727" y="1580"/>
                  </a:lnTo>
                  <a:lnTo>
                    <a:pt x="724" y="1583"/>
                  </a:lnTo>
                  <a:lnTo>
                    <a:pt x="722" y="1586"/>
                  </a:lnTo>
                  <a:lnTo>
                    <a:pt x="721" y="1587"/>
                  </a:lnTo>
                  <a:lnTo>
                    <a:pt x="719" y="1587"/>
                  </a:lnTo>
                  <a:lnTo>
                    <a:pt x="716" y="1590"/>
                  </a:lnTo>
                  <a:lnTo>
                    <a:pt x="716" y="1593"/>
                  </a:lnTo>
                  <a:lnTo>
                    <a:pt x="715" y="1596"/>
                  </a:lnTo>
                  <a:lnTo>
                    <a:pt x="713" y="1598"/>
                  </a:lnTo>
                  <a:lnTo>
                    <a:pt x="710" y="1598"/>
                  </a:lnTo>
                  <a:lnTo>
                    <a:pt x="709" y="1599"/>
                  </a:lnTo>
                  <a:lnTo>
                    <a:pt x="709" y="1601"/>
                  </a:lnTo>
                  <a:lnTo>
                    <a:pt x="707" y="1601"/>
                  </a:lnTo>
                  <a:lnTo>
                    <a:pt x="707" y="1602"/>
                  </a:lnTo>
                  <a:lnTo>
                    <a:pt x="706" y="1602"/>
                  </a:lnTo>
                  <a:lnTo>
                    <a:pt x="706" y="1605"/>
                  </a:lnTo>
                  <a:lnTo>
                    <a:pt x="704" y="1607"/>
                  </a:lnTo>
                  <a:lnTo>
                    <a:pt x="704" y="1608"/>
                  </a:lnTo>
                  <a:lnTo>
                    <a:pt x="706" y="1610"/>
                  </a:lnTo>
                  <a:lnTo>
                    <a:pt x="706" y="1611"/>
                  </a:lnTo>
                  <a:lnTo>
                    <a:pt x="707" y="1613"/>
                  </a:lnTo>
                  <a:lnTo>
                    <a:pt x="706" y="1614"/>
                  </a:lnTo>
                  <a:lnTo>
                    <a:pt x="704" y="1613"/>
                  </a:lnTo>
                  <a:lnTo>
                    <a:pt x="703" y="1613"/>
                  </a:lnTo>
                  <a:lnTo>
                    <a:pt x="701" y="1614"/>
                  </a:lnTo>
                  <a:lnTo>
                    <a:pt x="701" y="1613"/>
                  </a:lnTo>
                  <a:lnTo>
                    <a:pt x="700" y="1613"/>
                  </a:lnTo>
                  <a:lnTo>
                    <a:pt x="700" y="1611"/>
                  </a:lnTo>
                  <a:lnTo>
                    <a:pt x="698" y="1611"/>
                  </a:lnTo>
                  <a:lnTo>
                    <a:pt x="695" y="1608"/>
                  </a:lnTo>
                  <a:lnTo>
                    <a:pt x="695" y="1601"/>
                  </a:lnTo>
                  <a:lnTo>
                    <a:pt x="697" y="1599"/>
                  </a:lnTo>
                  <a:lnTo>
                    <a:pt x="697" y="1598"/>
                  </a:lnTo>
                  <a:lnTo>
                    <a:pt x="698" y="1596"/>
                  </a:lnTo>
                  <a:lnTo>
                    <a:pt x="700" y="1587"/>
                  </a:lnTo>
                  <a:lnTo>
                    <a:pt x="700" y="1584"/>
                  </a:lnTo>
                  <a:lnTo>
                    <a:pt x="698" y="1583"/>
                  </a:lnTo>
                  <a:lnTo>
                    <a:pt x="698" y="1578"/>
                  </a:lnTo>
                  <a:lnTo>
                    <a:pt x="695" y="1575"/>
                  </a:lnTo>
                  <a:lnTo>
                    <a:pt x="691" y="1575"/>
                  </a:lnTo>
                  <a:lnTo>
                    <a:pt x="689" y="1574"/>
                  </a:lnTo>
                  <a:lnTo>
                    <a:pt x="688" y="1574"/>
                  </a:lnTo>
                  <a:lnTo>
                    <a:pt x="686" y="1575"/>
                  </a:lnTo>
                  <a:lnTo>
                    <a:pt x="685" y="1575"/>
                  </a:lnTo>
                  <a:lnTo>
                    <a:pt x="685" y="1577"/>
                  </a:lnTo>
                  <a:lnTo>
                    <a:pt x="682" y="1577"/>
                  </a:lnTo>
                  <a:lnTo>
                    <a:pt x="679" y="1578"/>
                  </a:lnTo>
                  <a:lnTo>
                    <a:pt x="679" y="1580"/>
                  </a:lnTo>
                  <a:lnTo>
                    <a:pt x="670" y="1581"/>
                  </a:lnTo>
                  <a:lnTo>
                    <a:pt x="667" y="1581"/>
                  </a:lnTo>
                  <a:lnTo>
                    <a:pt x="666" y="1583"/>
                  </a:lnTo>
                  <a:lnTo>
                    <a:pt x="666" y="1584"/>
                  </a:lnTo>
                  <a:lnTo>
                    <a:pt x="667" y="1586"/>
                  </a:lnTo>
                  <a:lnTo>
                    <a:pt x="666" y="1586"/>
                  </a:lnTo>
                  <a:lnTo>
                    <a:pt x="664" y="1584"/>
                  </a:lnTo>
                  <a:lnTo>
                    <a:pt x="655" y="1584"/>
                  </a:lnTo>
                  <a:lnTo>
                    <a:pt x="654" y="1583"/>
                  </a:lnTo>
                  <a:lnTo>
                    <a:pt x="652" y="1584"/>
                  </a:lnTo>
                  <a:lnTo>
                    <a:pt x="652" y="1586"/>
                  </a:lnTo>
                  <a:lnTo>
                    <a:pt x="649" y="1589"/>
                  </a:lnTo>
                  <a:lnTo>
                    <a:pt x="646" y="1589"/>
                  </a:lnTo>
                  <a:lnTo>
                    <a:pt x="646" y="1587"/>
                  </a:lnTo>
                  <a:lnTo>
                    <a:pt x="643" y="1587"/>
                  </a:lnTo>
                  <a:lnTo>
                    <a:pt x="643" y="1589"/>
                  </a:lnTo>
                  <a:lnTo>
                    <a:pt x="642" y="1589"/>
                  </a:lnTo>
                  <a:lnTo>
                    <a:pt x="642" y="1587"/>
                  </a:lnTo>
                  <a:lnTo>
                    <a:pt x="637" y="1587"/>
                  </a:lnTo>
                  <a:lnTo>
                    <a:pt x="633" y="1589"/>
                  </a:lnTo>
                  <a:lnTo>
                    <a:pt x="633" y="1586"/>
                  </a:lnTo>
                  <a:lnTo>
                    <a:pt x="631" y="1587"/>
                  </a:lnTo>
                  <a:lnTo>
                    <a:pt x="630" y="1587"/>
                  </a:lnTo>
                  <a:lnTo>
                    <a:pt x="628" y="1589"/>
                  </a:lnTo>
                  <a:lnTo>
                    <a:pt x="627" y="1587"/>
                  </a:lnTo>
                  <a:lnTo>
                    <a:pt x="621" y="1587"/>
                  </a:lnTo>
                  <a:lnTo>
                    <a:pt x="618" y="1583"/>
                  </a:lnTo>
                  <a:lnTo>
                    <a:pt x="616" y="1581"/>
                  </a:lnTo>
                  <a:lnTo>
                    <a:pt x="610" y="1581"/>
                  </a:lnTo>
                  <a:lnTo>
                    <a:pt x="610" y="1580"/>
                  </a:lnTo>
                  <a:lnTo>
                    <a:pt x="609" y="1578"/>
                  </a:lnTo>
                  <a:lnTo>
                    <a:pt x="604" y="1578"/>
                  </a:lnTo>
                  <a:lnTo>
                    <a:pt x="603" y="1577"/>
                  </a:lnTo>
                  <a:lnTo>
                    <a:pt x="603" y="1574"/>
                  </a:lnTo>
                  <a:lnTo>
                    <a:pt x="594" y="1574"/>
                  </a:lnTo>
                  <a:lnTo>
                    <a:pt x="594" y="1580"/>
                  </a:lnTo>
                  <a:lnTo>
                    <a:pt x="591" y="1583"/>
                  </a:lnTo>
                  <a:lnTo>
                    <a:pt x="588" y="1583"/>
                  </a:lnTo>
                  <a:lnTo>
                    <a:pt x="586" y="1581"/>
                  </a:lnTo>
                  <a:lnTo>
                    <a:pt x="583" y="1581"/>
                  </a:lnTo>
                  <a:lnTo>
                    <a:pt x="583" y="1580"/>
                  </a:lnTo>
                  <a:lnTo>
                    <a:pt x="580" y="1580"/>
                  </a:lnTo>
                  <a:lnTo>
                    <a:pt x="579" y="1578"/>
                  </a:lnTo>
                  <a:lnTo>
                    <a:pt x="579" y="1577"/>
                  </a:lnTo>
                  <a:lnTo>
                    <a:pt x="577" y="1575"/>
                  </a:lnTo>
                  <a:lnTo>
                    <a:pt x="577" y="1571"/>
                  </a:lnTo>
                  <a:lnTo>
                    <a:pt x="573" y="1575"/>
                  </a:lnTo>
                  <a:lnTo>
                    <a:pt x="573" y="1578"/>
                  </a:lnTo>
                  <a:lnTo>
                    <a:pt x="574" y="1580"/>
                  </a:lnTo>
                  <a:lnTo>
                    <a:pt x="574" y="1583"/>
                  </a:lnTo>
                  <a:lnTo>
                    <a:pt x="573" y="1584"/>
                  </a:lnTo>
                  <a:lnTo>
                    <a:pt x="568" y="1584"/>
                  </a:lnTo>
                  <a:lnTo>
                    <a:pt x="567" y="1583"/>
                  </a:lnTo>
                  <a:lnTo>
                    <a:pt x="567" y="1578"/>
                  </a:lnTo>
                  <a:lnTo>
                    <a:pt x="564" y="1575"/>
                  </a:lnTo>
                  <a:lnTo>
                    <a:pt x="564" y="1571"/>
                  </a:lnTo>
                  <a:lnTo>
                    <a:pt x="562" y="1571"/>
                  </a:lnTo>
                  <a:lnTo>
                    <a:pt x="561" y="1569"/>
                  </a:lnTo>
                  <a:lnTo>
                    <a:pt x="559" y="1569"/>
                  </a:lnTo>
                  <a:lnTo>
                    <a:pt x="556" y="1566"/>
                  </a:lnTo>
                  <a:lnTo>
                    <a:pt x="556" y="1565"/>
                  </a:lnTo>
                  <a:lnTo>
                    <a:pt x="555" y="1562"/>
                  </a:lnTo>
                  <a:lnTo>
                    <a:pt x="555" y="1563"/>
                  </a:lnTo>
                  <a:lnTo>
                    <a:pt x="553" y="1563"/>
                  </a:lnTo>
                  <a:lnTo>
                    <a:pt x="552" y="1566"/>
                  </a:lnTo>
                  <a:lnTo>
                    <a:pt x="550" y="1566"/>
                  </a:lnTo>
                  <a:lnTo>
                    <a:pt x="550" y="1565"/>
                  </a:lnTo>
                  <a:lnTo>
                    <a:pt x="549" y="1565"/>
                  </a:lnTo>
                  <a:lnTo>
                    <a:pt x="549" y="1563"/>
                  </a:lnTo>
                  <a:lnTo>
                    <a:pt x="546" y="1563"/>
                  </a:lnTo>
                  <a:lnTo>
                    <a:pt x="546" y="1565"/>
                  </a:lnTo>
                  <a:lnTo>
                    <a:pt x="544" y="1563"/>
                  </a:lnTo>
                  <a:lnTo>
                    <a:pt x="541" y="1563"/>
                  </a:lnTo>
                  <a:lnTo>
                    <a:pt x="541" y="1565"/>
                  </a:lnTo>
                  <a:lnTo>
                    <a:pt x="538" y="1565"/>
                  </a:lnTo>
                  <a:lnTo>
                    <a:pt x="538" y="1563"/>
                  </a:lnTo>
                  <a:lnTo>
                    <a:pt x="537" y="1563"/>
                  </a:lnTo>
                  <a:lnTo>
                    <a:pt x="535" y="1565"/>
                  </a:lnTo>
                  <a:lnTo>
                    <a:pt x="532" y="1565"/>
                  </a:lnTo>
                  <a:lnTo>
                    <a:pt x="531" y="1563"/>
                  </a:lnTo>
                  <a:lnTo>
                    <a:pt x="528" y="1563"/>
                  </a:lnTo>
                  <a:lnTo>
                    <a:pt x="526" y="1562"/>
                  </a:lnTo>
                  <a:lnTo>
                    <a:pt x="528" y="1562"/>
                  </a:lnTo>
                  <a:lnTo>
                    <a:pt x="528" y="1559"/>
                  </a:lnTo>
                  <a:lnTo>
                    <a:pt x="526" y="1556"/>
                  </a:lnTo>
                  <a:lnTo>
                    <a:pt x="528" y="1556"/>
                  </a:lnTo>
                  <a:lnTo>
                    <a:pt x="528" y="1554"/>
                  </a:lnTo>
                  <a:lnTo>
                    <a:pt x="529" y="1554"/>
                  </a:lnTo>
                  <a:lnTo>
                    <a:pt x="529" y="1551"/>
                  </a:lnTo>
                  <a:lnTo>
                    <a:pt x="531" y="1551"/>
                  </a:lnTo>
                  <a:lnTo>
                    <a:pt x="531" y="1548"/>
                  </a:lnTo>
                  <a:lnTo>
                    <a:pt x="528" y="1547"/>
                  </a:lnTo>
                  <a:lnTo>
                    <a:pt x="526" y="1545"/>
                  </a:lnTo>
                  <a:lnTo>
                    <a:pt x="525" y="1545"/>
                  </a:lnTo>
                  <a:lnTo>
                    <a:pt x="525" y="1547"/>
                  </a:lnTo>
                  <a:lnTo>
                    <a:pt x="523" y="1547"/>
                  </a:lnTo>
                  <a:lnTo>
                    <a:pt x="523" y="1548"/>
                  </a:lnTo>
                  <a:lnTo>
                    <a:pt x="522" y="1548"/>
                  </a:lnTo>
                  <a:lnTo>
                    <a:pt x="521" y="1550"/>
                  </a:lnTo>
                  <a:lnTo>
                    <a:pt x="521" y="1551"/>
                  </a:lnTo>
                  <a:lnTo>
                    <a:pt x="519" y="1551"/>
                  </a:lnTo>
                  <a:lnTo>
                    <a:pt x="519" y="1550"/>
                  </a:lnTo>
                  <a:lnTo>
                    <a:pt x="513" y="1550"/>
                  </a:lnTo>
                  <a:lnTo>
                    <a:pt x="513" y="1548"/>
                  </a:lnTo>
                  <a:lnTo>
                    <a:pt x="510" y="1548"/>
                  </a:lnTo>
                  <a:lnTo>
                    <a:pt x="509" y="1547"/>
                  </a:lnTo>
                  <a:lnTo>
                    <a:pt x="509" y="1544"/>
                  </a:lnTo>
                  <a:lnTo>
                    <a:pt x="507" y="1544"/>
                  </a:lnTo>
                  <a:lnTo>
                    <a:pt x="506" y="1542"/>
                  </a:lnTo>
                  <a:lnTo>
                    <a:pt x="503" y="1542"/>
                  </a:lnTo>
                  <a:lnTo>
                    <a:pt x="503" y="1541"/>
                  </a:lnTo>
                  <a:lnTo>
                    <a:pt x="498" y="1541"/>
                  </a:lnTo>
                  <a:lnTo>
                    <a:pt x="498" y="1539"/>
                  </a:lnTo>
                  <a:lnTo>
                    <a:pt x="497" y="1536"/>
                  </a:lnTo>
                  <a:lnTo>
                    <a:pt x="495" y="1536"/>
                  </a:lnTo>
                  <a:lnTo>
                    <a:pt x="495" y="1533"/>
                  </a:lnTo>
                  <a:lnTo>
                    <a:pt x="491" y="1533"/>
                  </a:lnTo>
                  <a:lnTo>
                    <a:pt x="488" y="1530"/>
                  </a:lnTo>
                  <a:lnTo>
                    <a:pt x="488" y="1524"/>
                  </a:lnTo>
                  <a:lnTo>
                    <a:pt x="486" y="1524"/>
                  </a:lnTo>
                  <a:lnTo>
                    <a:pt x="486" y="1521"/>
                  </a:lnTo>
                  <a:lnTo>
                    <a:pt x="485" y="1521"/>
                  </a:lnTo>
                  <a:lnTo>
                    <a:pt x="485" y="1520"/>
                  </a:lnTo>
                  <a:lnTo>
                    <a:pt x="483" y="1518"/>
                  </a:lnTo>
                  <a:lnTo>
                    <a:pt x="485" y="1518"/>
                  </a:lnTo>
                  <a:lnTo>
                    <a:pt x="485" y="1515"/>
                  </a:lnTo>
                  <a:lnTo>
                    <a:pt x="483" y="1515"/>
                  </a:lnTo>
                  <a:lnTo>
                    <a:pt x="482" y="1514"/>
                  </a:lnTo>
                  <a:lnTo>
                    <a:pt x="482" y="1512"/>
                  </a:lnTo>
                  <a:lnTo>
                    <a:pt x="480" y="1514"/>
                  </a:lnTo>
                  <a:lnTo>
                    <a:pt x="479" y="1514"/>
                  </a:lnTo>
                  <a:lnTo>
                    <a:pt x="479" y="1512"/>
                  </a:lnTo>
                  <a:lnTo>
                    <a:pt x="476" y="1512"/>
                  </a:lnTo>
                  <a:lnTo>
                    <a:pt x="476" y="1511"/>
                  </a:lnTo>
                  <a:lnTo>
                    <a:pt x="474" y="1511"/>
                  </a:lnTo>
                  <a:lnTo>
                    <a:pt x="473" y="1512"/>
                  </a:lnTo>
                  <a:lnTo>
                    <a:pt x="471" y="1512"/>
                  </a:lnTo>
                  <a:lnTo>
                    <a:pt x="470" y="1514"/>
                  </a:lnTo>
                  <a:lnTo>
                    <a:pt x="465" y="1514"/>
                  </a:lnTo>
                  <a:lnTo>
                    <a:pt x="464" y="1515"/>
                  </a:lnTo>
                  <a:lnTo>
                    <a:pt x="462" y="1515"/>
                  </a:lnTo>
                  <a:lnTo>
                    <a:pt x="462" y="1518"/>
                  </a:lnTo>
                  <a:lnTo>
                    <a:pt x="458" y="1518"/>
                  </a:lnTo>
                  <a:lnTo>
                    <a:pt x="458" y="1517"/>
                  </a:lnTo>
                  <a:lnTo>
                    <a:pt x="456" y="1517"/>
                  </a:lnTo>
                  <a:lnTo>
                    <a:pt x="455" y="1515"/>
                  </a:lnTo>
                  <a:lnTo>
                    <a:pt x="455" y="1512"/>
                  </a:lnTo>
                  <a:lnTo>
                    <a:pt x="453" y="1511"/>
                  </a:lnTo>
                  <a:lnTo>
                    <a:pt x="452" y="1511"/>
                  </a:lnTo>
                  <a:lnTo>
                    <a:pt x="452" y="1509"/>
                  </a:lnTo>
                  <a:lnTo>
                    <a:pt x="450" y="1509"/>
                  </a:lnTo>
                  <a:lnTo>
                    <a:pt x="450" y="1506"/>
                  </a:lnTo>
                  <a:lnTo>
                    <a:pt x="449" y="1505"/>
                  </a:lnTo>
                  <a:lnTo>
                    <a:pt x="449" y="1502"/>
                  </a:lnTo>
                  <a:lnTo>
                    <a:pt x="447" y="1500"/>
                  </a:lnTo>
                  <a:lnTo>
                    <a:pt x="444" y="1502"/>
                  </a:lnTo>
                  <a:lnTo>
                    <a:pt x="443" y="1500"/>
                  </a:lnTo>
                  <a:lnTo>
                    <a:pt x="444" y="1499"/>
                  </a:lnTo>
                  <a:lnTo>
                    <a:pt x="444" y="1497"/>
                  </a:lnTo>
                  <a:lnTo>
                    <a:pt x="443" y="1497"/>
                  </a:lnTo>
                  <a:lnTo>
                    <a:pt x="443" y="1496"/>
                  </a:lnTo>
                  <a:lnTo>
                    <a:pt x="441" y="1496"/>
                  </a:lnTo>
                  <a:lnTo>
                    <a:pt x="441" y="1494"/>
                  </a:lnTo>
                  <a:lnTo>
                    <a:pt x="435" y="1494"/>
                  </a:lnTo>
                  <a:lnTo>
                    <a:pt x="435" y="1496"/>
                  </a:lnTo>
                  <a:lnTo>
                    <a:pt x="434" y="1496"/>
                  </a:lnTo>
                  <a:lnTo>
                    <a:pt x="434" y="1494"/>
                  </a:lnTo>
                  <a:lnTo>
                    <a:pt x="431" y="1491"/>
                  </a:lnTo>
                  <a:lnTo>
                    <a:pt x="428" y="1491"/>
                  </a:lnTo>
                  <a:lnTo>
                    <a:pt x="428" y="1490"/>
                  </a:lnTo>
                  <a:lnTo>
                    <a:pt x="426" y="1491"/>
                  </a:lnTo>
                  <a:lnTo>
                    <a:pt x="423" y="1491"/>
                  </a:lnTo>
                  <a:lnTo>
                    <a:pt x="423" y="1490"/>
                  </a:lnTo>
                  <a:lnTo>
                    <a:pt x="422" y="1490"/>
                  </a:lnTo>
                  <a:lnTo>
                    <a:pt x="422" y="1488"/>
                  </a:lnTo>
                  <a:lnTo>
                    <a:pt x="420" y="1488"/>
                  </a:lnTo>
                  <a:lnTo>
                    <a:pt x="417" y="1485"/>
                  </a:lnTo>
                  <a:lnTo>
                    <a:pt x="417" y="1482"/>
                  </a:lnTo>
                  <a:lnTo>
                    <a:pt x="414" y="1482"/>
                  </a:lnTo>
                  <a:lnTo>
                    <a:pt x="411" y="1478"/>
                  </a:lnTo>
                  <a:lnTo>
                    <a:pt x="410" y="1478"/>
                  </a:lnTo>
                  <a:lnTo>
                    <a:pt x="408" y="1476"/>
                  </a:lnTo>
                  <a:lnTo>
                    <a:pt x="405" y="1476"/>
                  </a:lnTo>
                  <a:lnTo>
                    <a:pt x="405" y="1475"/>
                  </a:lnTo>
                  <a:lnTo>
                    <a:pt x="404" y="1473"/>
                  </a:lnTo>
                  <a:lnTo>
                    <a:pt x="401" y="1473"/>
                  </a:lnTo>
                  <a:lnTo>
                    <a:pt x="401" y="1472"/>
                  </a:lnTo>
                  <a:lnTo>
                    <a:pt x="398" y="1472"/>
                  </a:lnTo>
                  <a:lnTo>
                    <a:pt x="395" y="1470"/>
                  </a:lnTo>
                  <a:lnTo>
                    <a:pt x="392" y="1470"/>
                  </a:lnTo>
                  <a:lnTo>
                    <a:pt x="392" y="1467"/>
                  </a:lnTo>
                  <a:lnTo>
                    <a:pt x="393" y="1466"/>
                  </a:lnTo>
                  <a:lnTo>
                    <a:pt x="393" y="1464"/>
                  </a:lnTo>
                  <a:lnTo>
                    <a:pt x="392" y="1464"/>
                  </a:lnTo>
                  <a:lnTo>
                    <a:pt x="390" y="1463"/>
                  </a:lnTo>
                  <a:lnTo>
                    <a:pt x="390" y="1457"/>
                  </a:lnTo>
                  <a:lnTo>
                    <a:pt x="389" y="1455"/>
                  </a:lnTo>
                  <a:lnTo>
                    <a:pt x="386" y="1455"/>
                  </a:lnTo>
                  <a:lnTo>
                    <a:pt x="386" y="1457"/>
                  </a:lnTo>
                  <a:lnTo>
                    <a:pt x="384" y="1457"/>
                  </a:lnTo>
                  <a:lnTo>
                    <a:pt x="383" y="1455"/>
                  </a:lnTo>
                  <a:lnTo>
                    <a:pt x="381" y="1455"/>
                  </a:lnTo>
                  <a:lnTo>
                    <a:pt x="378" y="1454"/>
                  </a:lnTo>
                  <a:lnTo>
                    <a:pt x="377" y="1455"/>
                  </a:lnTo>
                  <a:lnTo>
                    <a:pt x="375" y="1455"/>
                  </a:lnTo>
                  <a:lnTo>
                    <a:pt x="369" y="1452"/>
                  </a:lnTo>
                  <a:lnTo>
                    <a:pt x="366" y="1452"/>
                  </a:lnTo>
                  <a:lnTo>
                    <a:pt x="366" y="1454"/>
                  </a:lnTo>
                  <a:lnTo>
                    <a:pt x="365" y="1454"/>
                  </a:lnTo>
                  <a:lnTo>
                    <a:pt x="363" y="1457"/>
                  </a:lnTo>
                  <a:lnTo>
                    <a:pt x="362" y="1457"/>
                  </a:lnTo>
                  <a:lnTo>
                    <a:pt x="359" y="1454"/>
                  </a:lnTo>
                  <a:lnTo>
                    <a:pt x="358" y="1454"/>
                  </a:lnTo>
                  <a:lnTo>
                    <a:pt x="358" y="1463"/>
                  </a:lnTo>
                  <a:lnTo>
                    <a:pt x="356" y="1463"/>
                  </a:lnTo>
                  <a:lnTo>
                    <a:pt x="356" y="1466"/>
                  </a:lnTo>
                  <a:lnTo>
                    <a:pt x="355" y="1467"/>
                  </a:lnTo>
                  <a:lnTo>
                    <a:pt x="352" y="1467"/>
                  </a:lnTo>
                  <a:lnTo>
                    <a:pt x="353" y="1469"/>
                  </a:lnTo>
                  <a:lnTo>
                    <a:pt x="353" y="1470"/>
                  </a:lnTo>
                  <a:lnTo>
                    <a:pt x="352" y="1470"/>
                  </a:lnTo>
                  <a:lnTo>
                    <a:pt x="350" y="1472"/>
                  </a:lnTo>
                  <a:lnTo>
                    <a:pt x="350" y="1473"/>
                  </a:lnTo>
                  <a:lnTo>
                    <a:pt x="344" y="1473"/>
                  </a:lnTo>
                  <a:lnTo>
                    <a:pt x="344" y="1470"/>
                  </a:lnTo>
                  <a:lnTo>
                    <a:pt x="343" y="1469"/>
                  </a:lnTo>
                  <a:lnTo>
                    <a:pt x="343" y="1467"/>
                  </a:lnTo>
                  <a:lnTo>
                    <a:pt x="341" y="1466"/>
                  </a:lnTo>
                  <a:lnTo>
                    <a:pt x="341" y="1464"/>
                  </a:lnTo>
                  <a:lnTo>
                    <a:pt x="340" y="1464"/>
                  </a:lnTo>
                  <a:lnTo>
                    <a:pt x="340" y="1460"/>
                  </a:lnTo>
                  <a:lnTo>
                    <a:pt x="338" y="1460"/>
                  </a:lnTo>
                  <a:lnTo>
                    <a:pt x="334" y="1458"/>
                  </a:lnTo>
                  <a:lnTo>
                    <a:pt x="331" y="1457"/>
                  </a:lnTo>
                  <a:lnTo>
                    <a:pt x="329" y="1457"/>
                  </a:lnTo>
                  <a:lnTo>
                    <a:pt x="329" y="1455"/>
                  </a:lnTo>
                  <a:lnTo>
                    <a:pt x="326" y="1452"/>
                  </a:lnTo>
                  <a:lnTo>
                    <a:pt x="322" y="1449"/>
                  </a:lnTo>
                  <a:lnTo>
                    <a:pt x="317" y="1449"/>
                  </a:lnTo>
                  <a:lnTo>
                    <a:pt x="316" y="1448"/>
                  </a:lnTo>
                  <a:lnTo>
                    <a:pt x="314" y="1448"/>
                  </a:lnTo>
                  <a:lnTo>
                    <a:pt x="310" y="1445"/>
                  </a:lnTo>
                  <a:lnTo>
                    <a:pt x="305" y="1443"/>
                  </a:lnTo>
                  <a:lnTo>
                    <a:pt x="304" y="1443"/>
                  </a:lnTo>
                  <a:lnTo>
                    <a:pt x="302" y="1445"/>
                  </a:lnTo>
                  <a:lnTo>
                    <a:pt x="302" y="1443"/>
                  </a:lnTo>
                  <a:lnTo>
                    <a:pt x="304" y="1442"/>
                  </a:lnTo>
                  <a:lnTo>
                    <a:pt x="304" y="1440"/>
                  </a:lnTo>
                  <a:lnTo>
                    <a:pt x="302" y="1440"/>
                  </a:lnTo>
                  <a:lnTo>
                    <a:pt x="302" y="1437"/>
                  </a:lnTo>
                  <a:lnTo>
                    <a:pt x="304" y="1437"/>
                  </a:lnTo>
                  <a:lnTo>
                    <a:pt x="305" y="1436"/>
                  </a:lnTo>
                  <a:lnTo>
                    <a:pt x="305" y="1434"/>
                  </a:lnTo>
                  <a:lnTo>
                    <a:pt x="304" y="1434"/>
                  </a:lnTo>
                  <a:lnTo>
                    <a:pt x="301" y="1431"/>
                  </a:lnTo>
                  <a:lnTo>
                    <a:pt x="299" y="1433"/>
                  </a:lnTo>
                  <a:lnTo>
                    <a:pt x="298" y="1433"/>
                  </a:lnTo>
                  <a:lnTo>
                    <a:pt x="295" y="1430"/>
                  </a:lnTo>
                  <a:lnTo>
                    <a:pt x="295" y="1428"/>
                  </a:lnTo>
                  <a:lnTo>
                    <a:pt x="292" y="1427"/>
                  </a:lnTo>
                  <a:lnTo>
                    <a:pt x="290" y="1427"/>
                  </a:lnTo>
                  <a:lnTo>
                    <a:pt x="287" y="1424"/>
                  </a:lnTo>
                  <a:lnTo>
                    <a:pt x="287" y="1422"/>
                  </a:lnTo>
                  <a:lnTo>
                    <a:pt x="277" y="1422"/>
                  </a:lnTo>
                  <a:lnTo>
                    <a:pt x="275" y="1424"/>
                  </a:lnTo>
                  <a:lnTo>
                    <a:pt x="272" y="1424"/>
                  </a:lnTo>
                  <a:lnTo>
                    <a:pt x="272" y="1422"/>
                  </a:lnTo>
                  <a:lnTo>
                    <a:pt x="271" y="1422"/>
                  </a:lnTo>
                  <a:lnTo>
                    <a:pt x="271" y="1419"/>
                  </a:lnTo>
                  <a:lnTo>
                    <a:pt x="266" y="1419"/>
                  </a:lnTo>
                  <a:lnTo>
                    <a:pt x="266" y="1416"/>
                  </a:lnTo>
                  <a:lnTo>
                    <a:pt x="265" y="1416"/>
                  </a:lnTo>
                  <a:lnTo>
                    <a:pt x="265" y="1415"/>
                  </a:lnTo>
                  <a:lnTo>
                    <a:pt x="262" y="1415"/>
                  </a:lnTo>
                  <a:lnTo>
                    <a:pt x="262" y="1413"/>
                  </a:lnTo>
                  <a:lnTo>
                    <a:pt x="260" y="1412"/>
                  </a:lnTo>
                  <a:lnTo>
                    <a:pt x="260" y="1409"/>
                  </a:lnTo>
                  <a:lnTo>
                    <a:pt x="259" y="1409"/>
                  </a:lnTo>
                  <a:lnTo>
                    <a:pt x="259" y="1406"/>
                  </a:lnTo>
                  <a:lnTo>
                    <a:pt x="257" y="1406"/>
                  </a:lnTo>
                  <a:lnTo>
                    <a:pt x="257" y="1403"/>
                  </a:lnTo>
                  <a:lnTo>
                    <a:pt x="256" y="1403"/>
                  </a:lnTo>
                  <a:lnTo>
                    <a:pt x="256" y="1402"/>
                  </a:lnTo>
                  <a:lnTo>
                    <a:pt x="254" y="1402"/>
                  </a:lnTo>
                  <a:lnTo>
                    <a:pt x="254" y="1400"/>
                  </a:lnTo>
                  <a:lnTo>
                    <a:pt x="253" y="1399"/>
                  </a:lnTo>
                  <a:lnTo>
                    <a:pt x="251" y="1399"/>
                  </a:lnTo>
                  <a:lnTo>
                    <a:pt x="251" y="1397"/>
                  </a:lnTo>
                  <a:lnTo>
                    <a:pt x="248" y="1399"/>
                  </a:lnTo>
                  <a:lnTo>
                    <a:pt x="248" y="1403"/>
                  </a:lnTo>
                  <a:lnTo>
                    <a:pt x="247" y="1404"/>
                  </a:lnTo>
                  <a:lnTo>
                    <a:pt x="247" y="1403"/>
                  </a:lnTo>
                  <a:lnTo>
                    <a:pt x="245" y="1403"/>
                  </a:lnTo>
                  <a:lnTo>
                    <a:pt x="244" y="1402"/>
                  </a:lnTo>
                  <a:lnTo>
                    <a:pt x="244" y="1404"/>
                  </a:lnTo>
                  <a:lnTo>
                    <a:pt x="242" y="1404"/>
                  </a:lnTo>
                  <a:lnTo>
                    <a:pt x="242" y="1406"/>
                  </a:lnTo>
                  <a:lnTo>
                    <a:pt x="241" y="1406"/>
                  </a:lnTo>
                  <a:lnTo>
                    <a:pt x="239" y="1404"/>
                  </a:lnTo>
                  <a:lnTo>
                    <a:pt x="239" y="1406"/>
                  </a:lnTo>
                  <a:lnTo>
                    <a:pt x="238" y="1406"/>
                  </a:lnTo>
                  <a:lnTo>
                    <a:pt x="236" y="1404"/>
                  </a:lnTo>
                  <a:lnTo>
                    <a:pt x="236" y="1402"/>
                  </a:lnTo>
                  <a:lnTo>
                    <a:pt x="238" y="1399"/>
                  </a:lnTo>
                  <a:lnTo>
                    <a:pt x="238" y="1397"/>
                  </a:lnTo>
                  <a:lnTo>
                    <a:pt x="236" y="1396"/>
                  </a:lnTo>
                  <a:lnTo>
                    <a:pt x="235" y="1396"/>
                  </a:lnTo>
                  <a:lnTo>
                    <a:pt x="235" y="1394"/>
                  </a:lnTo>
                  <a:lnTo>
                    <a:pt x="239" y="1390"/>
                  </a:lnTo>
                  <a:lnTo>
                    <a:pt x="239" y="1387"/>
                  </a:lnTo>
                  <a:lnTo>
                    <a:pt x="238" y="1385"/>
                  </a:lnTo>
                  <a:lnTo>
                    <a:pt x="235" y="1385"/>
                  </a:lnTo>
                  <a:lnTo>
                    <a:pt x="235" y="1381"/>
                  </a:lnTo>
                  <a:lnTo>
                    <a:pt x="233" y="1379"/>
                  </a:lnTo>
                  <a:lnTo>
                    <a:pt x="235" y="1378"/>
                  </a:lnTo>
                  <a:lnTo>
                    <a:pt x="235" y="1373"/>
                  </a:lnTo>
                  <a:lnTo>
                    <a:pt x="236" y="1370"/>
                  </a:lnTo>
                  <a:lnTo>
                    <a:pt x="236" y="1369"/>
                  </a:lnTo>
                  <a:lnTo>
                    <a:pt x="235" y="1367"/>
                  </a:lnTo>
                  <a:lnTo>
                    <a:pt x="233" y="1367"/>
                  </a:lnTo>
                  <a:lnTo>
                    <a:pt x="232" y="1366"/>
                  </a:lnTo>
                  <a:lnTo>
                    <a:pt x="227" y="1360"/>
                  </a:lnTo>
                  <a:lnTo>
                    <a:pt x="227" y="1358"/>
                  </a:lnTo>
                  <a:lnTo>
                    <a:pt x="224" y="1355"/>
                  </a:lnTo>
                  <a:lnTo>
                    <a:pt x="223" y="1355"/>
                  </a:lnTo>
                  <a:lnTo>
                    <a:pt x="223" y="1345"/>
                  </a:lnTo>
                  <a:lnTo>
                    <a:pt x="220" y="1339"/>
                  </a:lnTo>
                  <a:lnTo>
                    <a:pt x="220" y="1337"/>
                  </a:lnTo>
                  <a:lnTo>
                    <a:pt x="229" y="1337"/>
                  </a:lnTo>
                  <a:lnTo>
                    <a:pt x="232" y="1336"/>
                  </a:lnTo>
                  <a:lnTo>
                    <a:pt x="235" y="1333"/>
                  </a:lnTo>
                  <a:lnTo>
                    <a:pt x="236" y="1333"/>
                  </a:lnTo>
                  <a:lnTo>
                    <a:pt x="236" y="1340"/>
                  </a:lnTo>
                  <a:lnTo>
                    <a:pt x="238" y="1342"/>
                  </a:lnTo>
                  <a:lnTo>
                    <a:pt x="241" y="1346"/>
                  </a:lnTo>
                  <a:lnTo>
                    <a:pt x="242" y="1348"/>
                  </a:lnTo>
                  <a:lnTo>
                    <a:pt x="244" y="1348"/>
                  </a:lnTo>
                  <a:lnTo>
                    <a:pt x="245" y="1349"/>
                  </a:lnTo>
                  <a:lnTo>
                    <a:pt x="247" y="1348"/>
                  </a:lnTo>
                  <a:lnTo>
                    <a:pt x="251" y="1348"/>
                  </a:lnTo>
                  <a:lnTo>
                    <a:pt x="253" y="1346"/>
                  </a:lnTo>
                  <a:lnTo>
                    <a:pt x="253" y="1342"/>
                  </a:lnTo>
                  <a:lnTo>
                    <a:pt x="254" y="1342"/>
                  </a:lnTo>
                  <a:lnTo>
                    <a:pt x="256" y="1340"/>
                  </a:lnTo>
                  <a:lnTo>
                    <a:pt x="262" y="1340"/>
                  </a:lnTo>
                  <a:lnTo>
                    <a:pt x="268" y="1334"/>
                  </a:lnTo>
                  <a:lnTo>
                    <a:pt x="271" y="1333"/>
                  </a:lnTo>
                  <a:lnTo>
                    <a:pt x="271" y="1325"/>
                  </a:lnTo>
                  <a:lnTo>
                    <a:pt x="268" y="1322"/>
                  </a:lnTo>
                  <a:lnTo>
                    <a:pt x="268" y="1319"/>
                  </a:lnTo>
                  <a:lnTo>
                    <a:pt x="265" y="1316"/>
                  </a:lnTo>
                  <a:lnTo>
                    <a:pt x="263" y="1316"/>
                  </a:lnTo>
                  <a:lnTo>
                    <a:pt x="263" y="1310"/>
                  </a:lnTo>
                  <a:lnTo>
                    <a:pt x="265" y="1309"/>
                  </a:lnTo>
                  <a:lnTo>
                    <a:pt x="265" y="1307"/>
                  </a:lnTo>
                  <a:lnTo>
                    <a:pt x="266" y="1306"/>
                  </a:lnTo>
                  <a:lnTo>
                    <a:pt x="266" y="1304"/>
                  </a:lnTo>
                  <a:lnTo>
                    <a:pt x="265" y="1303"/>
                  </a:lnTo>
                  <a:lnTo>
                    <a:pt x="259" y="1303"/>
                  </a:lnTo>
                  <a:lnTo>
                    <a:pt x="256" y="1301"/>
                  </a:lnTo>
                  <a:lnTo>
                    <a:pt x="251" y="1301"/>
                  </a:lnTo>
                  <a:lnTo>
                    <a:pt x="251" y="1298"/>
                  </a:lnTo>
                  <a:lnTo>
                    <a:pt x="250" y="1298"/>
                  </a:lnTo>
                  <a:lnTo>
                    <a:pt x="250" y="1297"/>
                  </a:lnTo>
                  <a:lnTo>
                    <a:pt x="247" y="1297"/>
                  </a:lnTo>
                  <a:lnTo>
                    <a:pt x="241" y="1288"/>
                  </a:lnTo>
                  <a:lnTo>
                    <a:pt x="239" y="1286"/>
                  </a:lnTo>
                  <a:lnTo>
                    <a:pt x="238" y="1283"/>
                  </a:lnTo>
                  <a:lnTo>
                    <a:pt x="239" y="1273"/>
                  </a:lnTo>
                  <a:lnTo>
                    <a:pt x="238" y="1268"/>
                  </a:lnTo>
                  <a:lnTo>
                    <a:pt x="238" y="1265"/>
                  </a:lnTo>
                  <a:lnTo>
                    <a:pt x="235" y="1259"/>
                  </a:lnTo>
                  <a:lnTo>
                    <a:pt x="236" y="1253"/>
                  </a:lnTo>
                  <a:lnTo>
                    <a:pt x="239" y="1252"/>
                  </a:lnTo>
                  <a:lnTo>
                    <a:pt x="244" y="1249"/>
                  </a:lnTo>
                  <a:lnTo>
                    <a:pt x="247" y="1246"/>
                  </a:lnTo>
                  <a:lnTo>
                    <a:pt x="247" y="1244"/>
                  </a:lnTo>
                  <a:lnTo>
                    <a:pt x="248" y="1244"/>
                  </a:lnTo>
                  <a:lnTo>
                    <a:pt x="247" y="1243"/>
                  </a:lnTo>
                  <a:lnTo>
                    <a:pt x="247" y="1240"/>
                  </a:lnTo>
                  <a:lnTo>
                    <a:pt x="245" y="1238"/>
                  </a:lnTo>
                  <a:lnTo>
                    <a:pt x="242" y="1237"/>
                  </a:lnTo>
                  <a:lnTo>
                    <a:pt x="241" y="1237"/>
                  </a:lnTo>
                  <a:lnTo>
                    <a:pt x="233" y="1229"/>
                  </a:lnTo>
                  <a:lnTo>
                    <a:pt x="230" y="1228"/>
                  </a:lnTo>
                  <a:lnTo>
                    <a:pt x="220" y="1226"/>
                  </a:lnTo>
                  <a:lnTo>
                    <a:pt x="218" y="1225"/>
                  </a:lnTo>
                  <a:lnTo>
                    <a:pt x="215" y="1223"/>
                  </a:lnTo>
                  <a:lnTo>
                    <a:pt x="215" y="1222"/>
                  </a:lnTo>
                  <a:lnTo>
                    <a:pt x="212" y="1211"/>
                  </a:lnTo>
                  <a:lnTo>
                    <a:pt x="209" y="1208"/>
                  </a:lnTo>
                  <a:lnTo>
                    <a:pt x="209" y="1202"/>
                  </a:lnTo>
                  <a:lnTo>
                    <a:pt x="208" y="1199"/>
                  </a:lnTo>
                  <a:lnTo>
                    <a:pt x="203" y="1192"/>
                  </a:lnTo>
                  <a:lnTo>
                    <a:pt x="202" y="1187"/>
                  </a:lnTo>
                  <a:lnTo>
                    <a:pt x="203" y="1183"/>
                  </a:lnTo>
                  <a:lnTo>
                    <a:pt x="203" y="1180"/>
                  </a:lnTo>
                  <a:lnTo>
                    <a:pt x="205" y="1177"/>
                  </a:lnTo>
                  <a:lnTo>
                    <a:pt x="205" y="1175"/>
                  </a:lnTo>
                  <a:lnTo>
                    <a:pt x="201" y="1175"/>
                  </a:lnTo>
                  <a:lnTo>
                    <a:pt x="199" y="1178"/>
                  </a:lnTo>
                  <a:lnTo>
                    <a:pt x="196" y="1178"/>
                  </a:lnTo>
                  <a:lnTo>
                    <a:pt x="193" y="1175"/>
                  </a:lnTo>
                  <a:lnTo>
                    <a:pt x="190" y="1175"/>
                  </a:lnTo>
                  <a:lnTo>
                    <a:pt x="189" y="1177"/>
                  </a:lnTo>
                  <a:lnTo>
                    <a:pt x="187" y="1177"/>
                  </a:lnTo>
                  <a:lnTo>
                    <a:pt x="181" y="1175"/>
                  </a:lnTo>
                  <a:lnTo>
                    <a:pt x="178" y="1175"/>
                  </a:lnTo>
                  <a:lnTo>
                    <a:pt x="175" y="1177"/>
                  </a:lnTo>
                  <a:lnTo>
                    <a:pt x="174" y="1177"/>
                  </a:lnTo>
                  <a:lnTo>
                    <a:pt x="169" y="1172"/>
                  </a:lnTo>
                  <a:lnTo>
                    <a:pt x="168" y="1172"/>
                  </a:lnTo>
                  <a:lnTo>
                    <a:pt x="165" y="1174"/>
                  </a:lnTo>
                  <a:lnTo>
                    <a:pt x="163" y="1174"/>
                  </a:lnTo>
                  <a:lnTo>
                    <a:pt x="162" y="1172"/>
                  </a:lnTo>
                  <a:lnTo>
                    <a:pt x="160" y="1172"/>
                  </a:lnTo>
                  <a:lnTo>
                    <a:pt x="160" y="1171"/>
                  </a:lnTo>
                  <a:lnTo>
                    <a:pt x="159" y="1171"/>
                  </a:lnTo>
                  <a:lnTo>
                    <a:pt x="159" y="1169"/>
                  </a:lnTo>
                  <a:lnTo>
                    <a:pt x="157" y="1169"/>
                  </a:lnTo>
                  <a:lnTo>
                    <a:pt x="156" y="1171"/>
                  </a:lnTo>
                  <a:lnTo>
                    <a:pt x="154" y="1171"/>
                  </a:lnTo>
                  <a:lnTo>
                    <a:pt x="153" y="1169"/>
                  </a:lnTo>
                  <a:lnTo>
                    <a:pt x="151" y="1169"/>
                  </a:lnTo>
                  <a:lnTo>
                    <a:pt x="150" y="1168"/>
                  </a:lnTo>
                  <a:lnTo>
                    <a:pt x="150" y="1166"/>
                  </a:lnTo>
                  <a:lnTo>
                    <a:pt x="145" y="1166"/>
                  </a:lnTo>
                  <a:lnTo>
                    <a:pt x="144" y="1165"/>
                  </a:lnTo>
                  <a:lnTo>
                    <a:pt x="144" y="1163"/>
                  </a:lnTo>
                  <a:lnTo>
                    <a:pt x="142" y="1162"/>
                  </a:lnTo>
                  <a:lnTo>
                    <a:pt x="138" y="1162"/>
                  </a:lnTo>
                  <a:lnTo>
                    <a:pt x="136" y="1160"/>
                  </a:lnTo>
                  <a:lnTo>
                    <a:pt x="136" y="1153"/>
                  </a:lnTo>
                  <a:lnTo>
                    <a:pt x="135" y="1151"/>
                  </a:lnTo>
                  <a:lnTo>
                    <a:pt x="133" y="1154"/>
                  </a:lnTo>
                  <a:lnTo>
                    <a:pt x="130" y="1154"/>
                  </a:lnTo>
                  <a:lnTo>
                    <a:pt x="129" y="1156"/>
                  </a:lnTo>
                  <a:lnTo>
                    <a:pt x="127" y="1156"/>
                  </a:lnTo>
                  <a:lnTo>
                    <a:pt x="124" y="1157"/>
                  </a:lnTo>
                  <a:lnTo>
                    <a:pt x="118" y="1157"/>
                  </a:lnTo>
                  <a:lnTo>
                    <a:pt x="117" y="1156"/>
                  </a:lnTo>
                  <a:lnTo>
                    <a:pt x="117" y="1151"/>
                  </a:lnTo>
                  <a:lnTo>
                    <a:pt x="115" y="1150"/>
                  </a:lnTo>
                  <a:lnTo>
                    <a:pt x="115" y="1148"/>
                  </a:lnTo>
                  <a:lnTo>
                    <a:pt x="114" y="1147"/>
                  </a:lnTo>
                  <a:lnTo>
                    <a:pt x="109" y="1147"/>
                  </a:lnTo>
                  <a:lnTo>
                    <a:pt x="108" y="1145"/>
                  </a:lnTo>
                  <a:lnTo>
                    <a:pt x="106" y="1145"/>
                  </a:lnTo>
                  <a:lnTo>
                    <a:pt x="106" y="1140"/>
                  </a:lnTo>
                  <a:lnTo>
                    <a:pt x="109" y="1138"/>
                  </a:lnTo>
                  <a:lnTo>
                    <a:pt x="109" y="1135"/>
                  </a:lnTo>
                  <a:lnTo>
                    <a:pt x="111" y="1134"/>
                  </a:lnTo>
                  <a:lnTo>
                    <a:pt x="111" y="1132"/>
                  </a:lnTo>
                  <a:lnTo>
                    <a:pt x="109" y="1131"/>
                  </a:lnTo>
                  <a:lnTo>
                    <a:pt x="109" y="1120"/>
                  </a:lnTo>
                  <a:lnTo>
                    <a:pt x="105" y="1111"/>
                  </a:lnTo>
                  <a:lnTo>
                    <a:pt x="103" y="1110"/>
                  </a:lnTo>
                  <a:lnTo>
                    <a:pt x="100" y="1108"/>
                  </a:lnTo>
                  <a:lnTo>
                    <a:pt x="99" y="1105"/>
                  </a:lnTo>
                  <a:lnTo>
                    <a:pt x="94" y="1104"/>
                  </a:lnTo>
                  <a:lnTo>
                    <a:pt x="88" y="1104"/>
                  </a:lnTo>
                  <a:lnTo>
                    <a:pt x="88" y="1105"/>
                  </a:lnTo>
                  <a:lnTo>
                    <a:pt x="84" y="1105"/>
                  </a:lnTo>
                  <a:lnTo>
                    <a:pt x="84" y="1099"/>
                  </a:lnTo>
                  <a:lnTo>
                    <a:pt x="82" y="1098"/>
                  </a:lnTo>
                  <a:lnTo>
                    <a:pt x="82" y="1096"/>
                  </a:lnTo>
                  <a:lnTo>
                    <a:pt x="79" y="1093"/>
                  </a:lnTo>
                  <a:lnTo>
                    <a:pt x="73" y="1093"/>
                  </a:lnTo>
                  <a:lnTo>
                    <a:pt x="70" y="1090"/>
                  </a:lnTo>
                  <a:lnTo>
                    <a:pt x="63" y="1090"/>
                  </a:lnTo>
                  <a:lnTo>
                    <a:pt x="61" y="1092"/>
                  </a:lnTo>
                  <a:lnTo>
                    <a:pt x="60" y="1092"/>
                  </a:lnTo>
                  <a:lnTo>
                    <a:pt x="60" y="1095"/>
                  </a:lnTo>
                  <a:lnTo>
                    <a:pt x="58" y="1095"/>
                  </a:lnTo>
                  <a:lnTo>
                    <a:pt x="58" y="1092"/>
                  </a:lnTo>
                  <a:lnTo>
                    <a:pt x="55" y="1089"/>
                  </a:lnTo>
                  <a:lnTo>
                    <a:pt x="52" y="1089"/>
                  </a:lnTo>
                  <a:lnTo>
                    <a:pt x="51" y="1087"/>
                  </a:lnTo>
                  <a:lnTo>
                    <a:pt x="48" y="1087"/>
                  </a:lnTo>
                  <a:lnTo>
                    <a:pt x="45" y="1089"/>
                  </a:lnTo>
                  <a:lnTo>
                    <a:pt x="42" y="1089"/>
                  </a:lnTo>
                  <a:lnTo>
                    <a:pt x="42" y="1086"/>
                  </a:lnTo>
                  <a:lnTo>
                    <a:pt x="41" y="1086"/>
                  </a:lnTo>
                  <a:lnTo>
                    <a:pt x="38" y="1084"/>
                  </a:lnTo>
                  <a:lnTo>
                    <a:pt x="36" y="1083"/>
                  </a:lnTo>
                  <a:lnTo>
                    <a:pt x="36" y="1080"/>
                  </a:lnTo>
                  <a:lnTo>
                    <a:pt x="41" y="1080"/>
                  </a:lnTo>
                  <a:lnTo>
                    <a:pt x="41" y="1077"/>
                  </a:lnTo>
                  <a:lnTo>
                    <a:pt x="43" y="1077"/>
                  </a:lnTo>
                  <a:lnTo>
                    <a:pt x="45" y="1075"/>
                  </a:lnTo>
                  <a:lnTo>
                    <a:pt x="46" y="1075"/>
                  </a:lnTo>
                  <a:lnTo>
                    <a:pt x="46" y="1077"/>
                  </a:lnTo>
                  <a:lnTo>
                    <a:pt x="48" y="1077"/>
                  </a:lnTo>
                  <a:lnTo>
                    <a:pt x="48" y="1075"/>
                  </a:lnTo>
                  <a:lnTo>
                    <a:pt x="49" y="1075"/>
                  </a:lnTo>
                  <a:lnTo>
                    <a:pt x="52" y="1072"/>
                  </a:lnTo>
                  <a:lnTo>
                    <a:pt x="52" y="1074"/>
                  </a:lnTo>
                  <a:lnTo>
                    <a:pt x="55" y="1077"/>
                  </a:lnTo>
                  <a:lnTo>
                    <a:pt x="61" y="1077"/>
                  </a:lnTo>
                  <a:lnTo>
                    <a:pt x="61" y="1074"/>
                  </a:lnTo>
                  <a:lnTo>
                    <a:pt x="63" y="1074"/>
                  </a:lnTo>
                  <a:lnTo>
                    <a:pt x="67" y="1072"/>
                  </a:lnTo>
                  <a:lnTo>
                    <a:pt x="69" y="1071"/>
                  </a:lnTo>
                  <a:lnTo>
                    <a:pt x="69" y="1068"/>
                  </a:lnTo>
                  <a:lnTo>
                    <a:pt x="70" y="1068"/>
                  </a:lnTo>
                  <a:lnTo>
                    <a:pt x="72" y="1066"/>
                  </a:lnTo>
                  <a:lnTo>
                    <a:pt x="70" y="1066"/>
                  </a:lnTo>
                  <a:lnTo>
                    <a:pt x="69" y="1065"/>
                  </a:lnTo>
                  <a:lnTo>
                    <a:pt x="67" y="1062"/>
                  </a:lnTo>
                  <a:lnTo>
                    <a:pt x="66" y="1060"/>
                  </a:lnTo>
                  <a:lnTo>
                    <a:pt x="63" y="1059"/>
                  </a:lnTo>
                  <a:lnTo>
                    <a:pt x="60" y="1056"/>
                  </a:lnTo>
                  <a:lnTo>
                    <a:pt x="60" y="1051"/>
                  </a:lnTo>
                  <a:lnTo>
                    <a:pt x="61" y="1050"/>
                  </a:lnTo>
                  <a:lnTo>
                    <a:pt x="61" y="1048"/>
                  </a:lnTo>
                  <a:lnTo>
                    <a:pt x="63" y="1047"/>
                  </a:lnTo>
                  <a:lnTo>
                    <a:pt x="63" y="1044"/>
                  </a:lnTo>
                  <a:lnTo>
                    <a:pt x="60" y="1042"/>
                  </a:lnTo>
                  <a:lnTo>
                    <a:pt x="60" y="1030"/>
                  </a:lnTo>
                  <a:lnTo>
                    <a:pt x="55" y="1029"/>
                  </a:lnTo>
                  <a:lnTo>
                    <a:pt x="55" y="1027"/>
                  </a:lnTo>
                  <a:lnTo>
                    <a:pt x="54" y="1021"/>
                  </a:lnTo>
                  <a:lnTo>
                    <a:pt x="54" y="1014"/>
                  </a:lnTo>
                  <a:lnTo>
                    <a:pt x="55" y="1014"/>
                  </a:lnTo>
                  <a:lnTo>
                    <a:pt x="57" y="1011"/>
                  </a:lnTo>
                  <a:lnTo>
                    <a:pt x="57" y="1005"/>
                  </a:lnTo>
                  <a:lnTo>
                    <a:pt x="55" y="1005"/>
                  </a:lnTo>
                  <a:lnTo>
                    <a:pt x="55" y="1003"/>
                  </a:lnTo>
                  <a:lnTo>
                    <a:pt x="54" y="1002"/>
                  </a:lnTo>
                  <a:lnTo>
                    <a:pt x="51" y="1002"/>
                  </a:lnTo>
                  <a:lnTo>
                    <a:pt x="48" y="999"/>
                  </a:lnTo>
                  <a:lnTo>
                    <a:pt x="41" y="996"/>
                  </a:lnTo>
                  <a:lnTo>
                    <a:pt x="35" y="993"/>
                  </a:lnTo>
                  <a:lnTo>
                    <a:pt x="33" y="993"/>
                  </a:lnTo>
                  <a:lnTo>
                    <a:pt x="30" y="994"/>
                  </a:lnTo>
                  <a:lnTo>
                    <a:pt x="29" y="994"/>
                  </a:lnTo>
                  <a:lnTo>
                    <a:pt x="26" y="993"/>
                  </a:lnTo>
                  <a:lnTo>
                    <a:pt x="24" y="993"/>
                  </a:lnTo>
                  <a:lnTo>
                    <a:pt x="23" y="994"/>
                  </a:lnTo>
                  <a:lnTo>
                    <a:pt x="23" y="996"/>
                  </a:lnTo>
                  <a:lnTo>
                    <a:pt x="21" y="997"/>
                  </a:lnTo>
                  <a:lnTo>
                    <a:pt x="21" y="1002"/>
                  </a:lnTo>
                  <a:lnTo>
                    <a:pt x="15" y="1002"/>
                  </a:lnTo>
                  <a:lnTo>
                    <a:pt x="15" y="1000"/>
                  </a:lnTo>
                  <a:lnTo>
                    <a:pt x="14" y="999"/>
                  </a:lnTo>
                  <a:lnTo>
                    <a:pt x="11" y="999"/>
                  </a:lnTo>
                  <a:lnTo>
                    <a:pt x="11" y="997"/>
                  </a:lnTo>
                  <a:lnTo>
                    <a:pt x="9" y="997"/>
                  </a:lnTo>
                  <a:lnTo>
                    <a:pt x="9" y="993"/>
                  </a:lnTo>
                  <a:lnTo>
                    <a:pt x="6" y="990"/>
                  </a:lnTo>
                  <a:lnTo>
                    <a:pt x="6" y="984"/>
                  </a:lnTo>
                  <a:lnTo>
                    <a:pt x="5" y="982"/>
                  </a:lnTo>
                  <a:lnTo>
                    <a:pt x="5" y="979"/>
                  </a:lnTo>
                  <a:lnTo>
                    <a:pt x="6" y="978"/>
                  </a:lnTo>
                  <a:lnTo>
                    <a:pt x="11" y="978"/>
                  </a:lnTo>
                  <a:lnTo>
                    <a:pt x="11" y="973"/>
                  </a:lnTo>
                  <a:lnTo>
                    <a:pt x="9" y="973"/>
                  </a:lnTo>
                  <a:lnTo>
                    <a:pt x="5" y="969"/>
                  </a:lnTo>
                  <a:lnTo>
                    <a:pt x="5" y="966"/>
                  </a:lnTo>
                  <a:lnTo>
                    <a:pt x="3" y="966"/>
                  </a:lnTo>
                  <a:lnTo>
                    <a:pt x="2" y="963"/>
                  </a:lnTo>
                  <a:lnTo>
                    <a:pt x="0" y="961"/>
                  </a:lnTo>
                  <a:lnTo>
                    <a:pt x="0" y="960"/>
                  </a:lnTo>
                  <a:lnTo>
                    <a:pt x="2" y="958"/>
                  </a:lnTo>
                  <a:lnTo>
                    <a:pt x="2" y="954"/>
                  </a:lnTo>
                  <a:lnTo>
                    <a:pt x="3" y="952"/>
                  </a:lnTo>
                  <a:lnTo>
                    <a:pt x="3" y="951"/>
                  </a:lnTo>
                  <a:lnTo>
                    <a:pt x="2" y="948"/>
                  </a:lnTo>
                  <a:lnTo>
                    <a:pt x="2" y="946"/>
                  </a:lnTo>
                  <a:lnTo>
                    <a:pt x="11" y="946"/>
                  </a:lnTo>
                  <a:lnTo>
                    <a:pt x="12" y="945"/>
                  </a:lnTo>
                  <a:lnTo>
                    <a:pt x="12" y="942"/>
                  </a:lnTo>
                  <a:lnTo>
                    <a:pt x="14" y="942"/>
                  </a:lnTo>
                  <a:lnTo>
                    <a:pt x="14" y="940"/>
                  </a:lnTo>
                  <a:lnTo>
                    <a:pt x="15" y="939"/>
                  </a:lnTo>
                  <a:lnTo>
                    <a:pt x="15" y="936"/>
                  </a:lnTo>
                  <a:lnTo>
                    <a:pt x="14" y="933"/>
                  </a:lnTo>
                  <a:lnTo>
                    <a:pt x="14" y="930"/>
                  </a:lnTo>
                  <a:lnTo>
                    <a:pt x="11" y="930"/>
                  </a:lnTo>
                  <a:lnTo>
                    <a:pt x="11" y="925"/>
                  </a:lnTo>
                  <a:lnTo>
                    <a:pt x="14" y="922"/>
                  </a:lnTo>
                  <a:lnTo>
                    <a:pt x="14" y="919"/>
                  </a:lnTo>
                  <a:lnTo>
                    <a:pt x="15" y="918"/>
                  </a:lnTo>
                  <a:lnTo>
                    <a:pt x="15" y="916"/>
                  </a:lnTo>
                  <a:lnTo>
                    <a:pt x="17" y="916"/>
                  </a:lnTo>
                  <a:lnTo>
                    <a:pt x="17" y="912"/>
                  </a:lnTo>
                  <a:lnTo>
                    <a:pt x="18" y="912"/>
                  </a:lnTo>
                  <a:lnTo>
                    <a:pt x="20" y="910"/>
                  </a:lnTo>
                  <a:lnTo>
                    <a:pt x="23" y="910"/>
                  </a:lnTo>
                  <a:lnTo>
                    <a:pt x="24" y="909"/>
                  </a:lnTo>
                  <a:lnTo>
                    <a:pt x="26" y="909"/>
                  </a:lnTo>
                  <a:lnTo>
                    <a:pt x="27" y="907"/>
                  </a:lnTo>
                  <a:lnTo>
                    <a:pt x="30" y="907"/>
                  </a:lnTo>
                  <a:lnTo>
                    <a:pt x="32" y="909"/>
                  </a:lnTo>
                  <a:lnTo>
                    <a:pt x="35" y="909"/>
                  </a:lnTo>
                  <a:lnTo>
                    <a:pt x="36" y="907"/>
                  </a:lnTo>
                  <a:lnTo>
                    <a:pt x="41" y="904"/>
                  </a:lnTo>
                  <a:lnTo>
                    <a:pt x="48" y="897"/>
                  </a:lnTo>
                  <a:lnTo>
                    <a:pt x="49" y="897"/>
                  </a:lnTo>
                  <a:lnTo>
                    <a:pt x="51" y="894"/>
                  </a:lnTo>
                  <a:lnTo>
                    <a:pt x="52" y="894"/>
                  </a:lnTo>
                  <a:lnTo>
                    <a:pt x="57" y="895"/>
                  </a:lnTo>
                  <a:lnTo>
                    <a:pt x="58" y="894"/>
                  </a:lnTo>
                  <a:lnTo>
                    <a:pt x="58" y="892"/>
                  </a:lnTo>
                  <a:lnTo>
                    <a:pt x="57" y="892"/>
                  </a:lnTo>
                  <a:lnTo>
                    <a:pt x="55" y="889"/>
                  </a:lnTo>
                  <a:lnTo>
                    <a:pt x="55" y="886"/>
                  </a:lnTo>
                  <a:lnTo>
                    <a:pt x="57" y="885"/>
                  </a:lnTo>
                  <a:lnTo>
                    <a:pt x="57" y="884"/>
                  </a:lnTo>
                  <a:lnTo>
                    <a:pt x="58" y="884"/>
                  </a:lnTo>
                  <a:lnTo>
                    <a:pt x="63" y="886"/>
                  </a:lnTo>
                  <a:lnTo>
                    <a:pt x="64" y="888"/>
                  </a:lnTo>
                  <a:lnTo>
                    <a:pt x="67" y="888"/>
                  </a:lnTo>
                  <a:lnTo>
                    <a:pt x="70" y="886"/>
                  </a:lnTo>
                  <a:lnTo>
                    <a:pt x="72" y="886"/>
                  </a:lnTo>
                  <a:lnTo>
                    <a:pt x="73" y="888"/>
                  </a:lnTo>
                  <a:lnTo>
                    <a:pt x="75" y="888"/>
                  </a:lnTo>
                  <a:lnTo>
                    <a:pt x="75" y="886"/>
                  </a:lnTo>
                  <a:lnTo>
                    <a:pt x="76" y="886"/>
                  </a:lnTo>
                  <a:lnTo>
                    <a:pt x="76" y="885"/>
                  </a:lnTo>
                  <a:lnTo>
                    <a:pt x="87" y="878"/>
                  </a:lnTo>
                  <a:lnTo>
                    <a:pt x="88" y="876"/>
                  </a:lnTo>
                  <a:lnTo>
                    <a:pt x="90" y="876"/>
                  </a:lnTo>
                  <a:lnTo>
                    <a:pt x="91" y="878"/>
                  </a:lnTo>
                  <a:lnTo>
                    <a:pt x="93" y="881"/>
                  </a:lnTo>
                  <a:lnTo>
                    <a:pt x="93" y="885"/>
                  </a:lnTo>
                  <a:lnTo>
                    <a:pt x="96" y="888"/>
                  </a:lnTo>
                  <a:lnTo>
                    <a:pt x="94" y="889"/>
                  </a:lnTo>
                  <a:lnTo>
                    <a:pt x="94" y="895"/>
                  </a:lnTo>
                  <a:lnTo>
                    <a:pt x="96" y="895"/>
                  </a:lnTo>
                  <a:lnTo>
                    <a:pt x="96" y="897"/>
                  </a:lnTo>
                  <a:lnTo>
                    <a:pt x="97" y="897"/>
                  </a:lnTo>
                  <a:lnTo>
                    <a:pt x="99" y="895"/>
                  </a:lnTo>
                  <a:lnTo>
                    <a:pt x="102" y="895"/>
                  </a:lnTo>
                  <a:lnTo>
                    <a:pt x="105" y="897"/>
                  </a:lnTo>
                  <a:lnTo>
                    <a:pt x="106" y="897"/>
                  </a:lnTo>
                  <a:lnTo>
                    <a:pt x="106" y="895"/>
                  </a:lnTo>
                  <a:lnTo>
                    <a:pt x="109" y="892"/>
                  </a:lnTo>
                  <a:lnTo>
                    <a:pt x="112" y="891"/>
                  </a:lnTo>
                  <a:lnTo>
                    <a:pt x="115" y="891"/>
                  </a:lnTo>
                  <a:lnTo>
                    <a:pt x="117" y="892"/>
                  </a:lnTo>
                  <a:lnTo>
                    <a:pt x="118" y="892"/>
                  </a:lnTo>
                  <a:lnTo>
                    <a:pt x="120" y="891"/>
                  </a:lnTo>
                  <a:lnTo>
                    <a:pt x="120" y="889"/>
                  </a:lnTo>
                  <a:lnTo>
                    <a:pt x="121" y="888"/>
                  </a:lnTo>
                  <a:lnTo>
                    <a:pt x="123" y="888"/>
                  </a:lnTo>
                  <a:lnTo>
                    <a:pt x="124" y="889"/>
                  </a:lnTo>
                  <a:lnTo>
                    <a:pt x="124" y="894"/>
                  </a:lnTo>
                  <a:lnTo>
                    <a:pt x="126" y="894"/>
                  </a:lnTo>
                  <a:lnTo>
                    <a:pt x="127" y="892"/>
                  </a:lnTo>
                  <a:lnTo>
                    <a:pt x="132" y="889"/>
                  </a:lnTo>
                  <a:lnTo>
                    <a:pt x="132" y="888"/>
                  </a:lnTo>
                  <a:lnTo>
                    <a:pt x="133" y="886"/>
                  </a:lnTo>
                  <a:lnTo>
                    <a:pt x="135" y="882"/>
                  </a:lnTo>
                  <a:lnTo>
                    <a:pt x="136" y="881"/>
                  </a:lnTo>
                  <a:lnTo>
                    <a:pt x="139" y="879"/>
                  </a:lnTo>
                  <a:lnTo>
                    <a:pt x="139" y="870"/>
                  </a:lnTo>
                  <a:lnTo>
                    <a:pt x="147" y="863"/>
                  </a:lnTo>
                  <a:lnTo>
                    <a:pt x="145" y="861"/>
                  </a:lnTo>
                  <a:lnTo>
                    <a:pt x="145" y="858"/>
                  </a:lnTo>
                  <a:lnTo>
                    <a:pt x="151" y="852"/>
                  </a:lnTo>
                  <a:lnTo>
                    <a:pt x="159" y="852"/>
                  </a:lnTo>
                  <a:lnTo>
                    <a:pt x="160" y="854"/>
                  </a:lnTo>
                  <a:lnTo>
                    <a:pt x="171" y="854"/>
                  </a:lnTo>
                  <a:lnTo>
                    <a:pt x="172" y="852"/>
                  </a:lnTo>
                  <a:lnTo>
                    <a:pt x="174" y="854"/>
                  </a:lnTo>
                  <a:lnTo>
                    <a:pt x="177" y="855"/>
                  </a:lnTo>
                  <a:lnTo>
                    <a:pt x="180" y="855"/>
                  </a:lnTo>
                  <a:lnTo>
                    <a:pt x="183" y="854"/>
                  </a:lnTo>
                  <a:lnTo>
                    <a:pt x="186" y="855"/>
                  </a:lnTo>
                  <a:lnTo>
                    <a:pt x="187" y="854"/>
                  </a:lnTo>
                  <a:lnTo>
                    <a:pt x="193" y="851"/>
                  </a:lnTo>
                  <a:lnTo>
                    <a:pt x="202" y="851"/>
                  </a:lnTo>
                  <a:lnTo>
                    <a:pt x="203" y="852"/>
                  </a:lnTo>
                  <a:lnTo>
                    <a:pt x="206" y="852"/>
                  </a:lnTo>
                  <a:lnTo>
                    <a:pt x="212" y="846"/>
                  </a:lnTo>
                  <a:lnTo>
                    <a:pt x="212" y="843"/>
                  </a:lnTo>
                  <a:lnTo>
                    <a:pt x="218" y="837"/>
                  </a:lnTo>
                  <a:lnTo>
                    <a:pt x="218" y="831"/>
                  </a:lnTo>
                  <a:lnTo>
                    <a:pt x="220" y="831"/>
                  </a:lnTo>
                  <a:lnTo>
                    <a:pt x="221" y="830"/>
                  </a:lnTo>
                  <a:lnTo>
                    <a:pt x="226" y="827"/>
                  </a:lnTo>
                  <a:lnTo>
                    <a:pt x="229" y="825"/>
                  </a:lnTo>
                  <a:lnTo>
                    <a:pt x="230" y="825"/>
                  </a:lnTo>
                  <a:lnTo>
                    <a:pt x="232" y="824"/>
                  </a:lnTo>
                  <a:lnTo>
                    <a:pt x="232" y="822"/>
                  </a:lnTo>
                  <a:lnTo>
                    <a:pt x="233" y="821"/>
                  </a:lnTo>
                  <a:lnTo>
                    <a:pt x="239" y="819"/>
                  </a:lnTo>
                  <a:lnTo>
                    <a:pt x="244" y="816"/>
                  </a:lnTo>
                  <a:lnTo>
                    <a:pt x="253" y="812"/>
                  </a:lnTo>
                  <a:lnTo>
                    <a:pt x="254" y="810"/>
                  </a:lnTo>
                  <a:lnTo>
                    <a:pt x="257" y="810"/>
                  </a:lnTo>
                  <a:lnTo>
                    <a:pt x="262" y="806"/>
                  </a:lnTo>
                  <a:lnTo>
                    <a:pt x="265" y="807"/>
                  </a:lnTo>
                  <a:lnTo>
                    <a:pt x="268" y="807"/>
                  </a:lnTo>
                  <a:lnTo>
                    <a:pt x="271" y="804"/>
                  </a:lnTo>
                  <a:lnTo>
                    <a:pt x="277" y="801"/>
                  </a:lnTo>
                  <a:lnTo>
                    <a:pt x="280" y="801"/>
                  </a:lnTo>
                  <a:lnTo>
                    <a:pt x="283" y="800"/>
                  </a:lnTo>
                  <a:lnTo>
                    <a:pt x="284" y="798"/>
                  </a:lnTo>
                  <a:lnTo>
                    <a:pt x="286" y="795"/>
                  </a:lnTo>
                  <a:lnTo>
                    <a:pt x="286" y="794"/>
                  </a:lnTo>
                  <a:lnTo>
                    <a:pt x="287" y="792"/>
                  </a:lnTo>
                  <a:lnTo>
                    <a:pt x="302" y="792"/>
                  </a:lnTo>
                  <a:lnTo>
                    <a:pt x="305" y="791"/>
                  </a:lnTo>
                  <a:lnTo>
                    <a:pt x="307" y="789"/>
                  </a:lnTo>
                  <a:lnTo>
                    <a:pt x="305" y="788"/>
                  </a:lnTo>
                  <a:lnTo>
                    <a:pt x="305" y="785"/>
                  </a:lnTo>
                  <a:lnTo>
                    <a:pt x="304" y="785"/>
                  </a:lnTo>
                  <a:lnTo>
                    <a:pt x="304" y="782"/>
                  </a:lnTo>
                  <a:lnTo>
                    <a:pt x="305" y="780"/>
                  </a:lnTo>
                  <a:lnTo>
                    <a:pt x="307" y="780"/>
                  </a:lnTo>
                  <a:lnTo>
                    <a:pt x="307" y="779"/>
                  </a:lnTo>
                  <a:lnTo>
                    <a:pt x="305" y="774"/>
                  </a:lnTo>
                  <a:lnTo>
                    <a:pt x="305" y="773"/>
                  </a:lnTo>
                  <a:lnTo>
                    <a:pt x="304" y="771"/>
                  </a:lnTo>
                  <a:lnTo>
                    <a:pt x="304" y="762"/>
                  </a:lnTo>
                  <a:lnTo>
                    <a:pt x="301" y="756"/>
                  </a:lnTo>
                  <a:lnTo>
                    <a:pt x="301" y="752"/>
                  </a:lnTo>
                  <a:lnTo>
                    <a:pt x="302" y="749"/>
                  </a:lnTo>
                  <a:lnTo>
                    <a:pt x="304" y="747"/>
                  </a:lnTo>
                  <a:lnTo>
                    <a:pt x="305" y="744"/>
                  </a:lnTo>
                  <a:lnTo>
                    <a:pt x="305" y="743"/>
                  </a:lnTo>
                  <a:lnTo>
                    <a:pt x="307" y="741"/>
                  </a:lnTo>
                  <a:lnTo>
                    <a:pt x="308" y="743"/>
                  </a:lnTo>
                  <a:lnTo>
                    <a:pt x="310" y="743"/>
                  </a:lnTo>
                  <a:lnTo>
                    <a:pt x="311" y="741"/>
                  </a:lnTo>
                  <a:lnTo>
                    <a:pt x="313" y="741"/>
                  </a:lnTo>
                  <a:lnTo>
                    <a:pt x="316" y="740"/>
                  </a:lnTo>
                  <a:lnTo>
                    <a:pt x="319" y="740"/>
                  </a:lnTo>
                  <a:lnTo>
                    <a:pt x="319" y="738"/>
                  </a:lnTo>
                  <a:lnTo>
                    <a:pt x="320" y="737"/>
                  </a:lnTo>
                  <a:lnTo>
                    <a:pt x="319" y="737"/>
                  </a:lnTo>
                  <a:lnTo>
                    <a:pt x="319" y="735"/>
                  </a:lnTo>
                  <a:lnTo>
                    <a:pt x="316" y="735"/>
                  </a:lnTo>
                  <a:lnTo>
                    <a:pt x="313" y="734"/>
                  </a:lnTo>
                  <a:lnTo>
                    <a:pt x="311" y="732"/>
                  </a:lnTo>
                  <a:lnTo>
                    <a:pt x="311" y="729"/>
                  </a:lnTo>
                  <a:lnTo>
                    <a:pt x="313" y="728"/>
                  </a:lnTo>
                  <a:lnTo>
                    <a:pt x="317" y="726"/>
                  </a:lnTo>
                  <a:lnTo>
                    <a:pt x="320" y="723"/>
                  </a:lnTo>
                  <a:lnTo>
                    <a:pt x="323" y="722"/>
                  </a:lnTo>
                  <a:lnTo>
                    <a:pt x="325" y="722"/>
                  </a:lnTo>
                  <a:lnTo>
                    <a:pt x="326" y="725"/>
                  </a:lnTo>
                  <a:lnTo>
                    <a:pt x="329" y="725"/>
                  </a:lnTo>
                  <a:lnTo>
                    <a:pt x="329" y="723"/>
                  </a:lnTo>
                  <a:lnTo>
                    <a:pt x="331" y="723"/>
                  </a:lnTo>
                  <a:lnTo>
                    <a:pt x="331" y="720"/>
                  </a:lnTo>
                  <a:lnTo>
                    <a:pt x="329" y="719"/>
                  </a:lnTo>
                  <a:lnTo>
                    <a:pt x="329" y="714"/>
                  </a:lnTo>
                  <a:lnTo>
                    <a:pt x="326" y="711"/>
                  </a:lnTo>
                  <a:lnTo>
                    <a:pt x="325" y="711"/>
                  </a:lnTo>
                  <a:lnTo>
                    <a:pt x="323" y="710"/>
                  </a:lnTo>
                  <a:lnTo>
                    <a:pt x="326" y="705"/>
                  </a:lnTo>
                  <a:lnTo>
                    <a:pt x="326" y="702"/>
                  </a:lnTo>
                  <a:lnTo>
                    <a:pt x="322" y="687"/>
                  </a:lnTo>
                  <a:lnTo>
                    <a:pt x="316" y="674"/>
                  </a:lnTo>
                  <a:lnTo>
                    <a:pt x="314" y="671"/>
                  </a:lnTo>
                  <a:lnTo>
                    <a:pt x="314" y="669"/>
                  </a:lnTo>
                  <a:lnTo>
                    <a:pt x="313" y="668"/>
                  </a:lnTo>
                  <a:lnTo>
                    <a:pt x="313" y="663"/>
                  </a:lnTo>
                  <a:lnTo>
                    <a:pt x="311" y="662"/>
                  </a:lnTo>
                  <a:lnTo>
                    <a:pt x="310" y="662"/>
                  </a:lnTo>
                  <a:lnTo>
                    <a:pt x="310" y="657"/>
                  </a:lnTo>
                  <a:lnTo>
                    <a:pt x="311" y="653"/>
                  </a:lnTo>
                  <a:lnTo>
                    <a:pt x="311" y="650"/>
                  </a:lnTo>
                  <a:lnTo>
                    <a:pt x="310" y="641"/>
                  </a:lnTo>
                  <a:lnTo>
                    <a:pt x="310" y="636"/>
                  </a:lnTo>
                  <a:lnTo>
                    <a:pt x="311" y="632"/>
                  </a:lnTo>
                  <a:lnTo>
                    <a:pt x="311" y="627"/>
                  </a:lnTo>
                  <a:lnTo>
                    <a:pt x="310" y="626"/>
                  </a:lnTo>
                  <a:lnTo>
                    <a:pt x="311" y="626"/>
                  </a:lnTo>
                  <a:lnTo>
                    <a:pt x="311" y="624"/>
                  </a:lnTo>
                  <a:lnTo>
                    <a:pt x="313" y="624"/>
                  </a:lnTo>
                  <a:lnTo>
                    <a:pt x="316" y="623"/>
                  </a:lnTo>
                  <a:lnTo>
                    <a:pt x="317" y="623"/>
                  </a:lnTo>
                  <a:lnTo>
                    <a:pt x="317" y="622"/>
                  </a:lnTo>
                  <a:lnTo>
                    <a:pt x="316" y="620"/>
                  </a:lnTo>
                  <a:lnTo>
                    <a:pt x="308" y="619"/>
                  </a:lnTo>
                  <a:lnTo>
                    <a:pt x="307" y="616"/>
                  </a:lnTo>
                  <a:lnTo>
                    <a:pt x="304" y="616"/>
                  </a:lnTo>
                  <a:lnTo>
                    <a:pt x="296" y="617"/>
                  </a:lnTo>
                  <a:lnTo>
                    <a:pt x="293" y="617"/>
                  </a:lnTo>
                  <a:lnTo>
                    <a:pt x="289" y="614"/>
                  </a:lnTo>
                  <a:lnTo>
                    <a:pt x="287" y="611"/>
                  </a:lnTo>
                  <a:lnTo>
                    <a:pt x="287" y="610"/>
                  </a:lnTo>
                  <a:lnTo>
                    <a:pt x="289" y="610"/>
                  </a:lnTo>
                  <a:lnTo>
                    <a:pt x="295" y="604"/>
                  </a:lnTo>
                  <a:lnTo>
                    <a:pt x="298" y="602"/>
                  </a:lnTo>
                  <a:lnTo>
                    <a:pt x="304" y="602"/>
                  </a:lnTo>
                  <a:lnTo>
                    <a:pt x="308" y="601"/>
                  </a:lnTo>
                  <a:lnTo>
                    <a:pt x="313" y="601"/>
                  </a:lnTo>
                  <a:lnTo>
                    <a:pt x="314" y="598"/>
                  </a:lnTo>
                  <a:lnTo>
                    <a:pt x="316" y="596"/>
                  </a:lnTo>
                  <a:lnTo>
                    <a:pt x="319" y="598"/>
                  </a:lnTo>
                  <a:lnTo>
                    <a:pt x="326" y="595"/>
                  </a:lnTo>
                  <a:lnTo>
                    <a:pt x="328" y="595"/>
                  </a:lnTo>
                  <a:lnTo>
                    <a:pt x="332" y="596"/>
                  </a:lnTo>
                  <a:lnTo>
                    <a:pt x="334" y="596"/>
                  </a:lnTo>
                  <a:lnTo>
                    <a:pt x="340" y="593"/>
                  </a:lnTo>
                  <a:lnTo>
                    <a:pt x="343" y="593"/>
                  </a:lnTo>
                  <a:lnTo>
                    <a:pt x="347" y="590"/>
                  </a:lnTo>
                  <a:lnTo>
                    <a:pt x="365" y="584"/>
                  </a:lnTo>
                  <a:lnTo>
                    <a:pt x="371" y="581"/>
                  </a:lnTo>
                  <a:lnTo>
                    <a:pt x="374" y="581"/>
                  </a:lnTo>
                  <a:lnTo>
                    <a:pt x="375" y="584"/>
                  </a:lnTo>
                  <a:lnTo>
                    <a:pt x="375" y="590"/>
                  </a:lnTo>
                  <a:lnTo>
                    <a:pt x="377" y="592"/>
                  </a:lnTo>
                  <a:lnTo>
                    <a:pt x="381" y="592"/>
                  </a:lnTo>
                  <a:lnTo>
                    <a:pt x="381" y="593"/>
                  </a:lnTo>
                  <a:lnTo>
                    <a:pt x="383" y="595"/>
                  </a:lnTo>
                  <a:lnTo>
                    <a:pt x="395" y="589"/>
                  </a:lnTo>
                  <a:lnTo>
                    <a:pt x="399" y="589"/>
                  </a:lnTo>
                  <a:lnTo>
                    <a:pt x="405" y="595"/>
                  </a:lnTo>
                  <a:lnTo>
                    <a:pt x="408" y="596"/>
                  </a:lnTo>
                  <a:lnTo>
                    <a:pt x="411" y="596"/>
                  </a:lnTo>
                  <a:lnTo>
                    <a:pt x="414" y="587"/>
                  </a:lnTo>
                  <a:lnTo>
                    <a:pt x="414" y="581"/>
                  </a:lnTo>
                  <a:lnTo>
                    <a:pt x="416" y="580"/>
                  </a:lnTo>
                  <a:lnTo>
                    <a:pt x="414" y="577"/>
                  </a:lnTo>
                  <a:lnTo>
                    <a:pt x="414" y="575"/>
                  </a:lnTo>
                  <a:lnTo>
                    <a:pt x="410" y="574"/>
                  </a:lnTo>
                  <a:lnTo>
                    <a:pt x="402" y="572"/>
                  </a:lnTo>
                  <a:lnTo>
                    <a:pt x="401" y="572"/>
                  </a:lnTo>
                  <a:lnTo>
                    <a:pt x="399" y="569"/>
                  </a:lnTo>
                  <a:lnTo>
                    <a:pt x="399" y="566"/>
                  </a:lnTo>
                  <a:lnTo>
                    <a:pt x="401" y="562"/>
                  </a:lnTo>
                  <a:lnTo>
                    <a:pt x="402" y="556"/>
                  </a:lnTo>
                  <a:lnTo>
                    <a:pt x="407" y="550"/>
                  </a:lnTo>
                  <a:lnTo>
                    <a:pt x="408" y="547"/>
                  </a:lnTo>
                  <a:lnTo>
                    <a:pt x="408" y="545"/>
                  </a:lnTo>
                  <a:lnTo>
                    <a:pt x="410" y="539"/>
                  </a:lnTo>
                  <a:lnTo>
                    <a:pt x="411" y="530"/>
                  </a:lnTo>
                  <a:lnTo>
                    <a:pt x="411" y="526"/>
                  </a:lnTo>
                  <a:lnTo>
                    <a:pt x="417" y="517"/>
                  </a:lnTo>
                  <a:lnTo>
                    <a:pt x="417" y="511"/>
                  </a:lnTo>
                  <a:lnTo>
                    <a:pt x="419" y="509"/>
                  </a:lnTo>
                  <a:lnTo>
                    <a:pt x="420" y="506"/>
                  </a:lnTo>
                  <a:lnTo>
                    <a:pt x="425" y="490"/>
                  </a:lnTo>
                  <a:lnTo>
                    <a:pt x="431" y="476"/>
                  </a:lnTo>
                  <a:lnTo>
                    <a:pt x="431" y="470"/>
                  </a:lnTo>
                  <a:lnTo>
                    <a:pt x="432" y="467"/>
                  </a:lnTo>
                  <a:lnTo>
                    <a:pt x="432" y="458"/>
                  </a:lnTo>
                  <a:lnTo>
                    <a:pt x="434" y="457"/>
                  </a:lnTo>
                  <a:lnTo>
                    <a:pt x="438" y="457"/>
                  </a:lnTo>
                  <a:lnTo>
                    <a:pt x="441" y="460"/>
                  </a:lnTo>
                  <a:lnTo>
                    <a:pt x="446" y="461"/>
                  </a:lnTo>
                  <a:lnTo>
                    <a:pt x="449" y="461"/>
                  </a:lnTo>
                  <a:lnTo>
                    <a:pt x="456" y="467"/>
                  </a:lnTo>
                  <a:lnTo>
                    <a:pt x="473" y="473"/>
                  </a:lnTo>
                  <a:lnTo>
                    <a:pt x="477" y="473"/>
                  </a:lnTo>
                  <a:lnTo>
                    <a:pt x="480" y="475"/>
                  </a:lnTo>
                  <a:lnTo>
                    <a:pt x="482" y="473"/>
                  </a:lnTo>
                  <a:lnTo>
                    <a:pt x="485" y="472"/>
                  </a:lnTo>
                  <a:lnTo>
                    <a:pt x="497" y="472"/>
                  </a:lnTo>
                  <a:lnTo>
                    <a:pt x="500" y="473"/>
                  </a:lnTo>
                  <a:lnTo>
                    <a:pt x="510" y="473"/>
                  </a:lnTo>
                  <a:lnTo>
                    <a:pt x="512" y="475"/>
                  </a:lnTo>
                  <a:lnTo>
                    <a:pt x="512" y="482"/>
                  </a:lnTo>
                  <a:lnTo>
                    <a:pt x="510" y="482"/>
                  </a:lnTo>
                  <a:lnTo>
                    <a:pt x="510" y="484"/>
                  </a:lnTo>
                  <a:lnTo>
                    <a:pt x="513" y="484"/>
                  </a:lnTo>
                  <a:lnTo>
                    <a:pt x="516" y="482"/>
                  </a:lnTo>
                  <a:lnTo>
                    <a:pt x="519" y="482"/>
                  </a:lnTo>
                  <a:lnTo>
                    <a:pt x="522" y="479"/>
                  </a:lnTo>
                  <a:lnTo>
                    <a:pt x="522" y="478"/>
                  </a:lnTo>
                  <a:lnTo>
                    <a:pt x="525" y="478"/>
                  </a:lnTo>
                  <a:lnTo>
                    <a:pt x="526" y="476"/>
                  </a:lnTo>
                  <a:lnTo>
                    <a:pt x="526" y="475"/>
                  </a:lnTo>
                  <a:lnTo>
                    <a:pt x="531" y="473"/>
                  </a:lnTo>
                  <a:lnTo>
                    <a:pt x="531" y="472"/>
                  </a:lnTo>
                  <a:lnTo>
                    <a:pt x="532" y="470"/>
                  </a:lnTo>
                  <a:lnTo>
                    <a:pt x="532" y="469"/>
                  </a:lnTo>
                  <a:lnTo>
                    <a:pt x="546" y="469"/>
                  </a:lnTo>
                  <a:lnTo>
                    <a:pt x="547" y="467"/>
                  </a:lnTo>
                  <a:lnTo>
                    <a:pt x="547" y="464"/>
                  </a:lnTo>
                  <a:lnTo>
                    <a:pt x="549" y="463"/>
                  </a:lnTo>
                  <a:lnTo>
                    <a:pt x="549" y="460"/>
                  </a:lnTo>
                  <a:lnTo>
                    <a:pt x="550" y="458"/>
                  </a:lnTo>
                  <a:lnTo>
                    <a:pt x="553" y="458"/>
                  </a:lnTo>
                  <a:lnTo>
                    <a:pt x="553" y="457"/>
                  </a:lnTo>
                  <a:lnTo>
                    <a:pt x="555" y="455"/>
                  </a:lnTo>
                  <a:lnTo>
                    <a:pt x="555" y="446"/>
                  </a:lnTo>
                  <a:lnTo>
                    <a:pt x="550" y="440"/>
                  </a:lnTo>
                  <a:lnTo>
                    <a:pt x="550" y="430"/>
                  </a:lnTo>
                  <a:lnTo>
                    <a:pt x="547" y="409"/>
                  </a:lnTo>
                  <a:lnTo>
                    <a:pt x="547" y="406"/>
                  </a:lnTo>
                  <a:lnTo>
                    <a:pt x="549" y="404"/>
                  </a:lnTo>
                  <a:lnTo>
                    <a:pt x="549" y="401"/>
                  </a:lnTo>
                  <a:lnTo>
                    <a:pt x="550" y="394"/>
                  </a:lnTo>
                  <a:lnTo>
                    <a:pt x="556" y="379"/>
                  </a:lnTo>
                  <a:lnTo>
                    <a:pt x="559" y="376"/>
                  </a:lnTo>
                  <a:lnTo>
                    <a:pt x="570" y="374"/>
                  </a:lnTo>
                  <a:lnTo>
                    <a:pt x="580" y="374"/>
                  </a:lnTo>
                  <a:lnTo>
                    <a:pt x="583" y="371"/>
                  </a:lnTo>
                  <a:lnTo>
                    <a:pt x="583" y="370"/>
                  </a:lnTo>
                  <a:lnTo>
                    <a:pt x="589" y="370"/>
                  </a:lnTo>
                  <a:lnTo>
                    <a:pt x="594" y="368"/>
                  </a:lnTo>
                  <a:lnTo>
                    <a:pt x="595" y="367"/>
                  </a:lnTo>
                  <a:lnTo>
                    <a:pt x="597" y="364"/>
                  </a:lnTo>
                  <a:lnTo>
                    <a:pt x="598" y="363"/>
                  </a:lnTo>
                  <a:lnTo>
                    <a:pt x="600" y="360"/>
                  </a:lnTo>
                  <a:lnTo>
                    <a:pt x="604" y="355"/>
                  </a:lnTo>
                  <a:lnTo>
                    <a:pt x="604" y="354"/>
                  </a:lnTo>
                  <a:lnTo>
                    <a:pt x="603" y="351"/>
                  </a:lnTo>
                  <a:lnTo>
                    <a:pt x="604" y="349"/>
                  </a:lnTo>
                  <a:lnTo>
                    <a:pt x="604" y="348"/>
                  </a:lnTo>
                  <a:lnTo>
                    <a:pt x="606" y="346"/>
                  </a:lnTo>
                  <a:lnTo>
                    <a:pt x="603" y="343"/>
                  </a:lnTo>
                  <a:lnTo>
                    <a:pt x="603" y="339"/>
                  </a:lnTo>
                  <a:lnTo>
                    <a:pt x="601" y="339"/>
                  </a:lnTo>
                  <a:lnTo>
                    <a:pt x="603" y="337"/>
                  </a:lnTo>
                  <a:lnTo>
                    <a:pt x="603" y="336"/>
                  </a:lnTo>
                  <a:lnTo>
                    <a:pt x="607" y="331"/>
                  </a:lnTo>
                  <a:lnTo>
                    <a:pt x="607" y="328"/>
                  </a:lnTo>
                  <a:lnTo>
                    <a:pt x="615" y="328"/>
                  </a:lnTo>
                  <a:lnTo>
                    <a:pt x="621" y="325"/>
                  </a:lnTo>
                  <a:lnTo>
                    <a:pt x="622" y="327"/>
                  </a:lnTo>
                  <a:lnTo>
                    <a:pt x="625" y="327"/>
                  </a:lnTo>
                  <a:lnTo>
                    <a:pt x="630" y="330"/>
                  </a:lnTo>
                  <a:lnTo>
                    <a:pt x="636" y="330"/>
                  </a:lnTo>
                  <a:lnTo>
                    <a:pt x="639" y="327"/>
                  </a:lnTo>
                  <a:lnTo>
                    <a:pt x="640" y="327"/>
                  </a:lnTo>
                  <a:lnTo>
                    <a:pt x="648" y="324"/>
                  </a:lnTo>
                  <a:lnTo>
                    <a:pt x="654" y="324"/>
                  </a:lnTo>
                  <a:lnTo>
                    <a:pt x="654" y="330"/>
                  </a:lnTo>
                  <a:lnTo>
                    <a:pt x="652" y="331"/>
                  </a:lnTo>
                  <a:lnTo>
                    <a:pt x="654" y="333"/>
                  </a:lnTo>
                  <a:lnTo>
                    <a:pt x="654" y="334"/>
                  </a:lnTo>
                  <a:lnTo>
                    <a:pt x="655" y="334"/>
                  </a:lnTo>
                  <a:lnTo>
                    <a:pt x="655" y="337"/>
                  </a:lnTo>
                  <a:lnTo>
                    <a:pt x="654" y="339"/>
                  </a:lnTo>
                  <a:lnTo>
                    <a:pt x="651" y="340"/>
                  </a:lnTo>
                  <a:lnTo>
                    <a:pt x="649" y="342"/>
                  </a:lnTo>
                  <a:lnTo>
                    <a:pt x="649" y="345"/>
                  </a:lnTo>
                  <a:lnTo>
                    <a:pt x="651" y="345"/>
                  </a:lnTo>
                  <a:lnTo>
                    <a:pt x="652" y="346"/>
                  </a:lnTo>
                  <a:lnTo>
                    <a:pt x="652" y="349"/>
                  </a:lnTo>
                  <a:lnTo>
                    <a:pt x="654" y="349"/>
                  </a:lnTo>
                  <a:lnTo>
                    <a:pt x="654" y="351"/>
                  </a:lnTo>
                  <a:lnTo>
                    <a:pt x="657" y="352"/>
                  </a:lnTo>
                  <a:lnTo>
                    <a:pt x="660" y="352"/>
                  </a:lnTo>
                  <a:lnTo>
                    <a:pt x="663" y="354"/>
                  </a:lnTo>
                  <a:lnTo>
                    <a:pt x="664" y="355"/>
                  </a:lnTo>
                  <a:lnTo>
                    <a:pt x="664" y="358"/>
                  </a:lnTo>
                  <a:lnTo>
                    <a:pt x="661" y="360"/>
                  </a:lnTo>
                  <a:lnTo>
                    <a:pt x="661" y="361"/>
                  </a:lnTo>
                  <a:lnTo>
                    <a:pt x="660" y="361"/>
                  </a:lnTo>
                  <a:lnTo>
                    <a:pt x="658" y="363"/>
                  </a:lnTo>
                  <a:lnTo>
                    <a:pt x="663" y="367"/>
                  </a:lnTo>
                  <a:lnTo>
                    <a:pt x="666" y="367"/>
                  </a:lnTo>
                  <a:lnTo>
                    <a:pt x="669" y="370"/>
                  </a:lnTo>
                  <a:lnTo>
                    <a:pt x="672" y="370"/>
                  </a:lnTo>
                  <a:lnTo>
                    <a:pt x="675" y="371"/>
                  </a:lnTo>
                  <a:lnTo>
                    <a:pt x="681" y="377"/>
                  </a:lnTo>
                  <a:lnTo>
                    <a:pt x="682" y="377"/>
                  </a:lnTo>
                  <a:lnTo>
                    <a:pt x="682" y="376"/>
                  </a:lnTo>
                  <a:lnTo>
                    <a:pt x="683" y="376"/>
                  </a:lnTo>
                  <a:lnTo>
                    <a:pt x="685" y="377"/>
                  </a:lnTo>
                  <a:lnTo>
                    <a:pt x="686" y="380"/>
                  </a:lnTo>
                  <a:lnTo>
                    <a:pt x="688" y="382"/>
                  </a:lnTo>
                  <a:lnTo>
                    <a:pt x="686" y="383"/>
                  </a:lnTo>
                  <a:lnTo>
                    <a:pt x="686" y="385"/>
                  </a:lnTo>
                  <a:lnTo>
                    <a:pt x="688" y="386"/>
                  </a:lnTo>
                  <a:lnTo>
                    <a:pt x="688" y="391"/>
                  </a:lnTo>
                  <a:lnTo>
                    <a:pt x="691" y="392"/>
                  </a:lnTo>
                  <a:lnTo>
                    <a:pt x="694" y="392"/>
                  </a:lnTo>
                  <a:lnTo>
                    <a:pt x="698" y="397"/>
                  </a:lnTo>
                  <a:lnTo>
                    <a:pt x="704" y="397"/>
                  </a:lnTo>
                  <a:lnTo>
                    <a:pt x="709" y="404"/>
                  </a:lnTo>
                  <a:lnTo>
                    <a:pt x="715" y="404"/>
                  </a:lnTo>
                  <a:lnTo>
                    <a:pt x="716" y="406"/>
                  </a:lnTo>
                  <a:lnTo>
                    <a:pt x="718" y="406"/>
                  </a:lnTo>
                  <a:lnTo>
                    <a:pt x="722" y="401"/>
                  </a:lnTo>
                  <a:lnTo>
                    <a:pt x="724" y="401"/>
                  </a:lnTo>
                  <a:lnTo>
                    <a:pt x="725" y="403"/>
                  </a:lnTo>
                  <a:lnTo>
                    <a:pt x="728" y="403"/>
                  </a:lnTo>
                  <a:lnTo>
                    <a:pt x="730" y="401"/>
                  </a:lnTo>
                  <a:lnTo>
                    <a:pt x="731" y="401"/>
                  </a:lnTo>
                  <a:lnTo>
                    <a:pt x="733" y="403"/>
                  </a:lnTo>
                  <a:lnTo>
                    <a:pt x="733" y="406"/>
                  </a:lnTo>
                  <a:lnTo>
                    <a:pt x="734" y="406"/>
                  </a:lnTo>
                  <a:lnTo>
                    <a:pt x="734" y="407"/>
                  </a:lnTo>
                  <a:lnTo>
                    <a:pt x="736" y="407"/>
                  </a:lnTo>
                  <a:lnTo>
                    <a:pt x="736" y="409"/>
                  </a:lnTo>
                  <a:lnTo>
                    <a:pt x="737" y="410"/>
                  </a:lnTo>
                  <a:lnTo>
                    <a:pt x="737" y="412"/>
                  </a:lnTo>
                  <a:lnTo>
                    <a:pt x="740" y="412"/>
                  </a:lnTo>
                  <a:lnTo>
                    <a:pt x="740" y="415"/>
                  </a:lnTo>
                  <a:lnTo>
                    <a:pt x="742" y="416"/>
                  </a:lnTo>
                  <a:lnTo>
                    <a:pt x="748" y="416"/>
                  </a:lnTo>
                  <a:lnTo>
                    <a:pt x="751" y="413"/>
                  </a:lnTo>
                  <a:lnTo>
                    <a:pt x="751" y="412"/>
                  </a:lnTo>
                  <a:lnTo>
                    <a:pt x="755" y="412"/>
                  </a:lnTo>
                  <a:lnTo>
                    <a:pt x="755" y="418"/>
                  </a:lnTo>
                  <a:lnTo>
                    <a:pt x="757" y="419"/>
                  </a:lnTo>
                  <a:lnTo>
                    <a:pt x="757" y="421"/>
                  </a:lnTo>
                  <a:lnTo>
                    <a:pt x="760" y="424"/>
                  </a:lnTo>
                  <a:lnTo>
                    <a:pt x="763" y="425"/>
                  </a:lnTo>
                  <a:lnTo>
                    <a:pt x="767" y="425"/>
                  </a:lnTo>
                  <a:lnTo>
                    <a:pt x="767" y="427"/>
                  </a:lnTo>
                  <a:lnTo>
                    <a:pt x="769" y="427"/>
                  </a:lnTo>
                  <a:lnTo>
                    <a:pt x="769" y="431"/>
                  </a:lnTo>
                  <a:lnTo>
                    <a:pt x="770" y="436"/>
                  </a:lnTo>
                  <a:lnTo>
                    <a:pt x="772" y="436"/>
                  </a:lnTo>
                  <a:lnTo>
                    <a:pt x="773" y="437"/>
                  </a:lnTo>
                  <a:lnTo>
                    <a:pt x="773" y="445"/>
                  </a:lnTo>
                  <a:lnTo>
                    <a:pt x="775" y="445"/>
                  </a:lnTo>
                  <a:lnTo>
                    <a:pt x="775" y="451"/>
                  </a:lnTo>
                  <a:lnTo>
                    <a:pt x="785" y="470"/>
                  </a:lnTo>
                  <a:lnTo>
                    <a:pt x="788" y="473"/>
                  </a:lnTo>
                  <a:lnTo>
                    <a:pt x="793" y="473"/>
                  </a:lnTo>
                  <a:lnTo>
                    <a:pt x="793" y="475"/>
                  </a:lnTo>
                  <a:lnTo>
                    <a:pt x="794" y="475"/>
                  </a:lnTo>
                  <a:lnTo>
                    <a:pt x="794" y="479"/>
                  </a:lnTo>
                  <a:lnTo>
                    <a:pt x="796" y="479"/>
                  </a:lnTo>
                  <a:lnTo>
                    <a:pt x="796" y="485"/>
                  </a:lnTo>
                  <a:lnTo>
                    <a:pt x="797" y="487"/>
                  </a:lnTo>
                  <a:lnTo>
                    <a:pt x="799" y="490"/>
                  </a:lnTo>
                  <a:lnTo>
                    <a:pt x="800" y="491"/>
                  </a:lnTo>
                  <a:lnTo>
                    <a:pt x="800" y="494"/>
                  </a:lnTo>
                  <a:lnTo>
                    <a:pt x="799" y="497"/>
                  </a:lnTo>
                  <a:lnTo>
                    <a:pt x="799" y="499"/>
                  </a:lnTo>
                  <a:lnTo>
                    <a:pt x="800" y="500"/>
                  </a:lnTo>
                  <a:lnTo>
                    <a:pt x="802" y="500"/>
                  </a:lnTo>
                  <a:lnTo>
                    <a:pt x="802" y="502"/>
                  </a:lnTo>
                  <a:lnTo>
                    <a:pt x="800" y="503"/>
                  </a:lnTo>
                  <a:lnTo>
                    <a:pt x="800" y="506"/>
                  </a:lnTo>
                  <a:lnTo>
                    <a:pt x="799" y="506"/>
                  </a:lnTo>
                  <a:lnTo>
                    <a:pt x="799" y="509"/>
                  </a:lnTo>
                  <a:lnTo>
                    <a:pt x="797" y="511"/>
                  </a:lnTo>
                  <a:lnTo>
                    <a:pt x="796" y="515"/>
                  </a:lnTo>
                  <a:lnTo>
                    <a:pt x="794" y="517"/>
                  </a:lnTo>
                  <a:lnTo>
                    <a:pt x="794" y="520"/>
                  </a:lnTo>
                  <a:lnTo>
                    <a:pt x="797" y="527"/>
                  </a:lnTo>
                  <a:lnTo>
                    <a:pt x="797" y="529"/>
                  </a:lnTo>
                  <a:lnTo>
                    <a:pt x="799" y="530"/>
                  </a:lnTo>
                  <a:lnTo>
                    <a:pt x="799" y="539"/>
                  </a:lnTo>
                  <a:lnTo>
                    <a:pt x="797" y="539"/>
                  </a:lnTo>
                  <a:lnTo>
                    <a:pt x="796" y="542"/>
                  </a:lnTo>
                  <a:lnTo>
                    <a:pt x="785" y="554"/>
                  </a:lnTo>
                  <a:lnTo>
                    <a:pt x="785" y="556"/>
                  </a:lnTo>
                  <a:lnTo>
                    <a:pt x="782" y="572"/>
                  </a:lnTo>
                  <a:lnTo>
                    <a:pt x="784" y="572"/>
                  </a:lnTo>
                  <a:lnTo>
                    <a:pt x="788" y="577"/>
                  </a:lnTo>
                  <a:lnTo>
                    <a:pt x="788" y="580"/>
                  </a:lnTo>
                  <a:lnTo>
                    <a:pt x="790" y="581"/>
                  </a:lnTo>
                  <a:lnTo>
                    <a:pt x="790" y="584"/>
                  </a:lnTo>
                  <a:lnTo>
                    <a:pt x="791" y="586"/>
                  </a:lnTo>
                  <a:lnTo>
                    <a:pt x="793" y="586"/>
                  </a:lnTo>
                  <a:lnTo>
                    <a:pt x="793" y="592"/>
                  </a:lnTo>
                  <a:lnTo>
                    <a:pt x="794" y="592"/>
                  </a:lnTo>
                  <a:lnTo>
                    <a:pt x="797" y="590"/>
                  </a:lnTo>
                  <a:lnTo>
                    <a:pt x="805" y="590"/>
                  </a:lnTo>
                  <a:lnTo>
                    <a:pt x="806" y="592"/>
                  </a:lnTo>
                  <a:lnTo>
                    <a:pt x="806" y="593"/>
                  </a:lnTo>
                  <a:lnTo>
                    <a:pt x="808" y="593"/>
                  </a:lnTo>
                  <a:lnTo>
                    <a:pt x="811" y="595"/>
                  </a:lnTo>
                  <a:lnTo>
                    <a:pt x="815" y="596"/>
                  </a:lnTo>
                  <a:lnTo>
                    <a:pt x="817" y="596"/>
                  </a:lnTo>
                  <a:lnTo>
                    <a:pt x="817" y="595"/>
                  </a:lnTo>
                  <a:lnTo>
                    <a:pt x="820" y="595"/>
                  </a:lnTo>
                  <a:lnTo>
                    <a:pt x="823" y="599"/>
                  </a:lnTo>
                  <a:lnTo>
                    <a:pt x="849" y="599"/>
                  </a:lnTo>
                  <a:lnTo>
                    <a:pt x="854" y="602"/>
                  </a:lnTo>
                  <a:lnTo>
                    <a:pt x="855" y="604"/>
                  </a:lnTo>
                  <a:lnTo>
                    <a:pt x="857" y="602"/>
                  </a:lnTo>
                  <a:lnTo>
                    <a:pt x="858" y="602"/>
                  </a:lnTo>
                  <a:lnTo>
                    <a:pt x="860" y="604"/>
                  </a:lnTo>
                  <a:lnTo>
                    <a:pt x="863" y="602"/>
                  </a:lnTo>
                  <a:lnTo>
                    <a:pt x="864" y="604"/>
                  </a:lnTo>
                  <a:lnTo>
                    <a:pt x="866" y="604"/>
                  </a:lnTo>
                  <a:lnTo>
                    <a:pt x="870" y="602"/>
                  </a:lnTo>
                  <a:lnTo>
                    <a:pt x="873" y="602"/>
                  </a:lnTo>
                  <a:lnTo>
                    <a:pt x="879" y="601"/>
                  </a:lnTo>
                  <a:lnTo>
                    <a:pt x="881" y="602"/>
                  </a:lnTo>
                  <a:lnTo>
                    <a:pt x="882" y="602"/>
                  </a:lnTo>
                  <a:lnTo>
                    <a:pt x="884" y="601"/>
                  </a:lnTo>
                  <a:lnTo>
                    <a:pt x="887" y="602"/>
                  </a:lnTo>
                  <a:lnTo>
                    <a:pt x="888" y="604"/>
                  </a:lnTo>
                  <a:lnTo>
                    <a:pt x="899" y="604"/>
                  </a:lnTo>
                  <a:lnTo>
                    <a:pt x="902" y="605"/>
                  </a:lnTo>
                  <a:lnTo>
                    <a:pt x="908" y="605"/>
                  </a:lnTo>
                  <a:lnTo>
                    <a:pt x="909" y="607"/>
                  </a:lnTo>
                  <a:lnTo>
                    <a:pt x="915" y="607"/>
                  </a:lnTo>
                  <a:lnTo>
                    <a:pt x="923" y="611"/>
                  </a:lnTo>
                  <a:lnTo>
                    <a:pt x="930" y="622"/>
                  </a:lnTo>
                  <a:lnTo>
                    <a:pt x="935" y="626"/>
                  </a:lnTo>
                  <a:lnTo>
                    <a:pt x="941" y="626"/>
                  </a:lnTo>
                  <a:lnTo>
                    <a:pt x="944" y="624"/>
                  </a:lnTo>
                  <a:lnTo>
                    <a:pt x="950" y="630"/>
                  </a:lnTo>
                  <a:lnTo>
                    <a:pt x="951" y="633"/>
                  </a:lnTo>
                  <a:lnTo>
                    <a:pt x="953" y="635"/>
                  </a:lnTo>
                  <a:lnTo>
                    <a:pt x="956" y="635"/>
                  </a:lnTo>
                  <a:lnTo>
                    <a:pt x="957" y="636"/>
                  </a:lnTo>
                  <a:lnTo>
                    <a:pt x="963" y="639"/>
                  </a:lnTo>
                  <a:lnTo>
                    <a:pt x="968" y="644"/>
                  </a:lnTo>
                  <a:lnTo>
                    <a:pt x="968" y="645"/>
                  </a:lnTo>
                  <a:lnTo>
                    <a:pt x="969" y="645"/>
                  </a:lnTo>
                  <a:lnTo>
                    <a:pt x="969" y="647"/>
                  </a:lnTo>
                  <a:lnTo>
                    <a:pt x="978" y="648"/>
                  </a:lnTo>
                  <a:lnTo>
                    <a:pt x="983" y="651"/>
                  </a:lnTo>
                  <a:lnTo>
                    <a:pt x="984" y="651"/>
                  </a:lnTo>
                  <a:lnTo>
                    <a:pt x="1001" y="650"/>
                  </a:lnTo>
                  <a:lnTo>
                    <a:pt x="1001" y="651"/>
                  </a:lnTo>
                  <a:lnTo>
                    <a:pt x="999" y="653"/>
                  </a:lnTo>
                  <a:lnTo>
                    <a:pt x="999" y="654"/>
                  </a:lnTo>
                  <a:lnTo>
                    <a:pt x="998" y="656"/>
                  </a:lnTo>
                  <a:lnTo>
                    <a:pt x="998" y="668"/>
                  </a:lnTo>
                  <a:lnTo>
                    <a:pt x="1003" y="668"/>
                  </a:lnTo>
                  <a:lnTo>
                    <a:pt x="1006" y="669"/>
                  </a:lnTo>
                  <a:lnTo>
                    <a:pt x="1006" y="671"/>
                  </a:lnTo>
                  <a:lnTo>
                    <a:pt x="1009" y="675"/>
                  </a:lnTo>
                  <a:lnTo>
                    <a:pt x="1014" y="692"/>
                  </a:lnTo>
                  <a:lnTo>
                    <a:pt x="1020" y="705"/>
                  </a:lnTo>
                  <a:lnTo>
                    <a:pt x="1021" y="707"/>
                  </a:lnTo>
                  <a:lnTo>
                    <a:pt x="1021" y="713"/>
                  </a:lnTo>
                  <a:lnTo>
                    <a:pt x="1023" y="716"/>
                  </a:lnTo>
                  <a:lnTo>
                    <a:pt x="1042" y="735"/>
                  </a:lnTo>
                  <a:lnTo>
                    <a:pt x="1042" y="737"/>
                  </a:lnTo>
                  <a:lnTo>
                    <a:pt x="1044" y="738"/>
                  </a:lnTo>
                  <a:lnTo>
                    <a:pt x="1044" y="747"/>
                  </a:lnTo>
                  <a:lnTo>
                    <a:pt x="1045" y="749"/>
                  </a:lnTo>
                  <a:lnTo>
                    <a:pt x="1050" y="747"/>
                  </a:lnTo>
                  <a:lnTo>
                    <a:pt x="1083" y="744"/>
                  </a:lnTo>
                  <a:lnTo>
                    <a:pt x="1098" y="746"/>
                  </a:lnTo>
                  <a:lnTo>
                    <a:pt x="1113" y="749"/>
                  </a:lnTo>
                  <a:lnTo>
                    <a:pt x="1132" y="750"/>
                  </a:lnTo>
                  <a:lnTo>
                    <a:pt x="1150" y="753"/>
                  </a:lnTo>
                  <a:lnTo>
                    <a:pt x="1169" y="756"/>
                  </a:lnTo>
                  <a:lnTo>
                    <a:pt x="1187" y="758"/>
                  </a:lnTo>
                  <a:lnTo>
                    <a:pt x="1195" y="756"/>
                  </a:lnTo>
                  <a:lnTo>
                    <a:pt x="1210" y="752"/>
                  </a:lnTo>
                  <a:lnTo>
                    <a:pt x="1213" y="752"/>
                  </a:lnTo>
                  <a:lnTo>
                    <a:pt x="1249" y="758"/>
                  </a:lnTo>
                  <a:lnTo>
                    <a:pt x="1268" y="761"/>
                  </a:lnTo>
                  <a:lnTo>
                    <a:pt x="1277" y="759"/>
                  </a:lnTo>
                  <a:lnTo>
                    <a:pt x="1282" y="759"/>
                  </a:lnTo>
                  <a:lnTo>
                    <a:pt x="1288" y="761"/>
                  </a:lnTo>
                  <a:lnTo>
                    <a:pt x="1292" y="764"/>
                  </a:lnTo>
                  <a:lnTo>
                    <a:pt x="1298" y="776"/>
                  </a:lnTo>
                  <a:lnTo>
                    <a:pt x="1303" y="780"/>
                  </a:lnTo>
                  <a:lnTo>
                    <a:pt x="1306" y="782"/>
                  </a:lnTo>
                  <a:lnTo>
                    <a:pt x="1321" y="785"/>
                  </a:lnTo>
                  <a:lnTo>
                    <a:pt x="1337" y="789"/>
                  </a:lnTo>
                  <a:lnTo>
                    <a:pt x="1353" y="792"/>
                  </a:lnTo>
                  <a:lnTo>
                    <a:pt x="1355" y="794"/>
                  </a:lnTo>
                  <a:lnTo>
                    <a:pt x="1368" y="801"/>
                  </a:lnTo>
                  <a:lnTo>
                    <a:pt x="1382" y="807"/>
                  </a:lnTo>
                  <a:lnTo>
                    <a:pt x="1382" y="809"/>
                  </a:lnTo>
                  <a:lnTo>
                    <a:pt x="1400" y="804"/>
                  </a:lnTo>
                  <a:lnTo>
                    <a:pt x="1418" y="801"/>
                  </a:lnTo>
                  <a:lnTo>
                    <a:pt x="1418" y="813"/>
                  </a:lnTo>
                  <a:lnTo>
                    <a:pt x="1419" y="815"/>
                  </a:lnTo>
                  <a:lnTo>
                    <a:pt x="1437" y="815"/>
                  </a:lnTo>
                  <a:lnTo>
                    <a:pt x="1440" y="818"/>
                  </a:lnTo>
                  <a:lnTo>
                    <a:pt x="1442" y="818"/>
                  </a:lnTo>
                  <a:lnTo>
                    <a:pt x="1451" y="809"/>
                  </a:lnTo>
                  <a:lnTo>
                    <a:pt x="1454" y="809"/>
                  </a:lnTo>
                  <a:lnTo>
                    <a:pt x="1457" y="807"/>
                  </a:lnTo>
                  <a:lnTo>
                    <a:pt x="1460" y="804"/>
                  </a:lnTo>
                  <a:lnTo>
                    <a:pt x="1481" y="794"/>
                  </a:lnTo>
                  <a:lnTo>
                    <a:pt x="1522" y="776"/>
                  </a:lnTo>
                  <a:lnTo>
                    <a:pt x="1542" y="773"/>
                  </a:lnTo>
                  <a:lnTo>
                    <a:pt x="1561" y="768"/>
                  </a:lnTo>
                  <a:lnTo>
                    <a:pt x="1581" y="765"/>
                  </a:lnTo>
                  <a:lnTo>
                    <a:pt x="1590" y="765"/>
                  </a:lnTo>
                  <a:lnTo>
                    <a:pt x="1594" y="767"/>
                  </a:lnTo>
                  <a:lnTo>
                    <a:pt x="1603" y="767"/>
                  </a:lnTo>
                  <a:lnTo>
                    <a:pt x="1615" y="768"/>
                  </a:lnTo>
                  <a:lnTo>
                    <a:pt x="1618" y="768"/>
                  </a:lnTo>
                  <a:lnTo>
                    <a:pt x="1623" y="765"/>
                  </a:lnTo>
                  <a:lnTo>
                    <a:pt x="1624" y="765"/>
                  </a:lnTo>
                  <a:lnTo>
                    <a:pt x="1636" y="767"/>
                  </a:lnTo>
                  <a:lnTo>
                    <a:pt x="1638" y="767"/>
                  </a:lnTo>
                  <a:lnTo>
                    <a:pt x="1641" y="765"/>
                  </a:lnTo>
                  <a:lnTo>
                    <a:pt x="1648" y="765"/>
                  </a:lnTo>
                  <a:lnTo>
                    <a:pt x="1648" y="764"/>
                  </a:lnTo>
                  <a:lnTo>
                    <a:pt x="1655" y="759"/>
                  </a:lnTo>
                  <a:lnTo>
                    <a:pt x="1666" y="755"/>
                  </a:lnTo>
                  <a:lnTo>
                    <a:pt x="1670" y="753"/>
                  </a:lnTo>
                  <a:lnTo>
                    <a:pt x="1675" y="753"/>
                  </a:lnTo>
                  <a:lnTo>
                    <a:pt x="1675" y="752"/>
                  </a:lnTo>
                  <a:lnTo>
                    <a:pt x="1676" y="750"/>
                  </a:lnTo>
                  <a:lnTo>
                    <a:pt x="1690" y="746"/>
                  </a:lnTo>
                  <a:lnTo>
                    <a:pt x="1690" y="744"/>
                  </a:lnTo>
                  <a:lnTo>
                    <a:pt x="1691" y="741"/>
                  </a:lnTo>
                  <a:lnTo>
                    <a:pt x="1693" y="740"/>
                  </a:lnTo>
                  <a:lnTo>
                    <a:pt x="1697" y="737"/>
                  </a:lnTo>
                  <a:lnTo>
                    <a:pt x="1699" y="734"/>
                  </a:lnTo>
                  <a:lnTo>
                    <a:pt x="1700" y="732"/>
                  </a:lnTo>
                  <a:lnTo>
                    <a:pt x="1702" y="728"/>
                  </a:lnTo>
                  <a:lnTo>
                    <a:pt x="1708" y="722"/>
                  </a:lnTo>
                  <a:lnTo>
                    <a:pt x="1714" y="713"/>
                  </a:lnTo>
                  <a:lnTo>
                    <a:pt x="1715" y="711"/>
                  </a:lnTo>
                  <a:lnTo>
                    <a:pt x="1721" y="708"/>
                  </a:lnTo>
                  <a:lnTo>
                    <a:pt x="1732" y="704"/>
                  </a:lnTo>
                  <a:lnTo>
                    <a:pt x="1735" y="701"/>
                  </a:lnTo>
                  <a:lnTo>
                    <a:pt x="1736" y="701"/>
                  </a:lnTo>
                  <a:lnTo>
                    <a:pt x="1741" y="699"/>
                  </a:lnTo>
                  <a:lnTo>
                    <a:pt x="1742" y="699"/>
                  </a:lnTo>
                  <a:lnTo>
                    <a:pt x="1744" y="698"/>
                  </a:lnTo>
                  <a:lnTo>
                    <a:pt x="1751" y="689"/>
                  </a:lnTo>
                  <a:lnTo>
                    <a:pt x="1756" y="689"/>
                  </a:lnTo>
                  <a:lnTo>
                    <a:pt x="1757" y="687"/>
                  </a:lnTo>
                  <a:lnTo>
                    <a:pt x="1759" y="687"/>
                  </a:lnTo>
                  <a:lnTo>
                    <a:pt x="1760" y="686"/>
                  </a:lnTo>
                  <a:lnTo>
                    <a:pt x="1760" y="681"/>
                  </a:lnTo>
                  <a:lnTo>
                    <a:pt x="1759" y="680"/>
                  </a:lnTo>
                  <a:lnTo>
                    <a:pt x="1756" y="671"/>
                  </a:lnTo>
                  <a:lnTo>
                    <a:pt x="1753" y="668"/>
                  </a:lnTo>
                  <a:lnTo>
                    <a:pt x="1747" y="665"/>
                  </a:lnTo>
                  <a:lnTo>
                    <a:pt x="1745" y="663"/>
                  </a:lnTo>
                  <a:lnTo>
                    <a:pt x="1742" y="657"/>
                  </a:lnTo>
                  <a:lnTo>
                    <a:pt x="1741" y="656"/>
                  </a:lnTo>
                  <a:lnTo>
                    <a:pt x="1739" y="653"/>
                  </a:lnTo>
                  <a:lnTo>
                    <a:pt x="1739" y="650"/>
                  </a:lnTo>
                  <a:lnTo>
                    <a:pt x="1738" y="648"/>
                  </a:lnTo>
                  <a:lnTo>
                    <a:pt x="1735" y="647"/>
                  </a:lnTo>
                  <a:lnTo>
                    <a:pt x="1735" y="641"/>
                  </a:lnTo>
                  <a:lnTo>
                    <a:pt x="1738" y="638"/>
                  </a:lnTo>
                  <a:lnTo>
                    <a:pt x="1738" y="636"/>
                  </a:lnTo>
                  <a:lnTo>
                    <a:pt x="1739" y="635"/>
                  </a:lnTo>
                  <a:lnTo>
                    <a:pt x="1739" y="633"/>
                  </a:lnTo>
                  <a:lnTo>
                    <a:pt x="1741" y="632"/>
                  </a:lnTo>
                  <a:lnTo>
                    <a:pt x="1741" y="630"/>
                  </a:lnTo>
                  <a:lnTo>
                    <a:pt x="1742" y="629"/>
                  </a:lnTo>
                  <a:lnTo>
                    <a:pt x="1742" y="627"/>
                  </a:lnTo>
                  <a:lnTo>
                    <a:pt x="1741" y="626"/>
                  </a:lnTo>
                  <a:lnTo>
                    <a:pt x="1741" y="624"/>
                  </a:lnTo>
                  <a:lnTo>
                    <a:pt x="1742" y="623"/>
                  </a:lnTo>
                  <a:lnTo>
                    <a:pt x="1751" y="605"/>
                  </a:lnTo>
                  <a:lnTo>
                    <a:pt x="1751" y="604"/>
                  </a:lnTo>
                  <a:lnTo>
                    <a:pt x="1753" y="604"/>
                  </a:lnTo>
                  <a:lnTo>
                    <a:pt x="1756" y="601"/>
                  </a:lnTo>
                  <a:lnTo>
                    <a:pt x="1759" y="601"/>
                  </a:lnTo>
                  <a:lnTo>
                    <a:pt x="1759" y="599"/>
                  </a:lnTo>
                  <a:lnTo>
                    <a:pt x="1760" y="599"/>
                  </a:lnTo>
                  <a:lnTo>
                    <a:pt x="1760" y="598"/>
                  </a:lnTo>
                  <a:lnTo>
                    <a:pt x="1763" y="598"/>
                  </a:lnTo>
                  <a:lnTo>
                    <a:pt x="1768" y="599"/>
                  </a:lnTo>
                  <a:lnTo>
                    <a:pt x="1781" y="599"/>
                  </a:lnTo>
                  <a:lnTo>
                    <a:pt x="1783" y="601"/>
                  </a:lnTo>
                  <a:lnTo>
                    <a:pt x="1787" y="604"/>
                  </a:lnTo>
                  <a:lnTo>
                    <a:pt x="1789" y="607"/>
                  </a:lnTo>
                  <a:lnTo>
                    <a:pt x="1790" y="608"/>
                  </a:lnTo>
                  <a:lnTo>
                    <a:pt x="1790" y="610"/>
                  </a:lnTo>
                  <a:lnTo>
                    <a:pt x="1796" y="613"/>
                  </a:lnTo>
                  <a:lnTo>
                    <a:pt x="1806" y="616"/>
                  </a:lnTo>
                  <a:lnTo>
                    <a:pt x="1809" y="616"/>
                  </a:lnTo>
                  <a:lnTo>
                    <a:pt x="1812" y="617"/>
                  </a:lnTo>
                  <a:lnTo>
                    <a:pt x="1830" y="619"/>
                  </a:lnTo>
                  <a:lnTo>
                    <a:pt x="1832" y="620"/>
                  </a:lnTo>
                  <a:lnTo>
                    <a:pt x="1838" y="620"/>
                  </a:lnTo>
                  <a:lnTo>
                    <a:pt x="1842" y="616"/>
                  </a:lnTo>
                  <a:lnTo>
                    <a:pt x="1847" y="613"/>
                  </a:lnTo>
                  <a:lnTo>
                    <a:pt x="1848" y="610"/>
                  </a:lnTo>
                  <a:lnTo>
                    <a:pt x="1853" y="610"/>
                  </a:lnTo>
                  <a:lnTo>
                    <a:pt x="1854" y="608"/>
                  </a:lnTo>
                  <a:lnTo>
                    <a:pt x="1857" y="608"/>
                  </a:lnTo>
                  <a:lnTo>
                    <a:pt x="1859" y="607"/>
                  </a:lnTo>
                  <a:lnTo>
                    <a:pt x="1860" y="604"/>
                  </a:lnTo>
                  <a:lnTo>
                    <a:pt x="1860" y="602"/>
                  </a:lnTo>
                  <a:lnTo>
                    <a:pt x="1863" y="599"/>
                  </a:lnTo>
                  <a:lnTo>
                    <a:pt x="1874" y="590"/>
                  </a:lnTo>
                  <a:lnTo>
                    <a:pt x="1877" y="584"/>
                  </a:lnTo>
                  <a:lnTo>
                    <a:pt x="1878" y="583"/>
                  </a:lnTo>
                  <a:lnTo>
                    <a:pt x="1878" y="578"/>
                  </a:lnTo>
                  <a:lnTo>
                    <a:pt x="1884" y="577"/>
                  </a:lnTo>
                  <a:lnTo>
                    <a:pt x="1886" y="575"/>
                  </a:lnTo>
                  <a:lnTo>
                    <a:pt x="1889" y="577"/>
                  </a:lnTo>
                  <a:lnTo>
                    <a:pt x="1896" y="580"/>
                  </a:lnTo>
                  <a:lnTo>
                    <a:pt x="1898" y="580"/>
                  </a:lnTo>
                  <a:lnTo>
                    <a:pt x="1905" y="578"/>
                  </a:lnTo>
                  <a:lnTo>
                    <a:pt x="1916" y="578"/>
                  </a:lnTo>
                  <a:lnTo>
                    <a:pt x="1922" y="577"/>
                  </a:lnTo>
                  <a:lnTo>
                    <a:pt x="1929" y="575"/>
                  </a:lnTo>
                  <a:lnTo>
                    <a:pt x="1931" y="574"/>
                  </a:lnTo>
                  <a:lnTo>
                    <a:pt x="1932" y="574"/>
                  </a:lnTo>
                  <a:lnTo>
                    <a:pt x="1935" y="569"/>
                  </a:lnTo>
                  <a:lnTo>
                    <a:pt x="1946" y="560"/>
                  </a:lnTo>
                  <a:lnTo>
                    <a:pt x="1947" y="559"/>
                  </a:lnTo>
                  <a:lnTo>
                    <a:pt x="1949" y="560"/>
                  </a:lnTo>
                  <a:lnTo>
                    <a:pt x="1950" y="560"/>
                  </a:lnTo>
                  <a:lnTo>
                    <a:pt x="1953" y="559"/>
                  </a:lnTo>
                  <a:lnTo>
                    <a:pt x="1953" y="557"/>
                  </a:lnTo>
                  <a:lnTo>
                    <a:pt x="1956" y="553"/>
                  </a:lnTo>
                  <a:lnTo>
                    <a:pt x="1958" y="551"/>
                  </a:lnTo>
                  <a:lnTo>
                    <a:pt x="1958" y="550"/>
                  </a:lnTo>
                  <a:lnTo>
                    <a:pt x="1956" y="548"/>
                  </a:lnTo>
                  <a:lnTo>
                    <a:pt x="1956" y="544"/>
                  </a:lnTo>
                  <a:lnTo>
                    <a:pt x="1962" y="532"/>
                  </a:lnTo>
                  <a:lnTo>
                    <a:pt x="1969" y="523"/>
                  </a:lnTo>
                  <a:lnTo>
                    <a:pt x="1971" y="523"/>
                  </a:lnTo>
                  <a:lnTo>
                    <a:pt x="1971" y="521"/>
                  </a:lnTo>
                  <a:lnTo>
                    <a:pt x="1972" y="520"/>
                  </a:lnTo>
                  <a:lnTo>
                    <a:pt x="1972" y="518"/>
                  </a:lnTo>
                  <a:lnTo>
                    <a:pt x="1974" y="518"/>
                  </a:lnTo>
                  <a:lnTo>
                    <a:pt x="1975" y="517"/>
                  </a:lnTo>
                  <a:lnTo>
                    <a:pt x="1978" y="517"/>
                  </a:lnTo>
                  <a:lnTo>
                    <a:pt x="1983" y="512"/>
                  </a:lnTo>
                  <a:lnTo>
                    <a:pt x="1984" y="512"/>
                  </a:lnTo>
                  <a:lnTo>
                    <a:pt x="1990" y="514"/>
                  </a:lnTo>
                  <a:lnTo>
                    <a:pt x="2005" y="515"/>
                  </a:lnTo>
                  <a:lnTo>
                    <a:pt x="2007" y="515"/>
                  </a:lnTo>
                  <a:lnTo>
                    <a:pt x="2008" y="514"/>
                  </a:lnTo>
                  <a:lnTo>
                    <a:pt x="2008" y="506"/>
                  </a:lnTo>
                  <a:lnTo>
                    <a:pt x="2011" y="503"/>
                  </a:lnTo>
                  <a:lnTo>
                    <a:pt x="2011" y="502"/>
                  </a:lnTo>
                  <a:lnTo>
                    <a:pt x="2010" y="500"/>
                  </a:lnTo>
                  <a:lnTo>
                    <a:pt x="2016" y="500"/>
                  </a:lnTo>
                  <a:lnTo>
                    <a:pt x="2017" y="499"/>
                  </a:lnTo>
                  <a:lnTo>
                    <a:pt x="2019" y="499"/>
                  </a:lnTo>
                  <a:lnTo>
                    <a:pt x="2020" y="502"/>
                  </a:lnTo>
                  <a:lnTo>
                    <a:pt x="2020" y="503"/>
                  </a:lnTo>
                  <a:lnTo>
                    <a:pt x="2023" y="505"/>
                  </a:lnTo>
                  <a:lnTo>
                    <a:pt x="2028" y="503"/>
                  </a:lnTo>
                  <a:lnTo>
                    <a:pt x="2029" y="503"/>
                  </a:lnTo>
                  <a:lnTo>
                    <a:pt x="2031" y="502"/>
                  </a:lnTo>
                  <a:lnTo>
                    <a:pt x="2031" y="500"/>
                  </a:lnTo>
                  <a:lnTo>
                    <a:pt x="2034" y="497"/>
                  </a:lnTo>
                  <a:lnTo>
                    <a:pt x="2038" y="497"/>
                  </a:lnTo>
                  <a:lnTo>
                    <a:pt x="2041" y="494"/>
                  </a:lnTo>
                  <a:lnTo>
                    <a:pt x="2043" y="494"/>
                  </a:lnTo>
                  <a:lnTo>
                    <a:pt x="2044" y="493"/>
                  </a:lnTo>
                  <a:lnTo>
                    <a:pt x="2046" y="493"/>
                  </a:lnTo>
                  <a:lnTo>
                    <a:pt x="2047" y="491"/>
                  </a:lnTo>
                  <a:lnTo>
                    <a:pt x="2049" y="491"/>
                  </a:lnTo>
                  <a:lnTo>
                    <a:pt x="2050" y="490"/>
                  </a:lnTo>
                  <a:lnTo>
                    <a:pt x="2053" y="490"/>
                  </a:lnTo>
                  <a:lnTo>
                    <a:pt x="2055" y="491"/>
                  </a:lnTo>
                  <a:lnTo>
                    <a:pt x="2058" y="493"/>
                  </a:lnTo>
                  <a:lnTo>
                    <a:pt x="2064" y="493"/>
                  </a:lnTo>
                  <a:lnTo>
                    <a:pt x="2065" y="491"/>
                  </a:lnTo>
                  <a:lnTo>
                    <a:pt x="2068" y="491"/>
                  </a:lnTo>
                  <a:lnTo>
                    <a:pt x="2070" y="493"/>
                  </a:lnTo>
                  <a:lnTo>
                    <a:pt x="2073" y="493"/>
                  </a:lnTo>
                  <a:lnTo>
                    <a:pt x="2074" y="490"/>
                  </a:lnTo>
                  <a:lnTo>
                    <a:pt x="2077" y="487"/>
                  </a:lnTo>
                  <a:lnTo>
                    <a:pt x="2077" y="488"/>
                  </a:lnTo>
                  <a:lnTo>
                    <a:pt x="2079" y="490"/>
                  </a:lnTo>
                  <a:lnTo>
                    <a:pt x="2079" y="491"/>
                  </a:lnTo>
                  <a:lnTo>
                    <a:pt x="2080" y="491"/>
                  </a:lnTo>
                  <a:lnTo>
                    <a:pt x="2082" y="490"/>
                  </a:lnTo>
                  <a:lnTo>
                    <a:pt x="2083" y="490"/>
                  </a:lnTo>
                  <a:lnTo>
                    <a:pt x="2085" y="493"/>
                  </a:lnTo>
                  <a:lnTo>
                    <a:pt x="2085" y="494"/>
                  </a:lnTo>
                  <a:lnTo>
                    <a:pt x="2086" y="494"/>
                  </a:lnTo>
                  <a:lnTo>
                    <a:pt x="2098" y="497"/>
                  </a:lnTo>
                  <a:lnTo>
                    <a:pt x="2112" y="497"/>
                  </a:lnTo>
                  <a:lnTo>
                    <a:pt x="2115" y="499"/>
                  </a:lnTo>
                  <a:lnTo>
                    <a:pt x="2116" y="499"/>
                  </a:lnTo>
                  <a:lnTo>
                    <a:pt x="2119" y="496"/>
                  </a:lnTo>
                  <a:lnTo>
                    <a:pt x="2119" y="494"/>
                  </a:lnTo>
                  <a:lnTo>
                    <a:pt x="2121" y="494"/>
                  </a:lnTo>
                  <a:lnTo>
                    <a:pt x="2121" y="496"/>
                  </a:lnTo>
                  <a:lnTo>
                    <a:pt x="2122" y="496"/>
                  </a:lnTo>
                  <a:lnTo>
                    <a:pt x="2125" y="493"/>
                  </a:lnTo>
                  <a:lnTo>
                    <a:pt x="2125" y="488"/>
                  </a:lnTo>
                  <a:lnTo>
                    <a:pt x="2124" y="488"/>
                  </a:lnTo>
                  <a:lnTo>
                    <a:pt x="2125" y="487"/>
                  </a:lnTo>
                  <a:lnTo>
                    <a:pt x="2125" y="482"/>
                  </a:lnTo>
                  <a:lnTo>
                    <a:pt x="2124" y="481"/>
                  </a:lnTo>
                  <a:lnTo>
                    <a:pt x="2124" y="479"/>
                  </a:lnTo>
                  <a:lnTo>
                    <a:pt x="2125" y="479"/>
                  </a:lnTo>
                  <a:lnTo>
                    <a:pt x="2125" y="478"/>
                  </a:lnTo>
                  <a:lnTo>
                    <a:pt x="2122" y="478"/>
                  </a:lnTo>
                  <a:lnTo>
                    <a:pt x="2122" y="476"/>
                  </a:lnTo>
                  <a:lnTo>
                    <a:pt x="2119" y="473"/>
                  </a:lnTo>
                  <a:lnTo>
                    <a:pt x="2119" y="467"/>
                  </a:lnTo>
                  <a:lnTo>
                    <a:pt x="2118" y="466"/>
                  </a:lnTo>
                  <a:lnTo>
                    <a:pt x="2118" y="463"/>
                  </a:lnTo>
                  <a:lnTo>
                    <a:pt x="2116" y="461"/>
                  </a:lnTo>
                  <a:lnTo>
                    <a:pt x="2113" y="457"/>
                  </a:lnTo>
                  <a:lnTo>
                    <a:pt x="2110" y="455"/>
                  </a:lnTo>
                  <a:lnTo>
                    <a:pt x="2107" y="455"/>
                  </a:lnTo>
                  <a:lnTo>
                    <a:pt x="2107" y="452"/>
                  </a:lnTo>
                  <a:lnTo>
                    <a:pt x="2106" y="452"/>
                  </a:lnTo>
                  <a:lnTo>
                    <a:pt x="2106" y="451"/>
                  </a:lnTo>
                  <a:lnTo>
                    <a:pt x="2098" y="445"/>
                  </a:lnTo>
                  <a:lnTo>
                    <a:pt x="2097" y="443"/>
                  </a:lnTo>
                  <a:lnTo>
                    <a:pt x="2098" y="442"/>
                  </a:lnTo>
                  <a:lnTo>
                    <a:pt x="2098" y="439"/>
                  </a:lnTo>
                  <a:lnTo>
                    <a:pt x="2095" y="439"/>
                  </a:lnTo>
                  <a:lnTo>
                    <a:pt x="2091" y="437"/>
                  </a:lnTo>
                  <a:lnTo>
                    <a:pt x="2089" y="436"/>
                  </a:lnTo>
                  <a:lnTo>
                    <a:pt x="2089" y="430"/>
                  </a:lnTo>
                  <a:lnTo>
                    <a:pt x="2088" y="428"/>
                  </a:lnTo>
                  <a:lnTo>
                    <a:pt x="2088" y="427"/>
                  </a:lnTo>
                  <a:lnTo>
                    <a:pt x="2086" y="427"/>
                  </a:lnTo>
                  <a:lnTo>
                    <a:pt x="2082" y="425"/>
                  </a:lnTo>
                  <a:lnTo>
                    <a:pt x="2073" y="421"/>
                  </a:lnTo>
                  <a:lnTo>
                    <a:pt x="2071" y="418"/>
                  </a:lnTo>
                  <a:lnTo>
                    <a:pt x="2065" y="410"/>
                  </a:lnTo>
                  <a:lnTo>
                    <a:pt x="2062" y="406"/>
                  </a:lnTo>
                  <a:lnTo>
                    <a:pt x="2059" y="404"/>
                  </a:lnTo>
                  <a:lnTo>
                    <a:pt x="2049" y="404"/>
                  </a:lnTo>
                  <a:lnTo>
                    <a:pt x="2046" y="401"/>
                  </a:lnTo>
                  <a:lnTo>
                    <a:pt x="2043" y="401"/>
                  </a:lnTo>
                  <a:lnTo>
                    <a:pt x="2041" y="403"/>
                  </a:lnTo>
                  <a:lnTo>
                    <a:pt x="2038" y="404"/>
                  </a:lnTo>
                  <a:lnTo>
                    <a:pt x="2037" y="404"/>
                  </a:lnTo>
                  <a:lnTo>
                    <a:pt x="2029" y="403"/>
                  </a:lnTo>
                  <a:lnTo>
                    <a:pt x="2026" y="404"/>
                  </a:lnTo>
                  <a:lnTo>
                    <a:pt x="2026" y="406"/>
                  </a:lnTo>
                  <a:lnTo>
                    <a:pt x="2016" y="418"/>
                  </a:lnTo>
                  <a:lnTo>
                    <a:pt x="2011" y="422"/>
                  </a:lnTo>
                  <a:lnTo>
                    <a:pt x="2008" y="428"/>
                  </a:lnTo>
                  <a:lnTo>
                    <a:pt x="2007" y="427"/>
                  </a:lnTo>
                  <a:lnTo>
                    <a:pt x="1995" y="416"/>
                  </a:lnTo>
                  <a:lnTo>
                    <a:pt x="1993" y="416"/>
                  </a:lnTo>
                  <a:lnTo>
                    <a:pt x="1990" y="415"/>
                  </a:lnTo>
                  <a:lnTo>
                    <a:pt x="1984" y="413"/>
                  </a:lnTo>
                  <a:lnTo>
                    <a:pt x="1983" y="412"/>
                  </a:lnTo>
                  <a:lnTo>
                    <a:pt x="1980" y="412"/>
                  </a:lnTo>
                  <a:lnTo>
                    <a:pt x="1969" y="415"/>
                  </a:lnTo>
                  <a:lnTo>
                    <a:pt x="1965" y="415"/>
                  </a:lnTo>
                  <a:lnTo>
                    <a:pt x="1958" y="413"/>
                  </a:lnTo>
                  <a:lnTo>
                    <a:pt x="1955" y="415"/>
                  </a:lnTo>
                  <a:lnTo>
                    <a:pt x="1950" y="416"/>
                  </a:lnTo>
                  <a:lnTo>
                    <a:pt x="1944" y="424"/>
                  </a:lnTo>
                  <a:lnTo>
                    <a:pt x="1943" y="425"/>
                  </a:lnTo>
                  <a:lnTo>
                    <a:pt x="1940" y="424"/>
                  </a:lnTo>
                  <a:lnTo>
                    <a:pt x="1926" y="410"/>
                  </a:lnTo>
                  <a:lnTo>
                    <a:pt x="1926" y="409"/>
                  </a:lnTo>
                  <a:lnTo>
                    <a:pt x="1925" y="404"/>
                  </a:lnTo>
                  <a:lnTo>
                    <a:pt x="1923" y="395"/>
                  </a:lnTo>
                  <a:lnTo>
                    <a:pt x="1925" y="394"/>
                  </a:lnTo>
                  <a:lnTo>
                    <a:pt x="1935" y="388"/>
                  </a:lnTo>
                  <a:lnTo>
                    <a:pt x="1937" y="388"/>
                  </a:lnTo>
                  <a:lnTo>
                    <a:pt x="1937" y="367"/>
                  </a:lnTo>
                  <a:lnTo>
                    <a:pt x="1947" y="351"/>
                  </a:lnTo>
                  <a:lnTo>
                    <a:pt x="1949" y="349"/>
                  </a:lnTo>
                  <a:lnTo>
                    <a:pt x="1949" y="348"/>
                  </a:lnTo>
                  <a:lnTo>
                    <a:pt x="1947" y="345"/>
                  </a:lnTo>
                  <a:lnTo>
                    <a:pt x="1958" y="322"/>
                  </a:lnTo>
                  <a:lnTo>
                    <a:pt x="1966" y="300"/>
                  </a:lnTo>
                  <a:lnTo>
                    <a:pt x="1968" y="298"/>
                  </a:lnTo>
                  <a:lnTo>
                    <a:pt x="1977" y="277"/>
                  </a:lnTo>
                  <a:lnTo>
                    <a:pt x="1978" y="279"/>
                  </a:lnTo>
                  <a:lnTo>
                    <a:pt x="1995" y="288"/>
                  </a:lnTo>
                  <a:lnTo>
                    <a:pt x="2004" y="291"/>
                  </a:lnTo>
                  <a:lnTo>
                    <a:pt x="2013" y="292"/>
                  </a:lnTo>
                  <a:lnTo>
                    <a:pt x="2026" y="298"/>
                  </a:lnTo>
                  <a:lnTo>
                    <a:pt x="2028" y="300"/>
                  </a:lnTo>
                  <a:lnTo>
                    <a:pt x="2028" y="298"/>
                  </a:lnTo>
                  <a:lnTo>
                    <a:pt x="2029" y="298"/>
                  </a:lnTo>
                  <a:lnTo>
                    <a:pt x="2029" y="300"/>
                  </a:lnTo>
                  <a:lnTo>
                    <a:pt x="2031" y="300"/>
                  </a:lnTo>
                  <a:lnTo>
                    <a:pt x="2032" y="298"/>
                  </a:lnTo>
                  <a:lnTo>
                    <a:pt x="2032" y="297"/>
                  </a:lnTo>
                  <a:lnTo>
                    <a:pt x="2034" y="297"/>
                  </a:lnTo>
                  <a:lnTo>
                    <a:pt x="2035" y="295"/>
                  </a:lnTo>
                  <a:lnTo>
                    <a:pt x="2038" y="294"/>
                  </a:lnTo>
                  <a:lnTo>
                    <a:pt x="2041" y="291"/>
                  </a:lnTo>
                  <a:lnTo>
                    <a:pt x="2041" y="289"/>
                  </a:lnTo>
                  <a:lnTo>
                    <a:pt x="2043" y="289"/>
                  </a:lnTo>
                  <a:lnTo>
                    <a:pt x="2046" y="288"/>
                  </a:lnTo>
                  <a:lnTo>
                    <a:pt x="2046" y="286"/>
                  </a:lnTo>
                  <a:lnTo>
                    <a:pt x="2047" y="286"/>
                  </a:lnTo>
                  <a:lnTo>
                    <a:pt x="2047" y="285"/>
                  </a:lnTo>
                  <a:lnTo>
                    <a:pt x="2052" y="280"/>
                  </a:lnTo>
                  <a:lnTo>
                    <a:pt x="2055" y="280"/>
                  </a:lnTo>
                  <a:lnTo>
                    <a:pt x="2055" y="277"/>
                  </a:lnTo>
                  <a:lnTo>
                    <a:pt x="2059" y="277"/>
                  </a:lnTo>
                  <a:lnTo>
                    <a:pt x="2059" y="276"/>
                  </a:lnTo>
                  <a:lnTo>
                    <a:pt x="2061" y="274"/>
                  </a:lnTo>
                  <a:lnTo>
                    <a:pt x="2061" y="273"/>
                  </a:lnTo>
                  <a:lnTo>
                    <a:pt x="2062" y="271"/>
                  </a:lnTo>
                  <a:lnTo>
                    <a:pt x="2064" y="271"/>
                  </a:lnTo>
                  <a:lnTo>
                    <a:pt x="2064" y="270"/>
                  </a:lnTo>
                  <a:lnTo>
                    <a:pt x="2065" y="270"/>
                  </a:lnTo>
                  <a:lnTo>
                    <a:pt x="2068" y="267"/>
                  </a:lnTo>
                  <a:lnTo>
                    <a:pt x="2071" y="268"/>
                  </a:lnTo>
                  <a:lnTo>
                    <a:pt x="2074" y="267"/>
                  </a:lnTo>
                  <a:lnTo>
                    <a:pt x="2079" y="265"/>
                  </a:lnTo>
                  <a:lnTo>
                    <a:pt x="2088" y="265"/>
                  </a:lnTo>
                  <a:lnTo>
                    <a:pt x="2092" y="264"/>
                  </a:lnTo>
                  <a:lnTo>
                    <a:pt x="2094" y="264"/>
                  </a:lnTo>
                  <a:lnTo>
                    <a:pt x="2094" y="262"/>
                  </a:lnTo>
                  <a:lnTo>
                    <a:pt x="2095" y="261"/>
                  </a:lnTo>
                  <a:lnTo>
                    <a:pt x="2098" y="259"/>
                  </a:lnTo>
                  <a:lnTo>
                    <a:pt x="2098" y="256"/>
                  </a:lnTo>
                  <a:lnTo>
                    <a:pt x="2100" y="255"/>
                  </a:lnTo>
                  <a:lnTo>
                    <a:pt x="2100" y="249"/>
                  </a:lnTo>
                  <a:lnTo>
                    <a:pt x="2098" y="249"/>
                  </a:lnTo>
                  <a:lnTo>
                    <a:pt x="2100" y="244"/>
                  </a:lnTo>
                  <a:lnTo>
                    <a:pt x="2100" y="243"/>
                  </a:lnTo>
                  <a:lnTo>
                    <a:pt x="2101" y="243"/>
                  </a:lnTo>
                  <a:lnTo>
                    <a:pt x="2100" y="241"/>
                  </a:lnTo>
                  <a:lnTo>
                    <a:pt x="2100" y="240"/>
                  </a:lnTo>
                  <a:lnTo>
                    <a:pt x="2094" y="240"/>
                  </a:lnTo>
                  <a:lnTo>
                    <a:pt x="2094" y="238"/>
                  </a:lnTo>
                  <a:lnTo>
                    <a:pt x="2092" y="238"/>
                  </a:lnTo>
                  <a:lnTo>
                    <a:pt x="2092" y="237"/>
                  </a:lnTo>
                  <a:lnTo>
                    <a:pt x="2091" y="237"/>
                  </a:lnTo>
                  <a:lnTo>
                    <a:pt x="2091" y="235"/>
                  </a:lnTo>
                  <a:lnTo>
                    <a:pt x="2094" y="235"/>
                  </a:lnTo>
                  <a:lnTo>
                    <a:pt x="2094" y="234"/>
                  </a:lnTo>
                  <a:lnTo>
                    <a:pt x="2095" y="232"/>
                  </a:lnTo>
                  <a:lnTo>
                    <a:pt x="2095" y="226"/>
                  </a:lnTo>
                  <a:lnTo>
                    <a:pt x="2097" y="223"/>
                  </a:lnTo>
                  <a:lnTo>
                    <a:pt x="2097" y="222"/>
                  </a:lnTo>
                  <a:lnTo>
                    <a:pt x="2098" y="220"/>
                  </a:lnTo>
                  <a:lnTo>
                    <a:pt x="2100" y="220"/>
                  </a:lnTo>
                  <a:lnTo>
                    <a:pt x="2100" y="219"/>
                  </a:lnTo>
                  <a:lnTo>
                    <a:pt x="2101" y="219"/>
                  </a:lnTo>
                  <a:lnTo>
                    <a:pt x="2101" y="216"/>
                  </a:lnTo>
                  <a:lnTo>
                    <a:pt x="2104" y="216"/>
                  </a:lnTo>
                  <a:lnTo>
                    <a:pt x="2104" y="214"/>
                  </a:lnTo>
                  <a:lnTo>
                    <a:pt x="2107" y="211"/>
                  </a:lnTo>
                  <a:lnTo>
                    <a:pt x="2107" y="204"/>
                  </a:lnTo>
                  <a:lnTo>
                    <a:pt x="2109" y="202"/>
                  </a:lnTo>
                  <a:lnTo>
                    <a:pt x="2109" y="201"/>
                  </a:lnTo>
                  <a:lnTo>
                    <a:pt x="2107" y="199"/>
                  </a:lnTo>
                  <a:lnTo>
                    <a:pt x="2112" y="195"/>
                  </a:lnTo>
                  <a:lnTo>
                    <a:pt x="2112" y="193"/>
                  </a:lnTo>
                  <a:lnTo>
                    <a:pt x="2116" y="189"/>
                  </a:lnTo>
                  <a:lnTo>
                    <a:pt x="2116" y="187"/>
                  </a:lnTo>
                  <a:lnTo>
                    <a:pt x="2118" y="187"/>
                  </a:lnTo>
                  <a:lnTo>
                    <a:pt x="2118" y="184"/>
                  </a:lnTo>
                  <a:lnTo>
                    <a:pt x="2119" y="183"/>
                  </a:lnTo>
                  <a:lnTo>
                    <a:pt x="2119" y="177"/>
                  </a:lnTo>
                  <a:lnTo>
                    <a:pt x="2121" y="177"/>
                  </a:lnTo>
                  <a:lnTo>
                    <a:pt x="2121" y="172"/>
                  </a:lnTo>
                  <a:lnTo>
                    <a:pt x="2122" y="172"/>
                  </a:lnTo>
                  <a:lnTo>
                    <a:pt x="2122" y="171"/>
                  </a:lnTo>
                  <a:lnTo>
                    <a:pt x="2124" y="171"/>
                  </a:lnTo>
                  <a:lnTo>
                    <a:pt x="2124" y="169"/>
                  </a:lnTo>
                  <a:lnTo>
                    <a:pt x="2125" y="169"/>
                  </a:lnTo>
                  <a:lnTo>
                    <a:pt x="2125" y="165"/>
                  </a:lnTo>
                  <a:lnTo>
                    <a:pt x="2126" y="163"/>
                  </a:lnTo>
                  <a:lnTo>
                    <a:pt x="2128" y="163"/>
                  </a:lnTo>
                  <a:lnTo>
                    <a:pt x="2128" y="156"/>
                  </a:lnTo>
                  <a:lnTo>
                    <a:pt x="2129" y="156"/>
                  </a:lnTo>
                  <a:lnTo>
                    <a:pt x="2131" y="153"/>
                  </a:lnTo>
                  <a:lnTo>
                    <a:pt x="2132" y="151"/>
                  </a:lnTo>
                  <a:lnTo>
                    <a:pt x="2132" y="147"/>
                  </a:lnTo>
                  <a:lnTo>
                    <a:pt x="2134" y="145"/>
                  </a:lnTo>
                  <a:lnTo>
                    <a:pt x="2134" y="144"/>
                  </a:lnTo>
                  <a:lnTo>
                    <a:pt x="2137" y="144"/>
                  </a:lnTo>
                  <a:lnTo>
                    <a:pt x="2138" y="142"/>
                  </a:lnTo>
                  <a:lnTo>
                    <a:pt x="2144" y="135"/>
                  </a:lnTo>
                  <a:lnTo>
                    <a:pt x="2146" y="133"/>
                  </a:lnTo>
                  <a:lnTo>
                    <a:pt x="2149" y="132"/>
                  </a:lnTo>
                  <a:lnTo>
                    <a:pt x="2149" y="130"/>
                  </a:lnTo>
                  <a:lnTo>
                    <a:pt x="2150" y="130"/>
                  </a:lnTo>
                  <a:lnTo>
                    <a:pt x="2152" y="129"/>
                  </a:lnTo>
                  <a:lnTo>
                    <a:pt x="2152" y="127"/>
                  </a:lnTo>
                  <a:lnTo>
                    <a:pt x="2155" y="127"/>
                  </a:lnTo>
                  <a:lnTo>
                    <a:pt x="2155" y="126"/>
                  </a:lnTo>
                  <a:lnTo>
                    <a:pt x="2159" y="126"/>
                  </a:lnTo>
                  <a:lnTo>
                    <a:pt x="2159" y="124"/>
                  </a:lnTo>
                  <a:lnTo>
                    <a:pt x="2161" y="121"/>
                  </a:lnTo>
                  <a:lnTo>
                    <a:pt x="2162" y="120"/>
                  </a:lnTo>
                  <a:lnTo>
                    <a:pt x="2162" y="117"/>
                  </a:lnTo>
                  <a:lnTo>
                    <a:pt x="2161" y="115"/>
                  </a:lnTo>
                  <a:lnTo>
                    <a:pt x="2165" y="111"/>
                  </a:lnTo>
                  <a:lnTo>
                    <a:pt x="2165" y="105"/>
                  </a:lnTo>
                  <a:lnTo>
                    <a:pt x="2164" y="103"/>
                  </a:lnTo>
                  <a:lnTo>
                    <a:pt x="2164" y="99"/>
                  </a:lnTo>
                  <a:lnTo>
                    <a:pt x="2159" y="96"/>
                  </a:lnTo>
                  <a:lnTo>
                    <a:pt x="2159" y="95"/>
                  </a:lnTo>
                  <a:lnTo>
                    <a:pt x="2158" y="93"/>
                  </a:lnTo>
                  <a:lnTo>
                    <a:pt x="2158" y="92"/>
                  </a:lnTo>
                  <a:lnTo>
                    <a:pt x="2159" y="92"/>
                  </a:lnTo>
                  <a:lnTo>
                    <a:pt x="2159" y="89"/>
                  </a:lnTo>
                  <a:lnTo>
                    <a:pt x="2161" y="87"/>
                  </a:lnTo>
                  <a:lnTo>
                    <a:pt x="2161" y="83"/>
                  </a:lnTo>
                  <a:lnTo>
                    <a:pt x="2162" y="83"/>
                  </a:lnTo>
                  <a:lnTo>
                    <a:pt x="2162" y="78"/>
                  </a:lnTo>
                  <a:lnTo>
                    <a:pt x="2159" y="77"/>
                  </a:lnTo>
                  <a:lnTo>
                    <a:pt x="2158" y="75"/>
                  </a:lnTo>
                  <a:lnTo>
                    <a:pt x="2152" y="72"/>
                  </a:lnTo>
                  <a:lnTo>
                    <a:pt x="2150" y="71"/>
                  </a:lnTo>
                  <a:lnTo>
                    <a:pt x="2149" y="71"/>
                  </a:lnTo>
                  <a:lnTo>
                    <a:pt x="2147" y="72"/>
                  </a:lnTo>
                  <a:lnTo>
                    <a:pt x="2146" y="72"/>
                  </a:lnTo>
                  <a:lnTo>
                    <a:pt x="2141" y="74"/>
                  </a:lnTo>
                  <a:lnTo>
                    <a:pt x="2140" y="74"/>
                  </a:lnTo>
                  <a:lnTo>
                    <a:pt x="2138" y="75"/>
                  </a:lnTo>
                  <a:lnTo>
                    <a:pt x="2132" y="75"/>
                  </a:lnTo>
                  <a:lnTo>
                    <a:pt x="2132" y="74"/>
                  </a:lnTo>
                  <a:lnTo>
                    <a:pt x="2131" y="72"/>
                  </a:lnTo>
                  <a:lnTo>
                    <a:pt x="2131" y="69"/>
                  </a:lnTo>
                  <a:lnTo>
                    <a:pt x="2132" y="66"/>
                  </a:lnTo>
                  <a:lnTo>
                    <a:pt x="2131" y="65"/>
                  </a:lnTo>
                  <a:lnTo>
                    <a:pt x="2131" y="62"/>
                  </a:lnTo>
                  <a:lnTo>
                    <a:pt x="2132" y="60"/>
                  </a:lnTo>
                  <a:lnTo>
                    <a:pt x="2137" y="59"/>
                  </a:lnTo>
                  <a:lnTo>
                    <a:pt x="2137" y="57"/>
                  </a:lnTo>
                  <a:lnTo>
                    <a:pt x="2140" y="56"/>
                  </a:lnTo>
                  <a:lnTo>
                    <a:pt x="2141" y="54"/>
                  </a:lnTo>
                  <a:lnTo>
                    <a:pt x="2143" y="54"/>
                  </a:lnTo>
                  <a:lnTo>
                    <a:pt x="2143" y="51"/>
                  </a:lnTo>
                  <a:lnTo>
                    <a:pt x="2144" y="51"/>
                  </a:lnTo>
                  <a:lnTo>
                    <a:pt x="2146" y="50"/>
                  </a:lnTo>
                  <a:lnTo>
                    <a:pt x="2146" y="48"/>
                  </a:lnTo>
                  <a:lnTo>
                    <a:pt x="2147" y="47"/>
                  </a:lnTo>
                  <a:lnTo>
                    <a:pt x="2150" y="42"/>
                  </a:lnTo>
                  <a:lnTo>
                    <a:pt x="2153" y="39"/>
                  </a:lnTo>
                  <a:lnTo>
                    <a:pt x="2158" y="36"/>
                  </a:lnTo>
                  <a:lnTo>
                    <a:pt x="2159" y="35"/>
                  </a:lnTo>
                  <a:lnTo>
                    <a:pt x="2162" y="29"/>
                  </a:lnTo>
                  <a:lnTo>
                    <a:pt x="2164" y="27"/>
                  </a:lnTo>
                  <a:lnTo>
                    <a:pt x="2167" y="26"/>
                  </a:lnTo>
                  <a:lnTo>
                    <a:pt x="2167" y="23"/>
                  </a:lnTo>
                  <a:lnTo>
                    <a:pt x="2170" y="23"/>
                  </a:lnTo>
                  <a:lnTo>
                    <a:pt x="2177" y="21"/>
                  </a:lnTo>
                  <a:lnTo>
                    <a:pt x="2182" y="23"/>
                  </a:lnTo>
                  <a:lnTo>
                    <a:pt x="2185" y="23"/>
                  </a:lnTo>
                  <a:lnTo>
                    <a:pt x="2186" y="21"/>
                  </a:lnTo>
                  <a:lnTo>
                    <a:pt x="2189" y="20"/>
                  </a:lnTo>
                  <a:lnTo>
                    <a:pt x="2191" y="18"/>
                  </a:lnTo>
                  <a:lnTo>
                    <a:pt x="2192" y="18"/>
                  </a:lnTo>
                  <a:lnTo>
                    <a:pt x="2194" y="20"/>
                  </a:lnTo>
                  <a:lnTo>
                    <a:pt x="2197" y="18"/>
                  </a:lnTo>
                  <a:lnTo>
                    <a:pt x="2198" y="18"/>
                  </a:lnTo>
                  <a:lnTo>
                    <a:pt x="2204" y="14"/>
                  </a:lnTo>
                  <a:lnTo>
                    <a:pt x="2216" y="11"/>
                  </a:lnTo>
                  <a:lnTo>
                    <a:pt x="2225" y="11"/>
                  </a:lnTo>
                  <a:lnTo>
                    <a:pt x="2228" y="8"/>
                  </a:lnTo>
                  <a:lnTo>
                    <a:pt x="2231" y="8"/>
                  </a:lnTo>
                  <a:lnTo>
                    <a:pt x="2234" y="6"/>
                  </a:lnTo>
                  <a:lnTo>
                    <a:pt x="2236" y="5"/>
                  </a:lnTo>
                  <a:lnTo>
                    <a:pt x="2240" y="9"/>
                  </a:lnTo>
                  <a:lnTo>
                    <a:pt x="2243" y="8"/>
                  </a:lnTo>
                  <a:lnTo>
                    <a:pt x="2261" y="8"/>
                  </a:lnTo>
                  <a:lnTo>
                    <a:pt x="2267" y="5"/>
                  </a:lnTo>
                  <a:lnTo>
                    <a:pt x="2275" y="5"/>
                  </a:lnTo>
                  <a:lnTo>
                    <a:pt x="2275" y="3"/>
                  </a:lnTo>
                  <a:lnTo>
                    <a:pt x="2276" y="3"/>
                  </a:lnTo>
                  <a:lnTo>
                    <a:pt x="2276" y="2"/>
                  </a:lnTo>
                  <a:lnTo>
                    <a:pt x="2278"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36">
              <a:extLst>
                <a:ext uri="{FF2B5EF4-FFF2-40B4-BE49-F238E27FC236}">
                  <a16:creationId xmlns:a16="http://schemas.microsoft.com/office/drawing/2014/main" id="{3955784C-4AB6-FBF1-463F-301B39626F78}"/>
                </a:ext>
              </a:extLst>
            </p:cNvPr>
            <p:cNvSpPr>
              <a:spLocks noEditPoints="1"/>
            </p:cNvSpPr>
            <p:nvPr/>
          </p:nvSpPr>
          <p:spPr bwMode="auto">
            <a:xfrm>
              <a:off x="2858061" y="4526992"/>
              <a:ext cx="255030" cy="210951"/>
            </a:xfrm>
            <a:custGeom>
              <a:avLst/>
              <a:gdLst/>
              <a:ahLst/>
              <a:cxnLst>
                <a:cxn ang="0">
                  <a:pos x="44" y="192"/>
                </a:cxn>
                <a:cxn ang="0">
                  <a:pos x="44" y="185"/>
                </a:cxn>
                <a:cxn ang="0">
                  <a:pos x="41" y="186"/>
                </a:cxn>
                <a:cxn ang="0">
                  <a:pos x="31" y="155"/>
                </a:cxn>
                <a:cxn ang="0">
                  <a:pos x="31" y="150"/>
                </a:cxn>
                <a:cxn ang="0">
                  <a:pos x="31" y="141"/>
                </a:cxn>
                <a:cxn ang="0">
                  <a:pos x="236" y="12"/>
                </a:cxn>
                <a:cxn ang="0">
                  <a:pos x="231" y="30"/>
                </a:cxn>
                <a:cxn ang="0">
                  <a:pos x="236" y="45"/>
                </a:cxn>
                <a:cxn ang="0">
                  <a:pos x="240" y="68"/>
                </a:cxn>
                <a:cxn ang="0">
                  <a:pos x="239" y="110"/>
                </a:cxn>
                <a:cxn ang="0">
                  <a:pos x="228" y="113"/>
                </a:cxn>
                <a:cxn ang="0">
                  <a:pos x="212" y="125"/>
                </a:cxn>
                <a:cxn ang="0">
                  <a:pos x="189" y="128"/>
                </a:cxn>
                <a:cxn ang="0">
                  <a:pos x="186" y="143"/>
                </a:cxn>
                <a:cxn ang="0">
                  <a:pos x="168" y="140"/>
                </a:cxn>
                <a:cxn ang="0">
                  <a:pos x="163" y="149"/>
                </a:cxn>
                <a:cxn ang="0">
                  <a:pos x="168" y="165"/>
                </a:cxn>
                <a:cxn ang="0">
                  <a:pos x="174" y="179"/>
                </a:cxn>
                <a:cxn ang="0">
                  <a:pos x="168" y="180"/>
                </a:cxn>
                <a:cxn ang="0">
                  <a:pos x="158" y="174"/>
                </a:cxn>
                <a:cxn ang="0">
                  <a:pos x="143" y="176"/>
                </a:cxn>
                <a:cxn ang="0">
                  <a:pos x="125" y="177"/>
                </a:cxn>
                <a:cxn ang="0">
                  <a:pos x="121" y="191"/>
                </a:cxn>
                <a:cxn ang="0">
                  <a:pos x="101" y="198"/>
                </a:cxn>
                <a:cxn ang="0">
                  <a:pos x="89" y="194"/>
                </a:cxn>
                <a:cxn ang="0">
                  <a:pos x="74" y="192"/>
                </a:cxn>
                <a:cxn ang="0">
                  <a:pos x="64" y="197"/>
                </a:cxn>
                <a:cxn ang="0">
                  <a:pos x="56" y="192"/>
                </a:cxn>
                <a:cxn ang="0">
                  <a:pos x="64" y="183"/>
                </a:cxn>
                <a:cxn ang="0">
                  <a:pos x="59" y="170"/>
                </a:cxn>
                <a:cxn ang="0">
                  <a:pos x="53" y="171"/>
                </a:cxn>
                <a:cxn ang="0">
                  <a:pos x="46" y="179"/>
                </a:cxn>
                <a:cxn ang="0">
                  <a:pos x="37" y="177"/>
                </a:cxn>
                <a:cxn ang="0">
                  <a:pos x="37" y="167"/>
                </a:cxn>
                <a:cxn ang="0">
                  <a:pos x="38" y="159"/>
                </a:cxn>
                <a:cxn ang="0">
                  <a:pos x="38" y="150"/>
                </a:cxn>
                <a:cxn ang="0">
                  <a:pos x="31" y="147"/>
                </a:cxn>
                <a:cxn ang="0">
                  <a:pos x="28" y="138"/>
                </a:cxn>
                <a:cxn ang="0">
                  <a:pos x="17" y="119"/>
                </a:cxn>
                <a:cxn ang="0">
                  <a:pos x="11" y="98"/>
                </a:cxn>
                <a:cxn ang="0">
                  <a:pos x="8" y="81"/>
                </a:cxn>
                <a:cxn ang="0">
                  <a:pos x="10" y="54"/>
                </a:cxn>
                <a:cxn ang="0">
                  <a:pos x="19" y="42"/>
                </a:cxn>
                <a:cxn ang="0">
                  <a:pos x="26" y="29"/>
                </a:cxn>
                <a:cxn ang="0">
                  <a:pos x="43" y="17"/>
                </a:cxn>
                <a:cxn ang="0">
                  <a:pos x="62" y="15"/>
                </a:cxn>
                <a:cxn ang="0">
                  <a:pos x="85" y="14"/>
                </a:cxn>
                <a:cxn ang="0">
                  <a:pos x="103" y="17"/>
                </a:cxn>
                <a:cxn ang="0">
                  <a:pos x="122" y="15"/>
                </a:cxn>
                <a:cxn ang="0">
                  <a:pos x="133" y="20"/>
                </a:cxn>
                <a:cxn ang="0">
                  <a:pos x="145" y="27"/>
                </a:cxn>
                <a:cxn ang="0">
                  <a:pos x="158" y="32"/>
                </a:cxn>
                <a:cxn ang="0">
                  <a:pos x="173" y="33"/>
                </a:cxn>
                <a:cxn ang="0">
                  <a:pos x="170" y="20"/>
                </a:cxn>
                <a:cxn ang="0">
                  <a:pos x="174" y="17"/>
                </a:cxn>
                <a:cxn ang="0">
                  <a:pos x="188" y="11"/>
                </a:cxn>
                <a:cxn ang="0">
                  <a:pos x="195" y="11"/>
                </a:cxn>
                <a:cxn ang="0">
                  <a:pos x="207" y="20"/>
                </a:cxn>
                <a:cxn ang="0">
                  <a:pos x="221" y="14"/>
                </a:cxn>
                <a:cxn ang="0">
                  <a:pos x="230" y="6"/>
                </a:cxn>
                <a:cxn ang="0">
                  <a:pos x="239" y="0"/>
                </a:cxn>
              </a:cxnLst>
              <a:rect l="0" t="0" r="r" b="b"/>
              <a:pathLst>
                <a:path w="243" h="201">
                  <a:moveTo>
                    <a:pt x="67" y="197"/>
                  </a:moveTo>
                  <a:lnTo>
                    <a:pt x="68" y="197"/>
                  </a:lnTo>
                  <a:lnTo>
                    <a:pt x="68" y="200"/>
                  </a:lnTo>
                  <a:lnTo>
                    <a:pt x="67" y="200"/>
                  </a:lnTo>
                  <a:lnTo>
                    <a:pt x="65" y="198"/>
                  </a:lnTo>
                  <a:lnTo>
                    <a:pt x="67" y="198"/>
                  </a:lnTo>
                  <a:lnTo>
                    <a:pt x="67" y="197"/>
                  </a:lnTo>
                  <a:close/>
                  <a:moveTo>
                    <a:pt x="44" y="192"/>
                  </a:moveTo>
                  <a:lnTo>
                    <a:pt x="46" y="192"/>
                  </a:lnTo>
                  <a:lnTo>
                    <a:pt x="46" y="194"/>
                  </a:lnTo>
                  <a:lnTo>
                    <a:pt x="47" y="194"/>
                  </a:lnTo>
                  <a:lnTo>
                    <a:pt x="46" y="195"/>
                  </a:lnTo>
                  <a:lnTo>
                    <a:pt x="44" y="194"/>
                  </a:lnTo>
                  <a:lnTo>
                    <a:pt x="44" y="192"/>
                  </a:lnTo>
                  <a:close/>
                  <a:moveTo>
                    <a:pt x="40" y="185"/>
                  </a:moveTo>
                  <a:lnTo>
                    <a:pt x="44" y="185"/>
                  </a:lnTo>
                  <a:lnTo>
                    <a:pt x="44" y="186"/>
                  </a:lnTo>
                  <a:lnTo>
                    <a:pt x="46" y="186"/>
                  </a:lnTo>
                  <a:lnTo>
                    <a:pt x="46" y="188"/>
                  </a:lnTo>
                  <a:lnTo>
                    <a:pt x="44" y="188"/>
                  </a:lnTo>
                  <a:lnTo>
                    <a:pt x="44" y="189"/>
                  </a:lnTo>
                  <a:lnTo>
                    <a:pt x="43" y="188"/>
                  </a:lnTo>
                  <a:lnTo>
                    <a:pt x="41" y="188"/>
                  </a:lnTo>
                  <a:lnTo>
                    <a:pt x="41" y="186"/>
                  </a:lnTo>
                  <a:lnTo>
                    <a:pt x="40" y="185"/>
                  </a:lnTo>
                  <a:close/>
                  <a:moveTo>
                    <a:pt x="31" y="155"/>
                  </a:moveTo>
                  <a:lnTo>
                    <a:pt x="32" y="155"/>
                  </a:lnTo>
                  <a:lnTo>
                    <a:pt x="32" y="156"/>
                  </a:lnTo>
                  <a:lnTo>
                    <a:pt x="34" y="158"/>
                  </a:lnTo>
                  <a:lnTo>
                    <a:pt x="34" y="162"/>
                  </a:lnTo>
                  <a:lnTo>
                    <a:pt x="31" y="162"/>
                  </a:lnTo>
                  <a:lnTo>
                    <a:pt x="31" y="155"/>
                  </a:lnTo>
                  <a:close/>
                  <a:moveTo>
                    <a:pt x="32" y="152"/>
                  </a:moveTo>
                  <a:lnTo>
                    <a:pt x="34" y="152"/>
                  </a:lnTo>
                  <a:lnTo>
                    <a:pt x="34" y="153"/>
                  </a:lnTo>
                  <a:lnTo>
                    <a:pt x="32" y="153"/>
                  </a:lnTo>
                  <a:lnTo>
                    <a:pt x="32" y="152"/>
                  </a:lnTo>
                  <a:close/>
                  <a:moveTo>
                    <a:pt x="32" y="149"/>
                  </a:moveTo>
                  <a:lnTo>
                    <a:pt x="32" y="152"/>
                  </a:lnTo>
                  <a:lnTo>
                    <a:pt x="31" y="150"/>
                  </a:lnTo>
                  <a:lnTo>
                    <a:pt x="32" y="149"/>
                  </a:lnTo>
                  <a:close/>
                  <a:moveTo>
                    <a:pt x="29" y="138"/>
                  </a:moveTo>
                  <a:lnTo>
                    <a:pt x="29" y="143"/>
                  </a:lnTo>
                  <a:lnTo>
                    <a:pt x="31" y="141"/>
                  </a:lnTo>
                  <a:lnTo>
                    <a:pt x="34" y="141"/>
                  </a:lnTo>
                  <a:lnTo>
                    <a:pt x="34" y="140"/>
                  </a:lnTo>
                  <a:lnTo>
                    <a:pt x="32" y="140"/>
                  </a:lnTo>
                  <a:lnTo>
                    <a:pt x="31" y="141"/>
                  </a:lnTo>
                  <a:lnTo>
                    <a:pt x="31" y="140"/>
                  </a:lnTo>
                  <a:lnTo>
                    <a:pt x="29" y="140"/>
                  </a:lnTo>
                  <a:lnTo>
                    <a:pt x="29" y="138"/>
                  </a:lnTo>
                  <a:close/>
                  <a:moveTo>
                    <a:pt x="239" y="0"/>
                  </a:moveTo>
                  <a:lnTo>
                    <a:pt x="239" y="8"/>
                  </a:lnTo>
                  <a:lnTo>
                    <a:pt x="237" y="8"/>
                  </a:lnTo>
                  <a:lnTo>
                    <a:pt x="237" y="11"/>
                  </a:lnTo>
                  <a:lnTo>
                    <a:pt x="236" y="12"/>
                  </a:lnTo>
                  <a:lnTo>
                    <a:pt x="236" y="14"/>
                  </a:lnTo>
                  <a:lnTo>
                    <a:pt x="233" y="14"/>
                  </a:lnTo>
                  <a:lnTo>
                    <a:pt x="233" y="15"/>
                  </a:lnTo>
                  <a:lnTo>
                    <a:pt x="231" y="17"/>
                  </a:lnTo>
                  <a:lnTo>
                    <a:pt x="231" y="23"/>
                  </a:lnTo>
                  <a:lnTo>
                    <a:pt x="230" y="27"/>
                  </a:lnTo>
                  <a:lnTo>
                    <a:pt x="230" y="29"/>
                  </a:lnTo>
                  <a:lnTo>
                    <a:pt x="231" y="30"/>
                  </a:lnTo>
                  <a:lnTo>
                    <a:pt x="231" y="33"/>
                  </a:lnTo>
                  <a:lnTo>
                    <a:pt x="234" y="33"/>
                  </a:lnTo>
                  <a:lnTo>
                    <a:pt x="234" y="36"/>
                  </a:lnTo>
                  <a:lnTo>
                    <a:pt x="236" y="36"/>
                  </a:lnTo>
                  <a:lnTo>
                    <a:pt x="236" y="39"/>
                  </a:lnTo>
                  <a:lnTo>
                    <a:pt x="234" y="39"/>
                  </a:lnTo>
                  <a:lnTo>
                    <a:pt x="236" y="41"/>
                  </a:lnTo>
                  <a:lnTo>
                    <a:pt x="236" y="45"/>
                  </a:lnTo>
                  <a:lnTo>
                    <a:pt x="237" y="45"/>
                  </a:lnTo>
                  <a:lnTo>
                    <a:pt x="237" y="47"/>
                  </a:lnTo>
                  <a:lnTo>
                    <a:pt x="239" y="48"/>
                  </a:lnTo>
                  <a:lnTo>
                    <a:pt x="242" y="56"/>
                  </a:lnTo>
                  <a:lnTo>
                    <a:pt x="243" y="57"/>
                  </a:lnTo>
                  <a:lnTo>
                    <a:pt x="243" y="63"/>
                  </a:lnTo>
                  <a:lnTo>
                    <a:pt x="242" y="66"/>
                  </a:lnTo>
                  <a:lnTo>
                    <a:pt x="240" y="68"/>
                  </a:lnTo>
                  <a:lnTo>
                    <a:pt x="236" y="80"/>
                  </a:lnTo>
                  <a:lnTo>
                    <a:pt x="237" y="81"/>
                  </a:lnTo>
                  <a:lnTo>
                    <a:pt x="236" y="83"/>
                  </a:lnTo>
                  <a:lnTo>
                    <a:pt x="237" y="84"/>
                  </a:lnTo>
                  <a:lnTo>
                    <a:pt x="237" y="87"/>
                  </a:lnTo>
                  <a:lnTo>
                    <a:pt x="240" y="90"/>
                  </a:lnTo>
                  <a:lnTo>
                    <a:pt x="240" y="105"/>
                  </a:lnTo>
                  <a:lnTo>
                    <a:pt x="239" y="110"/>
                  </a:lnTo>
                  <a:lnTo>
                    <a:pt x="239" y="111"/>
                  </a:lnTo>
                  <a:lnTo>
                    <a:pt x="237" y="113"/>
                  </a:lnTo>
                  <a:lnTo>
                    <a:pt x="236" y="113"/>
                  </a:lnTo>
                  <a:lnTo>
                    <a:pt x="234" y="116"/>
                  </a:lnTo>
                  <a:lnTo>
                    <a:pt x="233" y="116"/>
                  </a:lnTo>
                  <a:lnTo>
                    <a:pt x="233" y="114"/>
                  </a:lnTo>
                  <a:lnTo>
                    <a:pt x="230" y="111"/>
                  </a:lnTo>
                  <a:lnTo>
                    <a:pt x="228" y="113"/>
                  </a:lnTo>
                  <a:lnTo>
                    <a:pt x="225" y="113"/>
                  </a:lnTo>
                  <a:lnTo>
                    <a:pt x="222" y="114"/>
                  </a:lnTo>
                  <a:lnTo>
                    <a:pt x="221" y="116"/>
                  </a:lnTo>
                  <a:lnTo>
                    <a:pt x="221" y="117"/>
                  </a:lnTo>
                  <a:lnTo>
                    <a:pt x="218" y="117"/>
                  </a:lnTo>
                  <a:lnTo>
                    <a:pt x="218" y="120"/>
                  </a:lnTo>
                  <a:lnTo>
                    <a:pt x="213" y="123"/>
                  </a:lnTo>
                  <a:lnTo>
                    <a:pt x="212" y="125"/>
                  </a:lnTo>
                  <a:lnTo>
                    <a:pt x="203" y="125"/>
                  </a:lnTo>
                  <a:lnTo>
                    <a:pt x="203" y="128"/>
                  </a:lnTo>
                  <a:lnTo>
                    <a:pt x="201" y="129"/>
                  </a:lnTo>
                  <a:lnTo>
                    <a:pt x="200" y="129"/>
                  </a:lnTo>
                  <a:lnTo>
                    <a:pt x="198" y="128"/>
                  </a:lnTo>
                  <a:lnTo>
                    <a:pt x="198" y="129"/>
                  </a:lnTo>
                  <a:lnTo>
                    <a:pt x="189" y="129"/>
                  </a:lnTo>
                  <a:lnTo>
                    <a:pt x="189" y="128"/>
                  </a:lnTo>
                  <a:lnTo>
                    <a:pt x="188" y="129"/>
                  </a:lnTo>
                  <a:lnTo>
                    <a:pt x="188" y="131"/>
                  </a:lnTo>
                  <a:lnTo>
                    <a:pt x="189" y="132"/>
                  </a:lnTo>
                  <a:lnTo>
                    <a:pt x="189" y="134"/>
                  </a:lnTo>
                  <a:lnTo>
                    <a:pt x="188" y="135"/>
                  </a:lnTo>
                  <a:lnTo>
                    <a:pt x="188" y="141"/>
                  </a:lnTo>
                  <a:lnTo>
                    <a:pt x="189" y="143"/>
                  </a:lnTo>
                  <a:lnTo>
                    <a:pt x="186" y="143"/>
                  </a:lnTo>
                  <a:lnTo>
                    <a:pt x="186" y="141"/>
                  </a:lnTo>
                  <a:lnTo>
                    <a:pt x="185" y="141"/>
                  </a:lnTo>
                  <a:lnTo>
                    <a:pt x="182" y="143"/>
                  </a:lnTo>
                  <a:lnTo>
                    <a:pt x="179" y="140"/>
                  </a:lnTo>
                  <a:lnTo>
                    <a:pt x="174" y="140"/>
                  </a:lnTo>
                  <a:lnTo>
                    <a:pt x="171" y="138"/>
                  </a:lnTo>
                  <a:lnTo>
                    <a:pt x="170" y="138"/>
                  </a:lnTo>
                  <a:lnTo>
                    <a:pt x="168" y="140"/>
                  </a:lnTo>
                  <a:lnTo>
                    <a:pt x="168" y="141"/>
                  </a:lnTo>
                  <a:lnTo>
                    <a:pt x="165" y="144"/>
                  </a:lnTo>
                  <a:lnTo>
                    <a:pt x="163" y="143"/>
                  </a:lnTo>
                  <a:lnTo>
                    <a:pt x="161" y="144"/>
                  </a:lnTo>
                  <a:lnTo>
                    <a:pt x="160" y="144"/>
                  </a:lnTo>
                  <a:lnTo>
                    <a:pt x="160" y="147"/>
                  </a:lnTo>
                  <a:lnTo>
                    <a:pt x="161" y="147"/>
                  </a:lnTo>
                  <a:lnTo>
                    <a:pt x="163" y="149"/>
                  </a:lnTo>
                  <a:lnTo>
                    <a:pt x="163" y="153"/>
                  </a:lnTo>
                  <a:lnTo>
                    <a:pt x="164" y="155"/>
                  </a:lnTo>
                  <a:lnTo>
                    <a:pt x="163" y="155"/>
                  </a:lnTo>
                  <a:lnTo>
                    <a:pt x="163" y="161"/>
                  </a:lnTo>
                  <a:lnTo>
                    <a:pt x="164" y="161"/>
                  </a:lnTo>
                  <a:lnTo>
                    <a:pt x="164" y="164"/>
                  </a:lnTo>
                  <a:lnTo>
                    <a:pt x="165" y="165"/>
                  </a:lnTo>
                  <a:lnTo>
                    <a:pt x="168" y="165"/>
                  </a:lnTo>
                  <a:lnTo>
                    <a:pt x="170" y="168"/>
                  </a:lnTo>
                  <a:lnTo>
                    <a:pt x="171" y="170"/>
                  </a:lnTo>
                  <a:lnTo>
                    <a:pt x="174" y="170"/>
                  </a:lnTo>
                  <a:lnTo>
                    <a:pt x="176" y="171"/>
                  </a:lnTo>
                  <a:lnTo>
                    <a:pt x="177" y="174"/>
                  </a:lnTo>
                  <a:lnTo>
                    <a:pt x="177" y="176"/>
                  </a:lnTo>
                  <a:lnTo>
                    <a:pt x="174" y="176"/>
                  </a:lnTo>
                  <a:lnTo>
                    <a:pt x="174" y="179"/>
                  </a:lnTo>
                  <a:lnTo>
                    <a:pt x="176" y="180"/>
                  </a:lnTo>
                  <a:lnTo>
                    <a:pt x="177" y="185"/>
                  </a:lnTo>
                  <a:lnTo>
                    <a:pt x="176" y="185"/>
                  </a:lnTo>
                  <a:lnTo>
                    <a:pt x="174" y="183"/>
                  </a:lnTo>
                  <a:lnTo>
                    <a:pt x="171" y="183"/>
                  </a:lnTo>
                  <a:lnTo>
                    <a:pt x="170" y="182"/>
                  </a:lnTo>
                  <a:lnTo>
                    <a:pt x="168" y="182"/>
                  </a:lnTo>
                  <a:lnTo>
                    <a:pt x="168" y="180"/>
                  </a:lnTo>
                  <a:lnTo>
                    <a:pt x="167" y="180"/>
                  </a:lnTo>
                  <a:lnTo>
                    <a:pt x="165" y="179"/>
                  </a:lnTo>
                  <a:lnTo>
                    <a:pt x="165" y="182"/>
                  </a:lnTo>
                  <a:lnTo>
                    <a:pt x="163" y="182"/>
                  </a:lnTo>
                  <a:lnTo>
                    <a:pt x="163" y="180"/>
                  </a:lnTo>
                  <a:lnTo>
                    <a:pt x="161" y="179"/>
                  </a:lnTo>
                  <a:lnTo>
                    <a:pt x="161" y="177"/>
                  </a:lnTo>
                  <a:lnTo>
                    <a:pt x="158" y="174"/>
                  </a:lnTo>
                  <a:lnTo>
                    <a:pt x="158" y="173"/>
                  </a:lnTo>
                  <a:lnTo>
                    <a:pt x="157" y="173"/>
                  </a:lnTo>
                  <a:lnTo>
                    <a:pt x="155" y="174"/>
                  </a:lnTo>
                  <a:lnTo>
                    <a:pt x="154" y="174"/>
                  </a:lnTo>
                  <a:lnTo>
                    <a:pt x="152" y="176"/>
                  </a:lnTo>
                  <a:lnTo>
                    <a:pt x="148" y="176"/>
                  </a:lnTo>
                  <a:lnTo>
                    <a:pt x="145" y="177"/>
                  </a:lnTo>
                  <a:lnTo>
                    <a:pt x="143" y="176"/>
                  </a:lnTo>
                  <a:lnTo>
                    <a:pt x="142" y="176"/>
                  </a:lnTo>
                  <a:lnTo>
                    <a:pt x="139" y="182"/>
                  </a:lnTo>
                  <a:lnTo>
                    <a:pt x="137" y="182"/>
                  </a:lnTo>
                  <a:lnTo>
                    <a:pt x="136" y="180"/>
                  </a:lnTo>
                  <a:lnTo>
                    <a:pt x="136" y="179"/>
                  </a:lnTo>
                  <a:lnTo>
                    <a:pt x="128" y="179"/>
                  </a:lnTo>
                  <a:lnTo>
                    <a:pt x="127" y="177"/>
                  </a:lnTo>
                  <a:lnTo>
                    <a:pt x="125" y="177"/>
                  </a:lnTo>
                  <a:lnTo>
                    <a:pt x="125" y="179"/>
                  </a:lnTo>
                  <a:lnTo>
                    <a:pt x="124" y="179"/>
                  </a:lnTo>
                  <a:lnTo>
                    <a:pt x="124" y="182"/>
                  </a:lnTo>
                  <a:lnTo>
                    <a:pt x="125" y="183"/>
                  </a:lnTo>
                  <a:lnTo>
                    <a:pt x="127" y="186"/>
                  </a:lnTo>
                  <a:lnTo>
                    <a:pt x="127" y="188"/>
                  </a:lnTo>
                  <a:lnTo>
                    <a:pt x="125" y="188"/>
                  </a:lnTo>
                  <a:lnTo>
                    <a:pt x="121" y="191"/>
                  </a:lnTo>
                  <a:lnTo>
                    <a:pt x="119" y="192"/>
                  </a:lnTo>
                  <a:lnTo>
                    <a:pt x="118" y="195"/>
                  </a:lnTo>
                  <a:lnTo>
                    <a:pt x="116" y="195"/>
                  </a:lnTo>
                  <a:lnTo>
                    <a:pt x="115" y="197"/>
                  </a:lnTo>
                  <a:lnTo>
                    <a:pt x="110" y="197"/>
                  </a:lnTo>
                  <a:lnTo>
                    <a:pt x="106" y="195"/>
                  </a:lnTo>
                  <a:lnTo>
                    <a:pt x="104" y="195"/>
                  </a:lnTo>
                  <a:lnTo>
                    <a:pt x="101" y="198"/>
                  </a:lnTo>
                  <a:lnTo>
                    <a:pt x="100" y="201"/>
                  </a:lnTo>
                  <a:lnTo>
                    <a:pt x="98" y="201"/>
                  </a:lnTo>
                  <a:lnTo>
                    <a:pt x="97" y="200"/>
                  </a:lnTo>
                  <a:lnTo>
                    <a:pt x="94" y="198"/>
                  </a:lnTo>
                  <a:lnTo>
                    <a:pt x="91" y="198"/>
                  </a:lnTo>
                  <a:lnTo>
                    <a:pt x="91" y="195"/>
                  </a:lnTo>
                  <a:lnTo>
                    <a:pt x="89" y="195"/>
                  </a:lnTo>
                  <a:lnTo>
                    <a:pt x="89" y="194"/>
                  </a:lnTo>
                  <a:lnTo>
                    <a:pt x="88" y="194"/>
                  </a:lnTo>
                  <a:lnTo>
                    <a:pt x="86" y="195"/>
                  </a:lnTo>
                  <a:lnTo>
                    <a:pt x="83" y="194"/>
                  </a:lnTo>
                  <a:lnTo>
                    <a:pt x="82" y="195"/>
                  </a:lnTo>
                  <a:lnTo>
                    <a:pt x="80" y="195"/>
                  </a:lnTo>
                  <a:lnTo>
                    <a:pt x="76" y="194"/>
                  </a:lnTo>
                  <a:lnTo>
                    <a:pt x="74" y="194"/>
                  </a:lnTo>
                  <a:lnTo>
                    <a:pt x="74" y="192"/>
                  </a:lnTo>
                  <a:lnTo>
                    <a:pt x="73" y="192"/>
                  </a:lnTo>
                  <a:lnTo>
                    <a:pt x="73" y="189"/>
                  </a:lnTo>
                  <a:lnTo>
                    <a:pt x="71" y="189"/>
                  </a:lnTo>
                  <a:lnTo>
                    <a:pt x="71" y="194"/>
                  </a:lnTo>
                  <a:lnTo>
                    <a:pt x="70" y="195"/>
                  </a:lnTo>
                  <a:lnTo>
                    <a:pt x="65" y="195"/>
                  </a:lnTo>
                  <a:lnTo>
                    <a:pt x="65" y="197"/>
                  </a:lnTo>
                  <a:lnTo>
                    <a:pt x="64" y="197"/>
                  </a:lnTo>
                  <a:lnTo>
                    <a:pt x="61" y="198"/>
                  </a:lnTo>
                  <a:lnTo>
                    <a:pt x="61" y="197"/>
                  </a:lnTo>
                  <a:lnTo>
                    <a:pt x="59" y="197"/>
                  </a:lnTo>
                  <a:lnTo>
                    <a:pt x="59" y="195"/>
                  </a:lnTo>
                  <a:lnTo>
                    <a:pt x="58" y="195"/>
                  </a:lnTo>
                  <a:lnTo>
                    <a:pt x="58" y="194"/>
                  </a:lnTo>
                  <a:lnTo>
                    <a:pt x="56" y="194"/>
                  </a:lnTo>
                  <a:lnTo>
                    <a:pt x="56" y="192"/>
                  </a:lnTo>
                  <a:lnTo>
                    <a:pt x="55" y="192"/>
                  </a:lnTo>
                  <a:lnTo>
                    <a:pt x="55" y="191"/>
                  </a:lnTo>
                  <a:lnTo>
                    <a:pt x="56" y="191"/>
                  </a:lnTo>
                  <a:lnTo>
                    <a:pt x="56" y="188"/>
                  </a:lnTo>
                  <a:lnTo>
                    <a:pt x="58" y="186"/>
                  </a:lnTo>
                  <a:lnTo>
                    <a:pt x="62" y="186"/>
                  </a:lnTo>
                  <a:lnTo>
                    <a:pt x="62" y="183"/>
                  </a:lnTo>
                  <a:lnTo>
                    <a:pt x="64" y="183"/>
                  </a:lnTo>
                  <a:lnTo>
                    <a:pt x="64" y="182"/>
                  </a:lnTo>
                  <a:lnTo>
                    <a:pt x="65" y="182"/>
                  </a:lnTo>
                  <a:lnTo>
                    <a:pt x="65" y="179"/>
                  </a:lnTo>
                  <a:lnTo>
                    <a:pt x="64" y="177"/>
                  </a:lnTo>
                  <a:lnTo>
                    <a:pt x="62" y="174"/>
                  </a:lnTo>
                  <a:lnTo>
                    <a:pt x="62" y="171"/>
                  </a:lnTo>
                  <a:lnTo>
                    <a:pt x="61" y="170"/>
                  </a:lnTo>
                  <a:lnTo>
                    <a:pt x="59" y="170"/>
                  </a:lnTo>
                  <a:lnTo>
                    <a:pt x="58" y="168"/>
                  </a:lnTo>
                  <a:lnTo>
                    <a:pt x="58" y="167"/>
                  </a:lnTo>
                  <a:lnTo>
                    <a:pt x="55" y="167"/>
                  </a:lnTo>
                  <a:lnTo>
                    <a:pt x="55" y="168"/>
                  </a:lnTo>
                  <a:lnTo>
                    <a:pt x="53" y="168"/>
                  </a:lnTo>
                  <a:lnTo>
                    <a:pt x="52" y="170"/>
                  </a:lnTo>
                  <a:lnTo>
                    <a:pt x="53" y="170"/>
                  </a:lnTo>
                  <a:lnTo>
                    <a:pt x="53" y="171"/>
                  </a:lnTo>
                  <a:lnTo>
                    <a:pt x="52" y="173"/>
                  </a:lnTo>
                  <a:lnTo>
                    <a:pt x="52" y="174"/>
                  </a:lnTo>
                  <a:lnTo>
                    <a:pt x="50" y="176"/>
                  </a:lnTo>
                  <a:lnTo>
                    <a:pt x="50" y="179"/>
                  </a:lnTo>
                  <a:lnTo>
                    <a:pt x="49" y="180"/>
                  </a:lnTo>
                  <a:lnTo>
                    <a:pt x="47" y="180"/>
                  </a:lnTo>
                  <a:lnTo>
                    <a:pt x="47" y="179"/>
                  </a:lnTo>
                  <a:lnTo>
                    <a:pt x="46" y="179"/>
                  </a:lnTo>
                  <a:lnTo>
                    <a:pt x="46" y="177"/>
                  </a:lnTo>
                  <a:lnTo>
                    <a:pt x="44" y="177"/>
                  </a:lnTo>
                  <a:lnTo>
                    <a:pt x="43" y="179"/>
                  </a:lnTo>
                  <a:lnTo>
                    <a:pt x="41" y="179"/>
                  </a:lnTo>
                  <a:lnTo>
                    <a:pt x="41" y="180"/>
                  </a:lnTo>
                  <a:lnTo>
                    <a:pt x="37" y="180"/>
                  </a:lnTo>
                  <a:lnTo>
                    <a:pt x="38" y="179"/>
                  </a:lnTo>
                  <a:lnTo>
                    <a:pt x="37" y="177"/>
                  </a:lnTo>
                  <a:lnTo>
                    <a:pt x="35" y="177"/>
                  </a:lnTo>
                  <a:lnTo>
                    <a:pt x="35" y="176"/>
                  </a:lnTo>
                  <a:lnTo>
                    <a:pt x="37" y="176"/>
                  </a:lnTo>
                  <a:lnTo>
                    <a:pt x="37" y="174"/>
                  </a:lnTo>
                  <a:lnTo>
                    <a:pt x="35" y="171"/>
                  </a:lnTo>
                  <a:lnTo>
                    <a:pt x="35" y="170"/>
                  </a:lnTo>
                  <a:lnTo>
                    <a:pt x="37" y="170"/>
                  </a:lnTo>
                  <a:lnTo>
                    <a:pt x="37" y="167"/>
                  </a:lnTo>
                  <a:lnTo>
                    <a:pt x="35" y="165"/>
                  </a:lnTo>
                  <a:lnTo>
                    <a:pt x="35" y="164"/>
                  </a:lnTo>
                  <a:lnTo>
                    <a:pt x="34" y="164"/>
                  </a:lnTo>
                  <a:lnTo>
                    <a:pt x="35" y="162"/>
                  </a:lnTo>
                  <a:lnTo>
                    <a:pt x="35" y="161"/>
                  </a:lnTo>
                  <a:lnTo>
                    <a:pt x="37" y="161"/>
                  </a:lnTo>
                  <a:lnTo>
                    <a:pt x="37" y="159"/>
                  </a:lnTo>
                  <a:lnTo>
                    <a:pt x="38" y="159"/>
                  </a:lnTo>
                  <a:lnTo>
                    <a:pt x="38" y="158"/>
                  </a:lnTo>
                  <a:lnTo>
                    <a:pt x="35" y="158"/>
                  </a:lnTo>
                  <a:lnTo>
                    <a:pt x="35" y="153"/>
                  </a:lnTo>
                  <a:lnTo>
                    <a:pt x="38" y="153"/>
                  </a:lnTo>
                  <a:lnTo>
                    <a:pt x="40" y="155"/>
                  </a:lnTo>
                  <a:lnTo>
                    <a:pt x="38" y="152"/>
                  </a:lnTo>
                  <a:lnTo>
                    <a:pt x="37" y="152"/>
                  </a:lnTo>
                  <a:lnTo>
                    <a:pt x="38" y="150"/>
                  </a:lnTo>
                  <a:lnTo>
                    <a:pt x="37" y="150"/>
                  </a:lnTo>
                  <a:lnTo>
                    <a:pt x="37" y="152"/>
                  </a:lnTo>
                  <a:lnTo>
                    <a:pt x="35" y="152"/>
                  </a:lnTo>
                  <a:lnTo>
                    <a:pt x="34" y="150"/>
                  </a:lnTo>
                  <a:lnTo>
                    <a:pt x="34" y="147"/>
                  </a:lnTo>
                  <a:lnTo>
                    <a:pt x="32" y="149"/>
                  </a:lnTo>
                  <a:lnTo>
                    <a:pt x="29" y="149"/>
                  </a:lnTo>
                  <a:lnTo>
                    <a:pt x="31" y="147"/>
                  </a:lnTo>
                  <a:lnTo>
                    <a:pt x="31" y="144"/>
                  </a:lnTo>
                  <a:lnTo>
                    <a:pt x="32" y="144"/>
                  </a:lnTo>
                  <a:lnTo>
                    <a:pt x="32" y="143"/>
                  </a:lnTo>
                  <a:lnTo>
                    <a:pt x="31" y="144"/>
                  </a:lnTo>
                  <a:lnTo>
                    <a:pt x="29" y="144"/>
                  </a:lnTo>
                  <a:lnTo>
                    <a:pt x="29" y="146"/>
                  </a:lnTo>
                  <a:lnTo>
                    <a:pt x="28" y="146"/>
                  </a:lnTo>
                  <a:lnTo>
                    <a:pt x="28" y="138"/>
                  </a:lnTo>
                  <a:lnTo>
                    <a:pt x="26" y="137"/>
                  </a:lnTo>
                  <a:lnTo>
                    <a:pt x="25" y="134"/>
                  </a:lnTo>
                  <a:lnTo>
                    <a:pt x="22" y="129"/>
                  </a:lnTo>
                  <a:lnTo>
                    <a:pt x="22" y="128"/>
                  </a:lnTo>
                  <a:lnTo>
                    <a:pt x="20" y="126"/>
                  </a:lnTo>
                  <a:lnTo>
                    <a:pt x="20" y="125"/>
                  </a:lnTo>
                  <a:lnTo>
                    <a:pt x="17" y="120"/>
                  </a:lnTo>
                  <a:lnTo>
                    <a:pt x="17" y="119"/>
                  </a:lnTo>
                  <a:lnTo>
                    <a:pt x="19" y="111"/>
                  </a:lnTo>
                  <a:lnTo>
                    <a:pt x="19" y="110"/>
                  </a:lnTo>
                  <a:lnTo>
                    <a:pt x="20" y="108"/>
                  </a:lnTo>
                  <a:lnTo>
                    <a:pt x="20" y="107"/>
                  </a:lnTo>
                  <a:lnTo>
                    <a:pt x="19" y="105"/>
                  </a:lnTo>
                  <a:lnTo>
                    <a:pt x="17" y="105"/>
                  </a:lnTo>
                  <a:lnTo>
                    <a:pt x="17" y="104"/>
                  </a:lnTo>
                  <a:lnTo>
                    <a:pt x="11" y="98"/>
                  </a:lnTo>
                  <a:lnTo>
                    <a:pt x="8" y="96"/>
                  </a:lnTo>
                  <a:lnTo>
                    <a:pt x="7" y="96"/>
                  </a:lnTo>
                  <a:lnTo>
                    <a:pt x="7" y="93"/>
                  </a:lnTo>
                  <a:lnTo>
                    <a:pt x="8" y="92"/>
                  </a:lnTo>
                  <a:lnTo>
                    <a:pt x="8" y="87"/>
                  </a:lnTo>
                  <a:lnTo>
                    <a:pt x="7" y="86"/>
                  </a:lnTo>
                  <a:lnTo>
                    <a:pt x="7" y="81"/>
                  </a:lnTo>
                  <a:lnTo>
                    <a:pt x="8" y="81"/>
                  </a:lnTo>
                  <a:lnTo>
                    <a:pt x="5" y="78"/>
                  </a:lnTo>
                  <a:lnTo>
                    <a:pt x="4" y="75"/>
                  </a:lnTo>
                  <a:lnTo>
                    <a:pt x="3" y="74"/>
                  </a:lnTo>
                  <a:lnTo>
                    <a:pt x="1" y="68"/>
                  </a:lnTo>
                  <a:lnTo>
                    <a:pt x="1" y="56"/>
                  </a:lnTo>
                  <a:lnTo>
                    <a:pt x="0" y="56"/>
                  </a:lnTo>
                  <a:lnTo>
                    <a:pt x="1" y="54"/>
                  </a:lnTo>
                  <a:lnTo>
                    <a:pt x="10" y="54"/>
                  </a:lnTo>
                  <a:lnTo>
                    <a:pt x="11" y="53"/>
                  </a:lnTo>
                  <a:lnTo>
                    <a:pt x="13" y="53"/>
                  </a:lnTo>
                  <a:lnTo>
                    <a:pt x="10" y="50"/>
                  </a:lnTo>
                  <a:lnTo>
                    <a:pt x="11" y="48"/>
                  </a:lnTo>
                  <a:lnTo>
                    <a:pt x="16" y="45"/>
                  </a:lnTo>
                  <a:lnTo>
                    <a:pt x="17" y="45"/>
                  </a:lnTo>
                  <a:lnTo>
                    <a:pt x="17" y="42"/>
                  </a:lnTo>
                  <a:lnTo>
                    <a:pt x="19" y="42"/>
                  </a:lnTo>
                  <a:lnTo>
                    <a:pt x="19" y="41"/>
                  </a:lnTo>
                  <a:lnTo>
                    <a:pt x="20" y="38"/>
                  </a:lnTo>
                  <a:lnTo>
                    <a:pt x="20" y="36"/>
                  </a:lnTo>
                  <a:lnTo>
                    <a:pt x="22" y="35"/>
                  </a:lnTo>
                  <a:lnTo>
                    <a:pt x="25" y="33"/>
                  </a:lnTo>
                  <a:lnTo>
                    <a:pt x="25" y="32"/>
                  </a:lnTo>
                  <a:lnTo>
                    <a:pt x="26" y="30"/>
                  </a:lnTo>
                  <a:lnTo>
                    <a:pt x="26" y="29"/>
                  </a:lnTo>
                  <a:lnTo>
                    <a:pt x="28" y="27"/>
                  </a:lnTo>
                  <a:lnTo>
                    <a:pt x="28" y="24"/>
                  </a:lnTo>
                  <a:lnTo>
                    <a:pt x="29" y="24"/>
                  </a:lnTo>
                  <a:lnTo>
                    <a:pt x="31" y="23"/>
                  </a:lnTo>
                  <a:lnTo>
                    <a:pt x="32" y="23"/>
                  </a:lnTo>
                  <a:lnTo>
                    <a:pt x="37" y="18"/>
                  </a:lnTo>
                  <a:lnTo>
                    <a:pt x="40" y="18"/>
                  </a:lnTo>
                  <a:lnTo>
                    <a:pt x="43" y="17"/>
                  </a:lnTo>
                  <a:lnTo>
                    <a:pt x="49" y="17"/>
                  </a:lnTo>
                  <a:lnTo>
                    <a:pt x="50" y="15"/>
                  </a:lnTo>
                  <a:lnTo>
                    <a:pt x="55" y="15"/>
                  </a:lnTo>
                  <a:lnTo>
                    <a:pt x="56" y="14"/>
                  </a:lnTo>
                  <a:lnTo>
                    <a:pt x="61" y="14"/>
                  </a:lnTo>
                  <a:lnTo>
                    <a:pt x="61" y="12"/>
                  </a:lnTo>
                  <a:lnTo>
                    <a:pt x="62" y="12"/>
                  </a:lnTo>
                  <a:lnTo>
                    <a:pt x="62" y="15"/>
                  </a:lnTo>
                  <a:lnTo>
                    <a:pt x="64" y="15"/>
                  </a:lnTo>
                  <a:lnTo>
                    <a:pt x="67" y="17"/>
                  </a:lnTo>
                  <a:lnTo>
                    <a:pt x="80" y="17"/>
                  </a:lnTo>
                  <a:lnTo>
                    <a:pt x="82" y="15"/>
                  </a:lnTo>
                  <a:lnTo>
                    <a:pt x="83" y="15"/>
                  </a:lnTo>
                  <a:lnTo>
                    <a:pt x="83" y="17"/>
                  </a:lnTo>
                  <a:lnTo>
                    <a:pt x="85" y="17"/>
                  </a:lnTo>
                  <a:lnTo>
                    <a:pt x="85" y="14"/>
                  </a:lnTo>
                  <a:lnTo>
                    <a:pt x="86" y="14"/>
                  </a:lnTo>
                  <a:lnTo>
                    <a:pt x="86" y="15"/>
                  </a:lnTo>
                  <a:lnTo>
                    <a:pt x="92" y="15"/>
                  </a:lnTo>
                  <a:lnTo>
                    <a:pt x="98" y="17"/>
                  </a:lnTo>
                  <a:lnTo>
                    <a:pt x="100" y="17"/>
                  </a:lnTo>
                  <a:lnTo>
                    <a:pt x="100" y="15"/>
                  </a:lnTo>
                  <a:lnTo>
                    <a:pt x="101" y="17"/>
                  </a:lnTo>
                  <a:lnTo>
                    <a:pt x="103" y="17"/>
                  </a:lnTo>
                  <a:lnTo>
                    <a:pt x="104" y="15"/>
                  </a:lnTo>
                  <a:lnTo>
                    <a:pt x="104" y="14"/>
                  </a:lnTo>
                  <a:lnTo>
                    <a:pt x="112" y="14"/>
                  </a:lnTo>
                  <a:lnTo>
                    <a:pt x="113" y="12"/>
                  </a:lnTo>
                  <a:lnTo>
                    <a:pt x="115" y="14"/>
                  </a:lnTo>
                  <a:lnTo>
                    <a:pt x="118" y="14"/>
                  </a:lnTo>
                  <a:lnTo>
                    <a:pt x="118" y="15"/>
                  </a:lnTo>
                  <a:lnTo>
                    <a:pt x="122" y="15"/>
                  </a:lnTo>
                  <a:lnTo>
                    <a:pt x="122" y="20"/>
                  </a:lnTo>
                  <a:lnTo>
                    <a:pt x="125" y="23"/>
                  </a:lnTo>
                  <a:lnTo>
                    <a:pt x="128" y="23"/>
                  </a:lnTo>
                  <a:lnTo>
                    <a:pt x="130" y="20"/>
                  </a:lnTo>
                  <a:lnTo>
                    <a:pt x="130" y="18"/>
                  </a:lnTo>
                  <a:lnTo>
                    <a:pt x="131" y="17"/>
                  </a:lnTo>
                  <a:lnTo>
                    <a:pt x="131" y="18"/>
                  </a:lnTo>
                  <a:lnTo>
                    <a:pt x="133" y="20"/>
                  </a:lnTo>
                  <a:lnTo>
                    <a:pt x="133" y="21"/>
                  </a:lnTo>
                  <a:lnTo>
                    <a:pt x="136" y="24"/>
                  </a:lnTo>
                  <a:lnTo>
                    <a:pt x="136" y="26"/>
                  </a:lnTo>
                  <a:lnTo>
                    <a:pt x="137" y="26"/>
                  </a:lnTo>
                  <a:lnTo>
                    <a:pt x="139" y="27"/>
                  </a:lnTo>
                  <a:lnTo>
                    <a:pt x="139" y="29"/>
                  </a:lnTo>
                  <a:lnTo>
                    <a:pt x="143" y="29"/>
                  </a:lnTo>
                  <a:lnTo>
                    <a:pt x="145" y="27"/>
                  </a:lnTo>
                  <a:lnTo>
                    <a:pt x="146" y="27"/>
                  </a:lnTo>
                  <a:lnTo>
                    <a:pt x="148" y="26"/>
                  </a:lnTo>
                  <a:lnTo>
                    <a:pt x="149" y="26"/>
                  </a:lnTo>
                  <a:lnTo>
                    <a:pt x="149" y="27"/>
                  </a:lnTo>
                  <a:lnTo>
                    <a:pt x="151" y="27"/>
                  </a:lnTo>
                  <a:lnTo>
                    <a:pt x="152" y="29"/>
                  </a:lnTo>
                  <a:lnTo>
                    <a:pt x="158" y="29"/>
                  </a:lnTo>
                  <a:lnTo>
                    <a:pt x="158" y="32"/>
                  </a:lnTo>
                  <a:lnTo>
                    <a:pt x="160" y="33"/>
                  </a:lnTo>
                  <a:lnTo>
                    <a:pt x="164" y="36"/>
                  </a:lnTo>
                  <a:lnTo>
                    <a:pt x="164" y="38"/>
                  </a:lnTo>
                  <a:lnTo>
                    <a:pt x="167" y="38"/>
                  </a:lnTo>
                  <a:lnTo>
                    <a:pt x="168" y="36"/>
                  </a:lnTo>
                  <a:lnTo>
                    <a:pt x="171" y="38"/>
                  </a:lnTo>
                  <a:lnTo>
                    <a:pt x="173" y="38"/>
                  </a:lnTo>
                  <a:lnTo>
                    <a:pt x="173" y="33"/>
                  </a:lnTo>
                  <a:lnTo>
                    <a:pt x="174" y="33"/>
                  </a:lnTo>
                  <a:lnTo>
                    <a:pt x="174" y="32"/>
                  </a:lnTo>
                  <a:lnTo>
                    <a:pt x="176" y="32"/>
                  </a:lnTo>
                  <a:lnTo>
                    <a:pt x="176" y="30"/>
                  </a:lnTo>
                  <a:lnTo>
                    <a:pt x="174" y="29"/>
                  </a:lnTo>
                  <a:lnTo>
                    <a:pt x="173" y="26"/>
                  </a:lnTo>
                  <a:lnTo>
                    <a:pt x="170" y="23"/>
                  </a:lnTo>
                  <a:lnTo>
                    <a:pt x="170" y="20"/>
                  </a:lnTo>
                  <a:lnTo>
                    <a:pt x="168" y="20"/>
                  </a:lnTo>
                  <a:lnTo>
                    <a:pt x="168" y="18"/>
                  </a:lnTo>
                  <a:lnTo>
                    <a:pt x="167" y="18"/>
                  </a:lnTo>
                  <a:lnTo>
                    <a:pt x="167" y="17"/>
                  </a:lnTo>
                  <a:lnTo>
                    <a:pt x="171" y="17"/>
                  </a:lnTo>
                  <a:lnTo>
                    <a:pt x="171" y="15"/>
                  </a:lnTo>
                  <a:lnTo>
                    <a:pt x="173" y="15"/>
                  </a:lnTo>
                  <a:lnTo>
                    <a:pt x="174" y="17"/>
                  </a:lnTo>
                  <a:lnTo>
                    <a:pt x="177" y="17"/>
                  </a:lnTo>
                  <a:lnTo>
                    <a:pt x="177" y="15"/>
                  </a:lnTo>
                  <a:lnTo>
                    <a:pt x="179" y="15"/>
                  </a:lnTo>
                  <a:lnTo>
                    <a:pt x="179" y="11"/>
                  </a:lnTo>
                  <a:lnTo>
                    <a:pt x="180" y="11"/>
                  </a:lnTo>
                  <a:lnTo>
                    <a:pt x="183" y="12"/>
                  </a:lnTo>
                  <a:lnTo>
                    <a:pt x="188" y="12"/>
                  </a:lnTo>
                  <a:lnTo>
                    <a:pt x="188" y="11"/>
                  </a:lnTo>
                  <a:lnTo>
                    <a:pt x="189" y="11"/>
                  </a:lnTo>
                  <a:lnTo>
                    <a:pt x="189" y="9"/>
                  </a:lnTo>
                  <a:lnTo>
                    <a:pt x="191" y="9"/>
                  </a:lnTo>
                  <a:lnTo>
                    <a:pt x="191" y="6"/>
                  </a:lnTo>
                  <a:lnTo>
                    <a:pt x="194" y="6"/>
                  </a:lnTo>
                  <a:lnTo>
                    <a:pt x="194" y="9"/>
                  </a:lnTo>
                  <a:lnTo>
                    <a:pt x="195" y="9"/>
                  </a:lnTo>
                  <a:lnTo>
                    <a:pt x="195" y="11"/>
                  </a:lnTo>
                  <a:lnTo>
                    <a:pt x="197" y="11"/>
                  </a:lnTo>
                  <a:lnTo>
                    <a:pt x="198" y="12"/>
                  </a:lnTo>
                  <a:lnTo>
                    <a:pt x="201" y="14"/>
                  </a:lnTo>
                  <a:lnTo>
                    <a:pt x="203" y="14"/>
                  </a:lnTo>
                  <a:lnTo>
                    <a:pt x="203" y="15"/>
                  </a:lnTo>
                  <a:lnTo>
                    <a:pt x="206" y="18"/>
                  </a:lnTo>
                  <a:lnTo>
                    <a:pt x="207" y="18"/>
                  </a:lnTo>
                  <a:lnTo>
                    <a:pt x="207" y="20"/>
                  </a:lnTo>
                  <a:lnTo>
                    <a:pt x="209" y="18"/>
                  </a:lnTo>
                  <a:lnTo>
                    <a:pt x="213" y="18"/>
                  </a:lnTo>
                  <a:lnTo>
                    <a:pt x="213" y="17"/>
                  </a:lnTo>
                  <a:lnTo>
                    <a:pt x="216" y="14"/>
                  </a:lnTo>
                  <a:lnTo>
                    <a:pt x="218" y="14"/>
                  </a:lnTo>
                  <a:lnTo>
                    <a:pt x="219" y="15"/>
                  </a:lnTo>
                  <a:lnTo>
                    <a:pt x="219" y="14"/>
                  </a:lnTo>
                  <a:lnTo>
                    <a:pt x="221" y="14"/>
                  </a:lnTo>
                  <a:lnTo>
                    <a:pt x="222" y="12"/>
                  </a:lnTo>
                  <a:lnTo>
                    <a:pt x="222" y="11"/>
                  </a:lnTo>
                  <a:lnTo>
                    <a:pt x="225" y="11"/>
                  </a:lnTo>
                  <a:lnTo>
                    <a:pt x="225" y="8"/>
                  </a:lnTo>
                  <a:lnTo>
                    <a:pt x="227" y="8"/>
                  </a:lnTo>
                  <a:lnTo>
                    <a:pt x="227" y="6"/>
                  </a:lnTo>
                  <a:lnTo>
                    <a:pt x="228" y="5"/>
                  </a:lnTo>
                  <a:lnTo>
                    <a:pt x="230" y="6"/>
                  </a:lnTo>
                  <a:lnTo>
                    <a:pt x="231" y="6"/>
                  </a:lnTo>
                  <a:lnTo>
                    <a:pt x="231" y="8"/>
                  </a:lnTo>
                  <a:lnTo>
                    <a:pt x="234" y="8"/>
                  </a:lnTo>
                  <a:lnTo>
                    <a:pt x="234" y="5"/>
                  </a:lnTo>
                  <a:lnTo>
                    <a:pt x="236" y="5"/>
                  </a:lnTo>
                  <a:lnTo>
                    <a:pt x="236" y="3"/>
                  </a:lnTo>
                  <a:lnTo>
                    <a:pt x="237" y="3"/>
                  </a:lnTo>
                  <a:lnTo>
                    <a:pt x="239"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37">
              <a:extLst>
                <a:ext uri="{FF2B5EF4-FFF2-40B4-BE49-F238E27FC236}">
                  <a16:creationId xmlns:a16="http://schemas.microsoft.com/office/drawing/2014/main" id="{B1395AFF-0A8D-02D1-5AB2-4203000D9160}"/>
                </a:ext>
              </a:extLst>
            </p:cNvPr>
            <p:cNvSpPr>
              <a:spLocks/>
            </p:cNvSpPr>
            <p:nvPr/>
          </p:nvSpPr>
          <p:spPr bwMode="auto">
            <a:xfrm>
              <a:off x="2203170" y="3821724"/>
              <a:ext cx="162673" cy="90257"/>
            </a:xfrm>
            <a:custGeom>
              <a:avLst/>
              <a:gdLst/>
              <a:ahLst/>
              <a:cxnLst>
                <a:cxn ang="0">
                  <a:pos x="67" y="2"/>
                </a:cxn>
                <a:cxn ang="0">
                  <a:pos x="70" y="3"/>
                </a:cxn>
                <a:cxn ang="0">
                  <a:pos x="75" y="3"/>
                </a:cxn>
                <a:cxn ang="0">
                  <a:pos x="85" y="6"/>
                </a:cxn>
                <a:cxn ang="0">
                  <a:pos x="82" y="11"/>
                </a:cxn>
                <a:cxn ang="0">
                  <a:pos x="88" y="15"/>
                </a:cxn>
                <a:cxn ang="0">
                  <a:pos x="93" y="15"/>
                </a:cxn>
                <a:cxn ang="0">
                  <a:pos x="100" y="17"/>
                </a:cxn>
                <a:cxn ang="0">
                  <a:pos x="109" y="20"/>
                </a:cxn>
                <a:cxn ang="0">
                  <a:pos x="118" y="14"/>
                </a:cxn>
                <a:cxn ang="0">
                  <a:pos x="126" y="20"/>
                </a:cxn>
                <a:cxn ang="0">
                  <a:pos x="135" y="21"/>
                </a:cxn>
                <a:cxn ang="0">
                  <a:pos x="133" y="27"/>
                </a:cxn>
                <a:cxn ang="0">
                  <a:pos x="132" y="36"/>
                </a:cxn>
                <a:cxn ang="0">
                  <a:pos x="135" y="44"/>
                </a:cxn>
                <a:cxn ang="0">
                  <a:pos x="139" y="48"/>
                </a:cxn>
                <a:cxn ang="0">
                  <a:pos x="149" y="47"/>
                </a:cxn>
                <a:cxn ang="0">
                  <a:pos x="154" y="54"/>
                </a:cxn>
                <a:cxn ang="0">
                  <a:pos x="152" y="57"/>
                </a:cxn>
                <a:cxn ang="0">
                  <a:pos x="151" y="63"/>
                </a:cxn>
                <a:cxn ang="0">
                  <a:pos x="151" y="66"/>
                </a:cxn>
                <a:cxn ang="0">
                  <a:pos x="154" y="75"/>
                </a:cxn>
                <a:cxn ang="0">
                  <a:pos x="148" y="77"/>
                </a:cxn>
                <a:cxn ang="0">
                  <a:pos x="145" y="78"/>
                </a:cxn>
                <a:cxn ang="0">
                  <a:pos x="144" y="78"/>
                </a:cxn>
                <a:cxn ang="0">
                  <a:pos x="139" y="80"/>
                </a:cxn>
                <a:cxn ang="0">
                  <a:pos x="135" y="80"/>
                </a:cxn>
                <a:cxn ang="0">
                  <a:pos x="129" y="81"/>
                </a:cxn>
                <a:cxn ang="0">
                  <a:pos x="127" y="77"/>
                </a:cxn>
                <a:cxn ang="0">
                  <a:pos x="121" y="80"/>
                </a:cxn>
                <a:cxn ang="0">
                  <a:pos x="114" y="80"/>
                </a:cxn>
                <a:cxn ang="0">
                  <a:pos x="102" y="81"/>
                </a:cxn>
                <a:cxn ang="0">
                  <a:pos x="76" y="75"/>
                </a:cxn>
                <a:cxn ang="0">
                  <a:pos x="67" y="78"/>
                </a:cxn>
                <a:cxn ang="0">
                  <a:pos x="63" y="83"/>
                </a:cxn>
                <a:cxn ang="0">
                  <a:pos x="51" y="86"/>
                </a:cxn>
                <a:cxn ang="0">
                  <a:pos x="40" y="84"/>
                </a:cxn>
                <a:cxn ang="0">
                  <a:pos x="39" y="81"/>
                </a:cxn>
                <a:cxn ang="0">
                  <a:pos x="30" y="78"/>
                </a:cxn>
                <a:cxn ang="0">
                  <a:pos x="18" y="80"/>
                </a:cxn>
                <a:cxn ang="0">
                  <a:pos x="15" y="75"/>
                </a:cxn>
                <a:cxn ang="0">
                  <a:pos x="12" y="74"/>
                </a:cxn>
                <a:cxn ang="0">
                  <a:pos x="10" y="74"/>
                </a:cxn>
                <a:cxn ang="0">
                  <a:pos x="9" y="71"/>
                </a:cxn>
                <a:cxn ang="0">
                  <a:pos x="6" y="66"/>
                </a:cxn>
                <a:cxn ang="0">
                  <a:pos x="0" y="62"/>
                </a:cxn>
                <a:cxn ang="0">
                  <a:pos x="3" y="57"/>
                </a:cxn>
                <a:cxn ang="0">
                  <a:pos x="7" y="54"/>
                </a:cxn>
                <a:cxn ang="0">
                  <a:pos x="12" y="54"/>
                </a:cxn>
                <a:cxn ang="0">
                  <a:pos x="12" y="50"/>
                </a:cxn>
                <a:cxn ang="0">
                  <a:pos x="12" y="45"/>
                </a:cxn>
                <a:cxn ang="0">
                  <a:pos x="13" y="41"/>
                </a:cxn>
                <a:cxn ang="0">
                  <a:pos x="16" y="38"/>
                </a:cxn>
                <a:cxn ang="0">
                  <a:pos x="22" y="33"/>
                </a:cxn>
                <a:cxn ang="0">
                  <a:pos x="27" y="27"/>
                </a:cxn>
                <a:cxn ang="0">
                  <a:pos x="33" y="20"/>
                </a:cxn>
                <a:cxn ang="0">
                  <a:pos x="34" y="15"/>
                </a:cxn>
                <a:cxn ang="0">
                  <a:pos x="46" y="9"/>
                </a:cxn>
                <a:cxn ang="0">
                  <a:pos x="49" y="6"/>
                </a:cxn>
                <a:cxn ang="0">
                  <a:pos x="52" y="3"/>
                </a:cxn>
                <a:cxn ang="0">
                  <a:pos x="57" y="3"/>
                </a:cxn>
              </a:cxnLst>
              <a:rect l="0" t="0" r="r" b="b"/>
              <a:pathLst>
                <a:path w="155" h="86">
                  <a:moveTo>
                    <a:pt x="63" y="0"/>
                  </a:moveTo>
                  <a:lnTo>
                    <a:pt x="64" y="2"/>
                  </a:lnTo>
                  <a:lnTo>
                    <a:pt x="67" y="2"/>
                  </a:lnTo>
                  <a:lnTo>
                    <a:pt x="69" y="0"/>
                  </a:lnTo>
                  <a:lnTo>
                    <a:pt x="70" y="2"/>
                  </a:lnTo>
                  <a:lnTo>
                    <a:pt x="70" y="3"/>
                  </a:lnTo>
                  <a:lnTo>
                    <a:pt x="72" y="5"/>
                  </a:lnTo>
                  <a:lnTo>
                    <a:pt x="75" y="5"/>
                  </a:lnTo>
                  <a:lnTo>
                    <a:pt x="75" y="3"/>
                  </a:lnTo>
                  <a:lnTo>
                    <a:pt x="79" y="3"/>
                  </a:lnTo>
                  <a:lnTo>
                    <a:pt x="82" y="6"/>
                  </a:lnTo>
                  <a:lnTo>
                    <a:pt x="85" y="6"/>
                  </a:lnTo>
                  <a:lnTo>
                    <a:pt x="87" y="8"/>
                  </a:lnTo>
                  <a:lnTo>
                    <a:pt x="84" y="11"/>
                  </a:lnTo>
                  <a:lnTo>
                    <a:pt x="82" y="11"/>
                  </a:lnTo>
                  <a:lnTo>
                    <a:pt x="81" y="12"/>
                  </a:lnTo>
                  <a:lnTo>
                    <a:pt x="81" y="15"/>
                  </a:lnTo>
                  <a:lnTo>
                    <a:pt x="88" y="15"/>
                  </a:lnTo>
                  <a:lnTo>
                    <a:pt x="88" y="14"/>
                  </a:lnTo>
                  <a:lnTo>
                    <a:pt x="90" y="14"/>
                  </a:lnTo>
                  <a:lnTo>
                    <a:pt x="93" y="15"/>
                  </a:lnTo>
                  <a:lnTo>
                    <a:pt x="94" y="15"/>
                  </a:lnTo>
                  <a:lnTo>
                    <a:pt x="96" y="17"/>
                  </a:lnTo>
                  <a:lnTo>
                    <a:pt x="100" y="17"/>
                  </a:lnTo>
                  <a:lnTo>
                    <a:pt x="103" y="18"/>
                  </a:lnTo>
                  <a:lnTo>
                    <a:pt x="103" y="20"/>
                  </a:lnTo>
                  <a:lnTo>
                    <a:pt x="109" y="20"/>
                  </a:lnTo>
                  <a:lnTo>
                    <a:pt x="114" y="15"/>
                  </a:lnTo>
                  <a:lnTo>
                    <a:pt x="117" y="15"/>
                  </a:lnTo>
                  <a:lnTo>
                    <a:pt x="118" y="14"/>
                  </a:lnTo>
                  <a:lnTo>
                    <a:pt x="121" y="17"/>
                  </a:lnTo>
                  <a:lnTo>
                    <a:pt x="124" y="18"/>
                  </a:lnTo>
                  <a:lnTo>
                    <a:pt x="126" y="20"/>
                  </a:lnTo>
                  <a:lnTo>
                    <a:pt x="132" y="20"/>
                  </a:lnTo>
                  <a:lnTo>
                    <a:pt x="133" y="21"/>
                  </a:lnTo>
                  <a:lnTo>
                    <a:pt x="135" y="21"/>
                  </a:lnTo>
                  <a:lnTo>
                    <a:pt x="135" y="24"/>
                  </a:lnTo>
                  <a:lnTo>
                    <a:pt x="133" y="26"/>
                  </a:lnTo>
                  <a:lnTo>
                    <a:pt x="133" y="27"/>
                  </a:lnTo>
                  <a:lnTo>
                    <a:pt x="135" y="32"/>
                  </a:lnTo>
                  <a:lnTo>
                    <a:pt x="133" y="33"/>
                  </a:lnTo>
                  <a:lnTo>
                    <a:pt x="132" y="36"/>
                  </a:lnTo>
                  <a:lnTo>
                    <a:pt x="132" y="42"/>
                  </a:lnTo>
                  <a:lnTo>
                    <a:pt x="133" y="42"/>
                  </a:lnTo>
                  <a:lnTo>
                    <a:pt x="135" y="44"/>
                  </a:lnTo>
                  <a:lnTo>
                    <a:pt x="135" y="45"/>
                  </a:lnTo>
                  <a:lnTo>
                    <a:pt x="136" y="45"/>
                  </a:lnTo>
                  <a:lnTo>
                    <a:pt x="139" y="48"/>
                  </a:lnTo>
                  <a:lnTo>
                    <a:pt x="141" y="48"/>
                  </a:lnTo>
                  <a:lnTo>
                    <a:pt x="144" y="47"/>
                  </a:lnTo>
                  <a:lnTo>
                    <a:pt x="149" y="47"/>
                  </a:lnTo>
                  <a:lnTo>
                    <a:pt x="149" y="45"/>
                  </a:lnTo>
                  <a:lnTo>
                    <a:pt x="151" y="47"/>
                  </a:lnTo>
                  <a:lnTo>
                    <a:pt x="154" y="54"/>
                  </a:lnTo>
                  <a:lnTo>
                    <a:pt x="155" y="56"/>
                  </a:lnTo>
                  <a:lnTo>
                    <a:pt x="154" y="56"/>
                  </a:lnTo>
                  <a:lnTo>
                    <a:pt x="152" y="57"/>
                  </a:lnTo>
                  <a:lnTo>
                    <a:pt x="152" y="60"/>
                  </a:lnTo>
                  <a:lnTo>
                    <a:pt x="151" y="60"/>
                  </a:lnTo>
                  <a:lnTo>
                    <a:pt x="151" y="63"/>
                  </a:lnTo>
                  <a:lnTo>
                    <a:pt x="149" y="63"/>
                  </a:lnTo>
                  <a:lnTo>
                    <a:pt x="149" y="65"/>
                  </a:lnTo>
                  <a:lnTo>
                    <a:pt x="151" y="66"/>
                  </a:lnTo>
                  <a:lnTo>
                    <a:pt x="152" y="69"/>
                  </a:lnTo>
                  <a:lnTo>
                    <a:pt x="154" y="71"/>
                  </a:lnTo>
                  <a:lnTo>
                    <a:pt x="154" y="75"/>
                  </a:lnTo>
                  <a:lnTo>
                    <a:pt x="152" y="78"/>
                  </a:lnTo>
                  <a:lnTo>
                    <a:pt x="149" y="78"/>
                  </a:lnTo>
                  <a:lnTo>
                    <a:pt x="148" y="77"/>
                  </a:lnTo>
                  <a:lnTo>
                    <a:pt x="147" y="77"/>
                  </a:lnTo>
                  <a:lnTo>
                    <a:pt x="147" y="78"/>
                  </a:lnTo>
                  <a:lnTo>
                    <a:pt x="145" y="78"/>
                  </a:lnTo>
                  <a:lnTo>
                    <a:pt x="145" y="80"/>
                  </a:lnTo>
                  <a:lnTo>
                    <a:pt x="144" y="80"/>
                  </a:lnTo>
                  <a:lnTo>
                    <a:pt x="144" y="78"/>
                  </a:lnTo>
                  <a:lnTo>
                    <a:pt x="142" y="77"/>
                  </a:lnTo>
                  <a:lnTo>
                    <a:pt x="142" y="78"/>
                  </a:lnTo>
                  <a:lnTo>
                    <a:pt x="139" y="80"/>
                  </a:lnTo>
                  <a:lnTo>
                    <a:pt x="138" y="80"/>
                  </a:lnTo>
                  <a:lnTo>
                    <a:pt x="135" y="81"/>
                  </a:lnTo>
                  <a:lnTo>
                    <a:pt x="135" y="80"/>
                  </a:lnTo>
                  <a:lnTo>
                    <a:pt x="132" y="80"/>
                  </a:lnTo>
                  <a:lnTo>
                    <a:pt x="130" y="81"/>
                  </a:lnTo>
                  <a:lnTo>
                    <a:pt x="129" y="81"/>
                  </a:lnTo>
                  <a:lnTo>
                    <a:pt x="129" y="80"/>
                  </a:lnTo>
                  <a:lnTo>
                    <a:pt x="127" y="78"/>
                  </a:lnTo>
                  <a:lnTo>
                    <a:pt x="127" y="77"/>
                  </a:lnTo>
                  <a:lnTo>
                    <a:pt x="123" y="77"/>
                  </a:lnTo>
                  <a:lnTo>
                    <a:pt x="123" y="78"/>
                  </a:lnTo>
                  <a:lnTo>
                    <a:pt x="121" y="80"/>
                  </a:lnTo>
                  <a:lnTo>
                    <a:pt x="121" y="81"/>
                  </a:lnTo>
                  <a:lnTo>
                    <a:pt x="115" y="81"/>
                  </a:lnTo>
                  <a:lnTo>
                    <a:pt x="114" y="80"/>
                  </a:lnTo>
                  <a:lnTo>
                    <a:pt x="108" y="80"/>
                  </a:lnTo>
                  <a:lnTo>
                    <a:pt x="106" y="81"/>
                  </a:lnTo>
                  <a:lnTo>
                    <a:pt x="102" y="81"/>
                  </a:lnTo>
                  <a:lnTo>
                    <a:pt x="91" y="83"/>
                  </a:lnTo>
                  <a:lnTo>
                    <a:pt x="85" y="81"/>
                  </a:lnTo>
                  <a:lnTo>
                    <a:pt x="76" y="75"/>
                  </a:lnTo>
                  <a:lnTo>
                    <a:pt x="75" y="75"/>
                  </a:lnTo>
                  <a:lnTo>
                    <a:pt x="72" y="78"/>
                  </a:lnTo>
                  <a:lnTo>
                    <a:pt x="67" y="78"/>
                  </a:lnTo>
                  <a:lnTo>
                    <a:pt x="66" y="81"/>
                  </a:lnTo>
                  <a:lnTo>
                    <a:pt x="64" y="83"/>
                  </a:lnTo>
                  <a:lnTo>
                    <a:pt x="63" y="83"/>
                  </a:lnTo>
                  <a:lnTo>
                    <a:pt x="58" y="84"/>
                  </a:lnTo>
                  <a:lnTo>
                    <a:pt x="51" y="84"/>
                  </a:lnTo>
                  <a:lnTo>
                    <a:pt x="51" y="86"/>
                  </a:lnTo>
                  <a:lnTo>
                    <a:pt x="46" y="86"/>
                  </a:lnTo>
                  <a:lnTo>
                    <a:pt x="45" y="84"/>
                  </a:lnTo>
                  <a:lnTo>
                    <a:pt x="40" y="84"/>
                  </a:lnTo>
                  <a:lnTo>
                    <a:pt x="42" y="83"/>
                  </a:lnTo>
                  <a:lnTo>
                    <a:pt x="40" y="81"/>
                  </a:lnTo>
                  <a:lnTo>
                    <a:pt x="39" y="81"/>
                  </a:lnTo>
                  <a:lnTo>
                    <a:pt x="36" y="80"/>
                  </a:lnTo>
                  <a:lnTo>
                    <a:pt x="33" y="81"/>
                  </a:lnTo>
                  <a:lnTo>
                    <a:pt x="30" y="78"/>
                  </a:lnTo>
                  <a:lnTo>
                    <a:pt x="25" y="78"/>
                  </a:lnTo>
                  <a:lnTo>
                    <a:pt x="25" y="80"/>
                  </a:lnTo>
                  <a:lnTo>
                    <a:pt x="18" y="80"/>
                  </a:lnTo>
                  <a:lnTo>
                    <a:pt x="16" y="78"/>
                  </a:lnTo>
                  <a:lnTo>
                    <a:pt x="16" y="77"/>
                  </a:lnTo>
                  <a:lnTo>
                    <a:pt x="15" y="75"/>
                  </a:lnTo>
                  <a:lnTo>
                    <a:pt x="13" y="75"/>
                  </a:lnTo>
                  <a:lnTo>
                    <a:pt x="13" y="74"/>
                  </a:lnTo>
                  <a:lnTo>
                    <a:pt x="12" y="74"/>
                  </a:lnTo>
                  <a:lnTo>
                    <a:pt x="12" y="75"/>
                  </a:lnTo>
                  <a:lnTo>
                    <a:pt x="10" y="75"/>
                  </a:lnTo>
                  <a:lnTo>
                    <a:pt x="10" y="74"/>
                  </a:lnTo>
                  <a:lnTo>
                    <a:pt x="9" y="74"/>
                  </a:lnTo>
                  <a:lnTo>
                    <a:pt x="10" y="72"/>
                  </a:lnTo>
                  <a:lnTo>
                    <a:pt x="9" y="71"/>
                  </a:lnTo>
                  <a:lnTo>
                    <a:pt x="7" y="71"/>
                  </a:lnTo>
                  <a:lnTo>
                    <a:pt x="6" y="72"/>
                  </a:lnTo>
                  <a:lnTo>
                    <a:pt x="6" y="66"/>
                  </a:lnTo>
                  <a:lnTo>
                    <a:pt x="4" y="65"/>
                  </a:lnTo>
                  <a:lnTo>
                    <a:pt x="1" y="63"/>
                  </a:lnTo>
                  <a:lnTo>
                    <a:pt x="0" y="62"/>
                  </a:lnTo>
                  <a:lnTo>
                    <a:pt x="1" y="60"/>
                  </a:lnTo>
                  <a:lnTo>
                    <a:pt x="1" y="59"/>
                  </a:lnTo>
                  <a:lnTo>
                    <a:pt x="3" y="57"/>
                  </a:lnTo>
                  <a:lnTo>
                    <a:pt x="4" y="57"/>
                  </a:lnTo>
                  <a:lnTo>
                    <a:pt x="7" y="56"/>
                  </a:lnTo>
                  <a:lnTo>
                    <a:pt x="7" y="54"/>
                  </a:lnTo>
                  <a:lnTo>
                    <a:pt x="9" y="53"/>
                  </a:lnTo>
                  <a:lnTo>
                    <a:pt x="10" y="53"/>
                  </a:lnTo>
                  <a:lnTo>
                    <a:pt x="12" y="54"/>
                  </a:lnTo>
                  <a:lnTo>
                    <a:pt x="13" y="53"/>
                  </a:lnTo>
                  <a:lnTo>
                    <a:pt x="12" y="51"/>
                  </a:lnTo>
                  <a:lnTo>
                    <a:pt x="12" y="50"/>
                  </a:lnTo>
                  <a:lnTo>
                    <a:pt x="10" y="48"/>
                  </a:lnTo>
                  <a:lnTo>
                    <a:pt x="10" y="47"/>
                  </a:lnTo>
                  <a:lnTo>
                    <a:pt x="12" y="45"/>
                  </a:lnTo>
                  <a:lnTo>
                    <a:pt x="12" y="42"/>
                  </a:lnTo>
                  <a:lnTo>
                    <a:pt x="13" y="42"/>
                  </a:lnTo>
                  <a:lnTo>
                    <a:pt x="13" y="41"/>
                  </a:lnTo>
                  <a:lnTo>
                    <a:pt x="15" y="41"/>
                  </a:lnTo>
                  <a:lnTo>
                    <a:pt x="15" y="39"/>
                  </a:lnTo>
                  <a:lnTo>
                    <a:pt x="16" y="38"/>
                  </a:lnTo>
                  <a:lnTo>
                    <a:pt x="19" y="38"/>
                  </a:lnTo>
                  <a:lnTo>
                    <a:pt x="21" y="36"/>
                  </a:lnTo>
                  <a:lnTo>
                    <a:pt x="22" y="33"/>
                  </a:lnTo>
                  <a:lnTo>
                    <a:pt x="22" y="30"/>
                  </a:lnTo>
                  <a:lnTo>
                    <a:pt x="25" y="27"/>
                  </a:lnTo>
                  <a:lnTo>
                    <a:pt x="27" y="27"/>
                  </a:lnTo>
                  <a:lnTo>
                    <a:pt x="28" y="26"/>
                  </a:lnTo>
                  <a:lnTo>
                    <a:pt x="30" y="23"/>
                  </a:lnTo>
                  <a:lnTo>
                    <a:pt x="33" y="20"/>
                  </a:lnTo>
                  <a:lnTo>
                    <a:pt x="33" y="17"/>
                  </a:lnTo>
                  <a:lnTo>
                    <a:pt x="34" y="17"/>
                  </a:lnTo>
                  <a:lnTo>
                    <a:pt x="34" y="15"/>
                  </a:lnTo>
                  <a:lnTo>
                    <a:pt x="36" y="15"/>
                  </a:lnTo>
                  <a:lnTo>
                    <a:pt x="40" y="11"/>
                  </a:lnTo>
                  <a:lnTo>
                    <a:pt x="46" y="9"/>
                  </a:lnTo>
                  <a:lnTo>
                    <a:pt x="48" y="9"/>
                  </a:lnTo>
                  <a:lnTo>
                    <a:pt x="49" y="8"/>
                  </a:lnTo>
                  <a:lnTo>
                    <a:pt x="49" y="6"/>
                  </a:lnTo>
                  <a:lnTo>
                    <a:pt x="51" y="5"/>
                  </a:lnTo>
                  <a:lnTo>
                    <a:pt x="52" y="5"/>
                  </a:lnTo>
                  <a:lnTo>
                    <a:pt x="52" y="3"/>
                  </a:lnTo>
                  <a:lnTo>
                    <a:pt x="54" y="3"/>
                  </a:lnTo>
                  <a:lnTo>
                    <a:pt x="55" y="2"/>
                  </a:lnTo>
                  <a:lnTo>
                    <a:pt x="57" y="3"/>
                  </a:lnTo>
                  <a:lnTo>
                    <a:pt x="58" y="2"/>
                  </a:lnTo>
                  <a:lnTo>
                    <a:pt x="63"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38">
              <a:extLst>
                <a:ext uri="{FF2B5EF4-FFF2-40B4-BE49-F238E27FC236}">
                  <a16:creationId xmlns:a16="http://schemas.microsoft.com/office/drawing/2014/main" id="{666D2DB7-E133-2331-AC49-ECE466DEBE25}"/>
                </a:ext>
              </a:extLst>
            </p:cNvPr>
            <p:cNvSpPr>
              <a:spLocks noEditPoints="1"/>
            </p:cNvSpPr>
            <p:nvPr/>
          </p:nvSpPr>
          <p:spPr bwMode="auto">
            <a:xfrm>
              <a:off x="3420596" y="4997170"/>
              <a:ext cx="66119" cy="50377"/>
            </a:xfrm>
            <a:custGeom>
              <a:avLst/>
              <a:gdLst/>
              <a:ahLst/>
              <a:cxnLst>
                <a:cxn ang="0">
                  <a:pos x="53" y="6"/>
                </a:cxn>
                <a:cxn ang="0">
                  <a:pos x="56" y="11"/>
                </a:cxn>
                <a:cxn ang="0">
                  <a:pos x="59" y="28"/>
                </a:cxn>
                <a:cxn ang="0">
                  <a:pos x="62" y="34"/>
                </a:cxn>
                <a:cxn ang="0">
                  <a:pos x="57" y="33"/>
                </a:cxn>
                <a:cxn ang="0">
                  <a:pos x="51" y="31"/>
                </a:cxn>
                <a:cxn ang="0">
                  <a:pos x="50" y="30"/>
                </a:cxn>
                <a:cxn ang="0">
                  <a:pos x="48" y="20"/>
                </a:cxn>
                <a:cxn ang="0">
                  <a:pos x="47" y="11"/>
                </a:cxn>
                <a:cxn ang="0">
                  <a:pos x="51" y="9"/>
                </a:cxn>
                <a:cxn ang="0">
                  <a:pos x="51" y="8"/>
                </a:cxn>
                <a:cxn ang="0">
                  <a:pos x="48" y="0"/>
                </a:cxn>
                <a:cxn ang="0">
                  <a:pos x="51" y="2"/>
                </a:cxn>
                <a:cxn ang="0">
                  <a:pos x="48" y="5"/>
                </a:cxn>
                <a:cxn ang="0">
                  <a:pos x="47" y="6"/>
                </a:cxn>
                <a:cxn ang="0">
                  <a:pos x="44" y="11"/>
                </a:cxn>
                <a:cxn ang="0">
                  <a:pos x="41" y="11"/>
                </a:cxn>
                <a:cxn ang="0">
                  <a:pos x="36" y="14"/>
                </a:cxn>
                <a:cxn ang="0">
                  <a:pos x="35" y="18"/>
                </a:cxn>
                <a:cxn ang="0">
                  <a:pos x="36" y="27"/>
                </a:cxn>
                <a:cxn ang="0">
                  <a:pos x="39" y="28"/>
                </a:cxn>
                <a:cxn ang="0">
                  <a:pos x="36" y="34"/>
                </a:cxn>
                <a:cxn ang="0">
                  <a:pos x="38" y="36"/>
                </a:cxn>
                <a:cxn ang="0">
                  <a:pos x="36" y="39"/>
                </a:cxn>
                <a:cxn ang="0">
                  <a:pos x="35" y="42"/>
                </a:cxn>
                <a:cxn ang="0">
                  <a:pos x="29" y="48"/>
                </a:cxn>
                <a:cxn ang="0">
                  <a:pos x="27" y="46"/>
                </a:cxn>
                <a:cxn ang="0">
                  <a:pos x="24" y="45"/>
                </a:cxn>
                <a:cxn ang="0">
                  <a:pos x="21" y="40"/>
                </a:cxn>
                <a:cxn ang="0">
                  <a:pos x="20" y="36"/>
                </a:cxn>
                <a:cxn ang="0">
                  <a:pos x="12" y="34"/>
                </a:cxn>
                <a:cxn ang="0">
                  <a:pos x="14" y="31"/>
                </a:cxn>
                <a:cxn ang="0">
                  <a:pos x="12" y="27"/>
                </a:cxn>
                <a:cxn ang="0">
                  <a:pos x="11" y="26"/>
                </a:cxn>
                <a:cxn ang="0">
                  <a:pos x="9" y="24"/>
                </a:cxn>
                <a:cxn ang="0">
                  <a:pos x="6" y="23"/>
                </a:cxn>
                <a:cxn ang="0">
                  <a:pos x="0" y="21"/>
                </a:cxn>
                <a:cxn ang="0">
                  <a:pos x="18" y="18"/>
                </a:cxn>
                <a:cxn ang="0">
                  <a:pos x="24" y="17"/>
                </a:cxn>
                <a:cxn ang="0">
                  <a:pos x="27" y="12"/>
                </a:cxn>
                <a:cxn ang="0">
                  <a:pos x="35" y="8"/>
                </a:cxn>
                <a:cxn ang="0">
                  <a:pos x="48" y="0"/>
                </a:cxn>
              </a:cxnLst>
              <a:rect l="0" t="0" r="r" b="b"/>
              <a:pathLst>
                <a:path w="63" h="48">
                  <a:moveTo>
                    <a:pt x="51" y="6"/>
                  </a:moveTo>
                  <a:lnTo>
                    <a:pt x="53" y="6"/>
                  </a:lnTo>
                  <a:lnTo>
                    <a:pt x="53" y="8"/>
                  </a:lnTo>
                  <a:lnTo>
                    <a:pt x="56" y="11"/>
                  </a:lnTo>
                  <a:lnTo>
                    <a:pt x="59" y="20"/>
                  </a:lnTo>
                  <a:lnTo>
                    <a:pt x="59" y="28"/>
                  </a:lnTo>
                  <a:lnTo>
                    <a:pt x="63" y="33"/>
                  </a:lnTo>
                  <a:lnTo>
                    <a:pt x="62" y="34"/>
                  </a:lnTo>
                  <a:lnTo>
                    <a:pt x="60" y="33"/>
                  </a:lnTo>
                  <a:lnTo>
                    <a:pt x="57" y="33"/>
                  </a:lnTo>
                  <a:lnTo>
                    <a:pt x="57" y="31"/>
                  </a:lnTo>
                  <a:lnTo>
                    <a:pt x="51" y="31"/>
                  </a:lnTo>
                  <a:lnTo>
                    <a:pt x="51" y="30"/>
                  </a:lnTo>
                  <a:lnTo>
                    <a:pt x="50" y="30"/>
                  </a:lnTo>
                  <a:lnTo>
                    <a:pt x="50" y="24"/>
                  </a:lnTo>
                  <a:lnTo>
                    <a:pt x="48" y="20"/>
                  </a:lnTo>
                  <a:lnTo>
                    <a:pt x="47" y="18"/>
                  </a:lnTo>
                  <a:lnTo>
                    <a:pt x="47" y="11"/>
                  </a:lnTo>
                  <a:lnTo>
                    <a:pt x="48" y="12"/>
                  </a:lnTo>
                  <a:lnTo>
                    <a:pt x="51" y="9"/>
                  </a:lnTo>
                  <a:lnTo>
                    <a:pt x="53" y="9"/>
                  </a:lnTo>
                  <a:lnTo>
                    <a:pt x="51" y="8"/>
                  </a:lnTo>
                  <a:lnTo>
                    <a:pt x="51" y="6"/>
                  </a:lnTo>
                  <a:close/>
                  <a:moveTo>
                    <a:pt x="48" y="0"/>
                  </a:moveTo>
                  <a:lnTo>
                    <a:pt x="51" y="0"/>
                  </a:lnTo>
                  <a:lnTo>
                    <a:pt x="51" y="2"/>
                  </a:lnTo>
                  <a:lnTo>
                    <a:pt x="48" y="2"/>
                  </a:lnTo>
                  <a:lnTo>
                    <a:pt x="48" y="5"/>
                  </a:lnTo>
                  <a:lnTo>
                    <a:pt x="47" y="5"/>
                  </a:lnTo>
                  <a:lnTo>
                    <a:pt x="47" y="6"/>
                  </a:lnTo>
                  <a:lnTo>
                    <a:pt x="44" y="9"/>
                  </a:lnTo>
                  <a:lnTo>
                    <a:pt x="44" y="11"/>
                  </a:lnTo>
                  <a:lnTo>
                    <a:pt x="42" y="12"/>
                  </a:lnTo>
                  <a:lnTo>
                    <a:pt x="41" y="11"/>
                  </a:lnTo>
                  <a:lnTo>
                    <a:pt x="38" y="14"/>
                  </a:lnTo>
                  <a:lnTo>
                    <a:pt x="36" y="14"/>
                  </a:lnTo>
                  <a:lnTo>
                    <a:pt x="35" y="15"/>
                  </a:lnTo>
                  <a:lnTo>
                    <a:pt x="35" y="18"/>
                  </a:lnTo>
                  <a:lnTo>
                    <a:pt x="36" y="20"/>
                  </a:lnTo>
                  <a:lnTo>
                    <a:pt x="36" y="27"/>
                  </a:lnTo>
                  <a:lnTo>
                    <a:pt x="38" y="28"/>
                  </a:lnTo>
                  <a:lnTo>
                    <a:pt x="39" y="28"/>
                  </a:lnTo>
                  <a:lnTo>
                    <a:pt x="39" y="31"/>
                  </a:lnTo>
                  <a:lnTo>
                    <a:pt x="36" y="34"/>
                  </a:lnTo>
                  <a:lnTo>
                    <a:pt x="36" y="36"/>
                  </a:lnTo>
                  <a:lnTo>
                    <a:pt x="38" y="36"/>
                  </a:lnTo>
                  <a:lnTo>
                    <a:pt x="38" y="37"/>
                  </a:lnTo>
                  <a:lnTo>
                    <a:pt x="36" y="39"/>
                  </a:lnTo>
                  <a:lnTo>
                    <a:pt x="36" y="42"/>
                  </a:lnTo>
                  <a:lnTo>
                    <a:pt x="35" y="42"/>
                  </a:lnTo>
                  <a:lnTo>
                    <a:pt x="32" y="46"/>
                  </a:lnTo>
                  <a:lnTo>
                    <a:pt x="29" y="48"/>
                  </a:lnTo>
                  <a:lnTo>
                    <a:pt x="27" y="48"/>
                  </a:lnTo>
                  <a:lnTo>
                    <a:pt x="27" y="46"/>
                  </a:lnTo>
                  <a:lnTo>
                    <a:pt x="26" y="45"/>
                  </a:lnTo>
                  <a:lnTo>
                    <a:pt x="24" y="45"/>
                  </a:lnTo>
                  <a:lnTo>
                    <a:pt x="23" y="42"/>
                  </a:lnTo>
                  <a:lnTo>
                    <a:pt x="21" y="40"/>
                  </a:lnTo>
                  <a:lnTo>
                    <a:pt x="20" y="37"/>
                  </a:lnTo>
                  <a:lnTo>
                    <a:pt x="20" y="36"/>
                  </a:lnTo>
                  <a:lnTo>
                    <a:pt x="12" y="36"/>
                  </a:lnTo>
                  <a:lnTo>
                    <a:pt x="12" y="34"/>
                  </a:lnTo>
                  <a:lnTo>
                    <a:pt x="14" y="34"/>
                  </a:lnTo>
                  <a:lnTo>
                    <a:pt x="14" y="31"/>
                  </a:lnTo>
                  <a:lnTo>
                    <a:pt x="12" y="31"/>
                  </a:lnTo>
                  <a:lnTo>
                    <a:pt x="12" y="27"/>
                  </a:lnTo>
                  <a:lnTo>
                    <a:pt x="11" y="27"/>
                  </a:lnTo>
                  <a:lnTo>
                    <a:pt x="11" y="26"/>
                  </a:lnTo>
                  <a:lnTo>
                    <a:pt x="9" y="26"/>
                  </a:lnTo>
                  <a:lnTo>
                    <a:pt x="9" y="24"/>
                  </a:lnTo>
                  <a:lnTo>
                    <a:pt x="8" y="24"/>
                  </a:lnTo>
                  <a:lnTo>
                    <a:pt x="6" y="23"/>
                  </a:lnTo>
                  <a:lnTo>
                    <a:pt x="3" y="23"/>
                  </a:lnTo>
                  <a:lnTo>
                    <a:pt x="0" y="21"/>
                  </a:lnTo>
                  <a:lnTo>
                    <a:pt x="15" y="21"/>
                  </a:lnTo>
                  <a:lnTo>
                    <a:pt x="18" y="18"/>
                  </a:lnTo>
                  <a:lnTo>
                    <a:pt x="23" y="17"/>
                  </a:lnTo>
                  <a:lnTo>
                    <a:pt x="24" y="17"/>
                  </a:lnTo>
                  <a:lnTo>
                    <a:pt x="26" y="15"/>
                  </a:lnTo>
                  <a:lnTo>
                    <a:pt x="27" y="12"/>
                  </a:lnTo>
                  <a:lnTo>
                    <a:pt x="33" y="8"/>
                  </a:lnTo>
                  <a:lnTo>
                    <a:pt x="35" y="8"/>
                  </a:lnTo>
                  <a:lnTo>
                    <a:pt x="42" y="3"/>
                  </a:lnTo>
                  <a:lnTo>
                    <a:pt x="48"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39">
              <a:extLst>
                <a:ext uri="{FF2B5EF4-FFF2-40B4-BE49-F238E27FC236}">
                  <a16:creationId xmlns:a16="http://schemas.microsoft.com/office/drawing/2014/main" id="{0AF68519-05DE-C71B-996A-2024959A932F}"/>
                </a:ext>
              </a:extLst>
            </p:cNvPr>
            <p:cNvSpPr>
              <a:spLocks noEditPoints="1"/>
            </p:cNvSpPr>
            <p:nvPr/>
          </p:nvSpPr>
          <p:spPr bwMode="auto">
            <a:xfrm>
              <a:off x="2170634" y="3916180"/>
              <a:ext cx="222494" cy="307505"/>
            </a:xfrm>
            <a:custGeom>
              <a:avLst/>
              <a:gdLst/>
              <a:ahLst/>
              <a:cxnLst>
                <a:cxn ang="0">
                  <a:pos x="173" y="244"/>
                </a:cxn>
                <a:cxn ang="0">
                  <a:pos x="106" y="234"/>
                </a:cxn>
                <a:cxn ang="0">
                  <a:pos x="116" y="225"/>
                </a:cxn>
                <a:cxn ang="0">
                  <a:pos x="100" y="223"/>
                </a:cxn>
                <a:cxn ang="0">
                  <a:pos x="107" y="220"/>
                </a:cxn>
                <a:cxn ang="0">
                  <a:pos x="134" y="213"/>
                </a:cxn>
                <a:cxn ang="0">
                  <a:pos x="143" y="216"/>
                </a:cxn>
                <a:cxn ang="0">
                  <a:pos x="176" y="214"/>
                </a:cxn>
                <a:cxn ang="0">
                  <a:pos x="158" y="211"/>
                </a:cxn>
                <a:cxn ang="0">
                  <a:pos x="125" y="205"/>
                </a:cxn>
                <a:cxn ang="0">
                  <a:pos x="118" y="226"/>
                </a:cxn>
                <a:cxn ang="0">
                  <a:pos x="115" y="199"/>
                </a:cxn>
                <a:cxn ang="0">
                  <a:pos x="115" y="189"/>
                </a:cxn>
                <a:cxn ang="0">
                  <a:pos x="19" y="5"/>
                </a:cxn>
                <a:cxn ang="0">
                  <a:pos x="34" y="16"/>
                </a:cxn>
                <a:cxn ang="0">
                  <a:pos x="38" y="12"/>
                </a:cxn>
                <a:cxn ang="0">
                  <a:pos x="55" y="27"/>
                </a:cxn>
                <a:cxn ang="0">
                  <a:pos x="70" y="22"/>
                </a:cxn>
                <a:cxn ang="0">
                  <a:pos x="82" y="34"/>
                </a:cxn>
                <a:cxn ang="0">
                  <a:pos x="127" y="75"/>
                </a:cxn>
                <a:cxn ang="0">
                  <a:pos x="182" y="72"/>
                </a:cxn>
                <a:cxn ang="0">
                  <a:pos x="204" y="85"/>
                </a:cxn>
                <a:cxn ang="0">
                  <a:pos x="180" y="115"/>
                </a:cxn>
                <a:cxn ang="0">
                  <a:pos x="163" y="127"/>
                </a:cxn>
                <a:cxn ang="0">
                  <a:pos x="143" y="154"/>
                </a:cxn>
                <a:cxn ang="0">
                  <a:pos x="152" y="169"/>
                </a:cxn>
                <a:cxn ang="0">
                  <a:pos x="170" y="178"/>
                </a:cxn>
                <a:cxn ang="0">
                  <a:pos x="178" y="145"/>
                </a:cxn>
                <a:cxn ang="0">
                  <a:pos x="195" y="160"/>
                </a:cxn>
                <a:cxn ang="0">
                  <a:pos x="206" y="205"/>
                </a:cxn>
                <a:cxn ang="0">
                  <a:pos x="207" y="265"/>
                </a:cxn>
                <a:cxn ang="0">
                  <a:pos x="194" y="277"/>
                </a:cxn>
                <a:cxn ang="0">
                  <a:pos x="179" y="258"/>
                </a:cxn>
                <a:cxn ang="0">
                  <a:pos x="178" y="255"/>
                </a:cxn>
                <a:cxn ang="0">
                  <a:pos x="182" y="241"/>
                </a:cxn>
                <a:cxn ang="0">
                  <a:pos x="175" y="225"/>
                </a:cxn>
                <a:cxn ang="0">
                  <a:pos x="160" y="196"/>
                </a:cxn>
                <a:cxn ang="0">
                  <a:pos x="145" y="198"/>
                </a:cxn>
                <a:cxn ang="0">
                  <a:pos x="128" y="198"/>
                </a:cxn>
                <a:cxn ang="0">
                  <a:pos x="118" y="165"/>
                </a:cxn>
                <a:cxn ang="0">
                  <a:pos x="116" y="160"/>
                </a:cxn>
                <a:cxn ang="0">
                  <a:pos x="113" y="166"/>
                </a:cxn>
                <a:cxn ang="0">
                  <a:pos x="112" y="187"/>
                </a:cxn>
                <a:cxn ang="0">
                  <a:pos x="116" y="210"/>
                </a:cxn>
                <a:cxn ang="0">
                  <a:pos x="106" y="231"/>
                </a:cxn>
                <a:cxn ang="0">
                  <a:pos x="92" y="234"/>
                </a:cxn>
                <a:cxn ang="0">
                  <a:pos x="89" y="229"/>
                </a:cxn>
                <a:cxn ang="0">
                  <a:pos x="85" y="226"/>
                </a:cxn>
                <a:cxn ang="0">
                  <a:pos x="74" y="240"/>
                </a:cxn>
                <a:cxn ang="0">
                  <a:pos x="68" y="232"/>
                </a:cxn>
                <a:cxn ang="0">
                  <a:pos x="58" y="240"/>
                </a:cxn>
                <a:cxn ang="0">
                  <a:pos x="47" y="240"/>
                </a:cxn>
                <a:cxn ang="0">
                  <a:pos x="41" y="198"/>
                </a:cxn>
                <a:cxn ang="0">
                  <a:pos x="37" y="171"/>
                </a:cxn>
                <a:cxn ang="0">
                  <a:pos x="25" y="153"/>
                </a:cxn>
                <a:cxn ang="0">
                  <a:pos x="28" y="115"/>
                </a:cxn>
                <a:cxn ang="0">
                  <a:pos x="6" y="85"/>
                </a:cxn>
                <a:cxn ang="0">
                  <a:pos x="34" y="73"/>
                </a:cxn>
                <a:cxn ang="0">
                  <a:pos x="28" y="58"/>
                </a:cxn>
                <a:cxn ang="0">
                  <a:pos x="6" y="30"/>
                </a:cxn>
                <a:cxn ang="0">
                  <a:pos x="16" y="8"/>
                </a:cxn>
              </a:cxnLst>
              <a:rect l="0" t="0" r="r" b="b"/>
              <a:pathLst>
                <a:path w="212" h="293">
                  <a:moveTo>
                    <a:pt x="176" y="246"/>
                  </a:moveTo>
                  <a:lnTo>
                    <a:pt x="176" y="247"/>
                  </a:lnTo>
                  <a:lnTo>
                    <a:pt x="178" y="246"/>
                  </a:lnTo>
                  <a:lnTo>
                    <a:pt x="176" y="246"/>
                  </a:lnTo>
                  <a:close/>
                  <a:moveTo>
                    <a:pt x="47" y="240"/>
                  </a:moveTo>
                  <a:lnTo>
                    <a:pt x="49" y="241"/>
                  </a:lnTo>
                  <a:lnTo>
                    <a:pt x="49" y="243"/>
                  </a:lnTo>
                  <a:lnTo>
                    <a:pt x="50" y="243"/>
                  </a:lnTo>
                  <a:lnTo>
                    <a:pt x="50" y="246"/>
                  </a:lnTo>
                  <a:lnTo>
                    <a:pt x="46" y="241"/>
                  </a:lnTo>
                  <a:lnTo>
                    <a:pt x="47" y="241"/>
                  </a:lnTo>
                  <a:lnTo>
                    <a:pt x="47" y="240"/>
                  </a:lnTo>
                  <a:close/>
                  <a:moveTo>
                    <a:pt x="175" y="235"/>
                  </a:moveTo>
                  <a:lnTo>
                    <a:pt x="176" y="235"/>
                  </a:lnTo>
                  <a:lnTo>
                    <a:pt x="176" y="241"/>
                  </a:lnTo>
                  <a:lnTo>
                    <a:pt x="175" y="244"/>
                  </a:lnTo>
                  <a:lnTo>
                    <a:pt x="173" y="244"/>
                  </a:lnTo>
                  <a:lnTo>
                    <a:pt x="175" y="240"/>
                  </a:lnTo>
                  <a:lnTo>
                    <a:pt x="175" y="235"/>
                  </a:lnTo>
                  <a:close/>
                  <a:moveTo>
                    <a:pt x="118" y="232"/>
                  </a:moveTo>
                  <a:lnTo>
                    <a:pt x="118" y="234"/>
                  </a:lnTo>
                  <a:lnTo>
                    <a:pt x="116" y="235"/>
                  </a:lnTo>
                  <a:lnTo>
                    <a:pt x="116" y="237"/>
                  </a:lnTo>
                  <a:lnTo>
                    <a:pt x="113" y="237"/>
                  </a:lnTo>
                  <a:lnTo>
                    <a:pt x="113" y="234"/>
                  </a:lnTo>
                  <a:lnTo>
                    <a:pt x="115" y="234"/>
                  </a:lnTo>
                  <a:lnTo>
                    <a:pt x="118" y="232"/>
                  </a:lnTo>
                  <a:close/>
                  <a:moveTo>
                    <a:pt x="106" y="232"/>
                  </a:moveTo>
                  <a:lnTo>
                    <a:pt x="107" y="232"/>
                  </a:lnTo>
                  <a:lnTo>
                    <a:pt x="107" y="234"/>
                  </a:lnTo>
                  <a:lnTo>
                    <a:pt x="106" y="238"/>
                  </a:lnTo>
                  <a:lnTo>
                    <a:pt x="104" y="238"/>
                  </a:lnTo>
                  <a:lnTo>
                    <a:pt x="104" y="235"/>
                  </a:lnTo>
                  <a:lnTo>
                    <a:pt x="106" y="234"/>
                  </a:lnTo>
                  <a:lnTo>
                    <a:pt x="106" y="232"/>
                  </a:lnTo>
                  <a:close/>
                  <a:moveTo>
                    <a:pt x="109" y="229"/>
                  </a:moveTo>
                  <a:lnTo>
                    <a:pt x="110" y="229"/>
                  </a:lnTo>
                  <a:lnTo>
                    <a:pt x="112" y="231"/>
                  </a:lnTo>
                  <a:lnTo>
                    <a:pt x="112" y="234"/>
                  </a:lnTo>
                  <a:lnTo>
                    <a:pt x="109" y="237"/>
                  </a:lnTo>
                  <a:lnTo>
                    <a:pt x="109" y="229"/>
                  </a:lnTo>
                  <a:close/>
                  <a:moveTo>
                    <a:pt x="107" y="229"/>
                  </a:moveTo>
                  <a:lnTo>
                    <a:pt x="107" y="231"/>
                  </a:lnTo>
                  <a:lnTo>
                    <a:pt x="106" y="232"/>
                  </a:lnTo>
                  <a:lnTo>
                    <a:pt x="106" y="231"/>
                  </a:lnTo>
                  <a:lnTo>
                    <a:pt x="107" y="229"/>
                  </a:lnTo>
                  <a:close/>
                  <a:moveTo>
                    <a:pt x="70" y="226"/>
                  </a:moveTo>
                  <a:lnTo>
                    <a:pt x="70" y="229"/>
                  </a:lnTo>
                  <a:lnTo>
                    <a:pt x="71" y="226"/>
                  </a:lnTo>
                  <a:lnTo>
                    <a:pt x="70" y="226"/>
                  </a:lnTo>
                  <a:close/>
                  <a:moveTo>
                    <a:pt x="116" y="225"/>
                  </a:moveTo>
                  <a:lnTo>
                    <a:pt x="116" y="231"/>
                  </a:lnTo>
                  <a:lnTo>
                    <a:pt x="115" y="231"/>
                  </a:lnTo>
                  <a:lnTo>
                    <a:pt x="113" y="232"/>
                  </a:lnTo>
                  <a:lnTo>
                    <a:pt x="113" y="229"/>
                  </a:lnTo>
                  <a:lnTo>
                    <a:pt x="112" y="229"/>
                  </a:lnTo>
                  <a:lnTo>
                    <a:pt x="112" y="228"/>
                  </a:lnTo>
                  <a:lnTo>
                    <a:pt x="113" y="228"/>
                  </a:lnTo>
                  <a:lnTo>
                    <a:pt x="113" y="226"/>
                  </a:lnTo>
                  <a:lnTo>
                    <a:pt x="115" y="226"/>
                  </a:lnTo>
                  <a:lnTo>
                    <a:pt x="116" y="225"/>
                  </a:lnTo>
                  <a:close/>
                  <a:moveTo>
                    <a:pt x="116" y="223"/>
                  </a:moveTo>
                  <a:lnTo>
                    <a:pt x="118" y="223"/>
                  </a:lnTo>
                  <a:lnTo>
                    <a:pt x="118" y="225"/>
                  </a:lnTo>
                  <a:lnTo>
                    <a:pt x="116" y="225"/>
                  </a:lnTo>
                  <a:lnTo>
                    <a:pt x="116" y="223"/>
                  </a:lnTo>
                  <a:close/>
                  <a:moveTo>
                    <a:pt x="101" y="222"/>
                  </a:moveTo>
                  <a:lnTo>
                    <a:pt x="100" y="223"/>
                  </a:lnTo>
                  <a:lnTo>
                    <a:pt x="100" y="225"/>
                  </a:lnTo>
                  <a:lnTo>
                    <a:pt x="98" y="225"/>
                  </a:lnTo>
                  <a:lnTo>
                    <a:pt x="94" y="229"/>
                  </a:lnTo>
                  <a:lnTo>
                    <a:pt x="95" y="229"/>
                  </a:lnTo>
                  <a:lnTo>
                    <a:pt x="97" y="226"/>
                  </a:lnTo>
                  <a:lnTo>
                    <a:pt x="98" y="226"/>
                  </a:lnTo>
                  <a:lnTo>
                    <a:pt x="100" y="225"/>
                  </a:lnTo>
                  <a:lnTo>
                    <a:pt x="101" y="225"/>
                  </a:lnTo>
                  <a:lnTo>
                    <a:pt x="101" y="222"/>
                  </a:lnTo>
                  <a:close/>
                  <a:moveTo>
                    <a:pt x="70" y="220"/>
                  </a:moveTo>
                  <a:lnTo>
                    <a:pt x="70" y="225"/>
                  </a:lnTo>
                  <a:lnTo>
                    <a:pt x="71" y="225"/>
                  </a:lnTo>
                  <a:lnTo>
                    <a:pt x="71" y="223"/>
                  </a:lnTo>
                  <a:lnTo>
                    <a:pt x="70" y="222"/>
                  </a:lnTo>
                  <a:lnTo>
                    <a:pt x="70" y="220"/>
                  </a:lnTo>
                  <a:close/>
                  <a:moveTo>
                    <a:pt x="109" y="219"/>
                  </a:moveTo>
                  <a:lnTo>
                    <a:pt x="107" y="220"/>
                  </a:lnTo>
                  <a:lnTo>
                    <a:pt x="109" y="222"/>
                  </a:lnTo>
                  <a:lnTo>
                    <a:pt x="109" y="219"/>
                  </a:lnTo>
                  <a:close/>
                  <a:moveTo>
                    <a:pt x="65" y="217"/>
                  </a:moveTo>
                  <a:lnTo>
                    <a:pt x="65" y="226"/>
                  </a:lnTo>
                  <a:lnTo>
                    <a:pt x="68" y="226"/>
                  </a:lnTo>
                  <a:lnTo>
                    <a:pt x="67" y="222"/>
                  </a:lnTo>
                  <a:lnTo>
                    <a:pt x="67" y="217"/>
                  </a:lnTo>
                  <a:lnTo>
                    <a:pt x="65" y="217"/>
                  </a:lnTo>
                  <a:close/>
                  <a:moveTo>
                    <a:pt x="71" y="216"/>
                  </a:moveTo>
                  <a:lnTo>
                    <a:pt x="71" y="217"/>
                  </a:lnTo>
                  <a:lnTo>
                    <a:pt x="70" y="219"/>
                  </a:lnTo>
                  <a:lnTo>
                    <a:pt x="71" y="219"/>
                  </a:lnTo>
                  <a:lnTo>
                    <a:pt x="71" y="217"/>
                  </a:lnTo>
                  <a:lnTo>
                    <a:pt x="73" y="217"/>
                  </a:lnTo>
                  <a:lnTo>
                    <a:pt x="73" y="216"/>
                  </a:lnTo>
                  <a:lnTo>
                    <a:pt x="71" y="216"/>
                  </a:lnTo>
                  <a:close/>
                  <a:moveTo>
                    <a:pt x="134" y="213"/>
                  </a:moveTo>
                  <a:lnTo>
                    <a:pt x="136" y="214"/>
                  </a:lnTo>
                  <a:lnTo>
                    <a:pt x="136" y="217"/>
                  </a:lnTo>
                  <a:lnTo>
                    <a:pt x="134" y="219"/>
                  </a:lnTo>
                  <a:lnTo>
                    <a:pt x="136" y="219"/>
                  </a:lnTo>
                  <a:lnTo>
                    <a:pt x="136" y="222"/>
                  </a:lnTo>
                  <a:lnTo>
                    <a:pt x="134" y="222"/>
                  </a:lnTo>
                  <a:lnTo>
                    <a:pt x="134" y="225"/>
                  </a:lnTo>
                  <a:lnTo>
                    <a:pt x="133" y="226"/>
                  </a:lnTo>
                  <a:lnTo>
                    <a:pt x="133" y="222"/>
                  </a:lnTo>
                  <a:lnTo>
                    <a:pt x="134" y="220"/>
                  </a:lnTo>
                  <a:lnTo>
                    <a:pt x="133" y="220"/>
                  </a:lnTo>
                  <a:lnTo>
                    <a:pt x="133" y="219"/>
                  </a:lnTo>
                  <a:lnTo>
                    <a:pt x="134" y="219"/>
                  </a:lnTo>
                  <a:lnTo>
                    <a:pt x="134" y="213"/>
                  </a:lnTo>
                  <a:close/>
                  <a:moveTo>
                    <a:pt x="140" y="211"/>
                  </a:moveTo>
                  <a:lnTo>
                    <a:pt x="143" y="214"/>
                  </a:lnTo>
                  <a:lnTo>
                    <a:pt x="143" y="216"/>
                  </a:lnTo>
                  <a:lnTo>
                    <a:pt x="145" y="217"/>
                  </a:lnTo>
                  <a:lnTo>
                    <a:pt x="145" y="220"/>
                  </a:lnTo>
                  <a:lnTo>
                    <a:pt x="143" y="222"/>
                  </a:lnTo>
                  <a:lnTo>
                    <a:pt x="143" y="223"/>
                  </a:lnTo>
                  <a:lnTo>
                    <a:pt x="142" y="225"/>
                  </a:lnTo>
                  <a:lnTo>
                    <a:pt x="140" y="225"/>
                  </a:lnTo>
                  <a:lnTo>
                    <a:pt x="140" y="226"/>
                  </a:lnTo>
                  <a:lnTo>
                    <a:pt x="136" y="226"/>
                  </a:lnTo>
                  <a:lnTo>
                    <a:pt x="137" y="223"/>
                  </a:lnTo>
                  <a:lnTo>
                    <a:pt x="139" y="223"/>
                  </a:lnTo>
                  <a:lnTo>
                    <a:pt x="139" y="213"/>
                  </a:lnTo>
                  <a:lnTo>
                    <a:pt x="140" y="211"/>
                  </a:lnTo>
                  <a:close/>
                  <a:moveTo>
                    <a:pt x="176" y="210"/>
                  </a:moveTo>
                  <a:lnTo>
                    <a:pt x="176" y="214"/>
                  </a:lnTo>
                  <a:lnTo>
                    <a:pt x="175" y="214"/>
                  </a:lnTo>
                  <a:lnTo>
                    <a:pt x="175" y="216"/>
                  </a:lnTo>
                  <a:lnTo>
                    <a:pt x="176" y="214"/>
                  </a:lnTo>
                  <a:lnTo>
                    <a:pt x="178" y="210"/>
                  </a:lnTo>
                  <a:lnTo>
                    <a:pt x="176" y="210"/>
                  </a:lnTo>
                  <a:close/>
                  <a:moveTo>
                    <a:pt x="118" y="210"/>
                  </a:moveTo>
                  <a:lnTo>
                    <a:pt x="119" y="210"/>
                  </a:lnTo>
                  <a:lnTo>
                    <a:pt x="119" y="211"/>
                  </a:lnTo>
                  <a:lnTo>
                    <a:pt x="118" y="210"/>
                  </a:lnTo>
                  <a:close/>
                  <a:moveTo>
                    <a:pt x="145" y="205"/>
                  </a:moveTo>
                  <a:lnTo>
                    <a:pt x="146" y="207"/>
                  </a:lnTo>
                  <a:lnTo>
                    <a:pt x="143" y="210"/>
                  </a:lnTo>
                  <a:lnTo>
                    <a:pt x="142" y="210"/>
                  </a:lnTo>
                  <a:lnTo>
                    <a:pt x="142" y="207"/>
                  </a:lnTo>
                  <a:lnTo>
                    <a:pt x="143" y="207"/>
                  </a:lnTo>
                  <a:lnTo>
                    <a:pt x="145" y="205"/>
                  </a:lnTo>
                  <a:close/>
                  <a:moveTo>
                    <a:pt x="157" y="202"/>
                  </a:moveTo>
                  <a:lnTo>
                    <a:pt x="161" y="208"/>
                  </a:lnTo>
                  <a:lnTo>
                    <a:pt x="161" y="211"/>
                  </a:lnTo>
                  <a:lnTo>
                    <a:pt x="158" y="211"/>
                  </a:lnTo>
                  <a:lnTo>
                    <a:pt x="157" y="208"/>
                  </a:lnTo>
                  <a:lnTo>
                    <a:pt x="155" y="207"/>
                  </a:lnTo>
                  <a:lnTo>
                    <a:pt x="155" y="205"/>
                  </a:lnTo>
                  <a:lnTo>
                    <a:pt x="157" y="202"/>
                  </a:lnTo>
                  <a:close/>
                  <a:moveTo>
                    <a:pt x="112" y="202"/>
                  </a:moveTo>
                  <a:lnTo>
                    <a:pt x="110" y="204"/>
                  </a:lnTo>
                  <a:lnTo>
                    <a:pt x="110" y="207"/>
                  </a:lnTo>
                  <a:lnTo>
                    <a:pt x="112" y="205"/>
                  </a:lnTo>
                  <a:lnTo>
                    <a:pt x="112" y="202"/>
                  </a:lnTo>
                  <a:close/>
                  <a:moveTo>
                    <a:pt x="119" y="192"/>
                  </a:moveTo>
                  <a:lnTo>
                    <a:pt x="121" y="193"/>
                  </a:lnTo>
                  <a:lnTo>
                    <a:pt x="121" y="196"/>
                  </a:lnTo>
                  <a:lnTo>
                    <a:pt x="122" y="199"/>
                  </a:lnTo>
                  <a:lnTo>
                    <a:pt x="124" y="201"/>
                  </a:lnTo>
                  <a:lnTo>
                    <a:pt x="124" y="202"/>
                  </a:lnTo>
                  <a:lnTo>
                    <a:pt x="125" y="204"/>
                  </a:lnTo>
                  <a:lnTo>
                    <a:pt x="125" y="205"/>
                  </a:lnTo>
                  <a:lnTo>
                    <a:pt x="130" y="210"/>
                  </a:lnTo>
                  <a:lnTo>
                    <a:pt x="128" y="214"/>
                  </a:lnTo>
                  <a:lnTo>
                    <a:pt x="128" y="223"/>
                  </a:lnTo>
                  <a:lnTo>
                    <a:pt x="125" y="228"/>
                  </a:lnTo>
                  <a:lnTo>
                    <a:pt x="124" y="228"/>
                  </a:lnTo>
                  <a:lnTo>
                    <a:pt x="124" y="229"/>
                  </a:lnTo>
                  <a:lnTo>
                    <a:pt x="122" y="229"/>
                  </a:lnTo>
                  <a:lnTo>
                    <a:pt x="122" y="231"/>
                  </a:lnTo>
                  <a:lnTo>
                    <a:pt x="121" y="231"/>
                  </a:lnTo>
                  <a:lnTo>
                    <a:pt x="121" y="232"/>
                  </a:lnTo>
                  <a:lnTo>
                    <a:pt x="119" y="232"/>
                  </a:lnTo>
                  <a:lnTo>
                    <a:pt x="119" y="229"/>
                  </a:lnTo>
                  <a:lnTo>
                    <a:pt x="121" y="228"/>
                  </a:lnTo>
                  <a:lnTo>
                    <a:pt x="121" y="226"/>
                  </a:lnTo>
                  <a:lnTo>
                    <a:pt x="119" y="229"/>
                  </a:lnTo>
                  <a:lnTo>
                    <a:pt x="118" y="231"/>
                  </a:lnTo>
                  <a:lnTo>
                    <a:pt x="118" y="226"/>
                  </a:lnTo>
                  <a:lnTo>
                    <a:pt x="119" y="225"/>
                  </a:lnTo>
                  <a:lnTo>
                    <a:pt x="119" y="222"/>
                  </a:lnTo>
                  <a:lnTo>
                    <a:pt x="121" y="219"/>
                  </a:lnTo>
                  <a:lnTo>
                    <a:pt x="121" y="214"/>
                  </a:lnTo>
                  <a:lnTo>
                    <a:pt x="119" y="213"/>
                  </a:lnTo>
                  <a:lnTo>
                    <a:pt x="119" y="211"/>
                  </a:lnTo>
                  <a:lnTo>
                    <a:pt x="121" y="213"/>
                  </a:lnTo>
                  <a:lnTo>
                    <a:pt x="122" y="213"/>
                  </a:lnTo>
                  <a:lnTo>
                    <a:pt x="121" y="211"/>
                  </a:lnTo>
                  <a:lnTo>
                    <a:pt x="121" y="210"/>
                  </a:lnTo>
                  <a:lnTo>
                    <a:pt x="119" y="210"/>
                  </a:lnTo>
                  <a:lnTo>
                    <a:pt x="121" y="207"/>
                  </a:lnTo>
                  <a:lnTo>
                    <a:pt x="121" y="205"/>
                  </a:lnTo>
                  <a:lnTo>
                    <a:pt x="119" y="204"/>
                  </a:lnTo>
                  <a:lnTo>
                    <a:pt x="116" y="202"/>
                  </a:lnTo>
                  <a:lnTo>
                    <a:pt x="116" y="201"/>
                  </a:lnTo>
                  <a:lnTo>
                    <a:pt x="115" y="199"/>
                  </a:lnTo>
                  <a:lnTo>
                    <a:pt x="116" y="198"/>
                  </a:lnTo>
                  <a:lnTo>
                    <a:pt x="116" y="193"/>
                  </a:lnTo>
                  <a:lnTo>
                    <a:pt x="118" y="193"/>
                  </a:lnTo>
                  <a:lnTo>
                    <a:pt x="119" y="192"/>
                  </a:lnTo>
                  <a:close/>
                  <a:moveTo>
                    <a:pt x="115" y="187"/>
                  </a:moveTo>
                  <a:lnTo>
                    <a:pt x="118" y="187"/>
                  </a:lnTo>
                  <a:lnTo>
                    <a:pt x="121" y="190"/>
                  </a:lnTo>
                  <a:lnTo>
                    <a:pt x="121" y="192"/>
                  </a:lnTo>
                  <a:lnTo>
                    <a:pt x="119" y="192"/>
                  </a:lnTo>
                  <a:lnTo>
                    <a:pt x="118" y="190"/>
                  </a:lnTo>
                  <a:lnTo>
                    <a:pt x="115" y="193"/>
                  </a:lnTo>
                  <a:lnTo>
                    <a:pt x="115" y="195"/>
                  </a:lnTo>
                  <a:lnTo>
                    <a:pt x="113" y="196"/>
                  </a:lnTo>
                  <a:lnTo>
                    <a:pt x="113" y="195"/>
                  </a:lnTo>
                  <a:lnTo>
                    <a:pt x="112" y="193"/>
                  </a:lnTo>
                  <a:lnTo>
                    <a:pt x="112" y="189"/>
                  </a:lnTo>
                  <a:lnTo>
                    <a:pt x="115" y="189"/>
                  </a:lnTo>
                  <a:lnTo>
                    <a:pt x="115" y="187"/>
                  </a:lnTo>
                  <a:close/>
                  <a:moveTo>
                    <a:pt x="116" y="180"/>
                  </a:moveTo>
                  <a:lnTo>
                    <a:pt x="121" y="184"/>
                  </a:lnTo>
                  <a:lnTo>
                    <a:pt x="121" y="186"/>
                  </a:lnTo>
                  <a:lnTo>
                    <a:pt x="118" y="186"/>
                  </a:lnTo>
                  <a:lnTo>
                    <a:pt x="118" y="184"/>
                  </a:lnTo>
                  <a:lnTo>
                    <a:pt x="115" y="184"/>
                  </a:lnTo>
                  <a:lnTo>
                    <a:pt x="113" y="183"/>
                  </a:lnTo>
                  <a:lnTo>
                    <a:pt x="116" y="180"/>
                  </a:lnTo>
                  <a:close/>
                  <a:moveTo>
                    <a:pt x="112" y="153"/>
                  </a:moveTo>
                  <a:lnTo>
                    <a:pt x="113" y="154"/>
                  </a:lnTo>
                  <a:lnTo>
                    <a:pt x="113" y="153"/>
                  </a:lnTo>
                  <a:lnTo>
                    <a:pt x="112" y="153"/>
                  </a:lnTo>
                  <a:close/>
                  <a:moveTo>
                    <a:pt x="16" y="0"/>
                  </a:moveTo>
                  <a:lnTo>
                    <a:pt x="16" y="3"/>
                  </a:lnTo>
                  <a:lnTo>
                    <a:pt x="19" y="3"/>
                  </a:lnTo>
                  <a:lnTo>
                    <a:pt x="19" y="5"/>
                  </a:lnTo>
                  <a:lnTo>
                    <a:pt x="20" y="5"/>
                  </a:lnTo>
                  <a:lnTo>
                    <a:pt x="20" y="6"/>
                  </a:lnTo>
                  <a:lnTo>
                    <a:pt x="22" y="6"/>
                  </a:lnTo>
                  <a:lnTo>
                    <a:pt x="22" y="8"/>
                  </a:lnTo>
                  <a:lnTo>
                    <a:pt x="25" y="8"/>
                  </a:lnTo>
                  <a:lnTo>
                    <a:pt x="26" y="9"/>
                  </a:lnTo>
                  <a:lnTo>
                    <a:pt x="28" y="9"/>
                  </a:lnTo>
                  <a:lnTo>
                    <a:pt x="28" y="11"/>
                  </a:lnTo>
                  <a:lnTo>
                    <a:pt x="29" y="12"/>
                  </a:lnTo>
                  <a:lnTo>
                    <a:pt x="29" y="14"/>
                  </a:lnTo>
                  <a:lnTo>
                    <a:pt x="31" y="14"/>
                  </a:lnTo>
                  <a:lnTo>
                    <a:pt x="31" y="15"/>
                  </a:lnTo>
                  <a:lnTo>
                    <a:pt x="29" y="16"/>
                  </a:lnTo>
                  <a:lnTo>
                    <a:pt x="28" y="16"/>
                  </a:lnTo>
                  <a:lnTo>
                    <a:pt x="28" y="18"/>
                  </a:lnTo>
                  <a:lnTo>
                    <a:pt x="32" y="16"/>
                  </a:lnTo>
                  <a:lnTo>
                    <a:pt x="34" y="16"/>
                  </a:lnTo>
                  <a:lnTo>
                    <a:pt x="34" y="18"/>
                  </a:lnTo>
                  <a:lnTo>
                    <a:pt x="35" y="18"/>
                  </a:lnTo>
                  <a:lnTo>
                    <a:pt x="35" y="19"/>
                  </a:lnTo>
                  <a:lnTo>
                    <a:pt x="37" y="19"/>
                  </a:lnTo>
                  <a:lnTo>
                    <a:pt x="37" y="18"/>
                  </a:lnTo>
                  <a:lnTo>
                    <a:pt x="38" y="16"/>
                  </a:lnTo>
                  <a:lnTo>
                    <a:pt x="40" y="16"/>
                  </a:lnTo>
                  <a:lnTo>
                    <a:pt x="41" y="19"/>
                  </a:lnTo>
                  <a:lnTo>
                    <a:pt x="44" y="19"/>
                  </a:lnTo>
                  <a:lnTo>
                    <a:pt x="46" y="18"/>
                  </a:lnTo>
                  <a:lnTo>
                    <a:pt x="44" y="18"/>
                  </a:lnTo>
                  <a:lnTo>
                    <a:pt x="44" y="16"/>
                  </a:lnTo>
                  <a:lnTo>
                    <a:pt x="43" y="16"/>
                  </a:lnTo>
                  <a:lnTo>
                    <a:pt x="43" y="15"/>
                  </a:lnTo>
                  <a:lnTo>
                    <a:pt x="41" y="14"/>
                  </a:lnTo>
                  <a:lnTo>
                    <a:pt x="40" y="14"/>
                  </a:lnTo>
                  <a:lnTo>
                    <a:pt x="38" y="12"/>
                  </a:lnTo>
                  <a:lnTo>
                    <a:pt x="40" y="11"/>
                  </a:lnTo>
                  <a:lnTo>
                    <a:pt x="40" y="9"/>
                  </a:lnTo>
                  <a:lnTo>
                    <a:pt x="43" y="9"/>
                  </a:lnTo>
                  <a:lnTo>
                    <a:pt x="43" y="11"/>
                  </a:lnTo>
                  <a:lnTo>
                    <a:pt x="44" y="11"/>
                  </a:lnTo>
                  <a:lnTo>
                    <a:pt x="44" y="12"/>
                  </a:lnTo>
                  <a:lnTo>
                    <a:pt x="47" y="12"/>
                  </a:lnTo>
                  <a:lnTo>
                    <a:pt x="46" y="14"/>
                  </a:lnTo>
                  <a:lnTo>
                    <a:pt x="49" y="14"/>
                  </a:lnTo>
                  <a:lnTo>
                    <a:pt x="49" y="15"/>
                  </a:lnTo>
                  <a:lnTo>
                    <a:pt x="47" y="15"/>
                  </a:lnTo>
                  <a:lnTo>
                    <a:pt x="47" y="18"/>
                  </a:lnTo>
                  <a:lnTo>
                    <a:pt x="49" y="19"/>
                  </a:lnTo>
                  <a:lnTo>
                    <a:pt x="49" y="24"/>
                  </a:lnTo>
                  <a:lnTo>
                    <a:pt x="50" y="24"/>
                  </a:lnTo>
                  <a:lnTo>
                    <a:pt x="53" y="25"/>
                  </a:lnTo>
                  <a:lnTo>
                    <a:pt x="55" y="27"/>
                  </a:lnTo>
                  <a:lnTo>
                    <a:pt x="55" y="28"/>
                  </a:lnTo>
                  <a:lnTo>
                    <a:pt x="56" y="28"/>
                  </a:lnTo>
                  <a:lnTo>
                    <a:pt x="59" y="31"/>
                  </a:lnTo>
                  <a:lnTo>
                    <a:pt x="61" y="31"/>
                  </a:lnTo>
                  <a:lnTo>
                    <a:pt x="61" y="30"/>
                  </a:lnTo>
                  <a:lnTo>
                    <a:pt x="62" y="30"/>
                  </a:lnTo>
                  <a:lnTo>
                    <a:pt x="62" y="31"/>
                  </a:lnTo>
                  <a:lnTo>
                    <a:pt x="67" y="31"/>
                  </a:lnTo>
                  <a:lnTo>
                    <a:pt x="67" y="33"/>
                  </a:lnTo>
                  <a:lnTo>
                    <a:pt x="70" y="33"/>
                  </a:lnTo>
                  <a:lnTo>
                    <a:pt x="70" y="30"/>
                  </a:lnTo>
                  <a:lnTo>
                    <a:pt x="73" y="27"/>
                  </a:lnTo>
                  <a:lnTo>
                    <a:pt x="70" y="27"/>
                  </a:lnTo>
                  <a:lnTo>
                    <a:pt x="70" y="25"/>
                  </a:lnTo>
                  <a:lnTo>
                    <a:pt x="71" y="25"/>
                  </a:lnTo>
                  <a:lnTo>
                    <a:pt x="70" y="24"/>
                  </a:lnTo>
                  <a:lnTo>
                    <a:pt x="70" y="22"/>
                  </a:lnTo>
                  <a:lnTo>
                    <a:pt x="71" y="22"/>
                  </a:lnTo>
                  <a:lnTo>
                    <a:pt x="71" y="21"/>
                  </a:lnTo>
                  <a:lnTo>
                    <a:pt x="73" y="19"/>
                  </a:lnTo>
                  <a:lnTo>
                    <a:pt x="74" y="19"/>
                  </a:lnTo>
                  <a:lnTo>
                    <a:pt x="74" y="22"/>
                  </a:lnTo>
                  <a:lnTo>
                    <a:pt x="76" y="24"/>
                  </a:lnTo>
                  <a:lnTo>
                    <a:pt x="76" y="22"/>
                  </a:lnTo>
                  <a:lnTo>
                    <a:pt x="77" y="24"/>
                  </a:lnTo>
                  <a:lnTo>
                    <a:pt x="77" y="25"/>
                  </a:lnTo>
                  <a:lnTo>
                    <a:pt x="79" y="27"/>
                  </a:lnTo>
                  <a:lnTo>
                    <a:pt x="79" y="30"/>
                  </a:lnTo>
                  <a:lnTo>
                    <a:pt x="80" y="30"/>
                  </a:lnTo>
                  <a:lnTo>
                    <a:pt x="80" y="31"/>
                  </a:lnTo>
                  <a:lnTo>
                    <a:pt x="82" y="31"/>
                  </a:lnTo>
                  <a:lnTo>
                    <a:pt x="82" y="33"/>
                  </a:lnTo>
                  <a:lnTo>
                    <a:pt x="80" y="33"/>
                  </a:lnTo>
                  <a:lnTo>
                    <a:pt x="82" y="34"/>
                  </a:lnTo>
                  <a:lnTo>
                    <a:pt x="82" y="36"/>
                  </a:lnTo>
                  <a:lnTo>
                    <a:pt x="80" y="39"/>
                  </a:lnTo>
                  <a:lnTo>
                    <a:pt x="80" y="45"/>
                  </a:lnTo>
                  <a:lnTo>
                    <a:pt x="82" y="48"/>
                  </a:lnTo>
                  <a:lnTo>
                    <a:pt x="82" y="60"/>
                  </a:lnTo>
                  <a:lnTo>
                    <a:pt x="80" y="61"/>
                  </a:lnTo>
                  <a:lnTo>
                    <a:pt x="80" y="64"/>
                  </a:lnTo>
                  <a:lnTo>
                    <a:pt x="82" y="66"/>
                  </a:lnTo>
                  <a:lnTo>
                    <a:pt x="82" y="67"/>
                  </a:lnTo>
                  <a:lnTo>
                    <a:pt x="86" y="67"/>
                  </a:lnTo>
                  <a:lnTo>
                    <a:pt x="95" y="70"/>
                  </a:lnTo>
                  <a:lnTo>
                    <a:pt x="103" y="72"/>
                  </a:lnTo>
                  <a:lnTo>
                    <a:pt x="107" y="73"/>
                  </a:lnTo>
                  <a:lnTo>
                    <a:pt x="109" y="75"/>
                  </a:lnTo>
                  <a:lnTo>
                    <a:pt x="113" y="73"/>
                  </a:lnTo>
                  <a:lnTo>
                    <a:pt x="125" y="73"/>
                  </a:lnTo>
                  <a:lnTo>
                    <a:pt x="127" y="75"/>
                  </a:lnTo>
                  <a:lnTo>
                    <a:pt x="128" y="75"/>
                  </a:lnTo>
                  <a:lnTo>
                    <a:pt x="133" y="73"/>
                  </a:lnTo>
                  <a:lnTo>
                    <a:pt x="134" y="73"/>
                  </a:lnTo>
                  <a:lnTo>
                    <a:pt x="142" y="72"/>
                  </a:lnTo>
                  <a:lnTo>
                    <a:pt x="146" y="72"/>
                  </a:lnTo>
                  <a:lnTo>
                    <a:pt x="149" y="73"/>
                  </a:lnTo>
                  <a:lnTo>
                    <a:pt x="155" y="75"/>
                  </a:lnTo>
                  <a:lnTo>
                    <a:pt x="160" y="75"/>
                  </a:lnTo>
                  <a:lnTo>
                    <a:pt x="161" y="73"/>
                  </a:lnTo>
                  <a:lnTo>
                    <a:pt x="163" y="73"/>
                  </a:lnTo>
                  <a:lnTo>
                    <a:pt x="163" y="75"/>
                  </a:lnTo>
                  <a:lnTo>
                    <a:pt x="167" y="75"/>
                  </a:lnTo>
                  <a:lnTo>
                    <a:pt x="167" y="73"/>
                  </a:lnTo>
                  <a:lnTo>
                    <a:pt x="169" y="75"/>
                  </a:lnTo>
                  <a:lnTo>
                    <a:pt x="169" y="73"/>
                  </a:lnTo>
                  <a:lnTo>
                    <a:pt x="180" y="73"/>
                  </a:lnTo>
                  <a:lnTo>
                    <a:pt x="182" y="72"/>
                  </a:lnTo>
                  <a:lnTo>
                    <a:pt x="183" y="72"/>
                  </a:lnTo>
                  <a:lnTo>
                    <a:pt x="185" y="73"/>
                  </a:lnTo>
                  <a:lnTo>
                    <a:pt x="186" y="73"/>
                  </a:lnTo>
                  <a:lnTo>
                    <a:pt x="186" y="75"/>
                  </a:lnTo>
                  <a:lnTo>
                    <a:pt x="189" y="75"/>
                  </a:lnTo>
                  <a:lnTo>
                    <a:pt x="191" y="76"/>
                  </a:lnTo>
                  <a:lnTo>
                    <a:pt x="192" y="76"/>
                  </a:lnTo>
                  <a:lnTo>
                    <a:pt x="192" y="78"/>
                  </a:lnTo>
                  <a:lnTo>
                    <a:pt x="195" y="78"/>
                  </a:lnTo>
                  <a:lnTo>
                    <a:pt x="197" y="79"/>
                  </a:lnTo>
                  <a:lnTo>
                    <a:pt x="198" y="79"/>
                  </a:lnTo>
                  <a:lnTo>
                    <a:pt x="200" y="81"/>
                  </a:lnTo>
                  <a:lnTo>
                    <a:pt x="200" y="82"/>
                  </a:lnTo>
                  <a:lnTo>
                    <a:pt x="201" y="84"/>
                  </a:lnTo>
                  <a:lnTo>
                    <a:pt x="203" y="84"/>
                  </a:lnTo>
                  <a:lnTo>
                    <a:pt x="203" y="85"/>
                  </a:lnTo>
                  <a:lnTo>
                    <a:pt x="204" y="85"/>
                  </a:lnTo>
                  <a:lnTo>
                    <a:pt x="204" y="87"/>
                  </a:lnTo>
                  <a:lnTo>
                    <a:pt x="203" y="88"/>
                  </a:lnTo>
                  <a:lnTo>
                    <a:pt x="201" y="88"/>
                  </a:lnTo>
                  <a:lnTo>
                    <a:pt x="200" y="90"/>
                  </a:lnTo>
                  <a:lnTo>
                    <a:pt x="198" y="90"/>
                  </a:lnTo>
                  <a:lnTo>
                    <a:pt x="198" y="88"/>
                  </a:lnTo>
                  <a:lnTo>
                    <a:pt x="195" y="87"/>
                  </a:lnTo>
                  <a:lnTo>
                    <a:pt x="192" y="87"/>
                  </a:lnTo>
                  <a:lnTo>
                    <a:pt x="192" y="93"/>
                  </a:lnTo>
                  <a:lnTo>
                    <a:pt x="189" y="99"/>
                  </a:lnTo>
                  <a:lnTo>
                    <a:pt x="189" y="105"/>
                  </a:lnTo>
                  <a:lnTo>
                    <a:pt x="188" y="105"/>
                  </a:lnTo>
                  <a:lnTo>
                    <a:pt x="186" y="106"/>
                  </a:lnTo>
                  <a:lnTo>
                    <a:pt x="186" y="112"/>
                  </a:lnTo>
                  <a:lnTo>
                    <a:pt x="185" y="114"/>
                  </a:lnTo>
                  <a:lnTo>
                    <a:pt x="179" y="114"/>
                  </a:lnTo>
                  <a:lnTo>
                    <a:pt x="180" y="115"/>
                  </a:lnTo>
                  <a:lnTo>
                    <a:pt x="178" y="115"/>
                  </a:lnTo>
                  <a:lnTo>
                    <a:pt x="178" y="118"/>
                  </a:lnTo>
                  <a:lnTo>
                    <a:pt x="176" y="123"/>
                  </a:lnTo>
                  <a:lnTo>
                    <a:pt x="176" y="124"/>
                  </a:lnTo>
                  <a:lnTo>
                    <a:pt x="175" y="124"/>
                  </a:lnTo>
                  <a:lnTo>
                    <a:pt x="173" y="123"/>
                  </a:lnTo>
                  <a:lnTo>
                    <a:pt x="173" y="121"/>
                  </a:lnTo>
                  <a:lnTo>
                    <a:pt x="170" y="120"/>
                  </a:lnTo>
                  <a:lnTo>
                    <a:pt x="169" y="121"/>
                  </a:lnTo>
                  <a:lnTo>
                    <a:pt x="170" y="123"/>
                  </a:lnTo>
                  <a:lnTo>
                    <a:pt x="170" y="124"/>
                  </a:lnTo>
                  <a:lnTo>
                    <a:pt x="167" y="124"/>
                  </a:lnTo>
                  <a:lnTo>
                    <a:pt x="166" y="123"/>
                  </a:lnTo>
                  <a:lnTo>
                    <a:pt x="166" y="121"/>
                  </a:lnTo>
                  <a:lnTo>
                    <a:pt x="164" y="121"/>
                  </a:lnTo>
                  <a:lnTo>
                    <a:pt x="164" y="126"/>
                  </a:lnTo>
                  <a:lnTo>
                    <a:pt x="163" y="127"/>
                  </a:lnTo>
                  <a:lnTo>
                    <a:pt x="152" y="127"/>
                  </a:lnTo>
                  <a:lnTo>
                    <a:pt x="152" y="132"/>
                  </a:lnTo>
                  <a:lnTo>
                    <a:pt x="149" y="132"/>
                  </a:lnTo>
                  <a:lnTo>
                    <a:pt x="148" y="133"/>
                  </a:lnTo>
                  <a:lnTo>
                    <a:pt x="146" y="136"/>
                  </a:lnTo>
                  <a:lnTo>
                    <a:pt x="146" y="141"/>
                  </a:lnTo>
                  <a:lnTo>
                    <a:pt x="145" y="144"/>
                  </a:lnTo>
                  <a:lnTo>
                    <a:pt x="145" y="145"/>
                  </a:lnTo>
                  <a:lnTo>
                    <a:pt x="142" y="145"/>
                  </a:lnTo>
                  <a:lnTo>
                    <a:pt x="142" y="147"/>
                  </a:lnTo>
                  <a:lnTo>
                    <a:pt x="143" y="147"/>
                  </a:lnTo>
                  <a:lnTo>
                    <a:pt x="143" y="148"/>
                  </a:lnTo>
                  <a:lnTo>
                    <a:pt x="145" y="148"/>
                  </a:lnTo>
                  <a:lnTo>
                    <a:pt x="143" y="150"/>
                  </a:lnTo>
                  <a:lnTo>
                    <a:pt x="142" y="150"/>
                  </a:lnTo>
                  <a:lnTo>
                    <a:pt x="142" y="151"/>
                  </a:lnTo>
                  <a:lnTo>
                    <a:pt x="143" y="154"/>
                  </a:lnTo>
                  <a:lnTo>
                    <a:pt x="145" y="154"/>
                  </a:lnTo>
                  <a:lnTo>
                    <a:pt x="145" y="157"/>
                  </a:lnTo>
                  <a:lnTo>
                    <a:pt x="146" y="157"/>
                  </a:lnTo>
                  <a:lnTo>
                    <a:pt x="146" y="160"/>
                  </a:lnTo>
                  <a:lnTo>
                    <a:pt x="148" y="162"/>
                  </a:lnTo>
                  <a:lnTo>
                    <a:pt x="148" y="163"/>
                  </a:lnTo>
                  <a:lnTo>
                    <a:pt x="149" y="163"/>
                  </a:lnTo>
                  <a:lnTo>
                    <a:pt x="149" y="165"/>
                  </a:lnTo>
                  <a:lnTo>
                    <a:pt x="148" y="165"/>
                  </a:lnTo>
                  <a:lnTo>
                    <a:pt x="148" y="166"/>
                  </a:lnTo>
                  <a:lnTo>
                    <a:pt x="149" y="166"/>
                  </a:lnTo>
                  <a:lnTo>
                    <a:pt x="149" y="175"/>
                  </a:lnTo>
                  <a:lnTo>
                    <a:pt x="152" y="178"/>
                  </a:lnTo>
                  <a:lnTo>
                    <a:pt x="154" y="178"/>
                  </a:lnTo>
                  <a:lnTo>
                    <a:pt x="154" y="177"/>
                  </a:lnTo>
                  <a:lnTo>
                    <a:pt x="152" y="172"/>
                  </a:lnTo>
                  <a:lnTo>
                    <a:pt x="152" y="169"/>
                  </a:lnTo>
                  <a:lnTo>
                    <a:pt x="155" y="169"/>
                  </a:lnTo>
                  <a:lnTo>
                    <a:pt x="155" y="171"/>
                  </a:lnTo>
                  <a:lnTo>
                    <a:pt x="157" y="171"/>
                  </a:lnTo>
                  <a:lnTo>
                    <a:pt x="157" y="172"/>
                  </a:lnTo>
                  <a:lnTo>
                    <a:pt x="158" y="174"/>
                  </a:lnTo>
                  <a:lnTo>
                    <a:pt x="158" y="178"/>
                  </a:lnTo>
                  <a:lnTo>
                    <a:pt x="160" y="180"/>
                  </a:lnTo>
                  <a:lnTo>
                    <a:pt x="160" y="181"/>
                  </a:lnTo>
                  <a:lnTo>
                    <a:pt x="161" y="183"/>
                  </a:lnTo>
                  <a:lnTo>
                    <a:pt x="163" y="183"/>
                  </a:lnTo>
                  <a:lnTo>
                    <a:pt x="163" y="184"/>
                  </a:lnTo>
                  <a:lnTo>
                    <a:pt x="164" y="184"/>
                  </a:lnTo>
                  <a:lnTo>
                    <a:pt x="164" y="183"/>
                  </a:lnTo>
                  <a:lnTo>
                    <a:pt x="167" y="183"/>
                  </a:lnTo>
                  <a:lnTo>
                    <a:pt x="169" y="181"/>
                  </a:lnTo>
                  <a:lnTo>
                    <a:pt x="170" y="181"/>
                  </a:lnTo>
                  <a:lnTo>
                    <a:pt x="170" y="178"/>
                  </a:lnTo>
                  <a:lnTo>
                    <a:pt x="172" y="178"/>
                  </a:lnTo>
                  <a:lnTo>
                    <a:pt x="173" y="177"/>
                  </a:lnTo>
                  <a:lnTo>
                    <a:pt x="172" y="177"/>
                  </a:lnTo>
                  <a:lnTo>
                    <a:pt x="172" y="172"/>
                  </a:lnTo>
                  <a:lnTo>
                    <a:pt x="170" y="171"/>
                  </a:lnTo>
                  <a:lnTo>
                    <a:pt x="170" y="168"/>
                  </a:lnTo>
                  <a:lnTo>
                    <a:pt x="172" y="166"/>
                  </a:lnTo>
                  <a:lnTo>
                    <a:pt x="172" y="163"/>
                  </a:lnTo>
                  <a:lnTo>
                    <a:pt x="173" y="162"/>
                  </a:lnTo>
                  <a:lnTo>
                    <a:pt x="175" y="162"/>
                  </a:lnTo>
                  <a:lnTo>
                    <a:pt x="176" y="160"/>
                  </a:lnTo>
                  <a:lnTo>
                    <a:pt x="178" y="160"/>
                  </a:lnTo>
                  <a:lnTo>
                    <a:pt x="178" y="159"/>
                  </a:lnTo>
                  <a:lnTo>
                    <a:pt x="179" y="157"/>
                  </a:lnTo>
                  <a:lnTo>
                    <a:pt x="179" y="156"/>
                  </a:lnTo>
                  <a:lnTo>
                    <a:pt x="178" y="150"/>
                  </a:lnTo>
                  <a:lnTo>
                    <a:pt x="178" y="145"/>
                  </a:lnTo>
                  <a:lnTo>
                    <a:pt x="179" y="145"/>
                  </a:lnTo>
                  <a:lnTo>
                    <a:pt x="179" y="147"/>
                  </a:lnTo>
                  <a:lnTo>
                    <a:pt x="180" y="147"/>
                  </a:lnTo>
                  <a:lnTo>
                    <a:pt x="182" y="150"/>
                  </a:lnTo>
                  <a:lnTo>
                    <a:pt x="183" y="150"/>
                  </a:lnTo>
                  <a:lnTo>
                    <a:pt x="186" y="147"/>
                  </a:lnTo>
                  <a:lnTo>
                    <a:pt x="186" y="145"/>
                  </a:lnTo>
                  <a:lnTo>
                    <a:pt x="188" y="145"/>
                  </a:lnTo>
                  <a:lnTo>
                    <a:pt x="189" y="147"/>
                  </a:lnTo>
                  <a:lnTo>
                    <a:pt x="189" y="148"/>
                  </a:lnTo>
                  <a:lnTo>
                    <a:pt x="191" y="150"/>
                  </a:lnTo>
                  <a:lnTo>
                    <a:pt x="191" y="148"/>
                  </a:lnTo>
                  <a:lnTo>
                    <a:pt x="192" y="147"/>
                  </a:lnTo>
                  <a:lnTo>
                    <a:pt x="194" y="147"/>
                  </a:lnTo>
                  <a:lnTo>
                    <a:pt x="194" y="151"/>
                  </a:lnTo>
                  <a:lnTo>
                    <a:pt x="195" y="157"/>
                  </a:lnTo>
                  <a:lnTo>
                    <a:pt x="195" y="160"/>
                  </a:lnTo>
                  <a:lnTo>
                    <a:pt x="197" y="162"/>
                  </a:lnTo>
                  <a:lnTo>
                    <a:pt x="197" y="163"/>
                  </a:lnTo>
                  <a:lnTo>
                    <a:pt x="198" y="165"/>
                  </a:lnTo>
                  <a:lnTo>
                    <a:pt x="197" y="166"/>
                  </a:lnTo>
                  <a:lnTo>
                    <a:pt x="198" y="166"/>
                  </a:lnTo>
                  <a:lnTo>
                    <a:pt x="198" y="169"/>
                  </a:lnTo>
                  <a:lnTo>
                    <a:pt x="197" y="171"/>
                  </a:lnTo>
                  <a:lnTo>
                    <a:pt x="197" y="174"/>
                  </a:lnTo>
                  <a:lnTo>
                    <a:pt x="198" y="180"/>
                  </a:lnTo>
                  <a:lnTo>
                    <a:pt x="198" y="187"/>
                  </a:lnTo>
                  <a:lnTo>
                    <a:pt x="200" y="187"/>
                  </a:lnTo>
                  <a:lnTo>
                    <a:pt x="201" y="189"/>
                  </a:lnTo>
                  <a:lnTo>
                    <a:pt x="201" y="193"/>
                  </a:lnTo>
                  <a:lnTo>
                    <a:pt x="203" y="195"/>
                  </a:lnTo>
                  <a:lnTo>
                    <a:pt x="204" y="195"/>
                  </a:lnTo>
                  <a:lnTo>
                    <a:pt x="204" y="204"/>
                  </a:lnTo>
                  <a:lnTo>
                    <a:pt x="206" y="205"/>
                  </a:lnTo>
                  <a:lnTo>
                    <a:pt x="206" y="207"/>
                  </a:lnTo>
                  <a:lnTo>
                    <a:pt x="209" y="223"/>
                  </a:lnTo>
                  <a:lnTo>
                    <a:pt x="207" y="225"/>
                  </a:lnTo>
                  <a:lnTo>
                    <a:pt x="206" y="225"/>
                  </a:lnTo>
                  <a:lnTo>
                    <a:pt x="207" y="228"/>
                  </a:lnTo>
                  <a:lnTo>
                    <a:pt x="207" y="232"/>
                  </a:lnTo>
                  <a:lnTo>
                    <a:pt x="209" y="232"/>
                  </a:lnTo>
                  <a:lnTo>
                    <a:pt x="209" y="237"/>
                  </a:lnTo>
                  <a:lnTo>
                    <a:pt x="207" y="244"/>
                  </a:lnTo>
                  <a:lnTo>
                    <a:pt x="209" y="256"/>
                  </a:lnTo>
                  <a:lnTo>
                    <a:pt x="209" y="259"/>
                  </a:lnTo>
                  <a:lnTo>
                    <a:pt x="210" y="265"/>
                  </a:lnTo>
                  <a:lnTo>
                    <a:pt x="212" y="265"/>
                  </a:lnTo>
                  <a:lnTo>
                    <a:pt x="210" y="267"/>
                  </a:lnTo>
                  <a:lnTo>
                    <a:pt x="210" y="268"/>
                  </a:lnTo>
                  <a:lnTo>
                    <a:pt x="207" y="268"/>
                  </a:lnTo>
                  <a:lnTo>
                    <a:pt x="207" y="265"/>
                  </a:lnTo>
                  <a:lnTo>
                    <a:pt x="206" y="262"/>
                  </a:lnTo>
                  <a:lnTo>
                    <a:pt x="200" y="262"/>
                  </a:lnTo>
                  <a:lnTo>
                    <a:pt x="198" y="261"/>
                  </a:lnTo>
                  <a:lnTo>
                    <a:pt x="198" y="258"/>
                  </a:lnTo>
                  <a:lnTo>
                    <a:pt x="197" y="258"/>
                  </a:lnTo>
                  <a:lnTo>
                    <a:pt x="195" y="259"/>
                  </a:lnTo>
                  <a:lnTo>
                    <a:pt x="192" y="259"/>
                  </a:lnTo>
                  <a:lnTo>
                    <a:pt x="192" y="261"/>
                  </a:lnTo>
                  <a:lnTo>
                    <a:pt x="191" y="264"/>
                  </a:lnTo>
                  <a:lnTo>
                    <a:pt x="189" y="265"/>
                  </a:lnTo>
                  <a:lnTo>
                    <a:pt x="189" y="267"/>
                  </a:lnTo>
                  <a:lnTo>
                    <a:pt x="191" y="268"/>
                  </a:lnTo>
                  <a:lnTo>
                    <a:pt x="189" y="270"/>
                  </a:lnTo>
                  <a:lnTo>
                    <a:pt x="189" y="273"/>
                  </a:lnTo>
                  <a:lnTo>
                    <a:pt x="191" y="273"/>
                  </a:lnTo>
                  <a:lnTo>
                    <a:pt x="191" y="274"/>
                  </a:lnTo>
                  <a:lnTo>
                    <a:pt x="194" y="277"/>
                  </a:lnTo>
                  <a:lnTo>
                    <a:pt x="194" y="284"/>
                  </a:lnTo>
                  <a:lnTo>
                    <a:pt x="195" y="287"/>
                  </a:lnTo>
                  <a:lnTo>
                    <a:pt x="195" y="289"/>
                  </a:lnTo>
                  <a:lnTo>
                    <a:pt x="197" y="290"/>
                  </a:lnTo>
                  <a:lnTo>
                    <a:pt x="197" y="293"/>
                  </a:lnTo>
                  <a:lnTo>
                    <a:pt x="195" y="292"/>
                  </a:lnTo>
                  <a:lnTo>
                    <a:pt x="191" y="283"/>
                  </a:lnTo>
                  <a:lnTo>
                    <a:pt x="191" y="280"/>
                  </a:lnTo>
                  <a:lnTo>
                    <a:pt x="188" y="278"/>
                  </a:lnTo>
                  <a:lnTo>
                    <a:pt x="188" y="277"/>
                  </a:lnTo>
                  <a:lnTo>
                    <a:pt x="183" y="273"/>
                  </a:lnTo>
                  <a:lnTo>
                    <a:pt x="183" y="265"/>
                  </a:lnTo>
                  <a:lnTo>
                    <a:pt x="182" y="261"/>
                  </a:lnTo>
                  <a:lnTo>
                    <a:pt x="180" y="261"/>
                  </a:lnTo>
                  <a:lnTo>
                    <a:pt x="180" y="259"/>
                  </a:lnTo>
                  <a:lnTo>
                    <a:pt x="179" y="259"/>
                  </a:lnTo>
                  <a:lnTo>
                    <a:pt x="179" y="258"/>
                  </a:lnTo>
                  <a:lnTo>
                    <a:pt x="180" y="258"/>
                  </a:lnTo>
                  <a:lnTo>
                    <a:pt x="180" y="256"/>
                  </a:lnTo>
                  <a:lnTo>
                    <a:pt x="182" y="256"/>
                  </a:lnTo>
                  <a:lnTo>
                    <a:pt x="182" y="252"/>
                  </a:lnTo>
                  <a:lnTo>
                    <a:pt x="183" y="252"/>
                  </a:lnTo>
                  <a:lnTo>
                    <a:pt x="182" y="250"/>
                  </a:lnTo>
                  <a:lnTo>
                    <a:pt x="183" y="249"/>
                  </a:lnTo>
                  <a:lnTo>
                    <a:pt x="183" y="246"/>
                  </a:lnTo>
                  <a:lnTo>
                    <a:pt x="182" y="247"/>
                  </a:lnTo>
                  <a:lnTo>
                    <a:pt x="182" y="249"/>
                  </a:lnTo>
                  <a:lnTo>
                    <a:pt x="180" y="249"/>
                  </a:lnTo>
                  <a:lnTo>
                    <a:pt x="180" y="247"/>
                  </a:lnTo>
                  <a:lnTo>
                    <a:pt x="179" y="246"/>
                  </a:lnTo>
                  <a:lnTo>
                    <a:pt x="180" y="249"/>
                  </a:lnTo>
                  <a:lnTo>
                    <a:pt x="180" y="256"/>
                  </a:lnTo>
                  <a:lnTo>
                    <a:pt x="179" y="256"/>
                  </a:lnTo>
                  <a:lnTo>
                    <a:pt x="178" y="255"/>
                  </a:lnTo>
                  <a:lnTo>
                    <a:pt x="178" y="256"/>
                  </a:lnTo>
                  <a:lnTo>
                    <a:pt x="176" y="256"/>
                  </a:lnTo>
                  <a:lnTo>
                    <a:pt x="175" y="255"/>
                  </a:lnTo>
                  <a:lnTo>
                    <a:pt x="176" y="253"/>
                  </a:lnTo>
                  <a:lnTo>
                    <a:pt x="176" y="250"/>
                  </a:lnTo>
                  <a:lnTo>
                    <a:pt x="175" y="247"/>
                  </a:lnTo>
                  <a:lnTo>
                    <a:pt x="175" y="244"/>
                  </a:lnTo>
                  <a:lnTo>
                    <a:pt x="176" y="244"/>
                  </a:lnTo>
                  <a:lnTo>
                    <a:pt x="176" y="243"/>
                  </a:lnTo>
                  <a:lnTo>
                    <a:pt x="178" y="244"/>
                  </a:lnTo>
                  <a:lnTo>
                    <a:pt x="178" y="243"/>
                  </a:lnTo>
                  <a:lnTo>
                    <a:pt x="179" y="243"/>
                  </a:lnTo>
                  <a:lnTo>
                    <a:pt x="179" y="244"/>
                  </a:lnTo>
                  <a:lnTo>
                    <a:pt x="180" y="244"/>
                  </a:lnTo>
                  <a:lnTo>
                    <a:pt x="182" y="243"/>
                  </a:lnTo>
                  <a:lnTo>
                    <a:pt x="180" y="243"/>
                  </a:lnTo>
                  <a:lnTo>
                    <a:pt x="182" y="241"/>
                  </a:lnTo>
                  <a:lnTo>
                    <a:pt x="179" y="241"/>
                  </a:lnTo>
                  <a:lnTo>
                    <a:pt x="178" y="243"/>
                  </a:lnTo>
                  <a:lnTo>
                    <a:pt x="178" y="240"/>
                  </a:lnTo>
                  <a:lnTo>
                    <a:pt x="179" y="240"/>
                  </a:lnTo>
                  <a:lnTo>
                    <a:pt x="178" y="238"/>
                  </a:lnTo>
                  <a:lnTo>
                    <a:pt x="179" y="238"/>
                  </a:lnTo>
                  <a:lnTo>
                    <a:pt x="179" y="237"/>
                  </a:lnTo>
                  <a:lnTo>
                    <a:pt x="178" y="238"/>
                  </a:lnTo>
                  <a:lnTo>
                    <a:pt x="178" y="234"/>
                  </a:lnTo>
                  <a:lnTo>
                    <a:pt x="176" y="234"/>
                  </a:lnTo>
                  <a:lnTo>
                    <a:pt x="176" y="231"/>
                  </a:lnTo>
                  <a:lnTo>
                    <a:pt x="175" y="226"/>
                  </a:lnTo>
                  <a:lnTo>
                    <a:pt x="175" y="225"/>
                  </a:lnTo>
                  <a:lnTo>
                    <a:pt x="176" y="225"/>
                  </a:lnTo>
                  <a:lnTo>
                    <a:pt x="176" y="223"/>
                  </a:lnTo>
                  <a:lnTo>
                    <a:pt x="175" y="223"/>
                  </a:lnTo>
                  <a:lnTo>
                    <a:pt x="175" y="225"/>
                  </a:lnTo>
                  <a:lnTo>
                    <a:pt x="173" y="223"/>
                  </a:lnTo>
                  <a:lnTo>
                    <a:pt x="173" y="220"/>
                  </a:lnTo>
                  <a:lnTo>
                    <a:pt x="175" y="220"/>
                  </a:lnTo>
                  <a:lnTo>
                    <a:pt x="175" y="217"/>
                  </a:lnTo>
                  <a:lnTo>
                    <a:pt x="173" y="217"/>
                  </a:lnTo>
                  <a:lnTo>
                    <a:pt x="173" y="216"/>
                  </a:lnTo>
                  <a:lnTo>
                    <a:pt x="172" y="216"/>
                  </a:lnTo>
                  <a:lnTo>
                    <a:pt x="175" y="219"/>
                  </a:lnTo>
                  <a:lnTo>
                    <a:pt x="173" y="219"/>
                  </a:lnTo>
                  <a:lnTo>
                    <a:pt x="173" y="220"/>
                  </a:lnTo>
                  <a:lnTo>
                    <a:pt x="172" y="220"/>
                  </a:lnTo>
                  <a:lnTo>
                    <a:pt x="172" y="219"/>
                  </a:lnTo>
                  <a:lnTo>
                    <a:pt x="170" y="213"/>
                  </a:lnTo>
                  <a:lnTo>
                    <a:pt x="170" y="211"/>
                  </a:lnTo>
                  <a:lnTo>
                    <a:pt x="167" y="205"/>
                  </a:lnTo>
                  <a:lnTo>
                    <a:pt x="161" y="196"/>
                  </a:lnTo>
                  <a:lnTo>
                    <a:pt x="160" y="196"/>
                  </a:lnTo>
                  <a:lnTo>
                    <a:pt x="158" y="195"/>
                  </a:lnTo>
                  <a:lnTo>
                    <a:pt x="158" y="193"/>
                  </a:lnTo>
                  <a:lnTo>
                    <a:pt x="157" y="193"/>
                  </a:lnTo>
                  <a:lnTo>
                    <a:pt x="157" y="192"/>
                  </a:lnTo>
                  <a:lnTo>
                    <a:pt x="158" y="190"/>
                  </a:lnTo>
                  <a:lnTo>
                    <a:pt x="158" y="187"/>
                  </a:lnTo>
                  <a:lnTo>
                    <a:pt x="157" y="190"/>
                  </a:lnTo>
                  <a:lnTo>
                    <a:pt x="155" y="190"/>
                  </a:lnTo>
                  <a:lnTo>
                    <a:pt x="155" y="193"/>
                  </a:lnTo>
                  <a:lnTo>
                    <a:pt x="152" y="193"/>
                  </a:lnTo>
                  <a:lnTo>
                    <a:pt x="154" y="195"/>
                  </a:lnTo>
                  <a:lnTo>
                    <a:pt x="151" y="195"/>
                  </a:lnTo>
                  <a:lnTo>
                    <a:pt x="151" y="196"/>
                  </a:lnTo>
                  <a:lnTo>
                    <a:pt x="148" y="196"/>
                  </a:lnTo>
                  <a:lnTo>
                    <a:pt x="146" y="195"/>
                  </a:lnTo>
                  <a:lnTo>
                    <a:pt x="145" y="195"/>
                  </a:lnTo>
                  <a:lnTo>
                    <a:pt x="145" y="198"/>
                  </a:lnTo>
                  <a:lnTo>
                    <a:pt x="146" y="198"/>
                  </a:lnTo>
                  <a:lnTo>
                    <a:pt x="148" y="199"/>
                  </a:lnTo>
                  <a:lnTo>
                    <a:pt x="148" y="202"/>
                  </a:lnTo>
                  <a:lnTo>
                    <a:pt x="146" y="204"/>
                  </a:lnTo>
                  <a:lnTo>
                    <a:pt x="145" y="204"/>
                  </a:lnTo>
                  <a:lnTo>
                    <a:pt x="145" y="205"/>
                  </a:lnTo>
                  <a:lnTo>
                    <a:pt x="142" y="205"/>
                  </a:lnTo>
                  <a:lnTo>
                    <a:pt x="140" y="204"/>
                  </a:lnTo>
                  <a:lnTo>
                    <a:pt x="139" y="204"/>
                  </a:lnTo>
                  <a:lnTo>
                    <a:pt x="139" y="201"/>
                  </a:lnTo>
                  <a:lnTo>
                    <a:pt x="137" y="199"/>
                  </a:lnTo>
                  <a:lnTo>
                    <a:pt x="137" y="202"/>
                  </a:lnTo>
                  <a:lnTo>
                    <a:pt x="133" y="202"/>
                  </a:lnTo>
                  <a:lnTo>
                    <a:pt x="131" y="201"/>
                  </a:lnTo>
                  <a:lnTo>
                    <a:pt x="131" y="199"/>
                  </a:lnTo>
                  <a:lnTo>
                    <a:pt x="130" y="198"/>
                  </a:lnTo>
                  <a:lnTo>
                    <a:pt x="128" y="198"/>
                  </a:lnTo>
                  <a:lnTo>
                    <a:pt x="128" y="195"/>
                  </a:lnTo>
                  <a:lnTo>
                    <a:pt x="127" y="195"/>
                  </a:lnTo>
                  <a:lnTo>
                    <a:pt x="127" y="193"/>
                  </a:lnTo>
                  <a:lnTo>
                    <a:pt x="125" y="193"/>
                  </a:lnTo>
                  <a:lnTo>
                    <a:pt x="125" y="190"/>
                  </a:lnTo>
                  <a:lnTo>
                    <a:pt x="124" y="189"/>
                  </a:lnTo>
                  <a:lnTo>
                    <a:pt x="124" y="186"/>
                  </a:lnTo>
                  <a:lnTo>
                    <a:pt x="122" y="184"/>
                  </a:lnTo>
                  <a:lnTo>
                    <a:pt x="119" y="180"/>
                  </a:lnTo>
                  <a:lnTo>
                    <a:pt x="119" y="171"/>
                  </a:lnTo>
                  <a:lnTo>
                    <a:pt x="121" y="171"/>
                  </a:lnTo>
                  <a:lnTo>
                    <a:pt x="121" y="168"/>
                  </a:lnTo>
                  <a:lnTo>
                    <a:pt x="119" y="166"/>
                  </a:lnTo>
                  <a:lnTo>
                    <a:pt x="121" y="166"/>
                  </a:lnTo>
                  <a:lnTo>
                    <a:pt x="121" y="165"/>
                  </a:lnTo>
                  <a:lnTo>
                    <a:pt x="119" y="166"/>
                  </a:lnTo>
                  <a:lnTo>
                    <a:pt x="118" y="165"/>
                  </a:lnTo>
                  <a:lnTo>
                    <a:pt x="118" y="159"/>
                  </a:lnTo>
                  <a:lnTo>
                    <a:pt x="119" y="157"/>
                  </a:lnTo>
                  <a:lnTo>
                    <a:pt x="122" y="157"/>
                  </a:lnTo>
                  <a:lnTo>
                    <a:pt x="122" y="154"/>
                  </a:lnTo>
                  <a:lnTo>
                    <a:pt x="121" y="154"/>
                  </a:lnTo>
                  <a:lnTo>
                    <a:pt x="122" y="156"/>
                  </a:lnTo>
                  <a:lnTo>
                    <a:pt x="119" y="156"/>
                  </a:lnTo>
                  <a:lnTo>
                    <a:pt x="119" y="157"/>
                  </a:lnTo>
                  <a:lnTo>
                    <a:pt x="118" y="157"/>
                  </a:lnTo>
                  <a:lnTo>
                    <a:pt x="118" y="153"/>
                  </a:lnTo>
                  <a:lnTo>
                    <a:pt x="119" y="153"/>
                  </a:lnTo>
                  <a:lnTo>
                    <a:pt x="119" y="151"/>
                  </a:lnTo>
                  <a:lnTo>
                    <a:pt x="118" y="153"/>
                  </a:lnTo>
                  <a:lnTo>
                    <a:pt x="118" y="151"/>
                  </a:lnTo>
                  <a:lnTo>
                    <a:pt x="115" y="154"/>
                  </a:lnTo>
                  <a:lnTo>
                    <a:pt x="116" y="154"/>
                  </a:lnTo>
                  <a:lnTo>
                    <a:pt x="116" y="160"/>
                  </a:lnTo>
                  <a:lnTo>
                    <a:pt x="115" y="162"/>
                  </a:lnTo>
                  <a:lnTo>
                    <a:pt x="115" y="163"/>
                  </a:lnTo>
                  <a:lnTo>
                    <a:pt x="113" y="162"/>
                  </a:lnTo>
                  <a:lnTo>
                    <a:pt x="104" y="160"/>
                  </a:lnTo>
                  <a:lnTo>
                    <a:pt x="103" y="160"/>
                  </a:lnTo>
                  <a:lnTo>
                    <a:pt x="101" y="159"/>
                  </a:lnTo>
                  <a:lnTo>
                    <a:pt x="101" y="160"/>
                  </a:lnTo>
                  <a:lnTo>
                    <a:pt x="107" y="163"/>
                  </a:lnTo>
                  <a:lnTo>
                    <a:pt x="109" y="163"/>
                  </a:lnTo>
                  <a:lnTo>
                    <a:pt x="109" y="165"/>
                  </a:lnTo>
                  <a:lnTo>
                    <a:pt x="110" y="166"/>
                  </a:lnTo>
                  <a:lnTo>
                    <a:pt x="112" y="166"/>
                  </a:lnTo>
                  <a:lnTo>
                    <a:pt x="112" y="165"/>
                  </a:lnTo>
                  <a:lnTo>
                    <a:pt x="110" y="163"/>
                  </a:lnTo>
                  <a:lnTo>
                    <a:pt x="113" y="163"/>
                  </a:lnTo>
                  <a:lnTo>
                    <a:pt x="116" y="166"/>
                  </a:lnTo>
                  <a:lnTo>
                    <a:pt x="113" y="166"/>
                  </a:lnTo>
                  <a:lnTo>
                    <a:pt x="116" y="168"/>
                  </a:lnTo>
                  <a:lnTo>
                    <a:pt x="118" y="169"/>
                  </a:lnTo>
                  <a:lnTo>
                    <a:pt x="118" y="175"/>
                  </a:lnTo>
                  <a:lnTo>
                    <a:pt x="116" y="178"/>
                  </a:lnTo>
                  <a:lnTo>
                    <a:pt x="113" y="178"/>
                  </a:lnTo>
                  <a:lnTo>
                    <a:pt x="113" y="180"/>
                  </a:lnTo>
                  <a:lnTo>
                    <a:pt x="112" y="181"/>
                  </a:lnTo>
                  <a:lnTo>
                    <a:pt x="112" y="180"/>
                  </a:lnTo>
                  <a:lnTo>
                    <a:pt x="110" y="178"/>
                  </a:lnTo>
                  <a:lnTo>
                    <a:pt x="110" y="180"/>
                  </a:lnTo>
                  <a:lnTo>
                    <a:pt x="112" y="181"/>
                  </a:lnTo>
                  <a:lnTo>
                    <a:pt x="112" y="183"/>
                  </a:lnTo>
                  <a:lnTo>
                    <a:pt x="113" y="184"/>
                  </a:lnTo>
                  <a:lnTo>
                    <a:pt x="113" y="186"/>
                  </a:lnTo>
                  <a:lnTo>
                    <a:pt x="115" y="186"/>
                  </a:lnTo>
                  <a:lnTo>
                    <a:pt x="115" y="187"/>
                  </a:lnTo>
                  <a:lnTo>
                    <a:pt x="112" y="187"/>
                  </a:lnTo>
                  <a:lnTo>
                    <a:pt x="110" y="189"/>
                  </a:lnTo>
                  <a:lnTo>
                    <a:pt x="110" y="192"/>
                  </a:lnTo>
                  <a:lnTo>
                    <a:pt x="109" y="192"/>
                  </a:lnTo>
                  <a:lnTo>
                    <a:pt x="109" y="193"/>
                  </a:lnTo>
                  <a:lnTo>
                    <a:pt x="107" y="193"/>
                  </a:lnTo>
                  <a:lnTo>
                    <a:pt x="107" y="195"/>
                  </a:lnTo>
                  <a:lnTo>
                    <a:pt x="112" y="195"/>
                  </a:lnTo>
                  <a:lnTo>
                    <a:pt x="112" y="196"/>
                  </a:lnTo>
                  <a:lnTo>
                    <a:pt x="113" y="196"/>
                  </a:lnTo>
                  <a:lnTo>
                    <a:pt x="113" y="202"/>
                  </a:lnTo>
                  <a:lnTo>
                    <a:pt x="115" y="202"/>
                  </a:lnTo>
                  <a:lnTo>
                    <a:pt x="116" y="204"/>
                  </a:lnTo>
                  <a:lnTo>
                    <a:pt x="116" y="205"/>
                  </a:lnTo>
                  <a:lnTo>
                    <a:pt x="118" y="207"/>
                  </a:lnTo>
                  <a:lnTo>
                    <a:pt x="118" y="208"/>
                  </a:lnTo>
                  <a:lnTo>
                    <a:pt x="116" y="208"/>
                  </a:lnTo>
                  <a:lnTo>
                    <a:pt x="116" y="210"/>
                  </a:lnTo>
                  <a:lnTo>
                    <a:pt x="118" y="210"/>
                  </a:lnTo>
                  <a:lnTo>
                    <a:pt x="118" y="216"/>
                  </a:lnTo>
                  <a:lnTo>
                    <a:pt x="116" y="220"/>
                  </a:lnTo>
                  <a:lnTo>
                    <a:pt x="116" y="222"/>
                  </a:lnTo>
                  <a:lnTo>
                    <a:pt x="113" y="222"/>
                  </a:lnTo>
                  <a:lnTo>
                    <a:pt x="113" y="223"/>
                  </a:lnTo>
                  <a:lnTo>
                    <a:pt x="112" y="225"/>
                  </a:lnTo>
                  <a:lnTo>
                    <a:pt x="112" y="226"/>
                  </a:lnTo>
                  <a:lnTo>
                    <a:pt x="110" y="228"/>
                  </a:lnTo>
                  <a:lnTo>
                    <a:pt x="109" y="228"/>
                  </a:lnTo>
                  <a:lnTo>
                    <a:pt x="109" y="226"/>
                  </a:lnTo>
                  <a:lnTo>
                    <a:pt x="107" y="226"/>
                  </a:lnTo>
                  <a:lnTo>
                    <a:pt x="109" y="225"/>
                  </a:lnTo>
                  <a:lnTo>
                    <a:pt x="107" y="225"/>
                  </a:lnTo>
                  <a:lnTo>
                    <a:pt x="107" y="228"/>
                  </a:lnTo>
                  <a:lnTo>
                    <a:pt x="106" y="229"/>
                  </a:lnTo>
                  <a:lnTo>
                    <a:pt x="106" y="231"/>
                  </a:lnTo>
                  <a:lnTo>
                    <a:pt x="104" y="232"/>
                  </a:lnTo>
                  <a:lnTo>
                    <a:pt x="104" y="235"/>
                  </a:lnTo>
                  <a:lnTo>
                    <a:pt x="103" y="237"/>
                  </a:lnTo>
                  <a:lnTo>
                    <a:pt x="103" y="238"/>
                  </a:lnTo>
                  <a:lnTo>
                    <a:pt x="100" y="240"/>
                  </a:lnTo>
                  <a:lnTo>
                    <a:pt x="100" y="241"/>
                  </a:lnTo>
                  <a:lnTo>
                    <a:pt x="98" y="241"/>
                  </a:lnTo>
                  <a:lnTo>
                    <a:pt x="95" y="240"/>
                  </a:lnTo>
                  <a:lnTo>
                    <a:pt x="94" y="240"/>
                  </a:lnTo>
                  <a:lnTo>
                    <a:pt x="94" y="238"/>
                  </a:lnTo>
                  <a:lnTo>
                    <a:pt x="95" y="238"/>
                  </a:lnTo>
                  <a:lnTo>
                    <a:pt x="95" y="235"/>
                  </a:lnTo>
                  <a:lnTo>
                    <a:pt x="94" y="237"/>
                  </a:lnTo>
                  <a:lnTo>
                    <a:pt x="94" y="238"/>
                  </a:lnTo>
                  <a:lnTo>
                    <a:pt x="91" y="238"/>
                  </a:lnTo>
                  <a:lnTo>
                    <a:pt x="91" y="237"/>
                  </a:lnTo>
                  <a:lnTo>
                    <a:pt x="92" y="234"/>
                  </a:lnTo>
                  <a:lnTo>
                    <a:pt x="92" y="232"/>
                  </a:lnTo>
                  <a:lnTo>
                    <a:pt x="94" y="232"/>
                  </a:lnTo>
                  <a:lnTo>
                    <a:pt x="94" y="231"/>
                  </a:lnTo>
                  <a:lnTo>
                    <a:pt x="92" y="231"/>
                  </a:lnTo>
                  <a:lnTo>
                    <a:pt x="92" y="232"/>
                  </a:lnTo>
                  <a:lnTo>
                    <a:pt x="91" y="232"/>
                  </a:lnTo>
                  <a:lnTo>
                    <a:pt x="89" y="231"/>
                  </a:lnTo>
                  <a:lnTo>
                    <a:pt x="91" y="231"/>
                  </a:lnTo>
                  <a:lnTo>
                    <a:pt x="91" y="229"/>
                  </a:lnTo>
                  <a:lnTo>
                    <a:pt x="92" y="228"/>
                  </a:lnTo>
                  <a:lnTo>
                    <a:pt x="92" y="225"/>
                  </a:lnTo>
                  <a:lnTo>
                    <a:pt x="94" y="223"/>
                  </a:lnTo>
                  <a:lnTo>
                    <a:pt x="92" y="223"/>
                  </a:lnTo>
                  <a:lnTo>
                    <a:pt x="92" y="225"/>
                  </a:lnTo>
                  <a:lnTo>
                    <a:pt x="91" y="226"/>
                  </a:lnTo>
                  <a:lnTo>
                    <a:pt x="91" y="228"/>
                  </a:lnTo>
                  <a:lnTo>
                    <a:pt x="89" y="229"/>
                  </a:lnTo>
                  <a:lnTo>
                    <a:pt x="89" y="232"/>
                  </a:lnTo>
                  <a:lnTo>
                    <a:pt x="88" y="232"/>
                  </a:lnTo>
                  <a:lnTo>
                    <a:pt x="86" y="231"/>
                  </a:lnTo>
                  <a:lnTo>
                    <a:pt x="86" y="225"/>
                  </a:lnTo>
                  <a:lnTo>
                    <a:pt x="85" y="223"/>
                  </a:lnTo>
                  <a:lnTo>
                    <a:pt x="85" y="214"/>
                  </a:lnTo>
                  <a:lnTo>
                    <a:pt x="89" y="210"/>
                  </a:lnTo>
                  <a:lnTo>
                    <a:pt x="89" y="208"/>
                  </a:lnTo>
                  <a:lnTo>
                    <a:pt x="88" y="210"/>
                  </a:lnTo>
                  <a:lnTo>
                    <a:pt x="86" y="210"/>
                  </a:lnTo>
                  <a:lnTo>
                    <a:pt x="86" y="211"/>
                  </a:lnTo>
                  <a:lnTo>
                    <a:pt x="85" y="211"/>
                  </a:lnTo>
                  <a:lnTo>
                    <a:pt x="85" y="214"/>
                  </a:lnTo>
                  <a:lnTo>
                    <a:pt x="83" y="219"/>
                  </a:lnTo>
                  <a:lnTo>
                    <a:pt x="83" y="220"/>
                  </a:lnTo>
                  <a:lnTo>
                    <a:pt x="85" y="225"/>
                  </a:lnTo>
                  <a:lnTo>
                    <a:pt x="85" y="226"/>
                  </a:lnTo>
                  <a:lnTo>
                    <a:pt x="83" y="228"/>
                  </a:lnTo>
                  <a:lnTo>
                    <a:pt x="82" y="228"/>
                  </a:lnTo>
                  <a:lnTo>
                    <a:pt x="82" y="229"/>
                  </a:lnTo>
                  <a:lnTo>
                    <a:pt x="83" y="229"/>
                  </a:lnTo>
                  <a:lnTo>
                    <a:pt x="83" y="234"/>
                  </a:lnTo>
                  <a:lnTo>
                    <a:pt x="85" y="235"/>
                  </a:lnTo>
                  <a:lnTo>
                    <a:pt x="85" y="237"/>
                  </a:lnTo>
                  <a:lnTo>
                    <a:pt x="83" y="237"/>
                  </a:lnTo>
                  <a:lnTo>
                    <a:pt x="82" y="238"/>
                  </a:lnTo>
                  <a:lnTo>
                    <a:pt x="82" y="240"/>
                  </a:lnTo>
                  <a:lnTo>
                    <a:pt x="79" y="240"/>
                  </a:lnTo>
                  <a:lnTo>
                    <a:pt x="79" y="238"/>
                  </a:lnTo>
                  <a:lnTo>
                    <a:pt x="77" y="240"/>
                  </a:lnTo>
                  <a:lnTo>
                    <a:pt x="74" y="240"/>
                  </a:lnTo>
                  <a:lnTo>
                    <a:pt x="74" y="235"/>
                  </a:lnTo>
                  <a:lnTo>
                    <a:pt x="73" y="238"/>
                  </a:lnTo>
                  <a:lnTo>
                    <a:pt x="74" y="240"/>
                  </a:lnTo>
                  <a:lnTo>
                    <a:pt x="74" y="241"/>
                  </a:lnTo>
                  <a:lnTo>
                    <a:pt x="76" y="241"/>
                  </a:lnTo>
                  <a:lnTo>
                    <a:pt x="76" y="243"/>
                  </a:lnTo>
                  <a:lnTo>
                    <a:pt x="74" y="244"/>
                  </a:lnTo>
                  <a:lnTo>
                    <a:pt x="74" y="243"/>
                  </a:lnTo>
                  <a:lnTo>
                    <a:pt x="71" y="243"/>
                  </a:lnTo>
                  <a:lnTo>
                    <a:pt x="71" y="246"/>
                  </a:lnTo>
                  <a:lnTo>
                    <a:pt x="70" y="246"/>
                  </a:lnTo>
                  <a:lnTo>
                    <a:pt x="68" y="243"/>
                  </a:lnTo>
                  <a:lnTo>
                    <a:pt x="68" y="238"/>
                  </a:lnTo>
                  <a:lnTo>
                    <a:pt x="70" y="238"/>
                  </a:lnTo>
                  <a:lnTo>
                    <a:pt x="70" y="232"/>
                  </a:lnTo>
                  <a:lnTo>
                    <a:pt x="68" y="232"/>
                  </a:lnTo>
                  <a:lnTo>
                    <a:pt x="68" y="228"/>
                  </a:lnTo>
                  <a:lnTo>
                    <a:pt x="67" y="229"/>
                  </a:lnTo>
                  <a:lnTo>
                    <a:pt x="67" y="231"/>
                  </a:lnTo>
                  <a:lnTo>
                    <a:pt x="68" y="232"/>
                  </a:lnTo>
                  <a:lnTo>
                    <a:pt x="68" y="235"/>
                  </a:lnTo>
                  <a:lnTo>
                    <a:pt x="67" y="237"/>
                  </a:lnTo>
                  <a:lnTo>
                    <a:pt x="65" y="237"/>
                  </a:lnTo>
                  <a:lnTo>
                    <a:pt x="65" y="243"/>
                  </a:lnTo>
                  <a:lnTo>
                    <a:pt x="62" y="246"/>
                  </a:lnTo>
                  <a:lnTo>
                    <a:pt x="61" y="244"/>
                  </a:lnTo>
                  <a:lnTo>
                    <a:pt x="61" y="238"/>
                  </a:lnTo>
                  <a:lnTo>
                    <a:pt x="62" y="237"/>
                  </a:lnTo>
                  <a:lnTo>
                    <a:pt x="62" y="235"/>
                  </a:lnTo>
                  <a:lnTo>
                    <a:pt x="61" y="234"/>
                  </a:lnTo>
                  <a:lnTo>
                    <a:pt x="61" y="232"/>
                  </a:lnTo>
                  <a:lnTo>
                    <a:pt x="59" y="234"/>
                  </a:lnTo>
                  <a:lnTo>
                    <a:pt x="61" y="235"/>
                  </a:lnTo>
                  <a:lnTo>
                    <a:pt x="61" y="237"/>
                  </a:lnTo>
                  <a:lnTo>
                    <a:pt x="59" y="237"/>
                  </a:lnTo>
                  <a:lnTo>
                    <a:pt x="59" y="238"/>
                  </a:lnTo>
                  <a:lnTo>
                    <a:pt x="58" y="240"/>
                  </a:lnTo>
                  <a:lnTo>
                    <a:pt x="56" y="240"/>
                  </a:lnTo>
                  <a:lnTo>
                    <a:pt x="58" y="241"/>
                  </a:lnTo>
                  <a:lnTo>
                    <a:pt x="58" y="244"/>
                  </a:lnTo>
                  <a:lnTo>
                    <a:pt x="56" y="246"/>
                  </a:lnTo>
                  <a:lnTo>
                    <a:pt x="56" y="247"/>
                  </a:lnTo>
                  <a:lnTo>
                    <a:pt x="58" y="247"/>
                  </a:lnTo>
                  <a:lnTo>
                    <a:pt x="56" y="249"/>
                  </a:lnTo>
                  <a:lnTo>
                    <a:pt x="53" y="249"/>
                  </a:lnTo>
                  <a:lnTo>
                    <a:pt x="53" y="246"/>
                  </a:lnTo>
                  <a:lnTo>
                    <a:pt x="55" y="246"/>
                  </a:lnTo>
                  <a:lnTo>
                    <a:pt x="53" y="241"/>
                  </a:lnTo>
                  <a:lnTo>
                    <a:pt x="52" y="240"/>
                  </a:lnTo>
                  <a:lnTo>
                    <a:pt x="52" y="241"/>
                  </a:lnTo>
                  <a:lnTo>
                    <a:pt x="49" y="241"/>
                  </a:lnTo>
                  <a:lnTo>
                    <a:pt x="49" y="240"/>
                  </a:lnTo>
                  <a:lnTo>
                    <a:pt x="47" y="237"/>
                  </a:lnTo>
                  <a:lnTo>
                    <a:pt x="47" y="240"/>
                  </a:lnTo>
                  <a:lnTo>
                    <a:pt x="46" y="237"/>
                  </a:lnTo>
                  <a:lnTo>
                    <a:pt x="46" y="235"/>
                  </a:lnTo>
                  <a:lnTo>
                    <a:pt x="47" y="235"/>
                  </a:lnTo>
                  <a:lnTo>
                    <a:pt x="49" y="232"/>
                  </a:lnTo>
                  <a:lnTo>
                    <a:pt x="49" y="231"/>
                  </a:lnTo>
                  <a:lnTo>
                    <a:pt x="47" y="231"/>
                  </a:lnTo>
                  <a:lnTo>
                    <a:pt x="47" y="220"/>
                  </a:lnTo>
                  <a:lnTo>
                    <a:pt x="44" y="219"/>
                  </a:lnTo>
                  <a:lnTo>
                    <a:pt x="44" y="214"/>
                  </a:lnTo>
                  <a:lnTo>
                    <a:pt x="43" y="213"/>
                  </a:lnTo>
                  <a:lnTo>
                    <a:pt x="43" y="211"/>
                  </a:lnTo>
                  <a:lnTo>
                    <a:pt x="44" y="211"/>
                  </a:lnTo>
                  <a:lnTo>
                    <a:pt x="44" y="208"/>
                  </a:lnTo>
                  <a:lnTo>
                    <a:pt x="43" y="207"/>
                  </a:lnTo>
                  <a:lnTo>
                    <a:pt x="43" y="205"/>
                  </a:lnTo>
                  <a:lnTo>
                    <a:pt x="41" y="204"/>
                  </a:lnTo>
                  <a:lnTo>
                    <a:pt x="41" y="198"/>
                  </a:lnTo>
                  <a:lnTo>
                    <a:pt x="40" y="196"/>
                  </a:lnTo>
                  <a:lnTo>
                    <a:pt x="40" y="193"/>
                  </a:lnTo>
                  <a:lnTo>
                    <a:pt x="41" y="193"/>
                  </a:lnTo>
                  <a:lnTo>
                    <a:pt x="41" y="189"/>
                  </a:lnTo>
                  <a:lnTo>
                    <a:pt x="40" y="189"/>
                  </a:lnTo>
                  <a:lnTo>
                    <a:pt x="40" y="187"/>
                  </a:lnTo>
                  <a:lnTo>
                    <a:pt x="38" y="186"/>
                  </a:lnTo>
                  <a:lnTo>
                    <a:pt x="38" y="184"/>
                  </a:lnTo>
                  <a:lnTo>
                    <a:pt x="37" y="184"/>
                  </a:lnTo>
                  <a:lnTo>
                    <a:pt x="37" y="178"/>
                  </a:lnTo>
                  <a:lnTo>
                    <a:pt x="38" y="177"/>
                  </a:lnTo>
                  <a:lnTo>
                    <a:pt x="40" y="174"/>
                  </a:lnTo>
                  <a:lnTo>
                    <a:pt x="41" y="174"/>
                  </a:lnTo>
                  <a:lnTo>
                    <a:pt x="41" y="172"/>
                  </a:lnTo>
                  <a:lnTo>
                    <a:pt x="43" y="172"/>
                  </a:lnTo>
                  <a:lnTo>
                    <a:pt x="41" y="171"/>
                  </a:lnTo>
                  <a:lnTo>
                    <a:pt x="37" y="171"/>
                  </a:lnTo>
                  <a:lnTo>
                    <a:pt x="35" y="169"/>
                  </a:lnTo>
                  <a:lnTo>
                    <a:pt x="35" y="171"/>
                  </a:lnTo>
                  <a:lnTo>
                    <a:pt x="34" y="171"/>
                  </a:lnTo>
                  <a:lnTo>
                    <a:pt x="31" y="169"/>
                  </a:lnTo>
                  <a:lnTo>
                    <a:pt x="29" y="169"/>
                  </a:lnTo>
                  <a:lnTo>
                    <a:pt x="29" y="166"/>
                  </a:lnTo>
                  <a:lnTo>
                    <a:pt x="31" y="165"/>
                  </a:lnTo>
                  <a:lnTo>
                    <a:pt x="34" y="159"/>
                  </a:lnTo>
                  <a:lnTo>
                    <a:pt x="34" y="157"/>
                  </a:lnTo>
                  <a:lnTo>
                    <a:pt x="32" y="157"/>
                  </a:lnTo>
                  <a:lnTo>
                    <a:pt x="32" y="159"/>
                  </a:lnTo>
                  <a:lnTo>
                    <a:pt x="31" y="159"/>
                  </a:lnTo>
                  <a:lnTo>
                    <a:pt x="31" y="157"/>
                  </a:lnTo>
                  <a:lnTo>
                    <a:pt x="29" y="157"/>
                  </a:lnTo>
                  <a:lnTo>
                    <a:pt x="28" y="156"/>
                  </a:lnTo>
                  <a:lnTo>
                    <a:pt x="26" y="153"/>
                  </a:lnTo>
                  <a:lnTo>
                    <a:pt x="25" y="153"/>
                  </a:lnTo>
                  <a:lnTo>
                    <a:pt x="23" y="151"/>
                  </a:lnTo>
                  <a:lnTo>
                    <a:pt x="23" y="142"/>
                  </a:lnTo>
                  <a:lnTo>
                    <a:pt x="25" y="142"/>
                  </a:lnTo>
                  <a:lnTo>
                    <a:pt x="25" y="139"/>
                  </a:lnTo>
                  <a:lnTo>
                    <a:pt x="26" y="138"/>
                  </a:lnTo>
                  <a:lnTo>
                    <a:pt x="28" y="139"/>
                  </a:lnTo>
                  <a:lnTo>
                    <a:pt x="28" y="138"/>
                  </a:lnTo>
                  <a:lnTo>
                    <a:pt x="29" y="138"/>
                  </a:lnTo>
                  <a:lnTo>
                    <a:pt x="31" y="136"/>
                  </a:lnTo>
                  <a:lnTo>
                    <a:pt x="31" y="129"/>
                  </a:lnTo>
                  <a:lnTo>
                    <a:pt x="29" y="129"/>
                  </a:lnTo>
                  <a:lnTo>
                    <a:pt x="29" y="123"/>
                  </a:lnTo>
                  <a:lnTo>
                    <a:pt x="32" y="123"/>
                  </a:lnTo>
                  <a:lnTo>
                    <a:pt x="32" y="117"/>
                  </a:lnTo>
                  <a:lnTo>
                    <a:pt x="31" y="117"/>
                  </a:lnTo>
                  <a:lnTo>
                    <a:pt x="29" y="115"/>
                  </a:lnTo>
                  <a:lnTo>
                    <a:pt x="28" y="115"/>
                  </a:lnTo>
                  <a:lnTo>
                    <a:pt x="28" y="117"/>
                  </a:lnTo>
                  <a:lnTo>
                    <a:pt x="20" y="117"/>
                  </a:lnTo>
                  <a:lnTo>
                    <a:pt x="16" y="114"/>
                  </a:lnTo>
                  <a:lnTo>
                    <a:pt x="4" y="106"/>
                  </a:lnTo>
                  <a:lnTo>
                    <a:pt x="3" y="106"/>
                  </a:lnTo>
                  <a:lnTo>
                    <a:pt x="3" y="102"/>
                  </a:lnTo>
                  <a:lnTo>
                    <a:pt x="1" y="102"/>
                  </a:lnTo>
                  <a:lnTo>
                    <a:pt x="1" y="100"/>
                  </a:lnTo>
                  <a:lnTo>
                    <a:pt x="0" y="100"/>
                  </a:lnTo>
                  <a:lnTo>
                    <a:pt x="0" y="97"/>
                  </a:lnTo>
                  <a:lnTo>
                    <a:pt x="1" y="96"/>
                  </a:lnTo>
                  <a:lnTo>
                    <a:pt x="1" y="94"/>
                  </a:lnTo>
                  <a:lnTo>
                    <a:pt x="3" y="93"/>
                  </a:lnTo>
                  <a:lnTo>
                    <a:pt x="3" y="91"/>
                  </a:lnTo>
                  <a:lnTo>
                    <a:pt x="4" y="91"/>
                  </a:lnTo>
                  <a:lnTo>
                    <a:pt x="4" y="85"/>
                  </a:lnTo>
                  <a:lnTo>
                    <a:pt x="6" y="85"/>
                  </a:lnTo>
                  <a:lnTo>
                    <a:pt x="7" y="84"/>
                  </a:lnTo>
                  <a:lnTo>
                    <a:pt x="10" y="87"/>
                  </a:lnTo>
                  <a:lnTo>
                    <a:pt x="10" y="88"/>
                  </a:lnTo>
                  <a:lnTo>
                    <a:pt x="13" y="88"/>
                  </a:lnTo>
                  <a:lnTo>
                    <a:pt x="15" y="87"/>
                  </a:lnTo>
                  <a:lnTo>
                    <a:pt x="16" y="84"/>
                  </a:lnTo>
                  <a:lnTo>
                    <a:pt x="16" y="82"/>
                  </a:lnTo>
                  <a:lnTo>
                    <a:pt x="18" y="81"/>
                  </a:lnTo>
                  <a:lnTo>
                    <a:pt x="18" y="73"/>
                  </a:lnTo>
                  <a:lnTo>
                    <a:pt x="19" y="72"/>
                  </a:lnTo>
                  <a:lnTo>
                    <a:pt x="22" y="72"/>
                  </a:lnTo>
                  <a:lnTo>
                    <a:pt x="23" y="73"/>
                  </a:lnTo>
                  <a:lnTo>
                    <a:pt x="25" y="73"/>
                  </a:lnTo>
                  <a:lnTo>
                    <a:pt x="25" y="72"/>
                  </a:lnTo>
                  <a:lnTo>
                    <a:pt x="28" y="72"/>
                  </a:lnTo>
                  <a:lnTo>
                    <a:pt x="31" y="73"/>
                  </a:lnTo>
                  <a:lnTo>
                    <a:pt x="34" y="73"/>
                  </a:lnTo>
                  <a:lnTo>
                    <a:pt x="35" y="72"/>
                  </a:lnTo>
                  <a:lnTo>
                    <a:pt x="37" y="72"/>
                  </a:lnTo>
                  <a:lnTo>
                    <a:pt x="40" y="73"/>
                  </a:lnTo>
                  <a:lnTo>
                    <a:pt x="40" y="72"/>
                  </a:lnTo>
                  <a:lnTo>
                    <a:pt x="41" y="72"/>
                  </a:lnTo>
                  <a:lnTo>
                    <a:pt x="41" y="69"/>
                  </a:lnTo>
                  <a:lnTo>
                    <a:pt x="43" y="69"/>
                  </a:lnTo>
                  <a:lnTo>
                    <a:pt x="43" y="66"/>
                  </a:lnTo>
                  <a:lnTo>
                    <a:pt x="37" y="66"/>
                  </a:lnTo>
                  <a:lnTo>
                    <a:pt x="37" y="64"/>
                  </a:lnTo>
                  <a:lnTo>
                    <a:pt x="35" y="63"/>
                  </a:lnTo>
                  <a:lnTo>
                    <a:pt x="35" y="58"/>
                  </a:lnTo>
                  <a:lnTo>
                    <a:pt x="32" y="55"/>
                  </a:lnTo>
                  <a:lnTo>
                    <a:pt x="32" y="57"/>
                  </a:lnTo>
                  <a:lnTo>
                    <a:pt x="29" y="57"/>
                  </a:lnTo>
                  <a:lnTo>
                    <a:pt x="29" y="58"/>
                  </a:lnTo>
                  <a:lnTo>
                    <a:pt x="28" y="58"/>
                  </a:lnTo>
                  <a:lnTo>
                    <a:pt x="26" y="57"/>
                  </a:lnTo>
                  <a:lnTo>
                    <a:pt x="22" y="57"/>
                  </a:lnTo>
                  <a:lnTo>
                    <a:pt x="22" y="55"/>
                  </a:lnTo>
                  <a:lnTo>
                    <a:pt x="19" y="52"/>
                  </a:lnTo>
                  <a:lnTo>
                    <a:pt x="18" y="52"/>
                  </a:lnTo>
                  <a:lnTo>
                    <a:pt x="18" y="48"/>
                  </a:lnTo>
                  <a:lnTo>
                    <a:pt x="16" y="48"/>
                  </a:lnTo>
                  <a:lnTo>
                    <a:pt x="9" y="40"/>
                  </a:lnTo>
                  <a:lnTo>
                    <a:pt x="7" y="42"/>
                  </a:lnTo>
                  <a:lnTo>
                    <a:pt x="4" y="42"/>
                  </a:lnTo>
                  <a:lnTo>
                    <a:pt x="3" y="40"/>
                  </a:lnTo>
                  <a:lnTo>
                    <a:pt x="3" y="37"/>
                  </a:lnTo>
                  <a:lnTo>
                    <a:pt x="1" y="36"/>
                  </a:lnTo>
                  <a:lnTo>
                    <a:pt x="3" y="36"/>
                  </a:lnTo>
                  <a:lnTo>
                    <a:pt x="3" y="31"/>
                  </a:lnTo>
                  <a:lnTo>
                    <a:pt x="4" y="30"/>
                  </a:lnTo>
                  <a:lnTo>
                    <a:pt x="6" y="30"/>
                  </a:lnTo>
                  <a:lnTo>
                    <a:pt x="6" y="27"/>
                  </a:lnTo>
                  <a:lnTo>
                    <a:pt x="4" y="27"/>
                  </a:lnTo>
                  <a:lnTo>
                    <a:pt x="6" y="25"/>
                  </a:lnTo>
                  <a:lnTo>
                    <a:pt x="6" y="24"/>
                  </a:lnTo>
                  <a:lnTo>
                    <a:pt x="7" y="22"/>
                  </a:lnTo>
                  <a:lnTo>
                    <a:pt x="9" y="22"/>
                  </a:lnTo>
                  <a:lnTo>
                    <a:pt x="9" y="21"/>
                  </a:lnTo>
                  <a:lnTo>
                    <a:pt x="13" y="21"/>
                  </a:lnTo>
                  <a:lnTo>
                    <a:pt x="13" y="16"/>
                  </a:lnTo>
                  <a:lnTo>
                    <a:pt x="15" y="15"/>
                  </a:lnTo>
                  <a:lnTo>
                    <a:pt x="18" y="14"/>
                  </a:lnTo>
                  <a:lnTo>
                    <a:pt x="18" y="12"/>
                  </a:lnTo>
                  <a:lnTo>
                    <a:pt x="19" y="14"/>
                  </a:lnTo>
                  <a:lnTo>
                    <a:pt x="20" y="14"/>
                  </a:lnTo>
                  <a:lnTo>
                    <a:pt x="20" y="9"/>
                  </a:lnTo>
                  <a:lnTo>
                    <a:pt x="19" y="8"/>
                  </a:lnTo>
                  <a:lnTo>
                    <a:pt x="16" y="8"/>
                  </a:lnTo>
                  <a:lnTo>
                    <a:pt x="15" y="6"/>
                  </a:lnTo>
                  <a:lnTo>
                    <a:pt x="15" y="8"/>
                  </a:lnTo>
                  <a:lnTo>
                    <a:pt x="13" y="8"/>
                  </a:lnTo>
                  <a:lnTo>
                    <a:pt x="13" y="5"/>
                  </a:lnTo>
                  <a:lnTo>
                    <a:pt x="15" y="2"/>
                  </a:lnTo>
                  <a:lnTo>
                    <a:pt x="16"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15" name="ZoneTexte 114">
            <a:extLst>
              <a:ext uri="{FF2B5EF4-FFF2-40B4-BE49-F238E27FC236}">
                <a16:creationId xmlns:a16="http://schemas.microsoft.com/office/drawing/2014/main" id="{3E08FCB2-996D-D857-2352-C657CE4F2664}"/>
              </a:ext>
            </a:extLst>
          </p:cNvPr>
          <p:cNvSpPr txBox="1"/>
          <p:nvPr/>
        </p:nvSpPr>
        <p:spPr>
          <a:xfrm>
            <a:off x="198018" y="2167979"/>
            <a:ext cx="1717308" cy="600164"/>
          </a:xfrm>
          <a:prstGeom prst="rect">
            <a:avLst/>
          </a:prstGeom>
          <a:noFill/>
        </p:spPr>
        <p:txBody>
          <a:bodyPr wrap="square" rtlCol="0">
            <a:spAutoFit/>
          </a:bodyPr>
          <a:lstStyle/>
          <a:p>
            <a:r>
              <a:rPr lang="en-GB" sz="1100" b="1" i="1">
                <a:solidFill>
                  <a:schemeClr val="accent2"/>
                </a:solidFill>
                <a:latin typeface="Raleway" pitchFamily="2" charset="0"/>
              </a:rPr>
              <a:t>National Institute of Health</a:t>
            </a:r>
          </a:p>
          <a:p>
            <a:r>
              <a:rPr lang="en-GB" sz="1100" b="1">
                <a:latin typeface="Raleway" pitchFamily="2" charset="0"/>
              </a:rPr>
              <a:t>Pakistan</a:t>
            </a:r>
            <a:endParaRPr lang="en-GB" sz="1100" b="1">
              <a:solidFill>
                <a:schemeClr val="accent2"/>
              </a:solidFill>
              <a:latin typeface="Raleway" pitchFamily="2" charset="0"/>
            </a:endParaRPr>
          </a:p>
        </p:txBody>
      </p:sp>
      <p:sp>
        <p:nvSpPr>
          <p:cNvPr id="117" name="ZoneTexte 116">
            <a:extLst>
              <a:ext uri="{FF2B5EF4-FFF2-40B4-BE49-F238E27FC236}">
                <a16:creationId xmlns:a16="http://schemas.microsoft.com/office/drawing/2014/main" id="{288717BD-6147-B773-30F8-1294A19EEC1B}"/>
              </a:ext>
            </a:extLst>
          </p:cNvPr>
          <p:cNvSpPr txBox="1"/>
          <p:nvPr/>
        </p:nvSpPr>
        <p:spPr>
          <a:xfrm>
            <a:off x="2645295" y="3477305"/>
            <a:ext cx="1717308" cy="430887"/>
          </a:xfrm>
          <a:prstGeom prst="rect">
            <a:avLst/>
          </a:prstGeom>
          <a:noFill/>
        </p:spPr>
        <p:txBody>
          <a:bodyPr wrap="square" rtlCol="0">
            <a:spAutoFit/>
          </a:bodyPr>
          <a:lstStyle/>
          <a:p>
            <a:r>
              <a:rPr lang="en-GB" sz="1100" b="1" i="1" err="1">
                <a:solidFill>
                  <a:schemeClr val="accent2"/>
                </a:solidFill>
                <a:latin typeface="Raleway" pitchFamily="2" charset="0"/>
              </a:rPr>
              <a:t>Polyvac</a:t>
            </a:r>
            <a:endParaRPr lang="en-GB" sz="1100" b="1" i="1">
              <a:solidFill>
                <a:schemeClr val="accent2"/>
              </a:solidFill>
              <a:latin typeface="Raleway" pitchFamily="2" charset="0"/>
            </a:endParaRPr>
          </a:p>
          <a:p>
            <a:r>
              <a:rPr lang="en-GB" sz="1100" b="1">
                <a:latin typeface="Raleway" pitchFamily="2" charset="0"/>
              </a:rPr>
              <a:t>Vietnam</a:t>
            </a:r>
            <a:endParaRPr lang="en-GB" sz="1100" b="1">
              <a:solidFill>
                <a:schemeClr val="accent2"/>
              </a:solidFill>
              <a:latin typeface="Raleway" pitchFamily="2" charset="0"/>
            </a:endParaRPr>
          </a:p>
        </p:txBody>
      </p:sp>
      <p:sp>
        <p:nvSpPr>
          <p:cNvPr id="118" name="ZoneTexte 117">
            <a:extLst>
              <a:ext uri="{FF2B5EF4-FFF2-40B4-BE49-F238E27FC236}">
                <a16:creationId xmlns:a16="http://schemas.microsoft.com/office/drawing/2014/main" id="{660E16AC-88AD-6539-B19A-612BA872DDF9}"/>
              </a:ext>
            </a:extLst>
          </p:cNvPr>
          <p:cNvSpPr txBox="1"/>
          <p:nvPr/>
        </p:nvSpPr>
        <p:spPr>
          <a:xfrm>
            <a:off x="220547" y="3862778"/>
            <a:ext cx="1205180" cy="600164"/>
          </a:xfrm>
          <a:prstGeom prst="rect">
            <a:avLst/>
          </a:prstGeom>
          <a:noFill/>
        </p:spPr>
        <p:txBody>
          <a:bodyPr wrap="square" rtlCol="0">
            <a:spAutoFit/>
          </a:bodyPr>
          <a:lstStyle/>
          <a:p>
            <a:r>
              <a:rPr lang="en-GB" sz="1100" b="1">
                <a:latin typeface="Raleway" pitchFamily="2" charset="0"/>
              </a:rPr>
              <a:t>Globe Biotech</a:t>
            </a:r>
          </a:p>
          <a:p>
            <a:r>
              <a:rPr lang="en-GB" sz="1100" b="1">
                <a:latin typeface="Raleway" pitchFamily="2" charset="0"/>
              </a:rPr>
              <a:t>Bangladesh </a:t>
            </a:r>
          </a:p>
          <a:p>
            <a:r>
              <a:rPr lang="en-GB" sz="1100" b="1">
                <a:latin typeface="Raleway" pitchFamily="2" charset="0"/>
              </a:rPr>
              <a:t> </a:t>
            </a:r>
          </a:p>
        </p:txBody>
      </p:sp>
      <p:sp>
        <p:nvSpPr>
          <p:cNvPr id="119" name="ZoneTexte 118">
            <a:extLst>
              <a:ext uri="{FF2B5EF4-FFF2-40B4-BE49-F238E27FC236}">
                <a16:creationId xmlns:a16="http://schemas.microsoft.com/office/drawing/2014/main" id="{BD96D7FB-5012-C64F-BC92-C671E55F8F25}"/>
              </a:ext>
            </a:extLst>
          </p:cNvPr>
          <p:cNvSpPr txBox="1"/>
          <p:nvPr/>
        </p:nvSpPr>
        <p:spPr>
          <a:xfrm>
            <a:off x="1937279" y="5042819"/>
            <a:ext cx="1717308" cy="430887"/>
          </a:xfrm>
          <a:prstGeom prst="rect">
            <a:avLst/>
          </a:prstGeom>
          <a:noFill/>
        </p:spPr>
        <p:txBody>
          <a:bodyPr wrap="square" rtlCol="0">
            <a:spAutoFit/>
          </a:bodyPr>
          <a:lstStyle/>
          <a:p>
            <a:r>
              <a:rPr lang="en-GB" sz="1100" b="1" i="1" err="1">
                <a:solidFill>
                  <a:schemeClr val="accent2"/>
                </a:solidFill>
                <a:latin typeface="Raleway" pitchFamily="2" charset="0"/>
              </a:rPr>
              <a:t>Biofarma</a:t>
            </a:r>
            <a:endParaRPr lang="en-GB" sz="1100" b="1" i="1">
              <a:solidFill>
                <a:schemeClr val="accent2"/>
              </a:solidFill>
              <a:latin typeface="Raleway" pitchFamily="2" charset="0"/>
            </a:endParaRPr>
          </a:p>
          <a:p>
            <a:r>
              <a:rPr lang="en-GB" sz="1100" b="1">
                <a:latin typeface="Raleway" pitchFamily="2" charset="0"/>
              </a:rPr>
              <a:t>Indonesia</a:t>
            </a:r>
            <a:endParaRPr lang="en-GB" sz="1100" b="1">
              <a:solidFill>
                <a:schemeClr val="accent2"/>
              </a:solidFill>
              <a:latin typeface="Raleway" pitchFamily="2" charset="0"/>
            </a:endParaRPr>
          </a:p>
        </p:txBody>
      </p:sp>
      <p:sp>
        <p:nvSpPr>
          <p:cNvPr id="123" name="ZoneTexte 122">
            <a:extLst>
              <a:ext uri="{FF2B5EF4-FFF2-40B4-BE49-F238E27FC236}">
                <a16:creationId xmlns:a16="http://schemas.microsoft.com/office/drawing/2014/main" id="{F2D5B73E-7272-6ADB-3B91-C847AC4A33EB}"/>
              </a:ext>
            </a:extLst>
          </p:cNvPr>
          <p:cNvSpPr txBox="1"/>
          <p:nvPr/>
        </p:nvSpPr>
        <p:spPr>
          <a:xfrm>
            <a:off x="1339249" y="4306003"/>
            <a:ext cx="1717308" cy="430887"/>
          </a:xfrm>
          <a:prstGeom prst="rect">
            <a:avLst/>
          </a:prstGeom>
          <a:noFill/>
        </p:spPr>
        <p:txBody>
          <a:bodyPr wrap="square" rtlCol="0">
            <a:spAutoFit/>
          </a:bodyPr>
          <a:lstStyle/>
          <a:p>
            <a:r>
              <a:rPr lang="en-GB" sz="1100" b="1" err="1">
                <a:latin typeface="Raleway" pitchFamily="2" charset="0"/>
              </a:rPr>
              <a:t>BioNet</a:t>
            </a:r>
            <a:endParaRPr lang="en-GB" sz="1100" b="1">
              <a:latin typeface="Raleway" pitchFamily="2" charset="0"/>
            </a:endParaRPr>
          </a:p>
          <a:p>
            <a:r>
              <a:rPr lang="en-GB" sz="1100" b="1">
                <a:latin typeface="Raleway" pitchFamily="2" charset="0"/>
              </a:rPr>
              <a:t>Thailand</a:t>
            </a:r>
          </a:p>
        </p:txBody>
      </p:sp>
      <p:cxnSp>
        <p:nvCxnSpPr>
          <p:cNvPr id="12" name="Connecteur droit 11">
            <a:extLst>
              <a:ext uri="{FF2B5EF4-FFF2-40B4-BE49-F238E27FC236}">
                <a16:creationId xmlns:a16="http://schemas.microsoft.com/office/drawing/2014/main" id="{593FD5CC-B07F-E9DF-F353-B4ED5C148414}"/>
              </a:ext>
            </a:extLst>
          </p:cNvPr>
          <p:cNvCxnSpPr>
            <a:cxnSpLocks/>
            <a:stCxn id="118" idx="0"/>
          </p:cNvCxnSpPr>
          <p:nvPr/>
        </p:nvCxnSpPr>
        <p:spPr>
          <a:xfrm flipV="1">
            <a:off x="823137" y="3394249"/>
            <a:ext cx="917086" cy="46852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D5F5FBB9-C696-FE1A-C94F-88B3EA6701A8}"/>
              </a:ext>
            </a:extLst>
          </p:cNvPr>
          <p:cNvCxnSpPr>
            <a:cxnSpLocks/>
          </p:cNvCxnSpPr>
          <p:nvPr/>
        </p:nvCxnSpPr>
        <p:spPr>
          <a:xfrm flipV="1">
            <a:off x="1808147" y="3761593"/>
            <a:ext cx="527909" cy="62475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9E15D9FF-97BA-26D9-8F54-8B7A0A2382A4}"/>
              </a:ext>
            </a:extLst>
          </p:cNvPr>
          <p:cNvCxnSpPr>
            <a:cxnSpLocks/>
          </p:cNvCxnSpPr>
          <p:nvPr/>
        </p:nvCxnSpPr>
        <p:spPr>
          <a:xfrm flipV="1">
            <a:off x="2741127" y="3143545"/>
            <a:ext cx="694109" cy="2716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3" name="Triangle isocèle 182">
            <a:extLst>
              <a:ext uri="{FF2B5EF4-FFF2-40B4-BE49-F238E27FC236}">
                <a16:creationId xmlns:a16="http://schemas.microsoft.com/office/drawing/2014/main" id="{940A76CA-9E91-56C3-CF21-124E04E4C373}"/>
              </a:ext>
            </a:extLst>
          </p:cNvPr>
          <p:cNvSpPr/>
          <p:nvPr/>
        </p:nvSpPr>
        <p:spPr>
          <a:xfrm flipH="1">
            <a:off x="1794215" y="3208594"/>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sp>
        <p:nvSpPr>
          <p:cNvPr id="190" name="Triangle isocèle 189">
            <a:extLst>
              <a:ext uri="{FF2B5EF4-FFF2-40B4-BE49-F238E27FC236}">
                <a16:creationId xmlns:a16="http://schemas.microsoft.com/office/drawing/2014/main" id="{C66001F1-83BE-24D9-53E6-6877AE3004EB}"/>
              </a:ext>
            </a:extLst>
          </p:cNvPr>
          <p:cNvSpPr/>
          <p:nvPr/>
        </p:nvSpPr>
        <p:spPr>
          <a:xfrm flipH="1">
            <a:off x="2530818" y="3343374"/>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sp>
        <p:nvSpPr>
          <p:cNvPr id="196" name="Triangle isocèle 195">
            <a:extLst>
              <a:ext uri="{FF2B5EF4-FFF2-40B4-BE49-F238E27FC236}">
                <a16:creationId xmlns:a16="http://schemas.microsoft.com/office/drawing/2014/main" id="{A5BF4014-9860-FC60-7913-1BF92EF3EF2A}"/>
              </a:ext>
            </a:extLst>
          </p:cNvPr>
          <p:cNvSpPr/>
          <p:nvPr/>
        </p:nvSpPr>
        <p:spPr>
          <a:xfrm flipH="1">
            <a:off x="2326846" y="3614450"/>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graphicFrame>
        <p:nvGraphicFramePr>
          <p:cNvPr id="6" name="Table 5">
            <a:extLst>
              <a:ext uri="{FF2B5EF4-FFF2-40B4-BE49-F238E27FC236}">
                <a16:creationId xmlns:a16="http://schemas.microsoft.com/office/drawing/2014/main" id="{552843EA-4A9B-8738-0988-3B21636ECB6A}"/>
              </a:ext>
            </a:extLst>
          </p:cNvPr>
          <p:cNvGraphicFramePr>
            <a:graphicFrameLocks noGrp="1"/>
          </p:cNvGraphicFramePr>
          <p:nvPr>
            <p:extLst>
              <p:ext uri="{D42A27DB-BD31-4B8C-83A1-F6EECF244321}">
                <p14:modId xmlns:p14="http://schemas.microsoft.com/office/powerpoint/2010/main" val="2105469173"/>
              </p:ext>
            </p:extLst>
          </p:nvPr>
        </p:nvGraphicFramePr>
        <p:xfrm>
          <a:off x="4947515" y="1315523"/>
          <a:ext cx="7111110" cy="4199273"/>
        </p:xfrm>
        <a:graphic>
          <a:graphicData uri="http://schemas.openxmlformats.org/drawingml/2006/table">
            <a:tbl>
              <a:tblPr firstRow="1" bandRow="1">
                <a:tableStyleId>{9D7B26C5-4107-4FEC-AEDC-1716B250A1EF}</a:tableStyleId>
              </a:tblPr>
              <a:tblGrid>
                <a:gridCol w="1065910">
                  <a:extLst>
                    <a:ext uri="{9D8B030D-6E8A-4147-A177-3AD203B41FA5}">
                      <a16:colId xmlns:a16="http://schemas.microsoft.com/office/drawing/2014/main" val="1971178031"/>
                    </a:ext>
                  </a:extLst>
                </a:gridCol>
                <a:gridCol w="973667">
                  <a:extLst>
                    <a:ext uri="{9D8B030D-6E8A-4147-A177-3AD203B41FA5}">
                      <a16:colId xmlns:a16="http://schemas.microsoft.com/office/drawing/2014/main" val="4106639385"/>
                    </a:ext>
                  </a:extLst>
                </a:gridCol>
                <a:gridCol w="973666">
                  <a:extLst>
                    <a:ext uri="{9D8B030D-6E8A-4147-A177-3AD203B41FA5}">
                      <a16:colId xmlns:a16="http://schemas.microsoft.com/office/drawing/2014/main" val="1505498681"/>
                    </a:ext>
                  </a:extLst>
                </a:gridCol>
                <a:gridCol w="1109134">
                  <a:extLst>
                    <a:ext uri="{9D8B030D-6E8A-4147-A177-3AD203B41FA5}">
                      <a16:colId xmlns:a16="http://schemas.microsoft.com/office/drawing/2014/main" val="845154092"/>
                    </a:ext>
                  </a:extLst>
                </a:gridCol>
                <a:gridCol w="2988733">
                  <a:extLst>
                    <a:ext uri="{9D8B030D-6E8A-4147-A177-3AD203B41FA5}">
                      <a16:colId xmlns:a16="http://schemas.microsoft.com/office/drawing/2014/main" val="4158918225"/>
                    </a:ext>
                  </a:extLst>
                </a:gridCol>
              </a:tblGrid>
              <a:tr h="617205">
                <a:tc>
                  <a:txBody>
                    <a:bodyPr/>
                    <a:lstStyle/>
                    <a:p>
                      <a:r>
                        <a:rPr lang="en-US" sz="1200">
                          <a:solidFill>
                            <a:schemeClr val="bg1"/>
                          </a:solidFill>
                          <a:latin typeface="Raleway" pitchFamily="2" charset="0"/>
                        </a:rPr>
                        <a:t>Country</a:t>
                      </a:r>
                    </a:p>
                  </a:txBody>
                  <a:tcPr>
                    <a:solidFill>
                      <a:schemeClr val="tx1"/>
                    </a:solidFill>
                  </a:tcPr>
                </a:tc>
                <a:tc>
                  <a:txBody>
                    <a:bodyPr/>
                    <a:lstStyle/>
                    <a:p>
                      <a:r>
                        <a:rPr lang="en-US" sz="1200">
                          <a:solidFill>
                            <a:schemeClr val="bg1"/>
                          </a:solidFill>
                          <a:latin typeface="Raleway" pitchFamily="2" charset="0"/>
                        </a:rPr>
                        <a:t>Recipient company</a:t>
                      </a:r>
                    </a:p>
                  </a:txBody>
                  <a:tcPr>
                    <a:solidFill>
                      <a:schemeClr val="tx1"/>
                    </a:solidFill>
                  </a:tcPr>
                </a:tc>
                <a:tc>
                  <a:txBody>
                    <a:bodyPr/>
                    <a:lstStyle/>
                    <a:p>
                      <a:r>
                        <a:rPr lang="en-US" sz="1200">
                          <a:solidFill>
                            <a:schemeClr val="bg1"/>
                          </a:solidFill>
                          <a:latin typeface="Raleway" pitchFamily="2" charset="0"/>
                        </a:rPr>
                        <a:t>Developer</a:t>
                      </a:r>
                    </a:p>
                  </a:txBody>
                  <a:tcPr>
                    <a:solidFill>
                      <a:schemeClr val="tx1"/>
                    </a:solidFill>
                  </a:tcPr>
                </a:tc>
                <a:tc>
                  <a:txBody>
                    <a:bodyPr/>
                    <a:lstStyle/>
                    <a:p>
                      <a:r>
                        <a:rPr lang="en-US" sz="1200">
                          <a:solidFill>
                            <a:schemeClr val="bg1"/>
                          </a:solidFill>
                          <a:latin typeface="Raleway" pitchFamily="2" charset="0"/>
                        </a:rPr>
                        <a:t>Production type</a:t>
                      </a:r>
                    </a:p>
                  </a:txBody>
                  <a:tcPr>
                    <a:solidFill>
                      <a:schemeClr val="tx1"/>
                    </a:solidFill>
                  </a:tcPr>
                </a:tc>
                <a:tc>
                  <a:txBody>
                    <a:bodyPr/>
                    <a:lstStyle/>
                    <a:p>
                      <a:r>
                        <a:rPr lang="en-US" sz="1200">
                          <a:solidFill>
                            <a:schemeClr val="bg1"/>
                          </a:solidFill>
                          <a:latin typeface="Raleway" pitchFamily="2" charset="0"/>
                        </a:rPr>
                        <a:t>Status</a:t>
                      </a:r>
                    </a:p>
                  </a:txBody>
                  <a:tcPr>
                    <a:solidFill>
                      <a:schemeClr val="tx1"/>
                    </a:solidFill>
                  </a:tcPr>
                </a:tc>
                <a:extLst>
                  <a:ext uri="{0D108BD9-81ED-4DB2-BD59-A6C34878D82A}">
                    <a16:rowId xmlns:a16="http://schemas.microsoft.com/office/drawing/2014/main" val="3036631337"/>
                  </a:ext>
                </a:extLst>
              </a:tr>
              <a:tr h="518828">
                <a:tc>
                  <a:txBody>
                    <a:bodyPr/>
                    <a:lstStyle/>
                    <a:p>
                      <a:r>
                        <a:rPr lang="en-US" sz="1200" b="1">
                          <a:latin typeface="Raleway" pitchFamily="2" charset="0"/>
                        </a:rPr>
                        <a:t>Bangladesh</a:t>
                      </a:r>
                    </a:p>
                  </a:txBody>
                  <a:tcPr/>
                </a:tc>
                <a:tc>
                  <a:txBody>
                    <a:bodyPr/>
                    <a:lstStyle/>
                    <a:p>
                      <a:r>
                        <a:rPr lang="en-US" sz="1200">
                          <a:latin typeface="Raleway" pitchFamily="2" charset="0"/>
                        </a:rPr>
                        <a:t>Globe Biotech</a:t>
                      </a:r>
                    </a:p>
                  </a:txBody>
                  <a:tcPr/>
                </a:tc>
                <a:tc>
                  <a:txBody>
                    <a:bodyPr/>
                    <a:lstStyle/>
                    <a:p>
                      <a:endParaRPr lang="en-US" sz="1200">
                        <a:latin typeface="Raleway" pitchFamily="2" charset="0"/>
                      </a:endParaRPr>
                    </a:p>
                  </a:txBody>
                  <a:tcPr/>
                </a:tc>
                <a:tc>
                  <a:txBody>
                    <a:bodyPr/>
                    <a:lstStyle/>
                    <a:p>
                      <a:r>
                        <a:rPr lang="en-US" sz="1200">
                          <a:latin typeface="Raleway" pitchFamily="2" charset="0"/>
                        </a:rPr>
                        <a:t>End-to-End</a:t>
                      </a:r>
                    </a:p>
                  </a:txBody>
                  <a:tcPr/>
                </a:tc>
                <a:tc>
                  <a:txBody>
                    <a:bodyPr/>
                    <a:lstStyle/>
                    <a:p>
                      <a:pPr algn="l" fontAlgn="ctr"/>
                      <a:r>
                        <a:rPr lang="en-US" sz="1050" u="none" strike="noStrike" err="1">
                          <a:effectLst/>
                          <a:latin typeface="Raleway" pitchFamily="2" charset="0"/>
                        </a:rPr>
                        <a:t>Bangavax</a:t>
                      </a:r>
                      <a:r>
                        <a:rPr lang="en-US" sz="1050" u="none" strike="noStrike">
                          <a:effectLst/>
                          <a:latin typeface="Raleway" pitchFamily="2" charset="0"/>
                        </a:rPr>
                        <a:t>, a single-dose Covid-19 vaccine approved by Bangladesh Medical Research Council (BMRC) for human trials</a:t>
                      </a:r>
                      <a:endParaRPr lang="en-US" sz="1050" b="0" i="0" u="none" strike="noStrike">
                        <a:solidFill>
                          <a:srgbClr val="000000"/>
                        </a:solidFill>
                        <a:effectLst/>
                        <a:latin typeface="Raleway" pitchFamily="2" charset="0"/>
                      </a:endParaRPr>
                    </a:p>
                  </a:txBody>
                  <a:tcPr marL="0" marR="0" marT="0" marB="0" anchor="ctr"/>
                </a:tc>
                <a:extLst>
                  <a:ext uri="{0D108BD9-81ED-4DB2-BD59-A6C34878D82A}">
                    <a16:rowId xmlns:a16="http://schemas.microsoft.com/office/drawing/2014/main" val="2859557857"/>
                  </a:ext>
                </a:extLst>
              </a:tr>
              <a:tr h="518828">
                <a:tc>
                  <a:txBody>
                    <a:bodyPr/>
                    <a:lstStyle/>
                    <a:p>
                      <a:r>
                        <a:rPr lang="en-US" sz="1200" b="1">
                          <a:latin typeface="Raleway" pitchFamily="2" charset="0"/>
                        </a:rPr>
                        <a:t>Vietnam</a:t>
                      </a:r>
                    </a:p>
                  </a:txBody>
                  <a:tcPr/>
                </a:tc>
                <a:tc>
                  <a:txBody>
                    <a:bodyPr/>
                    <a:lstStyle/>
                    <a:p>
                      <a:r>
                        <a:rPr lang="en-US" sz="1200" err="1">
                          <a:latin typeface="Raleway" pitchFamily="2" charset="0"/>
                        </a:rPr>
                        <a:t>Vinbiocare</a:t>
                      </a:r>
                      <a:endParaRPr lang="en-US" sz="1200">
                        <a:latin typeface="Raleway" pitchFamily="2" charset="0"/>
                      </a:endParaRPr>
                    </a:p>
                  </a:txBody>
                  <a:tcPr/>
                </a:tc>
                <a:tc>
                  <a:txBody>
                    <a:bodyPr/>
                    <a:lstStyle/>
                    <a:p>
                      <a:r>
                        <a:rPr lang="en-US" sz="1200">
                          <a:latin typeface="Raleway" pitchFamily="2" charset="0"/>
                        </a:rPr>
                        <a:t>Arcturus</a:t>
                      </a:r>
                    </a:p>
                  </a:txBody>
                  <a:tcPr/>
                </a:tc>
                <a:tc>
                  <a:txBody>
                    <a:bodyPr/>
                    <a:lstStyle/>
                    <a:p>
                      <a:r>
                        <a:rPr lang="en-US" sz="1200">
                          <a:latin typeface="Raleway" pitchFamily="2" charset="0"/>
                        </a:rPr>
                        <a:t>End-to-End</a:t>
                      </a:r>
                    </a:p>
                  </a:txBody>
                  <a:tcPr/>
                </a:tc>
                <a:tc>
                  <a:txBody>
                    <a:bodyPr/>
                    <a:lstStyle/>
                    <a:p>
                      <a:pPr algn="l" fontAlgn="ctr"/>
                      <a:r>
                        <a:rPr lang="en-US" sz="1050" u="none" strike="noStrike">
                          <a:effectLst/>
                          <a:latin typeface="Raleway" pitchFamily="2" charset="0"/>
                        </a:rPr>
                        <a:t>An exclusive license to manufacture the vaccines in Vietnam at the facility solely for distribution in Vietnam. The license and technology transfer applies to drug product manufacturing but not for mRNA drug substance manufacturing.</a:t>
                      </a:r>
                      <a:endParaRPr lang="en-US" sz="1050" b="0" i="0" u="none" strike="noStrike">
                        <a:solidFill>
                          <a:srgbClr val="000000"/>
                        </a:solidFill>
                        <a:effectLst/>
                        <a:latin typeface="Raleway" pitchFamily="2" charset="0"/>
                      </a:endParaRPr>
                    </a:p>
                  </a:txBody>
                  <a:tcPr marL="0" marR="0" marT="0" marB="0" anchor="ctr"/>
                </a:tc>
                <a:extLst>
                  <a:ext uri="{0D108BD9-81ED-4DB2-BD59-A6C34878D82A}">
                    <a16:rowId xmlns:a16="http://schemas.microsoft.com/office/drawing/2014/main" val="3801935204"/>
                  </a:ext>
                </a:extLst>
              </a:tr>
              <a:tr h="518828">
                <a:tc>
                  <a:txBody>
                    <a:bodyPr/>
                    <a:lstStyle/>
                    <a:p>
                      <a:r>
                        <a:rPr lang="en-US" sz="1200" b="1">
                          <a:latin typeface="Raleway" pitchFamily="2" charset="0"/>
                        </a:rPr>
                        <a:t>Thailand</a:t>
                      </a:r>
                    </a:p>
                  </a:txBody>
                  <a:tcPr/>
                </a:tc>
                <a:tc>
                  <a:txBody>
                    <a:bodyPr/>
                    <a:lstStyle/>
                    <a:p>
                      <a:r>
                        <a:rPr lang="en-US" sz="1200" err="1">
                          <a:latin typeface="Raleway" pitchFamily="2" charset="0"/>
                        </a:rPr>
                        <a:t>BioNet</a:t>
                      </a:r>
                      <a:endParaRPr lang="en-US" sz="1200">
                        <a:latin typeface="Raleway" pitchFamily="2" charset="0"/>
                      </a:endParaRPr>
                    </a:p>
                  </a:txBody>
                  <a:tcPr/>
                </a:tc>
                <a:tc>
                  <a:txBody>
                    <a:bodyPr/>
                    <a:lstStyle/>
                    <a:p>
                      <a:pPr algn="l" fontAlgn="ctr"/>
                      <a:r>
                        <a:rPr lang="en-US" sz="1200" u="none" strike="noStrike">
                          <a:effectLst/>
                          <a:latin typeface="Raleway" pitchFamily="2" charset="0"/>
                        </a:rPr>
                        <a:t>California-Davis, Chulalongkorn, and IVI</a:t>
                      </a:r>
                      <a:endParaRPr lang="en-US" sz="1200" b="0" i="0" u="none" strike="noStrike">
                        <a:solidFill>
                          <a:srgbClr val="000000"/>
                        </a:solidFill>
                        <a:effectLst/>
                        <a:latin typeface="Raleway" pitchFamily="2" charset="0"/>
                      </a:endParaRPr>
                    </a:p>
                  </a:txBody>
                  <a:tcPr marL="0" marR="0" marT="0" marB="0" anchor="ctr"/>
                </a:tc>
                <a:tc>
                  <a:txBody>
                    <a:bodyPr/>
                    <a:lstStyle/>
                    <a:p>
                      <a:r>
                        <a:rPr lang="en-US" sz="1200">
                          <a:latin typeface="Raleway" pitchFamily="2" charset="0"/>
                        </a:rPr>
                        <a:t>End-to-End</a:t>
                      </a:r>
                    </a:p>
                  </a:txBody>
                  <a:tcPr/>
                </a:tc>
                <a:tc>
                  <a:txBody>
                    <a:bodyPr/>
                    <a:lstStyle/>
                    <a:p>
                      <a:r>
                        <a:rPr lang="en-US" sz="1050">
                          <a:latin typeface="Raleway" pitchFamily="2" charset="0"/>
                        </a:rPr>
                        <a:t>During the initial stage, the candidate vaccine was sent to a pharmaceutical plant in the US for production. </a:t>
                      </a:r>
                    </a:p>
                    <a:p>
                      <a:r>
                        <a:rPr lang="en-US" sz="1050">
                          <a:latin typeface="Raleway" pitchFamily="2" charset="0"/>
                        </a:rPr>
                        <a:t>In the second stage, it will be locally produced by </a:t>
                      </a:r>
                      <a:r>
                        <a:rPr lang="en-US" sz="1050" err="1">
                          <a:latin typeface="Raleway" pitchFamily="2" charset="0"/>
                        </a:rPr>
                        <a:t>BioNet</a:t>
                      </a:r>
                      <a:r>
                        <a:rPr lang="en-US" sz="1050">
                          <a:latin typeface="Raleway" pitchFamily="2" charset="0"/>
                        </a:rPr>
                        <a:t>-Asia</a:t>
                      </a:r>
                    </a:p>
                  </a:txBody>
                  <a:tcPr/>
                </a:tc>
                <a:extLst>
                  <a:ext uri="{0D108BD9-81ED-4DB2-BD59-A6C34878D82A}">
                    <a16:rowId xmlns:a16="http://schemas.microsoft.com/office/drawing/2014/main" val="423017230"/>
                  </a:ext>
                </a:extLst>
              </a:tr>
              <a:tr h="1074150">
                <a:tc>
                  <a:txBody>
                    <a:bodyPr/>
                    <a:lstStyle/>
                    <a:p>
                      <a:r>
                        <a:rPr lang="en-US" sz="1200" b="1">
                          <a:latin typeface="Raleway" pitchFamily="2" charset="0"/>
                        </a:rPr>
                        <a:t>Thailand</a:t>
                      </a:r>
                    </a:p>
                  </a:txBody>
                  <a:tcPr/>
                </a:tc>
                <a:tc>
                  <a:txBody>
                    <a:bodyPr/>
                    <a:lstStyle/>
                    <a:p>
                      <a:r>
                        <a:rPr lang="en-US" sz="1200" err="1">
                          <a:latin typeface="Raleway" pitchFamily="2" charset="0"/>
                        </a:rPr>
                        <a:t>BioNet</a:t>
                      </a:r>
                      <a:endParaRPr lang="en-US" sz="1200">
                        <a:latin typeface="Raleway" pitchFamily="2" charset="0"/>
                      </a:endParaRPr>
                    </a:p>
                  </a:txBody>
                  <a:tcPr/>
                </a:tc>
                <a:tc>
                  <a:txBody>
                    <a:bodyPr/>
                    <a:lstStyle/>
                    <a:p>
                      <a:pPr algn="l" fontAlgn="ctr"/>
                      <a:r>
                        <a:rPr lang="en-US" sz="1200" u="none" strike="noStrike">
                          <a:effectLst/>
                          <a:latin typeface="Raleway" pitchFamily="2" charset="0"/>
                        </a:rPr>
                        <a:t>California-Davis, Chulalongkorn, and IVI  (CEPI)</a:t>
                      </a:r>
                    </a:p>
                    <a:p>
                      <a:pPr algn="l" fontAlgn="ctr"/>
                      <a:endParaRPr lang="en-US" sz="1200" b="0" i="0" u="none" strike="noStrike">
                        <a:solidFill>
                          <a:srgbClr val="000000"/>
                        </a:solidFill>
                        <a:effectLst/>
                        <a:latin typeface="Raleway" pitchFamily="2" charset="0"/>
                      </a:endParaRPr>
                    </a:p>
                  </a:txBody>
                  <a:tcPr marL="0" marR="0" marT="0" marB="0" anchor="ctr"/>
                </a:tc>
                <a:tc>
                  <a:txBody>
                    <a:bodyPr/>
                    <a:lstStyle/>
                    <a:p>
                      <a:r>
                        <a:rPr lang="en-US" sz="1200">
                          <a:latin typeface="Raleway" pitchFamily="2" charset="0"/>
                        </a:rPr>
                        <a:t>Not available</a:t>
                      </a:r>
                    </a:p>
                  </a:txBody>
                  <a:tcPr/>
                </a:tc>
                <a:tc>
                  <a:txBody>
                    <a:bodyPr/>
                    <a:lstStyle/>
                    <a:p>
                      <a:r>
                        <a:rPr lang="en-US" sz="1050">
                          <a:latin typeface="Raleway" pitchFamily="2" charset="0"/>
                        </a:rPr>
                        <a:t>CEPI will partner with </a:t>
                      </a:r>
                      <a:r>
                        <a:rPr lang="en-US" sz="1050" err="1">
                          <a:latin typeface="Raleway" pitchFamily="2" charset="0"/>
                        </a:rPr>
                        <a:t>BioNet</a:t>
                      </a:r>
                      <a:r>
                        <a:rPr lang="en-US" sz="1050">
                          <a:latin typeface="Raleway" pitchFamily="2" charset="0"/>
                        </a:rPr>
                        <a:t> providing up to $16.9 million to support preclinical studies, Phase I and Phase II CTs, production of necessary clinical trial material, process and analytical development. To develop vaccines that broadly protect against SARS-CoV-2 variants and other Beta coronaviruses.</a:t>
                      </a:r>
                    </a:p>
                  </a:txBody>
                  <a:tcPr/>
                </a:tc>
                <a:extLst>
                  <a:ext uri="{0D108BD9-81ED-4DB2-BD59-A6C34878D82A}">
                    <a16:rowId xmlns:a16="http://schemas.microsoft.com/office/drawing/2014/main" val="4114079512"/>
                  </a:ext>
                </a:extLst>
              </a:tr>
            </a:tbl>
          </a:graphicData>
        </a:graphic>
      </p:graphicFrame>
      <p:sp>
        <p:nvSpPr>
          <p:cNvPr id="7" name="Title 1">
            <a:extLst>
              <a:ext uri="{FF2B5EF4-FFF2-40B4-BE49-F238E27FC236}">
                <a16:creationId xmlns:a16="http://schemas.microsoft.com/office/drawing/2014/main" id="{40F7FA16-4106-CAEF-B188-CF04BE8F0551}"/>
              </a:ext>
            </a:extLst>
          </p:cNvPr>
          <p:cNvSpPr>
            <a:spLocks noGrp="1"/>
          </p:cNvSpPr>
          <p:nvPr>
            <p:ph type="title"/>
          </p:nvPr>
        </p:nvSpPr>
        <p:spPr/>
        <p:txBody>
          <a:bodyPr>
            <a:noAutofit/>
          </a:bodyPr>
          <a:lstStyle/>
          <a:p>
            <a:pPr>
              <a:lnSpc>
                <a:spcPct val="100000"/>
              </a:lnSpc>
            </a:pPr>
            <a:r>
              <a:rPr lang="en-US" sz="3600">
                <a:solidFill>
                  <a:srgbClr val="0070C0"/>
                </a:solidFill>
              </a:rPr>
              <a:t>South-East Asia and Western Pacific</a:t>
            </a:r>
          </a:p>
        </p:txBody>
      </p:sp>
      <p:sp>
        <p:nvSpPr>
          <p:cNvPr id="8" name="ZoneTexte 116">
            <a:extLst>
              <a:ext uri="{FF2B5EF4-FFF2-40B4-BE49-F238E27FC236}">
                <a16:creationId xmlns:a16="http://schemas.microsoft.com/office/drawing/2014/main" id="{2B1070DB-0176-982E-FF1C-5CD22E16D96A}"/>
              </a:ext>
            </a:extLst>
          </p:cNvPr>
          <p:cNvSpPr txBox="1"/>
          <p:nvPr/>
        </p:nvSpPr>
        <p:spPr>
          <a:xfrm>
            <a:off x="3415759" y="3009904"/>
            <a:ext cx="1131218" cy="430887"/>
          </a:xfrm>
          <a:prstGeom prst="rect">
            <a:avLst/>
          </a:prstGeom>
          <a:noFill/>
        </p:spPr>
        <p:txBody>
          <a:bodyPr wrap="square" rtlCol="0">
            <a:spAutoFit/>
          </a:bodyPr>
          <a:lstStyle/>
          <a:p>
            <a:r>
              <a:rPr lang="en-GB" sz="1100" b="1" err="1">
                <a:latin typeface="Raleway" pitchFamily="2" charset="0"/>
              </a:rPr>
              <a:t>Vinbiocare</a:t>
            </a:r>
            <a:endParaRPr lang="en-GB" sz="1100" b="1">
              <a:latin typeface="Raleway" pitchFamily="2" charset="0"/>
            </a:endParaRPr>
          </a:p>
          <a:p>
            <a:r>
              <a:rPr lang="en-GB" sz="1100" b="1">
                <a:latin typeface="Raleway" pitchFamily="2" charset="0"/>
              </a:rPr>
              <a:t>Vietnam</a:t>
            </a:r>
          </a:p>
        </p:txBody>
      </p:sp>
      <p:sp>
        <p:nvSpPr>
          <p:cNvPr id="16" name="ZoneTexte 117">
            <a:extLst>
              <a:ext uri="{FF2B5EF4-FFF2-40B4-BE49-F238E27FC236}">
                <a16:creationId xmlns:a16="http://schemas.microsoft.com/office/drawing/2014/main" id="{B7711B2C-508E-FB2E-4F5E-6B436921145C}"/>
              </a:ext>
            </a:extLst>
          </p:cNvPr>
          <p:cNvSpPr txBox="1"/>
          <p:nvPr/>
        </p:nvSpPr>
        <p:spPr>
          <a:xfrm>
            <a:off x="1233910" y="3675596"/>
            <a:ext cx="1119900" cy="430887"/>
          </a:xfrm>
          <a:prstGeom prst="rect">
            <a:avLst/>
          </a:prstGeom>
          <a:noFill/>
        </p:spPr>
        <p:txBody>
          <a:bodyPr wrap="square" rtlCol="0">
            <a:spAutoFit/>
          </a:bodyPr>
          <a:lstStyle/>
          <a:p>
            <a:r>
              <a:rPr lang="en-GB" sz="1100" b="1" i="1" err="1">
                <a:solidFill>
                  <a:schemeClr val="accent2"/>
                </a:solidFill>
                <a:latin typeface="Raleway" pitchFamily="2" charset="0"/>
              </a:rPr>
              <a:t>Incepta</a:t>
            </a:r>
            <a:endParaRPr lang="en-GB" sz="1100" b="1" i="1">
              <a:solidFill>
                <a:schemeClr val="accent2"/>
              </a:solidFill>
              <a:latin typeface="Raleway" pitchFamily="2" charset="0"/>
            </a:endParaRPr>
          </a:p>
          <a:p>
            <a:r>
              <a:rPr lang="en-GB" sz="1100" b="1">
                <a:latin typeface="Raleway" pitchFamily="2" charset="0"/>
              </a:rPr>
              <a:t>Bangladesh</a:t>
            </a:r>
          </a:p>
        </p:txBody>
      </p:sp>
      <p:cxnSp>
        <p:nvCxnSpPr>
          <p:cNvPr id="2" name="Connecteur droit 25">
            <a:extLst>
              <a:ext uri="{FF2B5EF4-FFF2-40B4-BE49-F238E27FC236}">
                <a16:creationId xmlns:a16="http://schemas.microsoft.com/office/drawing/2014/main" id="{06F4B023-FD79-4D02-7C5B-1C41B7EFD6C2}"/>
              </a:ext>
            </a:extLst>
          </p:cNvPr>
          <p:cNvCxnSpPr>
            <a:cxnSpLocks/>
          </p:cNvCxnSpPr>
          <p:nvPr/>
        </p:nvCxnSpPr>
        <p:spPr>
          <a:xfrm flipV="1">
            <a:off x="1698236" y="3351621"/>
            <a:ext cx="99239" cy="36732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Connecteur droit 25">
            <a:extLst>
              <a:ext uri="{FF2B5EF4-FFF2-40B4-BE49-F238E27FC236}">
                <a16:creationId xmlns:a16="http://schemas.microsoft.com/office/drawing/2014/main" id="{16D0D13F-334D-248F-744E-B714AE9D188E}"/>
              </a:ext>
            </a:extLst>
          </p:cNvPr>
          <p:cNvCxnSpPr>
            <a:cxnSpLocks/>
          </p:cNvCxnSpPr>
          <p:nvPr/>
        </p:nvCxnSpPr>
        <p:spPr>
          <a:xfrm flipV="1">
            <a:off x="2316534" y="4949659"/>
            <a:ext cx="424593" cy="13806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ZoneTexte 161">
            <a:extLst>
              <a:ext uri="{FF2B5EF4-FFF2-40B4-BE49-F238E27FC236}">
                <a16:creationId xmlns:a16="http://schemas.microsoft.com/office/drawing/2014/main" id="{EA923B45-5722-764A-0771-1291CDF162F1}"/>
              </a:ext>
            </a:extLst>
          </p:cNvPr>
          <p:cNvSpPr txBox="1"/>
          <p:nvPr/>
        </p:nvSpPr>
        <p:spPr>
          <a:xfrm>
            <a:off x="6965900" y="6133458"/>
            <a:ext cx="1373378"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End-to-End</a:t>
            </a:r>
          </a:p>
        </p:txBody>
      </p:sp>
      <p:sp>
        <p:nvSpPr>
          <p:cNvPr id="29" name="Rectangle 28">
            <a:extLst>
              <a:ext uri="{FF2B5EF4-FFF2-40B4-BE49-F238E27FC236}">
                <a16:creationId xmlns:a16="http://schemas.microsoft.com/office/drawing/2014/main" id="{F9043A5A-9A4B-A0D7-6FA2-4991B932FCCE}"/>
              </a:ext>
            </a:extLst>
          </p:cNvPr>
          <p:cNvSpPr/>
          <p:nvPr/>
        </p:nvSpPr>
        <p:spPr>
          <a:xfrm>
            <a:off x="4565400" y="6143343"/>
            <a:ext cx="299221" cy="131853"/>
          </a:xfrm>
          <a:prstGeom prst="rect">
            <a:avLst/>
          </a:prstGeom>
          <a:solidFill>
            <a:schemeClr val="accent2"/>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err="1">
              <a:solidFill>
                <a:schemeClr val="bg1"/>
              </a:solidFill>
              <a:latin typeface="Raleway" pitchFamily="2" charset="0"/>
            </a:endParaRPr>
          </a:p>
        </p:txBody>
      </p:sp>
      <p:sp>
        <p:nvSpPr>
          <p:cNvPr id="30" name="ZoneTexte 2">
            <a:extLst>
              <a:ext uri="{FF2B5EF4-FFF2-40B4-BE49-F238E27FC236}">
                <a16:creationId xmlns:a16="http://schemas.microsoft.com/office/drawing/2014/main" id="{5A7F740C-31A1-AC64-CEAC-660C1EE081D6}"/>
              </a:ext>
            </a:extLst>
          </p:cNvPr>
          <p:cNvSpPr txBox="1"/>
          <p:nvPr/>
        </p:nvSpPr>
        <p:spPr>
          <a:xfrm>
            <a:off x="4948256" y="6129159"/>
            <a:ext cx="2110733" cy="18526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i="1">
                <a:solidFill>
                  <a:srgbClr val="E86A28"/>
                </a:solidFill>
                <a:latin typeface="Raleway" pitchFamily="2" charset="0"/>
              </a:rPr>
              <a:t>mRNA </a:t>
            </a:r>
            <a:r>
              <a:rPr lang="en-US" sz="1050" b="1" i="1" err="1">
                <a:solidFill>
                  <a:srgbClr val="E86A28"/>
                </a:solidFill>
                <a:latin typeface="Raleway" pitchFamily="2" charset="0"/>
              </a:rPr>
              <a:t>programme</a:t>
            </a:r>
            <a:r>
              <a:rPr lang="en-US" sz="1050" b="1" i="1">
                <a:solidFill>
                  <a:srgbClr val="E86A28"/>
                </a:solidFill>
                <a:latin typeface="Raleway" pitchFamily="2" charset="0"/>
              </a:rPr>
              <a:t> partner</a:t>
            </a:r>
          </a:p>
        </p:txBody>
      </p:sp>
      <p:sp>
        <p:nvSpPr>
          <p:cNvPr id="31" name="Triangle isocèle 203">
            <a:extLst>
              <a:ext uri="{FF2B5EF4-FFF2-40B4-BE49-F238E27FC236}">
                <a16:creationId xmlns:a16="http://schemas.microsoft.com/office/drawing/2014/main" id="{FA003259-E34C-3342-07B9-558B578BA90C}"/>
              </a:ext>
            </a:extLst>
          </p:cNvPr>
          <p:cNvSpPr/>
          <p:nvPr/>
        </p:nvSpPr>
        <p:spPr>
          <a:xfrm flipH="1">
            <a:off x="6697215" y="6080516"/>
            <a:ext cx="184002" cy="196472"/>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3" name="Slide Number Placeholder 2">
            <a:extLst>
              <a:ext uri="{FF2B5EF4-FFF2-40B4-BE49-F238E27FC236}">
                <a16:creationId xmlns:a16="http://schemas.microsoft.com/office/drawing/2014/main" id="{E681DCDF-2985-7EF2-EDDF-F05ECB72FD73}"/>
              </a:ext>
            </a:extLst>
          </p:cNvPr>
          <p:cNvSpPr>
            <a:spLocks noGrp="1"/>
          </p:cNvSpPr>
          <p:nvPr>
            <p:ph type="sldNum" sz="quarter" idx="12"/>
          </p:nvPr>
        </p:nvSpPr>
        <p:spPr/>
        <p:txBody>
          <a:bodyPr/>
          <a:lstStyle/>
          <a:p>
            <a:fld id="{1D1C8182-8BBE-B542-ADE5-8820B104469B}" type="slidenum">
              <a:rPr lang="en-RO" smtClean="0"/>
              <a:pPr/>
              <a:t>4</a:t>
            </a:fld>
            <a:endParaRPr lang="en-RO"/>
          </a:p>
        </p:txBody>
      </p:sp>
    </p:spTree>
    <p:extLst>
      <p:ext uri="{BB962C8B-B14F-4D97-AF65-F5344CB8AC3E}">
        <p14:creationId xmlns:p14="http://schemas.microsoft.com/office/powerpoint/2010/main" val="40448986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a:extLst>
              <a:ext uri="{FF2B5EF4-FFF2-40B4-BE49-F238E27FC236}">
                <a16:creationId xmlns:a16="http://schemas.microsoft.com/office/drawing/2014/main" id="{F672D14C-2D1A-4FA2-88D0-A633F854B847}"/>
              </a:ext>
            </a:extLst>
          </p:cNvPr>
          <p:cNvGrpSpPr/>
          <p:nvPr/>
        </p:nvGrpSpPr>
        <p:grpSpPr>
          <a:xfrm>
            <a:off x="721406" y="1270227"/>
            <a:ext cx="5048304" cy="5196765"/>
            <a:chOff x="1212437" y="3408217"/>
            <a:chExt cx="1726438" cy="1813545"/>
          </a:xfrm>
          <a:solidFill>
            <a:schemeClr val="bg1">
              <a:lumMod val="65000"/>
            </a:schemeClr>
          </a:solidFill>
        </p:grpSpPr>
        <p:sp>
          <p:nvSpPr>
            <p:cNvPr id="124" name="Freeform 8">
              <a:extLst>
                <a:ext uri="{FF2B5EF4-FFF2-40B4-BE49-F238E27FC236}">
                  <a16:creationId xmlns:a16="http://schemas.microsoft.com/office/drawing/2014/main" id="{B859A9DE-6D2D-4832-8EFA-4BA78F1423BE}"/>
                </a:ext>
              </a:extLst>
            </p:cNvPr>
            <p:cNvSpPr>
              <a:spLocks noEditPoints="1"/>
            </p:cNvSpPr>
            <p:nvPr/>
          </p:nvSpPr>
          <p:spPr bwMode="auto">
            <a:xfrm>
              <a:off x="1766576" y="4766277"/>
              <a:ext cx="108100" cy="188911"/>
            </a:xfrm>
            <a:custGeom>
              <a:avLst/>
              <a:gdLst/>
              <a:ahLst/>
              <a:cxnLst>
                <a:cxn ang="0">
                  <a:pos x="100" y="108"/>
                </a:cxn>
                <a:cxn ang="0">
                  <a:pos x="96" y="100"/>
                </a:cxn>
                <a:cxn ang="0">
                  <a:pos x="90" y="96"/>
                </a:cxn>
                <a:cxn ang="0">
                  <a:pos x="3" y="79"/>
                </a:cxn>
                <a:cxn ang="0">
                  <a:pos x="59" y="37"/>
                </a:cxn>
                <a:cxn ang="0">
                  <a:pos x="12" y="37"/>
                </a:cxn>
                <a:cxn ang="0">
                  <a:pos x="9" y="39"/>
                </a:cxn>
                <a:cxn ang="0">
                  <a:pos x="53" y="24"/>
                </a:cxn>
                <a:cxn ang="0">
                  <a:pos x="0" y="16"/>
                </a:cxn>
                <a:cxn ang="0">
                  <a:pos x="24" y="10"/>
                </a:cxn>
                <a:cxn ang="0">
                  <a:pos x="9" y="3"/>
                </a:cxn>
                <a:cxn ang="0">
                  <a:pos x="12" y="10"/>
                </a:cxn>
                <a:cxn ang="0">
                  <a:pos x="27" y="0"/>
                </a:cxn>
                <a:cxn ang="0">
                  <a:pos x="26" y="3"/>
                </a:cxn>
                <a:cxn ang="0">
                  <a:pos x="23" y="1"/>
                </a:cxn>
                <a:cxn ang="0">
                  <a:pos x="36" y="10"/>
                </a:cxn>
                <a:cxn ang="0">
                  <a:pos x="50" y="25"/>
                </a:cxn>
                <a:cxn ang="0">
                  <a:pos x="57" y="31"/>
                </a:cxn>
                <a:cxn ang="0">
                  <a:pos x="59" y="36"/>
                </a:cxn>
                <a:cxn ang="0">
                  <a:pos x="60" y="40"/>
                </a:cxn>
                <a:cxn ang="0">
                  <a:pos x="68" y="48"/>
                </a:cxn>
                <a:cxn ang="0">
                  <a:pos x="74" y="60"/>
                </a:cxn>
                <a:cxn ang="0">
                  <a:pos x="68" y="61"/>
                </a:cxn>
                <a:cxn ang="0">
                  <a:pos x="80" y="63"/>
                </a:cxn>
                <a:cxn ang="0">
                  <a:pos x="83" y="76"/>
                </a:cxn>
                <a:cxn ang="0">
                  <a:pos x="83" y="81"/>
                </a:cxn>
                <a:cxn ang="0">
                  <a:pos x="87" y="84"/>
                </a:cxn>
                <a:cxn ang="0">
                  <a:pos x="90" y="91"/>
                </a:cxn>
                <a:cxn ang="0">
                  <a:pos x="93" y="99"/>
                </a:cxn>
                <a:cxn ang="0">
                  <a:pos x="99" y="109"/>
                </a:cxn>
                <a:cxn ang="0">
                  <a:pos x="103" y="129"/>
                </a:cxn>
                <a:cxn ang="0">
                  <a:pos x="99" y="145"/>
                </a:cxn>
                <a:cxn ang="0">
                  <a:pos x="87" y="160"/>
                </a:cxn>
                <a:cxn ang="0">
                  <a:pos x="69" y="169"/>
                </a:cxn>
                <a:cxn ang="0">
                  <a:pos x="56" y="175"/>
                </a:cxn>
                <a:cxn ang="0">
                  <a:pos x="36" y="178"/>
                </a:cxn>
                <a:cxn ang="0">
                  <a:pos x="21" y="171"/>
                </a:cxn>
                <a:cxn ang="0">
                  <a:pos x="17" y="160"/>
                </a:cxn>
                <a:cxn ang="0">
                  <a:pos x="8" y="123"/>
                </a:cxn>
                <a:cxn ang="0">
                  <a:pos x="6" y="103"/>
                </a:cxn>
                <a:cxn ang="0">
                  <a:pos x="2" y="79"/>
                </a:cxn>
                <a:cxn ang="0">
                  <a:pos x="9" y="85"/>
                </a:cxn>
                <a:cxn ang="0">
                  <a:pos x="8" y="70"/>
                </a:cxn>
                <a:cxn ang="0">
                  <a:pos x="12" y="57"/>
                </a:cxn>
                <a:cxn ang="0">
                  <a:pos x="17" y="39"/>
                </a:cxn>
                <a:cxn ang="0">
                  <a:pos x="21" y="24"/>
                </a:cxn>
                <a:cxn ang="0">
                  <a:pos x="23" y="18"/>
                </a:cxn>
                <a:cxn ang="0">
                  <a:pos x="20" y="10"/>
                </a:cxn>
                <a:cxn ang="0">
                  <a:pos x="29" y="18"/>
                </a:cxn>
                <a:cxn ang="0">
                  <a:pos x="41" y="15"/>
                </a:cxn>
                <a:cxn ang="0">
                  <a:pos x="33" y="13"/>
                </a:cxn>
                <a:cxn ang="0">
                  <a:pos x="24" y="10"/>
                </a:cxn>
                <a:cxn ang="0">
                  <a:pos x="15" y="7"/>
                </a:cxn>
                <a:cxn ang="0">
                  <a:pos x="14" y="3"/>
                </a:cxn>
              </a:cxnLst>
              <a:rect l="0" t="0" r="r" b="b"/>
              <a:pathLst>
                <a:path w="103" h="180">
                  <a:moveTo>
                    <a:pt x="96" y="99"/>
                  </a:moveTo>
                  <a:lnTo>
                    <a:pt x="97" y="99"/>
                  </a:lnTo>
                  <a:lnTo>
                    <a:pt x="97" y="100"/>
                  </a:lnTo>
                  <a:lnTo>
                    <a:pt x="99" y="102"/>
                  </a:lnTo>
                  <a:lnTo>
                    <a:pt x="99" y="103"/>
                  </a:lnTo>
                  <a:lnTo>
                    <a:pt x="100" y="108"/>
                  </a:lnTo>
                  <a:lnTo>
                    <a:pt x="99" y="109"/>
                  </a:lnTo>
                  <a:lnTo>
                    <a:pt x="99" y="108"/>
                  </a:lnTo>
                  <a:lnTo>
                    <a:pt x="97" y="108"/>
                  </a:lnTo>
                  <a:lnTo>
                    <a:pt x="99" y="105"/>
                  </a:lnTo>
                  <a:lnTo>
                    <a:pt x="97" y="103"/>
                  </a:lnTo>
                  <a:lnTo>
                    <a:pt x="96" y="100"/>
                  </a:lnTo>
                  <a:lnTo>
                    <a:pt x="96" y="99"/>
                  </a:lnTo>
                  <a:close/>
                  <a:moveTo>
                    <a:pt x="90" y="96"/>
                  </a:moveTo>
                  <a:lnTo>
                    <a:pt x="90" y="97"/>
                  </a:lnTo>
                  <a:lnTo>
                    <a:pt x="91" y="97"/>
                  </a:lnTo>
                  <a:lnTo>
                    <a:pt x="91" y="96"/>
                  </a:lnTo>
                  <a:lnTo>
                    <a:pt x="90" y="96"/>
                  </a:lnTo>
                  <a:close/>
                  <a:moveTo>
                    <a:pt x="5" y="72"/>
                  </a:moveTo>
                  <a:lnTo>
                    <a:pt x="5" y="73"/>
                  </a:lnTo>
                  <a:lnTo>
                    <a:pt x="6" y="73"/>
                  </a:lnTo>
                  <a:lnTo>
                    <a:pt x="5" y="75"/>
                  </a:lnTo>
                  <a:lnTo>
                    <a:pt x="5" y="78"/>
                  </a:lnTo>
                  <a:lnTo>
                    <a:pt x="3" y="79"/>
                  </a:lnTo>
                  <a:lnTo>
                    <a:pt x="3" y="78"/>
                  </a:lnTo>
                  <a:lnTo>
                    <a:pt x="2" y="75"/>
                  </a:lnTo>
                  <a:lnTo>
                    <a:pt x="3" y="75"/>
                  </a:lnTo>
                  <a:lnTo>
                    <a:pt x="3" y="73"/>
                  </a:lnTo>
                  <a:lnTo>
                    <a:pt x="5" y="72"/>
                  </a:lnTo>
                  <a:close/>
                  <a:moveTo>
                    <a:pt x="59" y="37"/>
                  </a:moveTo>
                  <a:lnTo>
                    <a:pt x="60" y="37"/>
                  </a:lnTo>
                  <a:lnTo>
                    <a:pt x="60" y="39"/>
                  </a:lnTo>
                  <a:lnTo>
                    <a:pt x="59" y="37"/>
                  </a:lnTo>
                  <a:close/>
                  <a:moveTo>
                    <a:pt x="3" y="34"/>
                  </a:moveTo>
                  <a:lnTo>
                    <a:pt x="9" y="34"/>
                  </a:lnTo>
                  <a:lnTo>
                    <a:pt x="12" y="37"/>
                  </a:lnTo>
                  <a:lnTo>
                    <a:pt x="11" y="37"/>
                  </a:lnTo>
                  <a:lnTo>
                    <a:pt x="12" y="39"/>
                  </a:lnTo>
                  <a:lnTo>
                    <a:pt x="12" y="40"/>
                  </a:lnTo>
                  <a:lnTo>
                    <a:pt x="11" y="40"/>
                  </a:lnTo>
                  <a:lnTo>
                    <a:pt x="11" y="39"/>
                  </a:lnTo>
                  <a:lnTo>
                    <a:pt x="9" y="39"/>
                  </a:lnTo>
                  <a:lnTo>
                    <a:pt x="9" y="37"/>
                  </a:lnTo>
                  <a:lnTo>
                    <a:pt x="6" y="36"/>
                  </a:lnTo>
                  <a:lnTo>
                    <a:pt x="5" y="36"/>
                  </a:lnTo>
                  <a:lnTo>
                    <a:pt x="3" y="34"/>
                  </a:lnTo>
                  <a:close/>
                  <a:moveTo>
                    <a:pt x="51" y="24"/>
                  </a:moveTo>
                  <a:lnTo>
                    <a:pt x="53" y="24"/>
                  </a:lnTo>
                  <a:lnTo>
                    <a:pt x="53" y="25"/>
                  </a:lnTo>
                  <a:lnTo>
                    <a:pt x="51" y="24"/>
                  </a:lnTo>
                  <a:close/>
                  <a:moveTo>
                    <a:pt x="0" y="13"/>
                  </a:moveTo>
                  <a:lnTo>
                    <a:pt x="3" y="13"/>
                  </a:lnTo>
                  <a:lnTo>
                    <a:pt x="3" y="16"/>
                  </a:lnTo>
                  <a:lnTo>
                    <a:pt x="0" y="16"/>
                  </a:lnTo>
                  <a:lnTo>
                    <a:pt x="0" y="13"/>
                  </a:lnTo>
                  <a:close/>
                  <a:moveTo>
                    <a:pt x="24" y="10"/>
                  </a:moveTo>
                  <a:lnTo>
                    <a:pt x="26" y="10"/>
                  </a:lnTo>
                  <a:lnTo>
                    <a:pt x="26" y="12"/>
                  </a:lnTo>
                  <a:lnTo>
                    <a:pt x="24" y="12"/>
                  </a:lnTo>
                  <a:lnTo>
                    <a:pt x="24" y="10"/>
                  </a:lnTo>
                  <a:close/>
                  <a:moveTo>
                    <a:pt x="14" y="9"/>
                  </a:moveTo>
                  <a:lnTo>
                    <a:pt x="15" y="9"/>
                  </a:lnTo>
                  <a:lnTo>
                    <a:pt x="15" y="10"/>
                  </a:lnTo>
                  <a:lnTo>
                    <a:pt x="14" y="10"/>
                  </a:lnTo>
                  <a:lnTo>
                    <a:pt x="14" y="9"/>
                  </a:lnTo>
                  <a:close/>
                  <a:moveTo>
                    <a:pt x="9" y="3"/>
                  </a:moveTo>
                  <a:lnTo>
                    <a:pt x="11" y="3"/>
                  </a:lnTo>
                  <a:lnTo>
                    <a:pt x="11" y="7"/>
                  </a:lnTo>
                  <a:lnTo>
                    <a:pt x="12" y="7"/>
                  </a:lnTo>
                  <a:lnTo>
                    <a:pt x="14" y="9"/>
                  </a:lnTo>
                  <a:lnTo>
                    <a:pt x="12" y="9"/>
                  </a:lnTo>
                  <a:lnTo>
                    <a:pt x="12" y="10"/>
                  </a:lnTo>
                  <a:lnTo>
                    <a:pt x="11" y="10"/>
                  </a:lnTo>
                  <a:lnTo>
                    <a:pt x="11" y="9"/>
                  </a:lnTo>
                  <a:lnTo>
                    <a:pt x="9" y="9"/>
                  </a:lnTo>
                  <a:lnTo>
                    <a:pt x="9" y="3"/>
                  </a:lnTo>
                  <a:close/>
                  <a:moveTo>
                    <a:pt x="23" y="0"/>
                  </a:moveTo>
                  <a:lnTo>
                    <a:pt x="27" y="0"/>
                  </a:lnTo>
                  <a:lnTo>
                    <a:pt x="29" y="1"/>
                  </a:lnTo>
                  <a:lnTo>
                    <a:pt x="29" y="3"/>
                  </a:lnTo>
                  <a:lnTo>
                    <a:pt x="35" y="10"/>
                  </a:lnTo>
                  <a:lnTo>
                    <a:pt x="30" y="7"/>
                  </a:lnTo>
                  <a:lnTo>
                    <a:pt x="27" y="3"/>
                  </a:lnTo>
                  <a:lnTo>
                    <a:pt x="26" y="3"/>
                  </a:lnTo>
                  <a:lnTo>
                    <a:pt x="23" y="1"/>
                  </a:lnTo>
                  <a:lnTo>
                    <a:pt x="23" y="0"/>
                  </a:lnTo>
                  <a:close/>
                  <a:moveTo>
                    <a:pt x="15" y="0"/>
                  </a:moveTo>
                  <a:lnTo>
                    <a:pt x="20" y="1"/>
                  </a:lnTo>
                  <a:lnTo>
                    <a:pt x="21" y="0"/>
                  </a:lnTo>
                  <a:lnTo>
                    <a:pt x="23" y="1"/>
                  </a:lnTo>
                  <a:lnTo>
                    <a:pt x="23" y="3"/>
                  </a:lnTo>
                  <a:lnTo>
                    <a:pt x="26" y="3"/>
                  </a:lnTo>
                  <a:lnTo>
                    <a:pt x="33" y="10"/>
                  </a:lnTo>
                  <a:lnTo>
                    <a:pt x="36" y="12"/>
                  </a:lnTo>
                  <a:lnTo>
                    <a:pt x="35" y="10"/>
                  </a:lnTo>
                  <a:lnTo>
                    <a:pt x="36" y="10"/>
                  </a:lnTo>
                  <a:lnTo>
                    <a:pt x="38" y="12"/>
                  </a:lnTo>
                  <a:lnTo>
                    <a:pt x="50" y="22"/>
                  </a:lnTo>
                  <a:lnTo>
                    <a:pt x="51" y="22"/>
                  </a:lnTo>
                  <a:lnTo>
                    <a:pt x="51" y="24"/>
                  </a:lnTo>
                  <a:lnTo>
                    <a:pt x="50" y="24"/>
                  </a:lnTo>
                  <a:lnTo>
                    <a:pt x="50" y="25"/>
                  </a:lnTo>
                  <a:lnTo>
                    <a:pt x="53" y="27"/>
                  </a:lnTo>
                  <a:lnTo>
                    <a:pt x="53" y="25"/>
                  </a:lnTo>
                  <a:lnTo>
                    <a:pt x="54" y="25"/>
                  </a:lnTo>
                  <a:lnTo>
                    <a:pt x="54" y="27"/>
                  </a:lnTo>
                  <a:lnTo>
                    <a:pt x="56" y="28"/>
                  </a:lnTo>
                  <a:lnTo>
                    <a:pt x="57" y="31"/>
                  </a:lnTo>
                  <a:lnTo>
                    <a:pt x="54" y="31"/>
                  </a:lnTo>
                  <a:lnTo>
                    <a:pt x="54" y="33"/>
                  </a:lnTo>
                  <a:lnTo>
                    <a:pt x="56" y="33"/>
                  </a:lnTo>
                  <a:lnTo>
                    <a:pt x="56" y="34"/>
                  </a:lnTo>
                  <a:lnTo>
                    <a:pt x="57" y="34"/>
                  </a:lnTo>
                  <a:lnTo>
                    <a:pt x="59" y="36"/>
                  </a:lnTo>
                  <a:lnTo>
                    <a:pt x="59" y="37"/>
                  </a:lnTo>
                  <a:lnTo>
                    <a:pt x="57" y="37"/>
                  </a:lnTo>
                  <a:lnTo>
                    <a:pt x="59" y="39"/>
                  </a:lnTo>
                  <a:lnTo>
                    <a:pt x="59" y="42"/>
                  </a:lnTo>
                  <a:lnTo>
                    <a:pt x="60" y="42"/>
                  </a:lnTo>
                  <a:lnTo>
                    <a:pt x="60" y="40"/>
                  </a:lnTo>
                  <a:lnTo>
                    <a:pt x="62" y="39"/>
                  </a:lnTo>
                  <a:lnTo>
                    <a:pt x="63" y="42"/>
                  </a:lnTo>
                  <a:lnTo>
                    <a:pt x="65" y="43"/>
                  </a:lnTo>
                  <a:lnTo>
                    <a:pt x="65" y="45"/>
                  </a:lnTo>
                  <a:lnTo>
                    <a:pt x="66" y="45"/>
                  </a:lnTo>
                  <a:lnTo>
                    <a:pt x="68" y="48"/>
                  </a:lnTo>
                  <a:lnTo>
                    <a:pt x="69" y="49"/>
                  </a:lnTo>
                  <a:lnTo>
                    <a:pt x="71" y="52"/>
                  </a:lnTo>
                  <a:lnTo>
                    <a:pt x="72" y="54"/>
                  </a:lnTo>
                  <a:lnTo>
                    <a:pt x="72" y="57"/>
                  </a:lnTo>
                  <a:lnTo>
                    <a:pt x="74" y="58"/>
                  </a:lnTo>
                  <a:lnTo>
                    <a:pt x="74" y="60"/>
                  </a:lnTo>
                  <a:lnTo>
                    <a:pt x="72" y="60"/>
                  </a:lnTo>
                  <a:lnTo>
                    <a:pt x="72" y="61"/>
                  </a:lnTo>
                  <a:lnTo>
                    <a:pt x="71" y="61"/>
                  </a:lnTo>
                  <a:lnTo>
                    <a:pt x="71" y="60"/>
                  </a:lnTo>
                  <a:lnTo>
                    <a:pt x="69" y="60"/>
                  </a:lnTo>
                  <a:lnTo>
                    <a:pt x="68" y="61"/>
                  </a:lnTo>
                  <a:lnTo>
                    <a:pt x="71" y="61"/>
                  </a:lnTo>
                  <a:lnTo>
                    <a:pt x="71" y="63"/>
                  </a:lnTo>
                  <a:lnTo>
                    <a:pt x="75" y="63"/>
                  </a:lnTo>
                  <a:lnTo>
                    <a:pt x="75" y="61"/>
                  </a:lnTo>
                  <a:lnTo>
                    <a:pt x="78" y="61"/>
                  </a:lnTo>
                  <a:lnTo>
                    <a:pt x="80" y="63"/>
                  </a:lnTo>
                  <a:lnTo>
                    <a:pt x="80" y="67"/>
                  </a:lnTo>
                  <a:lnTo>
                    <a:pt x="78" y="66"/>
                  </a:lnTo>
                  <a:lnTo>
                    <a:pt x="78" y="69"/>
                  </a:lnTo>
                  <a:lnTo>
                    <a:pt x="81" y="69"/>
                  </a:lnTo>
                  <a:lnTo>
                    <a:pt x="81" y="73"/>
                  </a:lnTo>
                  <a:lnTo>
                    <a:pt x="83" y="76"/>
                  </a:lnTo>
                  <a:lnTo>
                    <a:pt x="83" y="79"/>
                  </a:lnTo>
                  <a:lnTo>
                    <a:pt x="81" y="78"/>
                  </a:lnTo>
                  <a:lnTo>
                    <a:pt x="81" y="76"/>
                  </a:lnTo>
                  <a:lnTo>
                    <a:pt x="80" y="76"/>
                  </a:lnTo>
                  <a:lnTo>
                    <a:pt x="80" y="78"/>
                  </a:lnTo>
                  <a:lnTo>
                    <a:pt x="83" y="81"/>
                  </a:lnTo>
                  <a:lnTo>
                    <a:pt x="83" y="79"/>
                  </a:lnTo>
                  <a:lnTo>
                    <a:pt x="84" y="79"/>
                  </a:lnTo>
                  <a:lnTo>
                    <a:pt x="84" y="82"/>
                  </a:lnTo>
                  <a:lnTo>
                    <a:pt x="85" y="82"/>
                  </a:lnTo>
                  <a:lnTo>
                    <a:pt x="85" y="84"/>
                  </a:lnTo>
                  <a:lnTo>
                    <a:pt x="87" y="84"/>
                  </a:lnTo>
                  <a:lnTo>
                    <a:pt x="87" y="85"/>
                  </a:lnTo>
                  <a:lnTo>
                    <a:pt x="88" y="85"/>
                  </a:lnTo>
                  <a:lnTo>
                    <a:pt x="87" y="87"/>
                  </a:lnTo>
                  <a:lnTo>
                    <a:pt x="88" y="87"/>
                  </a:lnTo>
                  <a:lnTo>
                    <a:pt x="88" y="91"/>
                  </a:lnTo>
                  <a:lnTo>
                    <a:pt x="90" y="91"/>
                  </a:lnTo>
                  <a:lnTo>
                    <a:pt x="90" y="93"/>
                  </a:lnTo>
                  <a:lnTo>
                    <a:pt x="91" y="93"/>
                  </a:lnTo>
                  <a:lnTo>
                    <a:pt x="91" y="94"/>
                  </a:lnTo>
                  <a:lnTo>
                    <a:pt x="94" y="96"/>
                  </a:lnTo>
                  <a:lnTo>
                    <a:pt x="94" y="99"/>
                  </a:lnTo>
                  <a:lnTo>
                    <a:pt x="93" y="99"/>
                  </a:lnTo>
                  <a:lnTo>
                    <a:pt x="94" y="100"/>
                  </a:lnTo>
                  <a:lnTo>
                    <a:pt x="94" y="102"/>
                  </a:lnTo>
                  <a:lnTo>
                    <a:pt x="96" y="102"/>
                  </a:lnTo>
                  <a:lnTo>
                    <a:pt x="97" y="105"/>
                  </a:lnTo>
                  <a:lnTo>
                    <a:pt x="97" y="109"/>
                  </a:lnTo>
                  <a:lnTo>
                    <a:pt x="99" y="109"/>
                  </a:lnTo>
                  <a:lnTo>
                    <a:pt x="99" y="111"/>
                  </a:lnTo>
                  <a:lnTo>
                    <a:pt x="100" y="109"/>
                  </a:lnTo>
                  <a:lnTo>
                    <a:pt x="100" y="111"/>
                  </a:lnTo>
                  <a:lnTo>
                    <a:pt x="102" y="112"/>
                  </a:lnTo>
                  <a:lnTo>
                    <a:pt x="102" y="127"/>
                  </a:lnTo>
                  <a:lnTo>
                    <a:pt x="103" y="129"/>
                  </a:lnTo>
                  <a:lnTo>
                    <a:pt x="103" y="130"/>
                  </a:lnTo>
                  <a:lnTo>
                    <a:pt x="102" y="132"/>
                  </a:lnTo>
                  <a:lnTo>
                    <a:pt x="100" y="139"/>
                  </a:lnTo>
                  <a:lnTo>
                    <a:pt x="100" y="142"/>
                  </a:lnTo>
                  <a:lnTo>
                    <a:pt x="99" y="142"/>
                  </a:lnTo>
                  <a:lnTo>
                    <a:pt x="99" y="145"/>
                  </a:lnTo>
                  <a:lnTo>
                    <a:pt x="97" y="147"/>
                  </a:lnTo>
                  <a:lnTo>
                    <a:pt x="97" y="148"/>
                  </a:lnTo>
                  <a:lnTo>
                    <a:pt x="93" y="156"/>
                  </a:lnTo>
                  <a:lnTo>
                    <a:pt x="91" y="157"/>
                  </a:lnTo>
                  <a:lnTo>
                    <a:pt x="88" y="159"/>
                  </a:lnTo>
                  <a:lnTo>
                    <a:pt x="87" y="160"/>
                  </a:lnTo>
                  <a:lnTo>
                    <a:pt x="78" y="166"/>
                  </a:lnTo>
                  <a:lnTo>
                    <a:pt x="77" y="168"/>
                  </a:lnTo>
                  <a:lnTo>
                    <a:pt x="72" y="169"/>
                  </a:lnTo>
                  <a:lnTo>
                    <a:pt x="71" y="168"/>
                  </a:lnTo>
                  <a:lnTo>
                    <a:pt x="71" y="169"/>
                  </a:lnTo>
                  <a:lnTo>
                    <a:pt x="69" y="169"/>
                  </a:lnTo>
                  <a:lnTo>
                    <a:pt x="69" y="171"/>
                  </a:lnTo>
                  <a:lnTo>
                    <a:pt x="68" y="171"/>
                  </a:lnTo>
                  <a:lnTo>
                    <a:pt x="63" y="172"/>
                  </a:lnTo>
                  <a:lnTo>
                    <a:pt x="60" y="174"/>
                  </a:lnTo>
                  <a:lnTo>
                    <a:pt x="57" y="174"/>
                  </a:lnTo>
                  <a:lnTo>
                    <a:pt x="56" y="175"/>
                  </a:lnTo>
                  <a:lnTo>
                    <a:pt x="53" y="175"/>
                  </a:lnTo>
                  <a:lnTo>
                    <a:pt x="50" y="178"/>
                  </a:lnTo>
                  <a:lnTo>
                    <a:pt x="45" y="178"/>
                  </a:lnTo>
                  <a:lnTo>
                    <a:pt x="45" y="180"/>
                  </a:lnTo>
                  <a:lnTo>
                    <a:pt x="38" y="180"/>
                  </a:lnTo>
                  <a:lnTo>
                    <a:pt x="36" y="178"/>
                  </a:lnTo>
                  <a:lnTo>
                    <a:pt x="32" y="178"/>
                  </a:lnTo>
                  <a:lnTo>
                    <a:pt x="32" y="177"/>
                  </a:lnTo>
                  <a:lnTo>
                    <a:pt x="27" y="177"/>
                  </a:lnTo>
                  <a:lnTo>
                    <a:pt x="27" y="175"/>
                  </a:lnTo>
                  <a:lnTo>
                    <a:pt x="24" y="175"/>
                  </a:lnTo>
                  <a:lnTo>
                    <a:pt x="21" y="171"/>
                  </a:lnTo>
                  <a:lnTo>
                    <a:pt x="20" y="171"/>
                  </a:lnTo>
                  <a:lnTo>
                    <a:pt x="20" y="169"/>
                  </a:lnTo>
                  <a:lnTo>
                    <a:pt x="18" y="165"/>
                  </a:lnTo>
                  <a:lnTo>
                    <a:pt x="18" y="163"/>
                  </a:lnTo>
                  <a:lnTo>
                    <a:pt x="17" y="163"/>
                  </a:lnTo>
                  <a:lnTo>
                    <a:pt x="17" y="160"/>
                  </a:lnTo>
                  <a:lnTo>
                    <a:pt x="15" y="159"/>
                  </a:lnTo>
                  <a:lnTo>
                    <a:pt x="15" y="153"/>
                  </a:lnTo>
                  <a:lnTo>
                    <a:pt x="14" y="150"/>
                  </a:lnTo>
                  <a:lnTo>
                    <a:pt x="9" y="139"/>
                  </a:lnTo>
                  <a:lnTo>
                    <a:pt x="9" y="130"/>
                  </a:lnTo>
                  <a:lnTo>
                    <a:pt x="8" y="123"/>
                  </a:lnTo>
                  <a:lnTo>
                    <a:pt x="9" y="123"/>
                  </a:lnTo>
                  <a:lnTo>
                    <a:pt x="9" y="121"/>
                  </a:lnTo>
                  <a:lnTo>
                    <a:pt x="8" y="121"/>
                  </a:lnTo>
                  <a:lnTo>
                    <a:pt x="8" y="120"/>
                  </a:lnTo>
                  <a:lnTo>
                    <a:pt x="9" y="120"/>
                  </a:lnTo>
                  <a:lnTo>
                    <a:pt x="6" y="103"/>
                  </a:lnTo>
                  <a:lnTo>
                    <a:pt x="6" y="97"/>
                  </a:lnTo>
                  <a:lnTo>
                    <a:pt x="5" y="91"/>
                  </a:lnTo>
                  <a:lnTo>
                    <a:pt x="5" y="87"/>
                  </a:lnTo>
                  <a:lnTo>
                    <a:pt x="3" y="85"/>
                  </a:lnTo>
                  <a:lnTo>
                    <a:pt x="2" y="81"/>
                  </a:lnTo>
                  <a:lnTo>
                    <a:pt x="2" y="79"/>
                  </a:lnTo>
                  <a:lnTo>
                    <a:pt x="3" y="79"/>
                  </a:lnTo>
                  <a:lnTo>
                    <a:pt x="3" y="81"/>
                  </a:lnTo>
                  <a:lnTo>
                    <a:pt x="5" y="82"/>
                  </a:lnTo>
                  <a:lnTo>
                    <a:pt x="3" y="84"/>
                  </a:lnTo>
                  <a:lnTo>
                    <a:pt x="5" y="85"/>
                  </a:lnTo>
                  <a:lnTo>
                    <a:pt x="9" y="85"/>
                  </a:lnTo>
                  <a:lnTo>
                    <a:pt x="8" y="84"/>
                  </a:lnTo>
                  <a:lnTo>
                    <a:pt x="8" y="82"/>
                  </a:lnTo>
                  <a:lnTo>
                    <a:pt x="6" y="82"/>
                  </a:lnTo>
                  <a:lnTo>
                    <a:pt x="6" y="81"/>
                  </a:lnTo>
                  <a:lnTo>
                    <a:pt x="8" y="78"/>
                  </a:lnTo>
                  <a:lnTo>
                    <a:pt x="8" y="70"/>
                  </a:lnTo>
                  <a:lnTo>
                    <a:pt x="9" y="69"/>
                  </a:lnTo>
                  <a:lnTo>
                    <a:pt x="9" y="63"/>
                  </a:lnTo>
                  <a:lnTo>
                    <a:pt x="11" y="63"/>
                  </a:lnTo>
                  <a:lnTo>
                    <a:pt x="11" y="60"/>
                  </a:lnTo>
                  <a:lnTo>
                    <a:pt x="12" y="58"/>
                  </a:lnTo>
                  <a:lnTo>
                    <a:pt x="12" y="57"/>
                  </a:lnTo>
                  <a:lnTo>
                    <a:pt x="14" y="55"/>
                  </a:lnTo>
                  <a:lnTo>
                    <a:pt x="14" y="51"/>
                  </a:lnTo>
                  <a:lnTo>
                    <a:pt x="12" y="48"/>
                  </a:lnTo>
                  <a:lnTo>
                    <a:pt x="12" y="42"/>
                  </a:lnTo>
                  <a:lnTo>
                    <a:pt x="14" y="40"/>
                  </a:lnTo>
                  <a:lnTo>
                    <a:pt x="17" y="39"/>
                  </a:lnTo>
                  <a:lnTo>
                    <a:pt x="18" y="37"/>
                  </a:lnTo>
                  <a:lnTo>
                    <a:pt x="18" y="36"/>
                  </a:lnTo>
                  <a:lnTo>
                    <a:pt x="20" y="34"/>
                  </a:lnTo>
                  <a:lnTo>
                    <a:pt x="20" y="33"/>
                  </a:lnTo>
                  <a:lnTo>
                    <a:pt x="21" y="30"/>
                  </a:lnTo>
                  <a:lnTo>
                    <a:pt x="21" y="24"/>
                  </a:lnTo>
                  <a:lnTo>
                    <a:pt x="20" y="24"/>
                  </a:lnTo>
                  <a:lnTo>
                    <a:pt x="18" y="22"/>
                  </a:lnTo>
                  <a:lnTo>
                    <a:pt x="18" y="21"/>
                  </a:lnTo>
                  <a:lnTo>
                    <a:pt x="20" y="19"/>
                  </a:lnTo>
                  <a:lnTo>
                    <a:pt x="23" y="19"/>
                  </a:lnTo>
                  <a:lnTo>
                    <a:pt x="23" y="18"/>
                  </a:lnTo>
                  <a:lnTo>
                    <a:pt x="24" y="18"/>
                  </a:lnTo>
                  <a:lnTo>
                    <a:pt x="24" y="15"/>
                  </a:lnTo>
                  <a:lnTo>
                    <a:pt x="23" y="13"/>
                  </a:lnTo>
                  <a:lnTo>
                    <a:pt x="20" y="12"/>
                  </a:lnTo>
                  <a:lnTo>
                    <a:pt x="18" y="10"/>
                  </a:lnTo>
                  <a:lnTo>
                    <a:pt x="20" y="10"/>
                  </a:lnTo>
                  <a:lnTo>
                    <a:pt x="21" y="12"/>
                  </a:lnTo>
                  <a:lnTo>
                    <a:pt x="24" y="13"/>
                  </a:lnTo>
                  <a:lnTo>
                    <a:pt x="27" y="13"/>
                  </a:lnTo>
                  <a:lnTo>
                    <a:pt x="27" y="15"/>
                  </a:lnTo>
                  <a:lnTo>
                    <a:pt x="29" y="15"/>
                  </a:lnTo>
                  <a:lnTo>
                    <a:pt x="29" y="18"/>
                  </a:lnTo>
                  <a:lnTo>
                    <a:pt x="32" y="16"/>
                  </a:lnTo>
                  <a:lnTo>
                    <a:pt x="36" y="15"/>
                  </a:lnTo>
                  <a:lnTo>
                    <a:pt x="42" y="18"/>
                  </a:lnTo>
                  <a:lnTo>
                    <a:pt x="44" y="18"/>
                  </a:lnTo>
                  <a:lnTo>
                    <a:pt x="41" y="16"/>
                  </a:lnTo>
                  <a:lnTo>
                    <a:pt x="41" y="15"/>
                  </a:lnTo>
                  <a:lnTo>
                    <a:pt x="38" y="15"/>
                  </a:lnTo>
                  <a:lnTo>
                    <a:pt x="38" y="13"/>
                  </a:lnTo>
                  <a:lnTo>
                    <a:pt x="36" y="13"/>
                  </a:lnTo>
                  <a:lnTo>
                    <a:pt x="36" y="15"/>
                  </a:lnTo>
                  <a:lnTo>
                    <a:pt x="35" y="13"/>
                  </a:lnTo>
                  <a:lnTo>
                    <a:pt x="33" y="13"/>
                  </a:lnTo>
                  <a:lnTo>
                    <a:pt x="30" y="12"/>
                  </a:lnTo>
                  <a:lnTo>
                    <a:pt x="29" y="10"/>
                  </a:lnTo>
                  <a:lnTo>
                    <a:pt x="27" y="10"/>
                  </a:lnTo>
                  <a:lnTo>
                    <a:pt x="26" y="9"/>
                  </a:lnTo>
                  <a:lnTo>
                    <a:pt x="24" y="9"/>
                  </a:lnTo>
                  <a:lnTo>
                    <a:pt x="24" y="10"/>
                  </a:lnTo>
                  <a:lnTo>
                    <a:pt x="23" y="10"/>
                  </a:lnTo>
                  <a:lnTo>
                    <a:pt x="21" y="9"/>
                  </a:lnTo>
                  <a:lnTo>
                    <a:pt x="21" y="10"/>
                  </a:lnTo>
                  <a:lnTo>
                    <a:pt x="20" y="10"/>
                  </a:lnTo>
                  <a:lnTo>
                    <a:pt x="17" y="7"/>
                  </a:lnTo>
                  <a:lnTo>
                    <a:pt x="15" y="7"/>
                  </a:lnTo>
                  <a:lnTo>
                    <a:pt x="15" y="6"/>
                  </a:lnTo>
                  <a:lnTo>
                    <a:pt x="14" y="6"/>
                  </a:lnTo>
                  <a:lnTo>
                    <a:pt x="14" y="4"/>
                  </a:lnTo>
                  <a:lnTo>
                    <a:pt x="12" y="4"/>
                  </a:lnTo>
                  <a:lnTo>
                    <a:pt x="12" y="3"/>
                  </a:lnTo>
                  <a:lnTo>
                    <a:pt x="14" y="3"/>
                  </a:lnTo>
                  <a:lnTo>
                    <a:pt x="15" y="1"/>
                  </a:lnTo>
                  <a:lnTo>
                    <a:pt x="15"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10">
              <a:extLst>
                <a:ext uri="{FF2B5EF4-FFF2-40B4-BE49-F238E27FC236}">
                  <a16:creationId xmlns:a16="http://schemas.microsoft.com/office/drawing/2014/main" id="{092AB541-53C7-4CA1-BFF1-0F99970A9DA3}"/>
                </a:ext>
              </a:extLst>
            </p:cNvPr>
            <p:cNvSpPr>
              <a:spLocks/>
            </p:cNvSpPr>
            <p:nvPr/>
          </p:nvSpPr>
          <p:spPr bwMode="auto">
            <a:xfrm>
              <a:off x="2922083" y="5170336"/>
              <a:ext cx="16792" cy="9446"/>
            </a:xfrm>
            <a:custGeom>
              <a:avLst/>
              <a:gdLst/>
              <a:ahLst/>
              <a:cxnLst>
                <a:cxn ang="0">
                  <a:pos x="7" y="0"/>
                </a:cxn>
                <a:cxn ang="0">
                  <a:pos x="10" y="0"/>
                </a:cxn>
                <a:cxn ang="0">
                  <a:pos x="13" y="3"/>
                </a:cxn>
                <a:cxn ang="0">
                  <a:pos x="16" y="3"/>
                </a:cxn>
                <a:cxn ang="0">
                  <a:pos x="16" y="4"/>
                </a:cxn>
                <a:cxn ang="0">
                  <a:pos x="15" y="6"/>
                </a:cxn>
                <a:cxn ang="0">
                  <a:pos x="12" y="6"/>
                </a:cxn>
                <a:cxn ang="0">
                  <a:pos x="12" y="7"/>
                </a:cxn>
                <a:cxn ang="0">
                  <a:pos x="9" y="7"/>
                </a:cxn>
                <a:cxn ang="0">
                  <a:pos x="9" y="9"/>
                </a:cxn>
                <a:cxn ang="0">
                  <a:pos x="7" y="9"/>
                </a:cxn>
                <a:cxn ang="0">
                  <a:pos x="6" y="7"/>
                </a:cxn>
                <a:cxn ang="0">
                  <a:pos x="4" y="7"/>
                </a:cxn>
                <a:cxn ang="0">
                  <a:pos x="3" y="6"/>
                </a:cxn>
                <a:cxn ang="0">
                  <a:pos x="0" y="6"/>
                </a:cxn>
                <a:cxn ang="0">
                  <a:pos x="0" y="4"/>
                </a:cxn>
                <a:cxn ang="0">
                  <a:pos x="1" y="3"/>
                </a:cxn>
                <a:cxn ang="0">
                  <a:pos x="1" y="1"/>
                </a:cxn>
                <a:cxn ang="0">
                  <a:pos x="6" y="1"/>
                </a:cxn>
                <a:cxn ang="0">
                  <a:pos x="7" y="0"/>
                </a:cxn>
              </a:cxnLst>
              <a:rect l="0" t="0" r="r" b="b"/>
              <a:pathLst>
                <a:path w="16" h="9">
                  <a:moveTo>
                    <a:pt x="7" y="0"/>
                  </a:moveTo>
                  <a:lnTo>
                    <a:pt x="10" y="0"/>
                  </a:lnTo>
                  <a:lnTo>
                    <a:pt x="13" y="3"/>
                  </a:lnTo>
                  <a:lnTo>
                    <a:pt x="16" y="3"/>
                  </a:lnTo>
                  <a:lnTo>
                    <a:pt x="16" y="4"/>
                  </a:lnTo>
                  <a:lnTo>
                    <a:pt x="15" y="6"/>
                  </a:lnTo>
                  <a:lnTo>
                    <a:pt x="12" y="6"/>
                  </a:lnTo>
                  <a:lnTo>
                    <a:pt x="12" y="7"/>
                  </a:lnTo>
                  <a:lnTo>
                    <a:pt x="9" y="7"/>
                  </a:lnTo>
                  <a:lnTo>
                    <a:pt x="9" y="9"/>
                  </a:lnTo>
                  <a:lnTo>
                    <a:pt x="7" y="9"/>
                  </a:lnTo>
                  <a:lnTo>
                    <a:pt x="6" y="7"/>
                  </a:lnTo>
                  <a:lnTo>
                    <a:pt x="4" y="7"/>
                  </a:lnTo>
                  <a:lnTo>
                    <a:pt x="3" y="6"/>
                  </a:lnTo>
                  <a:lnTo>
                    <a:pt x="0" y="6"/>
                  </a:lnTo>
                  <a:lnTo>
                    <a:pt x="0" y="4"/>
                  </a:lnTo>
                  <a:lnTo>
                    <a:pt x="1" y="3"/>
                  </a:lnTo>
                  <a:lnTo>
                    <a:pt x="1" y="1"/>
                  </a:lnTo>
                  <a:lnTo>
                    <a:pt x="6" y="1"/>
                  </a:lnTo>
                  <a:lnTo>
                    <a:pt x="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19">
              <a:extLst>
                <a:ext uri="{FF2B5EF4-FFF2-40B4-BE49-F238E27FC236}">
                  <a16:creationId xmlns:a16="http://schemas.microsoft.com/office/drawing/2014/main" id="{C1C284B1-0B67-485A-8316-D032BC86316A}"/>
                </a:ext>
              </a:extLst>
            </p:cNvPr>
            <p:cNvSpPr>
              <a:spLocks/>
            </p:cNvSpPr>
            <p:nvPr/>
          </p:nvSpPr>
          <p:spPr bwMode="auto">
            <a:xfrm>
              <a:off x="1785468" y="3708376"/>
              <a:ext cx="391466" cy="222494"/>
            </a:xfrm>
            <a:custGeom>
              <a:avLst/>
              <a:gdLst/>
              <a:ahLst/>
              <a:cxnLst>
                <a:cxn ang="0">
                  <a:pos x="88" y="5"/>
                </a:cxn>
                <a:cxn ang="0">
                  <a:pos x="97" y="14"/>
                </a:cxn>
                <a:cxn ang="0">
                  <a:pos x="109" y="23"/>
                </a:cxn>
                <a:cxn ang="0">
                  <a:pos x="124" y="36"/>
                </a:cxn>
                <a:cxn ang="0">
                  <a:pos x="135" y="39"/>
                </a:cxn>
                <a:cxn ang="0">
                  <a:pos x="147" y="45"/>
                </a:cxn>
                <a:cxn ang="0">
                  <a:pos x="154" y="54"/>
                </a:cxn>
                <a:cxn ang="0">
                  <a:pos x="162" y="65"/>
                </a:cxn>
                <a:cxn ang="0">
                  <a:pos x="177" y="60"/>
                </a:cxn>
                <a:cxn ang="0">
                  <a:pos x="186" y="62"/>
                </a:cxn>
                <a:cxn ang="0">
                  <a:pos x="190" y="72"/>
                </a:cxn>
                <a:cxn ang="0">
                  <a:pos x="202" y="89"/>
                </a:cxn>
                <a:cxn ang="0">
                  <a:pos x="217" y="96"/>
                </a:cxn>
                <a:cxn ang="0">
                  <a:pos x="227" y="95"/>
                </a:cxn>
                <a:cxn ang="0">
                  <a:pos x="233" y="102"/>
                </a:cxn>
                <a:cxn ang="0">
                  <a:pos x="235" y="111"/>
                </a:cxn>
                <a:cxn ang="0">
                  <a:pos x="248" y="111"/>
                </a:cxn>
                <a:cxn ang="0">
                  <a:pos x="257" y="111"/>
                </a:cxn>
                <a:cxn ang="0">
                  <a:pos x="268" y="119"/>
                </a:cxn>
                <a:cxn ang="0">
                  <a:pos x="277" y="126"/>
                </a:cxn>
                <a:cxn ang="0">
                  <a:pos x="287" y="129"/>
                </a:cxn>
                <a:cxn ang="0">
                  <a:pos x="308" y="126"/>
                </a:cxn>
                <a:cxn ang="0">
                  <a:pos x="332" y="137"/>
                </a:cxn>
                <a:cxn ang="0">
                  <a:pos x="347" y="137"/>
                </a:cxn>
                <a:cxn ang="0">
                  <a:pos x="359" y="132"/>
                </a:cxn>
                <a:cxn ang="0">
                  <a:pos x="367" y="162"/>
                </a:cxn>
                <a:cxn ang="0">
                  <a:pos x="368" y="177"/>
                </a:cxn>
                <a:cxn ang="0">
                  <a:pos x="368" y="206"/>
                </a:cxn>
                <a:cxn ang="0">
                  <a:pos x="358" y="207"/>
                </a:cxn>
                <a:cxn ang="0">
                  <a:pos x="350" y="209"/>
                </a:cxn>
                <a:cxn ang="0">
                  <a:pos x="331" y="210"/>
                </a:cxn>
                <a:cxn ang="0">
                  <a:pos x="316" y="203"/>
                </a:cxn>
                <a:cxn ang="0">
                  <a:pos x="295" y="203"/>
                </a:cxn>
                <a:cxn ang="0">
                  <a:pos x="281" y="198"/>
                </a:cxn>
                <a:cxn ang="0">
                  <a:pos x="265" y="198"/>
                </a:cxn>
                <a:cxn ang="0">
                  <a:pos x="250" y="188"/>
                </a:cxn>
                <a:cxn ang="0">
                  <a:pos x="235" y="186"/>
                </a:cxn>
                <a:cxn ang="0">
                  <a:pos x="223" y="179"/>
                </a:cxn>
                <a:cxn ang="0">
                  <a:pos x="211" y="174"/>
                </a:cxn>
                <a:cxn ang="0">
                  <a:pos x="195" y="158"/>
                </a:cxn>
                <a:cxn ang="0">
                  <a:pos x="181" y="156"/>
                </a:cxn>
                <a:cxn ang="0">
                  <a:pos x="154" y="153"/>
                </a:cxn>
                <a:cxn ang="0">
                  <a:pos x="133" y="155"/>
                </a:cxn>
                <a:cxn ang="0">
                  <a:pos x="114" y="143"/>
                </a:cxn>
                <a:cxn ang="0">
                  <a:pos x="93" y="131"/>
                </a:cxn>
                <a:cxn ang="0">
                  <a:pos x="72" y="126"/>
                </a:cxn>
                <a:cxn ang="0">
                  <a:pos x="62" y="117"/>
                </a:cxn>
                <a:cxn ang="0">
                  <a:pos x="51" y="107"/>
                </a:cxn>
                <a:cxn ang="0">
                  <a:pos x="35" y="99"/>
                </a:cxn>
                <a:cxn ang="0">
                  <a:pos x="21" y="92"/>
                </a:cxn>
                <a:cxn ang="0">
                  <a:pos x="12" y="93"/>
                </a:cxn>
                <a:cxn ang="0">
                  <a:pos x="0" y="77"/>
                </a:cxn>
                <a:cxn ang="0">
                  <a:pos x="8" y="63"/>
                </a:cxn>
                <a:cxn ang="0">
                  <a:pos x="11" y="50"/>
                </a:cxn>
                <a:cxn ang="0">
                  <a:pos x="14" y="36"/>
                </a:cxn>
                <a:cxn ang="0">
                  <a:pos x="27" y="24"/>
                </a:cxn>
                <a:cxn ang="0">
                  <a:pos x="39" y="11"/>
                </a:cxn>
                <a:cxn ang="0">
                  <a:pos x="47" y="17"/>
                </a:cxn>
                <a:cxn ang="0">
                  <a:pos x="56" y="15"/>
                </a:cxn>
                <a:cxn ang="0">
                  <a:pos x="67" y="5"/>
                </a:cxn>
              </a:cxnLst>
              <a:rect l="0" t="0" r="r" b="b"/>
              <a:pathLst>
                <a:path w="373" h="212">
                  <a:moveTo>
                    <a:pt x="70" y="0"/>
                  </a:moveTo>
                  <a:lnTo>
                    <a:pt x="73" y="0"/>
                  </a:lnTo>
                  <a:lnTo>
                    <a:pt x="79" y="3"/>
                  </a:lnTo>
                  <a:lnTo>
                    <a:pt x="81" y="3"/>
                  </a:lnTo>
                  <a:lnTo>
                    <a:pt x="82" y="2"/>
                  </a:lnTo>
                  <a:lnTo>
                    <a:pt x="85" y="3"/>
                  </a:lnTo>
                  <a:lnTo>
                    <a:pt x="87" y="3"/>
                  </a:lnTo>
                  <a:lnTo>
                    <a:pt x="88" y="5"/>
                  </a:lnTo>
                  <a:lnTo>
                    <a:pt x="90" y="5"/>
                  </a:lnTo>
                  <a:lnTo>
                    <a:pt x="90" y="3"/>
                  </a:lnTo>
                  <a:lnTo>
                    <a:pt x="93" y="3"/>
                  </a:lnTo>
                  <a:lnTo>
                    <a:pt x="94" y="5"/>
                  </a:lnTo>
                  <a:lnTo>
                    <a:pt x="94" y="11"/>
                  </a:lnTo>
                  <a:lnTo>
                    <a:pt x="96" y="12"/>
                  </a:lnTo>
                  <a:lnTo>
                    <a:pt x="97" y="12"/>
                  </a:lnTo>
                  <a:lnTo>
                    <a:pt x="97" y="14"/>
                  </a:lnTo>
                  <a:lnTo>
                    <a:pt x="96" y="15"/>
                  </a:lnTo>
                  <a:lnTo>
                    <a:pt x="96" y="18"/>
                  </a:lnTo>
                  <a:lnTo>
                    <a:pt x="99" y="18"/>
                  </a:lnTo>
                  <a:lnTo>
                    <a:pt x="102" y="20"/>
                  </a:lnTo>
                  <a:lnTo>
                    <a:pt x="105" y="20"/>
                  </a:lnTo>
                  <a:lnTo>
                    <a:pt x="105" y="21"/>
                  </a:lnTo>
                  <a:lnTo>
                    <a:pt x="108" y="21"/>
                  </a:lnTo>
                  <a:lnTo>
                    <a:pt x="109" y="23"/>
                  </a:lnTo>
                  <a:lnTo>
                    <a:pt x="109" y="24"/>
                  </a:lnTo>
                  <a:lnTo>
                    <a:pt x="112" y="24"/>
                  </a:lnTo>
                  <a:lnTo>
                    <a:pt x="114" y="26"/>
                  </a:lnTo>
                  <a:lnTo>
                    <a:pt x="115" y="26"/>
                  </a:lnTo>
                  <a:lnTo>
                    <a:pt x="118" y="30"/>
                  </a:lnTo>
                  <a:lnTo>
                    <a:pt x="121" y="30"/>
                  </a:lnTo>
                  <a:lnTo>
                    <a:pt x="121" y="33"/>
                  </a:lnTo>
                  <a:lnTo>
                    <a:pt x="124" y="36"/>
                  </a:lnTo>
                  <a:lnTo>
                    <a:pt x="126" y="36"/>
                  </a:lnTo>
                  <a:lnTo>
                    <a:pt x="126" y="38"/>
                  </a:lnTo>
                  <a:lnTo>
                    <a:pt x="127" y="38"/>
                  </a:lnTo>
                  <a:lnTo>
                    <a:pt x="127" y="39"/>
                  </a:lnTo>
                  <a:lnTo>
                    <a:pt x="130" y="39"/>
                  </a:lnTo>
                  <a:lnTo>
                    <a:pt x="132" y="38"/>
                  </a:lnTo>
                  <a:lnTo>
                    <a:pt x="132" y="39"/>
                  </a:lnTo>
                  <a:lnTo>
                    <a:pt x="135" y="39"/>
                  </a:lnTo>
                  <a:lnTo>
                    <a:pt x="138" y="42"/>
                  </a:lnTo>
                  <a:lnTo>
                    <a:pt x="138" y="44"/>
                  </a:lnTo>
                  <a:lnTo>
                    <a:pt x="139" y="44"/>
                  </a:lnTo>
                  <a:lnTo>
                    <a:pt x="139" y="42"/>
                  </a:lnTo>
                  <a:lnTo>
                    <a:pt x="145" y="42"/>
                  </a:lnTo>
                  <a:lnTo>
                    <a:pt x="145" y="44"/>
                  </a:lnTo>
                  <a:lnTo>
                    <a:pt x="147" y="44"/>
                  </a:lnTo>
                  <a:lnTo>
                    <a:pt x="147" y="45"/>
                  </a:lnTo>
                  <a:lnTo>
                    <a:pt x="148" y="45"/>
                  </a:lnTo>
                  <a:lnTo>
                    <a:pt x="148" y="47"/>
                  </a:lnTo>
                  <a:lnTo>
                    <a:pt x="147" y="48"/>
                  </a:lnTo>
                  <a:lnTo>
                    <a:pt x="148" y="50"/>
                  </a:lnTo>
                  <a:lnTo>
                    <a:pt x="151" y="48"/>
                  </a:lnTo>
                  <a:lnTo>
                    <a:pt x="153" y="50"/>
                  </a:lnTo>
                  <a:lnTo>
                    <a:pt x="153" y="53"/>
                  </a:lnTo>
                  <a:lnTo>
                    <a:pt x="154" y="54"/>
                  </a:lnTo>
                  <a:lnTo>
                    <a:pt x="154" y="57"/>
                  </a:lnTo>
                  <a:lnTo>
                    <a:pt x="156" y="57"/>
                  </a:lnTo>
                  <a:lnTo>
                    <a:pt x="156" y="59"/>
                  </a:lnTo>
                  <a:lnTo>
                    <a:pt x="157" y="59"/>
                  </a:lnTo>
                  <a:lnTo>
                    <a:pt x="159" y="60"/>
                  </a:lnTo>
                  <a:lnTo>
                    <a:pt x="159" y="63"/>
                  </a:lnTo>
                  <a:lnTo>
                    <a:pt x="160" y="65"/>
                  </a:lnTo>
                  <a:lnTo>
                    <a:pt x="162" y="65"/>
                  </a:lnTo>
                  <a:lnTo>
                    <a:pt x="162" y="66"/>
                  </a:lnTo>
                  <a:lnTo>
                    <a:pt x="166" y="66"/>
                  </a:lnTo>
                  <a:lnTo>
                    <a:pt x="166" y="63"/>
                  </a:lnTo>
                  <a:lnTo>
                    <a:pt x="168" y="63"/>
                  </a:lnTo>
                  <a:lnTo>
                    <a:pt x="169" y="62"/>
                  </a:lnTo>
                  <a:lnTo>
                    <a:pt x="174" y="62"/>
                  </a:lnTo>
                  <a:lnTo>
                    <a:pt x="175" y="60"/>
                  </a:lnTo>
                  <a:lnTo>
                    <a:pt x="177" y="60"/>
                  </a:lnTo>
                  <a:lnTo>
                    <a:pt x="178" y="59"/>
                  </a:lnTo>
                  <a:lnTo>
                    <a:pt x="180" y="59"/>
                  </a:lnTo>
                  <a:lnTo>
                    <a:pt x="180" y="60"/>
                  </a:lnTo>
                  <a:lnTo>
                    <a:pt x="183" y="60"/>
                  </a:lnTo>
                  <a:lnTo>
                    <a:pt x="183" y="62"/>
                  </a:lnTo>
                  <a:lnTo>
                    <a:pt x="184" y="62"/>
                  </a:lnTo>
                  <a:lnTo>
                    <a:pt x="186" y="60"/>
                  </a:lnTo>
                  <a:lnTo>
                    <a:pt x="186" y="62"/>
                  </a:lnTo>
                  <a:lnTo>
                    <a:pt x="187" y="63"/>
                  </a:lnTo>
                  <a:lnTo>
                    <a:pt x="189" y="63"/>
                  </a:lnTo>
                  <a:lnTo>
                    <a:pt x="189" y="66"/>
                  </a:lnTo>
                  <a:lnTo>
                    <a:pt x="187" y="66"/>
                  </a:lnTo>
                  <a:lnTo>
                    <a:pt x="189" y="68"/>
                  </a:lnTo>
                  <a:lnTo>
                    <a:pt x="189" y="69"/>
                  </a:lnTo>
                  <a:lnTo>
                    <a:pt x="190" y="69"/>
                  </a:lnTo>
                  <a:lnTo>
                    <a:pt x="190" y="72"/>
                  </a:lnTo>
                  <a:lnTo>
                    <a:pt x="192" y="72"/>
                  </a:lnTo>
                  <a:lnTo>
                    <a:pt x="192" y="78"/>
                  </a:lnTo>
                  <a:lnTo>
                    <a:pt x="195" y="81"/>
                  </a:lnTo>
                  <a:lnTo>
                    <a:pt x="199" y="81"/>
                  </a:lnTo>
                  <a:lnTo>
                    <a:pt x="199" y="84"/>
                  </a:lnTo>
                  <a:lnTo>
                    <a:pt x="201" y="84"/>
                  </a:lnTo>
                  <a:lnTo>
                    <a:pt x="202" y="87"/>
                  </a:lnTo>
                  <a:lnTo>
                    <a:pt x="202" y="89"/>
                  </a:lnTo>
                  <a:lnTo>
                    <a:pt x="207" y="89"/>
                  </a:lnTo>
                  <a:lnTo>
                    <a:pt x="207" y="90"/>
                  </a:lnTo>
                  <a:lnTo>
                    <a:pt x="210" y="90"/>
                  </a:lnTo>
                  <a:lnTo>
                    <a:pt x="211" y="92"/>
                  </a:lnTo>
                  <a:lnTo>
                    <a:pt x="213" y="92"/>
                  </a:lnTo>
                  <a:lnTo>
                    <a:pt x="213" y="95"/>
                  </a:lnTo>
                  <a:lnTo>
                    <a:pt x="214" y="96"/>
                  </a:lnTo>
                  <a:lnTo>
                    <a:pt x="217" y="96"/>
                  </a:lnTo>
                  <a:lnTo>
                    <a:pt x="217" y="98"/>
                  </a:lnTo>
                  <a:lnTo>
                    <a:pt x="223" y="98"/>
                  </a:lnTo>
                  <a:lnTo>
                    <a:pt x="223" y="99"/>
                  </a:lnTo>
                  <a:lnTo>
                    <a:pt x="225" y="99"/>
                  </a:lnTo>
                  <a:lnTo>
                    <a:pt x="225" y="98"/>
                  </a:lnTo>
                  <a:lnTo>
                    <a:pt x="226" y="96"/>
                  </a:lnTo>
                  <a:lnTo>
                    <a:pt x="227" y="96"/>
                  </a:lnTo>
                  <a:lnTo>
                    <a:pt x="227" y="95"/>
                  </a:lnTo>
                  <a:lnTo>
                    <a:pt x="229" y="95"/>
                  </a:lnTo>
                  <a:lnTo>
                    <a:pt x="229" y="93"/>
                  </a:lnTo>
                  <a:lnTo>
                    <a:pt x="230" y="93"/>
                  </a:lnTo>
                  <a:lnTo>
                    <a:pt x="232" y="95"/>
                  </a:lnTo>
                  <a:lnTo>
                    <a:pt x="235" y="96"/>
                  </a:lnTo>
                  <a:lnTo>
                    <a:pt x="235" y="99"/>
                  </a:lnTo>
                  <a:lnTo>
                    <a:pt x="233" y="99"/>
                  </a:lnTo>
                  <a:lnTo>
                    <a:pt x="233" y="102"/>
                  </a:lnTo>
                  <a:lnTo>
                    <a:pt x="232" y="102"/>
                  </a:lnTo>
                  <a:lnTo>
                    <a:pt x="232" y="104"/>
                  </a:lnTo>
                  <a:lnTo>
                    <a:pt x="230" y="104"/>
                  </a:lnTo>
                  <a:lnTo>
                    <a:pt x="232" y="107"/>
                  </a:lnTo>
                  <a:lnTo>
                    <a:pt x="232" y="110"/>
                  </a:lnTo>
                  <a:lnTo>
                    <a:pt x="230" y="110"/>
                  </a:lnTo>
                  <a:lnTo>
                    <a:pt x="232" y="111"/>
                  </a:lnTo>
                  <a:lnTo>
                    <a:pt x="235" y="111"/>
                  </a:lnTo>
                  <a:lnTo>
                    <a:pt x="236" y="113"/>
                  </a:lnTo>
                  <a:lnTo>
                    <a:pt x="239" y="113"/>
                  </a:lnTo>
                  <a:lnTo>
                    <a:pt x="241" y="111"/>
                  </a:lnTo>
                  <a:lnTo>
                    <a:pt x="242" y="111"/>
                  </a:lnTo>
                  <a:lnTo>
                    <a:pt x="242" y="113"/>
                  </a:lnTo>
                  <a:lnTo>
                    <a:pt x="245" y="113"/>
                  </a:lnTo>
                  <a:lnTo>
                    <a:pt x="245" y="111"/>
                  </a:lnTo>
                  <a:lnTo>
                    <a:pt x="248" y="111"/>
                  </a:lnTo>
                  <a:lnTo>
                    <a:pt x="250" y="113"/>
                  </a:lnTo>
                  <a:lnTo>
                    <a:pt x="250" y="111"/>
                  </a:lnTo>
                  <a:lnTo>
                    <a:pt x="253" y="111"/>
                  </a:lnTo>
                  <a:lnTo>
                    <a:pt x="253" y="113"/>
                  </a:lnTo>
                  <a:lnTo>
                    <a:pt x="254" y="113"/>
                  </a:lnTo>
                  <a:lnTo>
                    <a:pt x="254" y="114"/>
                  </a:lnTo>
                  <a:lnTo>
                    <a:pt x="256" y="114"/>
                  </a:lnTo>
                  <a:lnTo>
                    <a:pt x="257" y="111"/>
                  </a:lnTo>
                  <a:lnTo>
                    <a:pt x="259" y="111"/>
                  </a:lnTo>
                  <a:lnTo>
                    <a:pt x="259" y="110"/>
                  </a:lnTo>
                  <a:lnTo>
                    <a:pt x="260" y="113"/>
                  </a:lnTo>
                  <a:lnTo>
                    <a:pt x="260" y="114"/>
                  </a:lnTo>
                  <a:lnTo>
                    <a:pt x="263" y="117"/>
                  </a:lnTo>
                  <a:lnTo>
                    <a:pt x="265" y="117"/>
                  </a:lnTo>
                  <a:lnTo>
                    <a:pt x="266" y="119"/>
                  </a:lnTo>
                  <a:lnTo>
                    <a:pt x="268" y="119"/>
                  </a:lnTo>
                  <a:lnTo>
                    <a:pt x="268" y="123"/>
                  </a:lnTo>
                  <a:lnTo>
                    <a:pt x="271" y="126"/>
                  </a:lnTo>
                  <a:lnTo>
                    <a:pt x="271" y="131"/>
                  </a:lnTo>
                  <a:lnTo>
                    <a:pt x="272" y="132"/>
                  </a:lnTo>
                  <a:lnTo>
                    <a:pt x="277" y="132"/>
                  </a:lnTo>
                  <a:lnTo>
                    <a:pt x="278" y="131"/>
                  </a:lnTo>
                  <a:lnTo>
                    <a:pt x="278" y="128"/>
                  </a:lnTo>
                  <a:lnTo>
                    <a:pt x="277" y="126"/>
                  </a:lnTo>
                  <a:lnTo>
                    <a:pt x="277" y="123"/>
                  </a:lnTo>
                  <a:lnTo>
                    <a:pt x="281" y="119"/>
                  </a:lnTo>
                  <a:lnTo>
                    <a:pt x="281" y="123"/>
                  </a:lnTo>
                  <a:lnTo>
                    <a:pt x="283" y="125"/>
                  </a:lnTo>
                  <a:lnTo>
                    <a:pt x="283" y="126"/>
                  </a:lnTo>
                  <a:lnTo>
                    <a:pt x="284" y="128"/>
                  </a:lnTo>
                  <a:lnTo>
                    <a:pt x="287" y="128"/>
                  </a:lnTo>
                  <a:lnTo>
                    <a:pt x="287" y="129"/>
                  </a:lnTo>
                  <a:lnTo>
                    <a:pt x="290" y="129"/>
                  </a:lnTo>
                  <a:lnTo>
                    <a:pt x="292" y="131"/>
                  </a:lnTo>
                  <a:lnTo>
                    <a:pt x="295" y="131"/>
                  </a:lnTo>
                  <a:lnTo>
                    <a:pt x="298" y="128"/>
                  </a:lnTo>
                  <a:lnTo>
                    <a:pt x="298" y="122"/>
                  </a:lnTo>
                  <a:lnTo>
                    <a:pt x="307" y="122"/>
                  </a:lnTo>
                  <a:lnTo>
                    <a:pt x="307" y="125"/>
                  </a:lnTo>
                  <a:lnTo>
                    <a:pt x="308" y="126"/>
                  </a:lnTo>
                  <a:lnTo>
                    <a:pt x="313" y="126"/>
                  </a:lnTo>
                  <a:lnTo>
                    <a:pt x="314" y="128"/>
                  </a:lnTo>
                  <a:lnTo>
                    <a:pt x="314" y="129"/>
                  </a:lnTo>
                  <a:lnTo>
                    <a:pt x="320" y="129"/>
                  </a:lnTo>
                  <a:lnTo>
                    <a:pt x="322" y="131"/>
                  </a:lnTo>
                  <a:lnTo>
                    <a:pt x="325" y="135"/>
                  </a:lnTo>
                  <a:lnTo>
                    <a:pt x="331" y="135"/>
                  </a:lnTo>
                  <a:lnTo>
                    <a:pt x="332" y="137"/>
                  </a:lnTo>
                  <a:lnTo>
                    <a:pt x="334" y="135"/>
                  </a:lnTo>
                  <a:lnTo>
                    <a:pt x="335" y="135"/>
                  </a:lnTo>
                  <a:lnTo>
                    <a:pt x="337" y="134"/>
                  </a:lnTo>
                  <a:lnTo>
                    <a:pt x="337" y="137"/>
                  </a:lnTo>
                  <a:lnTo>
                    <a:pt x="341" y="135"/>
                  </a:lnTo>
                  <a:lnTo>
                    <a:pt x="346" y="135"/>
                  </a:lnTo>
                  <a:lnTo>
                    <a:pt x="346" y="137"/>
                  </a:lnTo>
                  <a:lnTo>
                    <a:pt x="347" y="137"/>
                  </a:lnTo>
                  <a:lnTo>
                    <a:pt x="347" y="135"/>
                  </a:lnTo>
                  <a:lnTo>
                    <a:pt x="350" y="135"/>
                  </a:lnTo>
                  <a:lnTo>
                    <a:pt x="350" y="137"/>
                  </a:lnTo>
                  <a:lnTo>
                    <a:pt x="353" y="137"/>
                  </a:lnTo>
                  <a:lnTo>
                    <a:pt x="356" y="134"/>
                  </a:lnTo>
                  <a:lnTo>
                    <a:pt x="356" y="132"/>
                  </a:lnTo>
                  <a:lnTo>
                    <a:pt x="358" y="131"/>
                  </a:lnTo>
                  <a:lnTo>
                    <a:pt x="359" y="132"/>
                  </a:lnTo>
                  <a:lnTo>
                    <a:pt x="368" y="132"/>
                  </a:lnTo>
                  <a:lnTo>
                    <a:pt x="370" y="134"/>
                  </a:lnTo>
                  <a:lnTo>
                    <a:pt x="373" y="134"/>
                  </a:lnTo>
                  <a:lnTo>
                    <a:pt x="373" y="140"/>
                  </a:lnTo>
                  <a:lnTo>
                    <a:pt x="371" y="141"/>
                  </a:lnTo>
                  <a:lnTo>
                    <a:pt x="368" y="150"/>
                  </a:lnTo>
                  <a:lnTo>
                    <a:pt x="367" y="153"/>
                  </a:lnTo>
                  <a:lnTo>
                    <a:pt x="367" y="162"/>
                  </a:lnTo>
                  <a:lnTo>
                    <a:pt x="365" y="165"/>
                  </a:lnTo>
                  <a:lnTo>
                    <a:pt x="365" y="171"/>
                  </a:lnTo>
                  <a:lnTo>
                    <a:pt x="364" y="173"/>
                  </a:lnTo>
                  <a:lnTo>
                    <a:pt x="365" y="174"/>
                  </a:lnTo>
                  <a:lnTo>
                    <a:pt x="365" y="176"/>
                  </a:lnTo>
                  <a:lnTo>
                    <a:pt x="367" y="176"/>
                  </a:lnTo>
                  <a:lnTo>
                    <a:pt x="367" y="177"/>
                  </a:lnTo>
                  <a:lnTo>
                    <a:pt x="368" y="177"/>
                  </a:lnTo>
                  <a:lnTo>
                    <a:pt x="368" y="179"/>
                  </a:lnTo>
                  <a:lnTo>
                    <a:pt x="371" y="182"/>
                  </a:lnTo>
                  <a:lnTo>
                    <a:pt x="371" y="185"/>
                  </a:lnTo>
                  <a:lnTo>
                    <a:pt x="373" y="185"/>
                  </a:lnTo>
                  <a:lnTo>
                    <a:pt x="373" y="195"/>
                  </a:lnTo>
                  <a:lnTo>
                    <a:pt x="370" y="200"/>
                  </a:lnTo>
                  <a:lnTo>
                    <a:pt x="370" y="204"/>
                  </a:lnTo>
                  <a:lnTo>
                    <a:pt x="368" y="206"/>
                  </a:lnTo>
                  <a:lnTo>
                    <a:pt x="367" y="209"/>
                  </a:lnTo>
                  <a:lnTo>
                    <a:pt x="365" y="210"/>
                  </a:lnTo>
                  <a:lnTo>
                    <a:pt x="364" y="210"/>
                  </a:lnTo>
                  <a:lnTo>
                    <a:pt x="362" y="209"/>
                  </a:lnTo>
                  <a:lnTo>
                    <a:pt x="361" y="209"/>
                  </a:lnTo>
                  <a:lnTo>
                    <a:pt x="361" y="207"/>
                  </a:lnTo>
                  <a:lnTo>
                    <a:pt x="359" y="206"/>
                  </a:lnTo>
                  <a:lnTo>
                    <a:pt x="358" y="207"/>
                  </a:lnTo>
                  <a:lnTo>
                    <a:pt x="356" y="207"/>
                  </a:lnTo>
                  <a:lnTo>
                    <a:pt x="355" y="206"/>
                  </a:lnTo>
                  <a:lnTo>
                    <a:pt x="355" y="207"/>
                  </a:lnTo>
                  <a:lnTo>
                    <a:pt x="353" y="207"/>
                  </a:lnTo>
                  <a:lnTo>
                    <a:pt x="353" y="209"/>
                  </a:lnTo>
                  <a:lnTo>
                    <a:pt x="352" y="209"/>
                  </a:lnTo>
                  <a:lnTo>
                    <a:pt x="350" y="207"/>
                  </a:lnTo>
                  <a:lnTo>
                    <a:pt x="350" y="209"/>
                  </a:lnTo>
                  <a:lnTo>
                    <a:pt x="349" y="209"/>
                  </a:lnTo>
                  <a:lnTo>
                    <a:pt x="346" y="210"/>
                  </a:lnTo>
                  <a:lnTo>
                    <a:pt x="344" y="210"/>
                  </a:lnTo>
                  <a:lnTo>
                    <a:pt x="341" y="207"/>
                  </a:lnTo>
                  <a:lnTo>
                    <a:pt x="337" y="207"/>
                  </a:lnTo>
                  <a:lnTo>
                    <a:pt x="335" y="209"/>
                  </a:lnTo>
                  <a:lnTo>
                    <a:pt x="334" y="212"/>
                  </a:lnTo>
                  <a:lnTo>
                    <a:pt x="331" y="210"/>
                  </a:lnTo>
                  <a:lnTo>
                    <a:pt x="329" y="209"/>
                  </a:lnTo>
                  <a:lnTo>
                    <a:pt x="325" y="209"/>
                  </a:lnTo>
                  <a:lnTo>
                    <a:pt x="322" y="206"/>
                  </a:lnTo>
                  <a:lnTo>
                    <a:pt x="322" y="200"/>
                  </a:lnTo>
                  <a:lnTo>
                    <a:pt x="320" y="200"/>
                  </a:lnTo>
                  <a:lnTo>
                    <a:pt x="319" y="201"/>
                  </a:lnTo>
                  <a:lnTo>
                    <a:pt x="319" y="203"/>
                  </a:lnTo>
                  <a:lnTo>
                    <a:pt x="316" y="203"/>
                  </a:lnTo>
                  <a:lnTo>
                    <a:pt x="311" y="207"/>
                  </a:lnTo>
                  <a:lnTo>
                    <a:pt x="307" y="207"/>
                  </a:lnTo>
                  <a:lnTo>
                    <a:pt x="307" y="209"/>
                  </a:lnTo>
                  <a:lnTo>
                    <a:pt x="305" y="207"/>
                  </a:lnTo>
                  <a:lnTo>
                    <a:pt x="299" y="204"/>
                  </a:lnTo>
                  <a:lnTo>
                    <a:pt x="298" y="204"/>
                  </a:lnTo>
                  <a:lnTo>
                    <a:pt x="298" y="203"/>
                  </a:lnTo>
                  <a:lnTo>
                    <a:pt x="295" y="203"/>
                  </a:lnTo>
                  <a:lnTo>
                    <a:pt x="293" y="201"/>
                  </a:lnTo>
                  <a:lnTo>
                    <a:pt x="290" y="200"/>
                  </a:lnTo>
                  <a:lnTo>
                    <a:pt x="287" y="200"/>
                  </a:lnTo>
                  <a:lnTo>
                    <a:pt x="287" y="198"/>
                  </a:lnTo>
                  <a:lnTo>
                    <a:pt x="284" y="198"/>
                  </a:lnTo>
                  <a:lnTo>
                    <a:pt x="283" y="200"/>
                  </a:lnTo>
                  <a:lnTo>
                    <a:pt x="281" y="200"/>
                  </a:lnTo>
                  <a:lnTo>
                    <a:pt x="281" y="198"/>
                  </a:lnTo>
                  <a:lnTo>
                    <a:pt x="278" y="198"/>
                  </a:lnTo>
                  <a:lnTo>
                    <a:pt x="275" y="197"/>
                  </a:lnTo>
                  <a:lnTo>
                    <a:pt x="274" y="195"/>
                  </a:lnTo>
                  <a:lnTo>
                    <a:pt x="272" y="197"/>
                  </a:lnTo>
                  <a:lnTo>
                    <a:pt x="271" y="197"/>
                  </a:lnTo>
                  <a:lnTo>
                    <a:pt x="268" y="200"/>
                  </a:lnTo>
                  <a:lnTo>
                    <a:pt x="265" y="200"/>
                  </a:lnTo>
                  <a:lnTo>
                    <a:pt x="265" y="198"/>
                  </a:lnTo>
                  <a:lnTo>
                    <a:pt x="263" y="198"/>
                  </a:lnTo>
                  <a:lnTo>
                    <a:pt x="260" y="197"/>
                  </a:lnTo>
                  <a:lnTo>
                    <a:pt x="260" y="189"/>
                  </a:lnTo>
                  <a:lnTo>
                    <a:pt x="259" y="188"/>
                  </a:lnTo>
                  <a:lnTo>
                    <a:pt x="256" y="186"/>
                  </a:lnTo>
                  <a:lnTo>
                    <a:pt x="254" y="186"/>
                  </a:lnTo>
                  <a:lnTo>
                    <a:pt x="251" y="188"/>
                  </a:lnTo>
                  <a:lnTo>
                    <a:pt x="250" y="188"/>
                  </a:lnTo>
                  <a:lnTo>
                    <a:pt x="248" y="189"/>
                  </a:lnTo>
                  <a:lnTo>
                    <a:pt x="244" y="189"/>
                  </a:lnTo>
                  <a:lnTo>
                    <a:pt x="244" y="191"/>
                  </a:lnTo>
                  <a:lnTo>
                    <a:pt x="242" y="191"/>
                  </a:lnTo>
                  <a:lnTo>
                    <a:pt x="241" y="192"/>
                  </a:lnTo>
                  <a:lnTo>
                    <a:pt x="236" y="191"/>
                  </a:lnTo>
                  <a:lnTo>
                    <a:pt x="235" y="189"/>
                  </a:lnTo>
                  <a:lnTo>
                    <a:pt x="235" y="186"/>
                  </a:lnTo>
                  <a:lnTo>
                    <a:pt x="233" y="185"/>
                  </a:lnTo>
                  <a:lnTo>
                    <a:pt x="232" y="185"/>
                  </a:lnTo>
                  <a:lnTo>
                    <a:pt x="229" y="186"/>
                  </a:lnTo>
                  <a:lnTo>
                    <a:pt x="229" y="185"/>
                  </a:lnTo>
                  <a:lnTo>
                    <a:pt x="227" y="185"/>
                  </a:lnTo>
                  <a:lnTo>
                    <a:pt x="225" y="182"/>
                  </a:lnTo>
                  <a:lnTo>
                    <a:pt x="225" y="180"/>
                  </a:lnTo>
                  <a:lnTo>
                    <a:pt x="223" y="179"/>
                  </a:lnTo>
                  <a:lnTo>
                    <a:pt x="220" y="179"/>
                  </a:lnTo>
                  <a:lnTo>
                    <a:pt x="219" y="177"/>
                  </a:lnTo>
                  <a:lnTo>
                    <a:pt x="217" y="177"/>
                  </a:lnTo>
                  <a:lnTo>
                    <a:pt x="217" y="179"/>
                  </a:lnTo>
                  <a:lnTo>
                    <a:pt x="211" y="177"/>
                  </a:lnTo>
                  <a:lnTo>
                    <a:pt x="211" y="176"/>
                  </a:lnTo>
                  <a:lnTo>
                    <a:pt x="210" y="176"/>
                  </a:lnTo>
                  <a:lnTo>
                    <a:pt x="211" y="174"/>
                  </a:lnTo>
                  <a:lnTo>
                    <a:pt x="211" y="171"/>
                  </a:lnTo>
                  <a:lnTo>
                    <a:pt x="213" y="170"/>
                  </a:lnTo>
                  <a:lnTo>
                    <a:pt x="213" y="168"/>
                  </a:lnTo>
                  <a:lnTo>
                    <a:pt x="211" y="165"/>
                  </a:lnTo>
                  <a:lnTo>
                    <a:pt x="211" y="164"/>
                  </a:lnTo>
                  <a:lnTo>
                    <a:pt x="208" y="161"/>
                  </a:lnTo>
                  <a:lnTo>
                    <a:pt x="195" y="159"/>
                  </a:lnTo>
                  <a:lnTo>
                    <a:pt x="195" y="158"/>
                  </a:lnTo>
                  <a:lnTo>
                    <a:pt x="193" y="156"/>
                  </a:lnTo>
                  <a:lnTo>
                    <a:pt x="190" y="156"/>
                  </a:lnTo>
                  <a:lnTo>
                    <a:pt x="190" y="155"/>
                  </a:lnTo>
                  <a:lnTo>
                    <a:pt x="189" y="153"/>
                  </a:lnTo>
                  <a:lnTo>
                    <a:pt x="187" y="153"/>
                  </a:lnTo>
                  <a:lnTo>
                    <a:pt x="187" y="152"/>
                  </a:lnTo>
                  <a:lnTo>
                    <a:pt x="186" y="152"/>
                  </a:lnTo>
                  <a:lnTo>
                    <a:pt x="181" y="156"/>
                  </a:lnTo>
                  <a:lnTo>
                    <a:pt x="178" y="155"/>
                  </a:lnTo>
                  <a:lnTo>
                    <a:pt x="175" y="155"/>
                  </a:lnTo>
                  <a:lnTo>
                    <a:pt x="174" y="156"/>
                  </a:lnTo>
                  <a:lnTo>
                    <a:pt x="175" y="156"/>
                  </a:lnTo>
                  <a:lnTo>
                    <a:pt x="175" y="161"/>
                  </a:lnTo>
                  <a:lnTo>
                    <a:pt x="163" y="155"/>
                  </a:lnTo>
                  <a:lnTo>
                    <a:pt x="157" y="153"/>
                  </a:lnTo>
                  <a:lnTo>
                    <a:pt x="154" y="153"/>
                  </a:lnTo>
                  <a:lnTo>
                    <a:pt x="153" y="155"/>
                  </a:lnTo>
                  <a:lnTo>
                    <a:pt x="153" y="158"/>
                  </a:lnTo>
                  <a:lnTo>
                    <a:pt x="151" y="159"/>
                  </a:lnTo>
                  <a:lnTo>
                    <a:pt x="151" y="161"/>
                  </a:lnTo>
                  <a:lnTo>
                    <a:pt x="147" y="161"/>
                  </a:lnTo>
                  <a:lnTo>
                    <a:pt x="147" y="159"/>
                  </a:lnTo>
                  <a:lnTo>
                    <a:pt x="142" y="155"/>
                  </a:lnTo>
                  <a:lnTo>
                    <a:pt x="133" y="155"/>
                  </a:lnTo>
                  <a:lnTo>
                    <a:pt x="132" y="153"/>
                  </a:lnTo>
                  <a:lnTo>
                    <a:pt x="124" y="153"/>
                  </a:lnTo>
                  <a:lnTo>
                    <a:pt x="123" y="152"/>
                  </a:lnTo>
                  <a:lnTo>
                    <a:pt x="123" y="146"/>
                  </a:lnTo>
                  <a:lnTo>
                    <a:pt x="121" y="144"/>
                  </a:lnTo>
                  <a:lnTo>
                    <a:pt x="121" y="143"/>
                  </a:lnTo>
                  <a:lnTo>
                    <a:pt x="120" y="141"/>
                  </a:lnTo>
                  <a:lnTo>
                    <a:pt x="114" y="143"/>
                  </a:lnTo>
                  <a:lnTo>
                    <a:pt x="111" y="144"/>
                  </a:lnTo>
                  <a:lnTo>
                    <a:pt x="108" y="143"/>
                  </a:lnTo>
                  <a:lnTo>
                    <a:pt x="106" y="141"/>
                  </a:lnTo>
                  <a:lnTo>
                    <a:pt x="102" y="138"/>
                  </a:lnTo>
                  <a:lnTo>
                    <a:pt x="97" y="134"/>
                  </a:lnTo>
                  <a:lnTo>
                    <a:pt x="94" y="134"/>
                  </a:lnTo>
                  <a:lnTo>
                    <a:pt x="93" y="132"/>
                  </a:lnTo>
                  <a:lnTo>
                    <a:pt x="93" y="131"/>
                  </a:lnTo>
                  <a:lnTo>
                    <a:pt x="87" y="131"/>
                  </a:lnTo>
                  <a:lnTo>
                    <a:pt x="85" y="134"/>
                  </a:lnTo>
                  <a:lnTo>
                    <a:pt x="82" y="134"/>
                  </a:lnTo>
                  <a:lnTo>
                    <a:pt x="81" y="132"/>
                  </a:lnTo>
                  <a:lnTo>
                    <a:pt x="78" y="131"/>
                  </a:lnTo>
                  <a:lnTo>
                    <a:pt x="75" y="128"/>
                  </a:lnTo>
                  <a:lnTo>
                    <a:pt x="72" y="128"/>
                  </a:lnTo>
                  <a:lnTo>
                    <a:pt x="72" y="126"/>
                  </a:lnTo>
                  <a:lnTo>
                    <a:pt x="70" y="126"/>
                  </a:lnTo>
                  <a:lnTo>
                    <a:pt x="70" y="125"/>
                  </a:lnTo>
                  <a:lnTo>
                    <a:pt x="66" y="123"/>
                  </a:lnTo>
                  <a:lnTo>
                    <a:pt x="65" y="123"/>
                  </a:lnTo>
                  <a:lnTo>
                    <a:pt x="65" y="120"/>
                  </a:lnTo>
                  <a:lnTo>
                    <a:pt x="63" y="119"/>
                  </a:lnTo>
                  <a:lnTo>
                    <a:pt x="62" y="119"/>
                  </a:lnTo>
                  <a:lnTo>
                    <a:pt x="62" y="117"/>
                  </a:lnTo>
                  <a:lnTo>
                    <a:pt x="60" y="117"/>
                  </a:lnTo>
                  <a:lnTo>
                    <a:pt x="60" y="120"/>
                  </a:lnTo>
                  <a:lnTo>
                    <a:pt x="57" y="120"/>
                  </a:lnTo>
                  <a:lnTo>
                    <a:pt x="57" y="117"/>
                  </a:lnTo>
                  <a:lnTo>
                    <a:pt x="54" y="114"/>
                  </a:lnTo>
                  <a:lnTo>
                    <a:pt x="54" y="113"/>
                  </a:lnTo>
                  <a:lnTo>
                    <a:pt x="53" y="108"/>
                  </a:lnTo>
                  <a:lnTo>
                    <a:pt x="51" y="107"/>
                  </a:lnTo>
                  <a:lnTo>
                    <a:pt x="47" y="107"/>
                  </a:lnTo>
                  <a:lnTo>
                    <a:pt x="44" y="105"/>
                  </a:lnTo>
                  <a:lnTo>
                    <a:pt x="44" y="104"/>
                  </a:lnTo>
                  <a:lnTo>
                    <a:pt x="39" y="104"/>
                  </a:lnTo>
                  <a:lnTo>
                    <a:pt x="39" y="102"/>
                  </a:lnTo>
                  <a:lnTo>
                    <a:pt x="38" y="101"/>
                  </a:lnTo>
                  <a:lnTo>
                    <a:pt x="35" y="101"/>
                  </a:lnTo>
                  <a:lnTo>
                    <a:pt x="35" y="99"/>
                  </a:lnTo>
                  <a:lnTo>
                    <a:pt x="32" y="98"/>
                  </a:lnTo>
                  <a:lnTo>
                    <a:pt x="30" y="98"/>
                  </a:lnTo>
                  <a:lnTo>
                    <a:pt x="29" y="96"/>
                  </a:lnTo>
                  <a:lnTo>
                    <a:pt x="29" y="95"/>
                  </a:lnTo>
                  <a:lnTo>
                    <a:pt x="27" y="93"/>
                  </a:lnTo>
                  <a:lnTo>
                    <a:pt x="24" y="93"/>
                  </a:lnTo>
                  <a:lnTo>
                    <a:pt x="24" y="92"/>
                  </a:lnTo>
                  <a:lnTo>
                    <a:pt x="21" y="92"/>
                  </a:lnTo>
                  <a:lnTo>
                    <a:pt x="20" y="93"/>
                  </a:lnTo>
                  <a:lnTo>
                    <a:pt x="21" y="96"/>
                  </a:lnTo>
                  <a:lnTo>
                    <a:pt x="21" y="98"/>
                  </a:lnTo>
                  <a:lnTo>
                    <a:pt x="17" y="93"/>
                  </a:lnTo>
                  <a:lnTo>
                    <a:pt x="15" y="95"/>
                  </a:lnTo>
                  <a:lnTo>
                    <a:pt x="14" y="95"/>
                  </a:lnTo>
                  <a:lnTo>
                    <a:pt x="14" y="93"/>
                  </a:lnTo>
                  <a:lnTo>
                    <a:pt x="12" y="93"/>
                  </a:lnTo>
                  <a:lnTo>
                    <a:pt x="12" y="90"/>
                  </a:lnTo>
                  <a:lnTo>
                    <a:pt x="9" y="90"/>
                  </a:lnTo>
                  <a:lnTo>
                    <a:pt x="9" y="89"/>
                  </a:lnTo>
                  <a:lnTo>
                    <a:pt x="8" y="87"/>
                  </a:lnTo>
                  <a:lnTo>
                    <a:pt x="5" y="87"/>
                  </a:lnTo>
                  <a:lnTo>
                    <a:pt x="3" y="84"/>
                  </a:lnTo>
                  <a:lnTo>
                    <a:pt x="0" y="84"/>
                  </a:lnTo>
                  <a:lnTo>
                    <a:pt x="0" y="77"/>
                  </a:lnTo>
                  <a:lnTo>
                    <a:pt x="2" y="77"/>
                  </a:lnTo>
                  <a:lnTo>
                    <a:pt x="3" y="75"/>
                  </a:lnTo>
                  <a:lnTo>
                    <a:pt x="3" y="71"/>
                  </a:lnTo>
                  <a:lnTo>
                    <a:pt x="6" y="68"/>
                  </a:lnTo>
                  <a:lnTo>
                    <a:pt x="9" y="68"/>
                  </a:lnTo>
                  <a:lnTo>
                    <a:pt x="9" y="66"/>
                  </a:lnTo>
                  <a:lnTo>
                    <a:pt x="8" y="65"/>
                  </a:lnTo>
                  <a:lnTo>
                    <a:pt x="8" y="63"/>
                  </a:lnTo>
                  <a:lnTo>
                    <a:pt x="11" y="63"/>
                  </a:lnTo>
                  <a:lnTo>
                    <a:pt x="11" y="57"/>
                  </a:lnTo>
                  <a:lnTo>
                    <a:pt x="9" y="57"/>
                  </a:lnTo>
                  <a:lnTo>
                    <a:pt x="9" y="56"/>
                  </a:lnTo>
                  <a:lnTo>
                    <a:pt x="8" y="53"/>
                  </a:lnTo>
                  <a:lnTo>
                    <a:pt x="8" y="51"/>
                  </a:lnTo>
                  <a:lnTo>
                    <a:pt x="11" y="51"/>
                  </a:lnTo>
                  <a:lnTo>
                    <a:pt x="11" y="50"/>
                  </a:lnTo>
                  <a:lnTo>
                    <a:pt x="12" y="48"/>
                  </a:lnTo>
                  <a:lnTo>
                    <a:pt x="12" y="47"/>
                  </a:lnTo>
                  <a:lnTo>
                    <a:pt x="14" y="47"/>
                  </a:lnTo>
                  <a:lnTo>
                    <a:pt x="14" y="45"/>
                  </a:lnTo>
                  <a:lnTo>
                    <a:pt x="15" y="44"/>
                  </a:lnTo>
                  <a:lnTo>
                    <a:pt x="15" y="39"/>
                  </a:lnTo>
                  <a:lnTo>
                    <a:pt x="14" y="38"/>
                  </a:lnTo>
                  <a:lnTo>
                    <a:pt x="14" y="36"/>
                  </a:lnTo>
                  <a:lnTo>
                    <a:pt x="17" y="33"/>
                  </a:lnTo>
                  <a:lnTo>
                    <a:pt x="20" y="33"/>
                  </a:lnTo>
                  <a:lnTo>
                    <a:pt x="20" y="32"/>
                  </a:lnTo>
                  <a:lnTo>
                    <a:pt x="23" y="29"/>
                  </a:lnTo>
                  <a:lnTo>
                    <a:pt x="23" y="27"/>
                  </a:lnTo>
                  <a:lnTo>
                    <a:pt x="24" y="26"/>
                  </a:lnTo>
                  <a:lnTo>
                    <a:pt x="24" y="24"/>
                  </a:lnTo>
                  <a:lnTo>
                    <a:pt x="27" y="24"/>
                  </a:lnTo>
                  <a:lnTo>
                    <a:pt x="29" y="23"/>
                  </a:lnTo>
                  <a:lnTo>
                    <a:pt x="32" y="21"/>
                  </a:lnTo>
                  <a:lnTo>
                    <a:pt x="33" y="18"/>
                  </a:lnTo>
                  <a:lnTo>
                    <a:pt x="38" y="14"/>
                  </a:lnTo>
                  <a:lnTo>
                    <a:pt x="36" y="12"/>
                  </a:lnTo>
                  <a:lnTo>
                    <a:pt x="38" y="12"/>
                  </a:lnTo>
                  <a:lnTo>
                    <a:pt x="38" y="11"/>
                  </a:lnTo>
                  <a:lnTo>
                    <a:pt x="39" y="11"/>
                  </a:lnTo>
                  <a:lnTo>
                    <a:pt x="39" y="12"/>
                  </a:lnTo>
                  <a:lnTo>
                    <a:pt x="41" y="12"/>
                  </a:lnTo>
                  <a:lnTo>
                    <a:pt x="44" y="11"/>
                  </a:lnTo>
                  <a:lnTo>
                    <a:pt x="44" y="12"/>
                  </a:lnTo>
                  <a:lnTo>
                    <a:pt x="45" y="12"/>
                  </a:lnTo>
                  <a:lnTo>
                    <a:pt x="45" y="14"/>
                  </a:lnTo>
                  <a:lnTo>
                    <a:pt x="47" y="15"/>
                  </a:lnTo>
                  <a:lnTo>
                    <a:pt x="47" y="17"/>
                  </a:lnTo>
                  <a:lnTo>
                    <a:pt x="48" y="18"/>
                  </a:lnTo>
                  <a:lnTo>
                    <a:pt x="48" y="21"/>
                  </a:lnTo>
                  <a:lnTo>
                    <a:pt x="54" y="21"/>
                  </a:lnTo>
                  <a:lnTo>
                    <a:pt x="54" y="20"/>
                  </a:lnTo>
                  <a:lnTo>
                    <a:pt x="56" y="18"/>
                  </a:lnTo>
                  <a:lnTo>
                    <a:pt x="57" y="18"/>
                  </a:lnTo>
                  <a:lnTo>
                    <a:pt x="57" y="17"/>
                  </a:lnTo>
                  <a:lnTo>
                    <a:pt x="56" y="15"/>
                  </a:lnTo>
                  <a:lnTo>
                    <a:pt x="59" y="15"/>
                  </a:lnTo>
                  <a:lnTo>
                    <a:pt x="60" y="14"/>
                  </a:lnTo>
                  <a:lnTo>
                    <a:pt x="60" y="11"/>
                  </a:lnTo>
                  <a:lnTo>
                    <a:pt x="62" y="11"/>
                  </a:lnTo>
                  <a:lnTo>
                    <a:pt x="62" y="2"/>
                  </a:lnTo>
                  <a:lnTo>
                    <a:pt x="63" y="2"/>
                  </a:lnTo>
                  <a:lnTo>
                    <a:pt x="66" y="5"/>
                  </a:lnTo>
                  <a:lnTo>
                    <a:pt x="67" y="5"/>
                  </a:lnTo>
                  <a:lnTo>
                    <a:pt x="69" y="2"/>
                  </a:lnTo>
                  <a:lnTo>
                    <a:pt x="70" y="2"/>
                  </a:lnTo>
                  <a:lnTo>
                    <a:pt x="70"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22">
              <a:extLst>
                <a:ext uri="{FF2B5EF4-FFF2-40B4-BE49-F238E27FC236}">
                  <a16:creationId xmlns:a16="http://schemas.microsoft.com/office/drawing/2014/main" id="{AF09F986-5B59-41EF-8EC3-D44C8194E847}"/>
                </a:ext>
              </a:extLst>
            </p:cNvPr>
            <p:cNvSpPr>
              <a:spLocks noEditPoints="1"/>
            </p:cNvSpPr>
            <p:nvPr/>
          </p:nvSpPr>
          <p:spPr bwMode="auto">
            <a:xfrm>
              <a:off x="1442280" y="4914257"/>
              <a:ext cx="29386" cy="307505"/>
            </a:xfrm>
            <a:custGeom>
              <a:avLst/>
              <a:gdLst/>
              <a:ahLst/>
              <a:cxnLst>
                <a:cxn ang="0">
                  <a:pos x="27" y="292"/>
                </a:cxn>
                <a:cxn ang="0">
                  <a:pos x="28" y="292"/>
                </a:cxn>
                <a:cxn ang="0">
                  <a:pos x="27" y="293"/>
                </a:cxn>
                <a:cxn ang="0">
                  <a:pos x="27" y="292"/>
                </a:cxn>
                <a:cxn ang="0">
                  <a:pos x="0" y="203"/>
                </a:cxn>
                <a:cxn ang="0">
                  <a:pos x="1" y="203"/>
                </a:cxn>
                <a:cxn ang="0">
                  <a:pos x="1" y="205"/>
                </a:cxn>
                <a:cxn ang="0">
                  <a:pos x="0" y="205"/>
                </a:cxn>
                <a:cxn ang="0">
                  <a:pos x="0" y="203"/>
                </a:cxn>
                <a:cxn ang="0">
                  <a:pos x="22" y="160"/>
                </a:cxn>
                <a:cxn ang="0">
                  <a:pos x="24" y="160"/>
                </a:cxn>
                <a:cxn ang="0">
                  <a:pos x="24" y="163"/>
                </a:cxn>
                <a:cxn ang="0">
                  <a:pos x="22" y="163"/>
                </a:cxn>
                <a:cxn ang="0">
                  <a:pos x="21" y="161"/>
                </a:cxn>
                <a:cxn ang="0">
                  <a:pos x="22" y="160"/>
                </a:cxn>
                <a:cxn ang="0">
                  <a:pos x="27" y="116"/>
                </a:cxn>
                <a:cxn ang="0">
                  <a:pos x="28" y="116"/>
                </a:cxn>
                <a:cxn ang="0">
                  <a:pos x="28" y="119"/>
                </a:cxn>
                <a:cxn ang="0">
                  <a:pos x="27" y="119"/>
                </a:cxn>
                <a:cxn ang="0">
                  <a:pos x="27" y="121"/>
                </a:cxn>
                <a:cxn ang="0">
                  <a:pos x="25" y="119"/>
                </a:cxn>
                <a:cxn ang="0">
                  <a:pos x="27" y="118"/>
                </a:cxn>
                <a:cxn ang="0">
                  <a:pos x="27" y="116"/>
                </a:cxn>
                <a:cxn ang="0">
                  <a:pos x="24" y="82"/>
                </a:cxn>
                <a:cxn ang="0">
                  <a:pos x="25" y="84"/>
                </a:cxn>
                <a:cxn ang="0">
                  <a:pos x="24" y="84"/>
                </a:cxn>
                <a:cxn ang="0">
                  <a:pos x="24" y="82"/>
                </a:cxn>
                <a:cxn ang="0">
                  <a:pos x="22" y="48"/>
                </a:cxn>
                <a:cxn ang="0">
                  <a:pos x="22" y="49"/>
                </a:cxn>
                <a:cxn ang="0">
                  <a:pos x="21" y="49"/>
                </a:cxn>
                <a:cxn ang="0">
                  <a:pos x="22" y="48"/>
                </a:cxn>
                <a:cxn ang="0">
                  <a:pos x="21" y="45"/>
                </a:cxn>
                <a:cxn ang="0">
                  <a:pos x="22" y="45"/>
                </a:cxn>
                <a:cxn ang="0">
                  <a:pos x="22" y="46"/>
                </a:cxn>
                <a:cxn ang="0">
                  <a:pos x="21" y="46"/>
                </a:cxn>
                <a:cxn ang="0">
                  <a:pos x="21" y="45"/>
                </a:cxn>
                <a:cxn ang="0">
                  <a:pos x="10" y="0"/>
                </a:cxn>
                <a:cxn ang="0">
                  <a:pos x="12" y="0"/>
                </a:cxn>
                <a:cxn ang="0">
                  <a:pos x="12" y="1"/>
                </a:cxn>
                <a:cxn ang="0">
                  <a:pos x="10" y="1"/>
                </a:cxn>
                <a:cxn ang="0">
                  <a:pos x="10" y="0"/>
                </a:cxn>
              </a:cxnLst>
              <a:rect l="0" t="0" r="r" b="b"/>
              <a:pathLst>
                <a:path w="28" h="293">
                  <a:moveTo>
                    <a:pt x="27" y="292"/>
                  </a:moveTo>
                  <a:lnTo>
                    <a:pt x="28" y="292"/>
                  </a:lnTo>
                  <a:lnTo>
                    <a:pt x="27" y="293"/>
                  </a:lnTo>
                  <a:lnTo>
                    <a:pt x="27" y="292"/>
                  </a:lnTo>
                  <a:close/>
                  <a:moveTo>
                    <a:pt x="0" y="203"/>
                  </a:moveTo>
                  <a:lnTo>
                    <a:pt x="1" y="203"/>
                  </a:lnTo>
                  <a:lnTo>
                    <a:pt x="1" y="205"/>
                  </a:lnTo>
                  <a:lnTo>
                    <a:pt x="0" y="205"/>
                  </a:lnTo>
                  <a:lnTo>
                    <a:pt x="0" y="203"/>
                  </a:lnTo>
                  <a:close/>
                  <a:moveTo>
                    <a:pt x="22" y="160"/>
                  </a:moveTo>
                  <a:lnTo>
                    <a:pt x="24" y="160"/>
                  </a:lnTo>
                  <a:lnTo>
                    <a:pt x="24" y="163"/>
                  </a:lnTo>
                  <a:lnTo>
                    <a:pt x="22" y="163"/>
                  </a:lnTo>
                  <a:lnTo>
                    <a:pt x="21" y="161"/>
                  </a:lnTo>
                  <a:lnTo>
                    <a:pt x="22" y="160"/>
                  </a:lnTo>
                  <a:close/>
                  <a:moveTo>
                    <a:pt x="27" y="116"/>
                  </a:moveTo>
                  <a:lnTo>
                    <a:pt x="28" y="116"/>
                  </a:lnTo>
                  <a:lnTo>
                    <a:pt x="28" y="119"/>
                  </a:lnTo>
                  <a:lnTo>
                    <a:pt x="27" y="119"/>
                  </a:lnTo>
                  <a:lnTo>
                    <a:pt x="27" y="121"/>
                  </a:lnTo>
                  <a:lnTo>
                    <a:pt x="25" y="119"/>
                  </a:lnTo>
                  <a:lnTo>
                    <a:pt x="27" y="118"/>
                  </a:lnTo>
                  <a:lnTo>
                    <a:pt x="27" y="116"/>
                  </a:lnTo>
                  <a:close/>
                  <a:moveTo>
                    <a:pt x="24" y="82"/>
                  </a:moveTo>
                  <a:lnTo>
                    <a:pt x="25" y="84"/>
                  </a:lnTo>
                  <a:lnTo>
                    <a:pt x="24" y="84"/>
                  </a:lnTo>
                  <a:lnTo>
                    <a:pt x="24" y="82"/>
                  </a:lnTo>
                  <a:close/>
                  <a:moveTo>
                    <a:pt x="22" y="48"/>
                  </a:moveTo>
                  <a:lnTo>
                    <a:pt x="22" y="49"/>
                  </a:lnTo>
                  <a:lnTo>
                    <a:pt x="21" y="49"/>
                  </a:lnTo>
                  <a:lnTo>
                    <a:pt x="22" y="48"/>
                  </a:lnTo>
                  <a:close/>
                  <a:moveTo>
                    <a:pt x="21" y="45"/>
                  </a:moveTo>
                  <a:lnTo>
                    <a:pt x="22" y="45"/>
                  </a:lnTo>
                  <a:lnTo>
                    <a:pt x="22" y="46"/>
                  </a:lnTo>
                  <a:lnTo>
                    <a:pt x="21" y="46"/>
                  </a:lnTo>
                  <a:lnTo>
                    <a:pt x="21" y="45"/>
                  </a:lnTo>
                  <a:close/>
                  <a:moveTo>
                    <a:pt x="10" y="0"/>
                  </a:moveTo>
                  <a:lnTo>
                    <a:pt x="12" y="0"/>
                  </a:lnTo>
                  <a:lnTo>
                    <a:pt x="12" y="1"/>
                  </a:lnTo>
                  <a:lnTo>
                    <a:pt x="10" y="1"/>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33">
              <a:extLst>
                <a:ext uri="{FF2B5EF4-FFF2-40B4-BE49-F238E27FC236}">
                  <a16:creationId xmlns:a16="http://schemas.microsoft.com/office/drawing/2014/main" id="{D0AF0DBD-0DCE-4E5D-AAA9-3CCF7F6182D4}"/>
                </a:ext>
              </a:extLst>
            </p:cNvPr>
            <p:cNvSpPr>
              <a:spLocks noEditPoints="1"/>
            </p:cNvSpPr>
            <p:nvPr/>
          </p:nvSpPr>
          <p:spPr bwMode="auto">
            <a:xfrm>
              <a:off x="1212437" y="3408217"/>
              <a:ext cx="1406336" cy="1507090"/>
            </a:xfrm>
            <a:custGeom>
              <a:avLst/>
              <a:gdLst/>
              <a:ahLst/>
              <a:cxnLst>
                <a:cxn ang="0">
                  <a:pos x="1162" y="1369"/>
                </a:cxn>
                <a:cxn ang="0">
                  <a:pos x="513" y="1319"/>
                </a:cxn>
                <a:cxn ang="0">
                  <a:pos x="1114" y="1257"/>
                </a:cxn>
                <a:cxn ang="0">
                  <a:pos x="1125" y="1153"/>
                </a:cxn>
                <a:cxn ang="0">
                  <a:pos x="1135" y="1182"/>
                </a:cxn>
                <a:cxn ang="0">
                  <a:pos x="1129" y="1158"/>
                </a:cxn>
                <a:cxn ang="0">
                  <a:pos x="950" y="734"/>
                </a:cxn>
                <a:cxn ang="0">
                  <a:pos x="942" y="706"/>
                </a:cxn>
                <a:cxn ang="0">
                  <a:pos x="462" y="45"/>
                </a:cxn>
                <a:cxn ang="0">
                  <a:pos x="488" y="176"/>
                </a:cxn>
                <a:cxn ang="0">
                  <a:pos x="509" y="243"/>
                </a:cxn>
                <a:cxn ang="0">
                  <a:pos x="579" y="304"/>
                </a:cxn>
                <a:cxn ang="0">
                  <a:pos x="575" y="382"/>
                </a:cxn>
                <a:cxn ang="0">
                  <a:pos x="697" y="445"/>
                </a:cxn>
                <a:cxn ang="0">
                  <a:pos x="806" y="475"/>
                </a:cxn>
                <a:cxn ang="0">
                  <a:pos x="910" y="496"/>
                </a:cxn>
                <a:cxn ang="0">
                  <a:pos x="945" y="453"/>
                </a:cxn>
                <a:cxn ang="0">
                  <a:pos x="1073" y="475"/>
                </a:cxn>
                <a:cxn ang="0">
                  <a:pos x="1107" y="423"/>
                </a:cxn>
                <a:cxn ang="0">
                  <a:pos x="1200" y="352"/>
                </a:cxn>
                <a:cxn ang="0">
                  <a:pos x="1295" y="358"/>
                </a:cxn>
                <a:cxn ang="0">
                  <a:pos x="1318" y="441"/>
                </a:cxn>
                <a:cxn ang="0">
                  <a:pos x="1237" y="486"/>
                </a:cxn>
                <a:cxn ang="0">
                  <a:pos x="1197" y="608"/>
                </a:cxn>
                <a:cxn ang="0">
                  <a:pos x="1141" y="706"/>
                </a:cxn>
                <a:cxn ang="0">
                  <a:pos x="1102" y="631"/>
                </a:cxn>
                <a:cxn ang="0">
                  <a:pos x="1059" y="644"/>
                </a:cxn>
                <a:cxn ang="0">
                  <a:pos x="1116" y="569"/>
                </a:cxn>
                <a:cxn ang="0">
                  <a:pos x="992" y="514"/>
                </a:cxn>
                <a:cxn ang="0">
                  <a:pos x="951" y="500"/>
                </a:cxn>
                <a:cxn ang="0">
                  <a:pos x="917" y="526"/>
                </a:cxn>
                <a:cxn ang="0">
                  <a:pos x="916" y="590"/>
                </a:cxn>
                <a:cxn ang="0">
                  <a:pos x="954" y="682"/>
                </a:cxn>
                <a:cxn ang="0">
                  <a:pos x="938" y="716"/>
                </a:cxn>
                <a:cxn ang="0">
                  <a:pos x="919" y="706"/>
                </a:cxn>
                <a:cxn ang="0">
                  <a:pos x="853" y="798"/>
                </a:cxn>
                <a:cxn ang="0">
                  <a:pos x="787" y="824"/>
                </a:cxn>
                <a:cxn ang="0">
                  <a:pos x="717" y="903"/>
                </a:cxn>
                <a:cxn ang="0">
                  <a:pos x="634" y="986"/>
                </a:cxn>
                <a:cxn ang="0">
                  <a:pos x="548" y="1042"/>
                </a:cxn>
                <a:cxn ang="0">
                  <a:pos x="557" y="1143"/>
                </a:cxn>
                <a:cxn ang="0">
                  <a:pos x="510" y="1283"/>
                </a:cxn>
                <a:cxn ang="0">
                  <a:pos x="421" y="1372"/>
                </a:cxn>
                <a:cxn ang="0">
                  <a:pos x="377" y="1291"/>
                </a:cxn>
                <a:cxn ang="0">
                  <a:pos x="320" y="1183"/>
                </a:cxn>
                <a:cxn ang="0">
                  <a:pos x="288" y="1077"/>
                </a:cxn>
                <a:cxn ang="0">
                  <a:pos x="259" y="1029"/>
                </a:cxn>
                <a:cxn ang="0">
                  <a:pos x="232" y="939"/>
                </a:cxn>
                <a:cxn ang="0">
                  <a:pos x="216" y="872"/>
                </a:cxn>
                <a:cxn ang="0">
                  <a:pos x="211" y="834"/>
                </a:cxn>
                <a:cxn ang="0">
                  <a:pos x="205" y="759"/>
                </a:cxn>
                <a:cxn ang="0">
                  <a:pos x="205" y="716"/>
                </a:cxn>
                <a:cxn ang="0">
                  <a:pos x="181" y="715"/>
                </a:cxn>
                <a:cxn ang="0">
                  <a:pos x="135" y="776"/>
                </a:cxn>
                <a:cxn ang="0">
                  <a:pos x="47" y="694"/>
                </a:cxn>
                <a:cxn ang="0">
                  <a:pos x="96" y="668"/>
                </a:cxn>
                <a:cxn ang="0">
                  <a:pos x="14" y="634"/>
                </a:cxn>
                <a:cxn ang="0">
                  <a:pos x="42" y="601"/>
                </a:cxn>
                <a:cxn ang="0">
                  <a:pos x="99" y="530"/>
                </a:cxn>
                <a:cxn ang="0">
                  <a:pos x="190" y="376"/>
                </a:cxn>
                <a:cxn ang="0">
                  <a:pos x="295" y="252"/>
                </a:cxn>
                <a:cxn ang="0">
                  <a:pos x="298" y="168"/>
                </a:cxn>
                <a:cxn ang="0">
                  <a:pos x="268" y="80"/>
                </a:cxn>
              </a:cxnLst>
              <a:rect l="0" t="0" r="r" b="b"/>
              <a:pathLst>
                <a:path w="1340" h="1436">
                  <a:moveTo>
                    <a:pt x="1177" y="1414"/>
                  </a:moveTo>
                  <a:lnTo>
                    <a:pt x="1179" y="1414"/>
                  </a:lnTo>
                  <a:lnTo>
                    <a:pt x="1180" y="1415"/>
                  </a:lnTo>
                  <a:lnTo>
                    <a:pt x="1180" y="1417"/>
                  </a:lnTo>
                  <a:lnTo>
                    <a:pt x="1182" y="1418"/>
                  </a:lnTo>
                  <a:lnTo>
                    <a:pt x="1182" y="1421"/>
                  </a:lnTo>
                  <a:lnTo>
                    <a:pt x="1183" y="1423"/>
                  </a:lnTo>
                  <a:lnTo>
                    <a:pt x="1183" y="1427"/>
                  </a:lnTo>
                  <a:lnTo>
                    <a:pt x="1182" y="1430"/>
                  </a:lnTo>
                  <a:lnTo>
                    <a:pt x="1182" y="1433"/>
                  </a:lnTo>
                  <a:lnTo>
                    <a:pt x="1180" y="1433"/>
                  </a:lnTo>
                  <a:lnTo>
                    <a:pt x="1180" y="1435"/>
                  </a:lnTo>
                  <a:lnTo>
                    <a:pt x="1179" y="1436"/>
                  </a:lnTo>
                  <a:lnTo>
                    <a:pt x="1177" y="1436"/>
                  </a:lnTo>
                  <a:lnTo>
                    <a:pt x="1177" y="1432"/>
                  </a:lnTo>
                  <a:lnTo>
                    <a:pt x="1176" y="1430"/>
                  </a:lnTo>
                  <a:lnTo>
                    <a:pt x="1176" y="1429"/>
                  </a:lnTo>
                  <a:lnTo>
                    <a:pt x="1174" y="1429"/>
                  </a:lnTo>
                  <a:lnTo>
                    <a:pt x="1174" y="1426"/>
                  </a:lnTo>
                  <a:lnTo>
                    <a:pt x="1173" y="1424"/>
                  </a:lnTo>
                  <a:lnTo>
                    <a:pt x="1170" y="1424"/>
                  </a:lnTo>
                  <a:lnTo>
                    <a:pt x="1170" y="1420"/>
                  </a:lnTo>
                  <a:lnTo>
                    <a:pt x="1171" y="1418"/>
                  </a:lnTo>
                  <a:lnTo>
                    <a:pt x="1171" y="1417"/>
                  </a:lnTo>
                  <a:lnTo>
                    <a:pt x="1174" y="1417"/>
                  </a:lnTo>
                  <a:lnTo>
                    <a:pt x="1174" y="1415"/>
                  </a:lnTo>
                  <a:lnTo>
                    <a:pt x="1176" y="1415"/>
                  </a:lnTo>
                  <a:lnTo>
                    <a:pt x="1177" y="1414"/>
                  </a:lnTo>
                  <a:close/>
                  <a:moveTo>
                    <a:pt x="1171" y="1405"/>
                  </a:moveTo>
                  <a:lnTo>
                    <a:pt x="1173" y="1405"/>
                  </a:lnTo>
                  <a:lnTo>
                    <a:pt x="1173" y="1406"/>
                  </a:lnTo>
                  <a:lnTo>
                    <a:pt x="1174" y="1408"/>
                  </a:lnTo>
                  <a:lnTo>
                    <a:pt x="1174" y="1409"/>
                  </a:lnTo>
                  <a:lnTo>
                    <a:pt x="1173" y="1409"/>
                  </a:lnTo>
                  <a:lnTo>
                    <a:pt x="1173" y="1411"/>
                  </a:lnTo>
                  <a:lnTo>
                    <a:pt x="1171" y="1411"/>
                  </a:lnTo>
                  <a:lnTo>
                    <a:pt x="1170" y="1412"/>
                  </a:lnTo>
                  <a:lnTo>
                    <a:pt x="1170" y="1414"/>
                  </a:lnTo>
                  <a:lnTo>
                    <a:pt x="1168" y="1412"/>
                  </a:lnTo>
                  <a:lnTo>
                    <a:pt x="1168" y="1408"/>
                  </a:lnTo>
                  <a:lnTo>
                    <a:pt x="1171" y="1408"/>
                  </a:lnTo>
                  <a:lnTo>
                    <a:pt x="1171" y="1405"/>
                  </a:lnTo>
                  <a:close/>
                  <a:moveTo>
                    <a:pt x="1156" y="1378"/>
                  </a:moveTo>
                  <a:lnTo>
                    <a:pt x="1159" y="1378"/>
                  </a:lnTo>
                  <a:lnTo>
                    <a:pt x="1159" y="1381"/>
                  </a:lnTo>
                  <a:lnTo>
                    <a:pt x="1161" y="1381"/>
                  </a:lnTo>
                  <a:lnTo>
                    <a:pt x="1162" y="1382"/>
                  </a:lnTo>
                  <a:lnTo>
                    <a:pt x="1162" y="1384"/>
                  </a:lnTo>
                  <a:lnTo>
                    <a:pt x="1161" y="1385"/>
                  </a:lnTo>
                  <a:lnTo>
                    <a:pt x="1161" y="1384"/>
                  </a:lnTo>
                  <a:lnTo>
                    <a:pt x="1156" y="1384"/>
                  </a:lnTo>
                  <a:lnTo>
                    <a:pt x="1156" y="1382"/>
                  </a:lnTo>
                  <a:lnTo>
                    <a:pt x="1155" y="1382"/>
                  </a:lnTo>
                  <a:lnTo>
                    <a:pt x="1155" y="1379"/>
                  </a:lnTo>
                  <a:lnTo>
                    <a:pt x="1156" y="1378"/>
                  </a:lnTo>
                  <a:close/>
                  <a:moveTo>
                    <a:pt x="1162" y="1369"/>
                  </a:moveTo>
                  <a:lnTo>
                    <a:pt x="1165" y="1369"/>
                  </a:lnTo>
                  <a:lnTo>
                    <a:pt x="1165" y="1370"/>
                  </a:lnTo>
                  <a:lnTo>
                    <a:pt x="1164" y="1370"/>
                  </a:lnTo>
                  <a:lnTo>
                    <a:pt x="1164" y="1373"/>
                  </a:lnTo>
                  <a:lnTo>
                    <a:pt x="1165" y="1375"/>
                  </a:lnTo>
                  <a:lnTo>
                    <a:pt x="1165" y="1378"/>
                  </a:lnTo>
                  <a:lnTo>
                    <a:pt x="1164" y="1378"/>
                  </a:lnTo>
                  <a:lnTo>
                    <a:pt x="1165" y="1379"/>
                  </a:lnTo>
                  <a:lnTo>
                    <a:pt x="1165" y="1378"/>
                  </a:lnTo>
                  <a:lnTo>
                    <a:pt x="1167" y="1378"/>
                  </a:lnTo>
                  <a:lnTo>
                    <a:pt x="1167" y="1382"/>
                  </a:lnTo>
                  <a:lnTo>
                    <a:pt x="1164" y="1381"/>
                  </a:lnTo>
                  <a:lnTo>
                    <a:pt x="1164" y="1379"/>
                  </a:lnTo>
                  <a:lnTo>
                    <a:pt x="1162" y="1379"/>
                  </a:lnTo>
                  <a:lnTo>
                    <a:pt x="1162" y="1375"/>
                  </a:lnTo>
                  <a:lnTo>
                    <a:pt x="1161" y="1372"/>
                  </a:lnTo>
                  <a:lnTo>
                    <a:pt x="1161" y="1370"/>
                  </a:lnTo>
                  <a:lnTo>
                    <a:pt x="1162" y="1370"/>
                  </a:lnTo>
                  <a:lnTo>
                    <a:pt x="1162" y="1369"/>
                  </a:lnTo>
                  <a:close/>
                  <a:moveTo>
                    <a:pt x="225" y="1366"/>
                  </a:moveTo>
                  <a:lnTo>
                    <a:pt x="226" y="1366"/>
                  </a:lnTo>
                  <a:lnTo>
                    <a:pt x="226" y="1367"/>
                  </a:lnTo>
                  <a:lnTo>
                    <a:pt x="225" y="1367"/>
                  </a:lnTo>
                  <a:lnTo>
                    <a:pt x="225" y="1366"/>
                  </a:lnTo>
                  <a:close/>
                  <a:moveTo>
                    <a:pt x="1143" y="1363"/>
                  </a:moveTo>
                  <a:lnTo>
                    <a:pt x="1146" y="1363"/>
                  </a:lnTo>
                  <a:lnTo>
                    <a:pt x="1146" y="1367"/>
                  </a:lnTo>
                  <a:lnTo>
                    <a:pt x="1147" y="1367"/>
                  </a:lnTo>
                  <a:lnTo>
                    <a:pt x="1147" y="1369"/>
                  </a:lnTo>
                  <a:lnTo>
                    <a:pt x="1146" y="1369"/>
                  </a:lnTo>
                  <a:lnTo>
                    <a:pt x="1144" y="1367"/>
                  </a:lnTo>
                  <a:lnTo>
                    <a:pt x="1144" y="1366"/>
                  </a:lnTo>
                  <a:lnTo>
                    <a:pt x="1143" y="1366"/>
                  </a:lnTo>
                  <a:lnTo>
                    <a:pt x="1143" y="1363"/>
                  </a:lnTo>
                  <a:close/>
                  <a:moveTo>
                    <a:pt x="1168" y="1354"/>
                  </a:moveTo>
                  <a:lnTo>
                    <a:pt x="1170" y="1355"/>
                  </a:lnTo>
                  <a:lnTo>
                    <a:pt x="1170" y="1357"/>
                  </a:lnTo>
                  <a:lnTo>
                    <a:pt x="1168" y="1358"/>
                  </a:lnTo>
                  <a:lnTo>
                    <a:pt x="1168" y="1354"/>
                  </a:lnTo>
                  <a:close/>
                  <a:moveTo>
                    <a:pt x="515" y="1322"/>
                  </a:moveTo>
                  <a:lnTo>
                    <a:pt x="518" y="1324"/>
                  </a:lnTo>
                  <a:lnTo>
                    <a:pt x="519" y="1325"/>
                  </a:lnTo>
                  <a:lnTo>
                    <a:pt x="518" y="1325"/>
                  </a:lnTo>
                  <a:lnTo>
                    <a:pt x="515" y="1322"/>
                  </a:lnTo>
                  <a:close/>
                  <a:moveTo>
                    <a:pt x="1129" y="1321"/>
                  </a:moveTo>
                  <a:lnTo>
                    <a:pt x="1131" y="1321"/>
                  </a:lnTo>
                  <a:lnTo>
                    <a:pt x="1132" y="1322"/>
                  </a:lnTo>
                  <a:lnTo>
                    <a:pt x="1132" y="1325"/>
                  </a:lnTo>
                  <a:lnTo>
                    <a:pt x="1131" y="1327"/>
                  </a:lnTo>
                  <a:lnTo>
                    <a:pt x="1128" y="1327"/>
                  </a:lnTo>
                  <a:lnTo>
                    <a:pt x="1128" y="1322"/>
                  </a:lnTo>
                  <a:lnTo>
                    <a:pt x="1129" y="1322"/>
                  </a:lnTo>
                  <a:lnTo>
                    <a:pt x="1129" y="1321"/>
                  </a:lnTo>
                  <a:close/>
                  <a:moveTo>
                    <a:pt x="512" y="1318"/>
                  </a:moveTo>
                  <a:lnTo>
                    <a:pt x="515" y="1318"/>
                  </a:lnTo>
                  <a:lnTo>
                    <a:pt x="513" y="1319"/>
                  </a:lnTo>
                  <a:lnTo>
                    <a:pt x="513" y="1321"/>
                  </a:lnTo>
                  <a:lnTo>
                    <a:pt x="515" y="1321"/>
                  </a:lnTo>
                  <a:lnTo>
                    <a:pt x="515" y="1322"/>
                  </a:lnTo>
                  <a:lnTo>
                    <a:pt x="512" y="1321"/>
                  </a:lnTo>
                  <a:lnTo>
                    <a:pt x="507" y="1321"/>
                  </a:lnTo>
                  <a:lnTo>
                    <a:pt x="507" y="1319"/>
                  </a:lnTo>
                  <a:lnTo>
                    <a:pt x="510" y="1319"/>
                  </a:lnTo>
                  <a:lnTo>
                    <a:pt x="512" y="1318"/>
                  </a:lnTo>
                  <a:close/>
                  <a:moveTo>
                    <a:pt x="376" y="1292"/>
                  </a:moveTo>
                  <a:lnTo>
                    <a:pt x="377" y="1294"/>
                  </a:lnTo>
                  <a:lnTo>
                    <a:pt x="377" y="1298"/>
                  </a:lnTo>
                  <a:lnTo>
                    <a:pt x="376" y="1295"/>
                  </a:lnTo>
                  <a:lnTo>
                    <a:pt x="376" y="1292"/>
                  </a:lnTo>
                  <a:close/>
                  <a:moveTo>
                    <a:pt x="371" y="1288"/>
                  </a:moveTo>
                  <a:lnTo>
                    <a:pt x="373" y="1288"/>
                  </a:lnTo>
                  <a:lnTo>
                    <a:pt x="374" y="1289"/>
                  </a:lnTo>
                  <a:lnTo>
                    <a:pt x="374" y="1291"/>
                  </a:lnTo>
                  <a:lnTo>
                    <a:pt x="371" y="1291"/>
                  </a:lnTo>
                  <a:lnTo>
                    <a:pt x="371" y="1288"/>
                  </a:lnTo>
                  <a:close/>
                  <a:moveTo>
                    <a:pt x="252" y="1282"/>
                  </a:moveTo>
                  <a:lnTo>
                    <a:pt x="253" y="1282"/>
                  </a:lnTo>
                  <a:lnTo>
                    <a:pt x="252" y="1283"/>
                  </a:lnTo>
                  <a:lnTo>
                    <a:pt x="252" y="1282"/>
                  </a:lnTo>
                  <a:close/>
                  <a:moveTo>
                    <a:pt x="368" y="1280"/>
                  </a:moveTo>
                  <a:lnTo>
                    <a:pt x="370" y="1280"/>
                  </a:lnTo>
                  <a:lnTo>
                    <a:pt x="370" y="1282"/>
                  </a:lnTo>
                  <a:lnTo>
                    <a:pt x="371" y="1282"/>
                  </a:lnTo>
                  <a:lnTo>
                    <a:pt x="371" y="1286"/>
                  </a:lnTo>
                  <a:lnTo>
                    <a:pt x="370" y="1285"/>
                  </a:lnTo>
                  <a:lnTo>
                    <a:pt x="368" y="1282"/>
                  </a:lnTo>
                  <a:lnTo>
                    <a:pt x="368" y="1280"/>
                  </a:lnTo>
                  <a:close/>
                  <a:moveTo>
                    <a:pt x="530" y="1272"/>
                  </a:moveTo>
                  <a:lnTo>
                    <a:pt x="530" y="1273"/>
                  </a:lnTo>
                  <a:lnTo>
                    <a:pt x="534" y="1273"/>
                  </a:lnTo>
                  <a:lnTo>
                    <a:pt x="533" y="1272"/>
                  </a:lnTo>
                  <a:lnTo>
                    <a:pt x="530" y="1272"/>
                  </a:lnTo>
                  <a:close/>
                  <a:moveTo>
                    <a:pt x="184" y="1248"/>
                  </a:moveTo>
                  <a:lnTo>
                    <a:pt x="186" y="1248"/>
                  </a:lnTo>
                  <a:lnTo>
                    <a:pt x="184" y="1249"/>
                  </a:lnTo>
                  <a:lnTo>
                    <a:pt x="184" y="1248"/>
                  </a:lnTo>
                  <a:close/>
                  <a:moveTo>
                    <a:pt x="1117" y="1245"/>
                  </a:moveTo>
                  <a:lnTo>
                    <a:pt x="1119" y="1245"/>
                  </a:lnTo>
                  <a:lnTo>
                    <a:pt x="1120" y="1246"/>
                  </a:lnTo>
                  <a:lnTo>
                    <a:pt x="1120" y="1249"/>
                  </a:lnTo>
                  <a:lnTo>
                    <a:pt x="1122" y="1249"/>
                  </a:lnTo>
                  <a:lnTo>
                    <a:pt x="1122" y="1255"/>
                  </a:lnTo>
                  <a:lnTo>
                    <a:pt x="1119" y="1258"/>
                  </a:lnTo>
                  <a:lnTo>
                    <a:pt x="1119" y="1260"/>
                  </a:lnTo>
                  <a:lnTo>
                    <a:pt x="1120" y="1260"/>
                  </a:lnTo>
                  <a:lnTo>
                    <a:pt x="1120" y="1261"/>
                  </a:lnTo>
                  <a:lnTo>
                    <a:pt x="1119" y="1263"/>
                  </a:lnTo>
                  <a:lnTo>
                    <a:pt x="1117" y="1263"/>
                  </a:lnTo>
                  <a:lnTo>
                    <a:pt x="1116" y="1261"/>
                  </a:lnTo>
                  <a:lnTo>
                    <a:pt x="1111" y="1261"/>
                  </a:lnTo>
                  <a:lnTo>
                    <a:pt x="1114" y="1258"/>
                  </a:lnTo>
                  <a:lnTo>
                    <a:pt x="1114" y="1257"/>
                  </a:lnTo>
                  <a:lnTo>
                    <a:pt x="1113" y="1257"/>
                  </a:lnTo>
                  <a:lnTo>
                    <a:pt x="1113" y="1255"/>
                  </a:lnTo>
                  <a:lnTo>
                    <a:pt x="1111" y="1255"/>
                  </a:lnTo>
                  <a:lnTo>
                    <a:pt x="1111" y="1251"/>
                  </a:lnTo>
                  <a:lnTo>
                    <a:pt x="1113" y="1251"/>
                  </a:lnTo>
                  <a:lnTo>
                    <a:pt x="1113" y="1249"/>
                  </a:lnTo>
                  <a:lnTo>
                    <a:pt x="1114" y="1249"/>
                  </a:lnTo>
                  <a:lnTo>
                    <a:pt x="1114" y="1246"/>
                  </a:lnTo>
                  <a:lnTo>
                    <a:pt x="1117" y="1245"/>
                  </a:lnTo>
                  <a:close/>
                  <a:moveTo>
                    <a:pt x="1123" y="1216"/>
                  </a:moveTo>
                  <a:lnTo>
                    <a:pt x="1125" y="1216"/>
                  </a:lnTo>
                  <a:lnTo>
                    <a:pt x="1126" y="1218"/>
                  </a:lnTo>
                  <a:lnTo>
                    <a:pt x="1126" y="1222"/>
                  </a:lnTo>
                  <a:lnTo>
                    <a:pt x="1125" y="1222"/>
                  </a:lnTo>
                  <a:lnTo>
                    <a:pt x="1125" y="1224"/>
                  </a:lnTo>
                  <a:lnTo>
                    <a:pt x="1123" y="1224"/>
                  </a:lnTo>
                  <a:lnTo>
                    <a:pt x="1123" y="1222"/>
                  </a:lnTo>
                  <a:lnTo>
                    <a:pt x="1122" y="1222"/>
                  </a:lnTo>
                  <a:lnTo>
                    <a:pt x="1122" y="1221"/>
                  </a:lnTo>
                  <a:lnTo>
                    <a:pt x="1123" y="1221"/>
                  </a:lnTo>
                  <a:lnTo>
                    <a:pt x="1123" y="1216"/>
                  </a:lnTo>
                  <a:close/>
                  <a:moveTo>
                    <a:pt x="1105" y="1212"/>
                  </a:moveTo>
                  <a:lnTo>
                    <a:pt x="1107" y="1212"/>
                  </a:lnTo>
                  <a:lnTo>
                    <a:pt x="1107" y="1213"/>
                  </a:lnTo>
                  <a:lnTo>
                    <a:pt x="1108" y="1213"/>
                  </a:lnTo>
                  <a:lnTo>
                    <a:pt x="1108" y="1215"/>
                  </a:lnTo>
                  <a:lnTo>
                    <a:pt x="1105" y="1215"/>
                  </a:lnTo>
                  <a:lnTo>
                    <a:pt x="1105" y="1212"/>
                  </a:lnTo>
                  <a:close/>
                  <a:moveTo>
                    <a:pt x="1138" y="1192"/>
                  </a:moveTo>
                  <a:lnTo>
                    <a:pt x="1141" y="1192"/>
                  </a:lnTo>
                  <a:lnTo>
                    <a:pt x="1144" y="1198"/>
                  </a:lnTo>
                  <a:lnTo>
                    <a:pt x="1143" y="1198"/>
                  </a:lnTo>
                  <a:lnTo>
                    <a:pt x="1143" y="1197"/>
                  </a:lnTo>
                  <a:lnTo>
                    <a:pt x="1141" y="1197"/>
                  </a:lnTo>
                  <a:lnTo>
                    <a:pt x="1141" y="1195"/>
                  </a:lnTo>
                  <a:lnTo>
                    <a:pt x="1140" y="1195"/>
                  </a:lnTo>
                  <a:lnTo>
                    <a:pt x="1140" y="1194"/>
                  </a:lnTo>
                  <a:lnTo>
                    <a:pt x="1138" y="1194"/>
                  </a:lnTo>
                  <a:lnTo>
                    <a:pt x="1138" y="1192"/>
                  </a:lnTo>
                  <a:close/>
                  <a:moveTo>
                    <a:pt x="1144" y="1183"/>
                  </a:moveTo>
                  <a:lnTo>
                    <a:pt x="1146" y="1185"/>
                  </a:lnTo>
                  <a:lnTo>
                    <a:pt x="1144" y="1186"/>
                  </a:lnTo>
                  <a:lnTo>
                    <a:pt x="1146" y="1188"/>
                  </a:lnTo>
                  <a:lnTo>
                    <a:pt x="1146" y="1189"/>
                  </a:lnTo>
                  <a:lnTo>
                    <a:pt x="1144" y="1189"/>
                  </a:lnTo>
                  <a:lnTo>
                    <a:pt x="1144" y="1188"/>
                  </a:lnTo>
                  <a:lnTo>
                    <a:pt x="1143" y="1188"/>
                  </a:lnTo>
                  <a:lnTo>
                    <a:pt x="1143" y="1185"/>
                  </a:lnTo>
                  <a:lnTo>
                    <a:pt x="1144" y="1185"/>
                  </a:lnTo>
                  <a:lnTo>
                    <a:pt x="1144" y="1183"/>
                  </a:lnTo>
                  <a:close/>
                  <a:moveTo>
                    <a:pt x="1126" y="1147"/>
                  </a:moveTo>
                  <a:lnTo>
                    <a:pt x="1128" y="1147"/>
                  </a:lnTo>
                  <a:lnTo>
                    <a:pt x="1128" y="1153"/>
                  </a:lnTo>
                  <a:lnTo>
                    <a:pt x="1126" y="1153"/>
                  </a:lnTo>
                  <a:lnTo>
                    <a:pt x="1126" y="1156"/>
                  </a:lnTo>
                  <a:lnTo>
                    <a:pt x="1125" y="1153"/>
                  </a:lnTo>
                  <a:lnTo>
                    <a:pt x="1125" y="1152"/>
                  </a:lnTo>
                  <a:lnTo>
                    <a:pt x="1126" y="1152"/>
                  </a:lnTo>
                  <a:lnTo>
                    <a:pt x="1126" y="1147"/>
                  </a:lnTo>
                  <a:close/>
                  <a:moveTo>
                    <a:pt x="557" y="1122"/>
                  </a:moveTo>
                  <a:lnTo>
                    <a:pt x="558" y="1125"/>
                  </a:lnTo>
                  <a:lnTo>
                    <a:pt x="558" y="1126"/>
                  </a:lnTo>
                  <a:lnTo>
                    <a:pt x="557" y="1122"/>
                  </a:lnTo>
                  <a:close/>
                  <a:moveTo>
                    <a:pt x="1138" y="1120"/>
                  </a:moveTo>
                  <a:lnTo>
                    <a:pt x="1143" y="1120"/>
                  </a:lnTo>
                  <a:lnTo>
                    <a:pt x="1144" y="1122"/>
                  </a:lnTo>
                  <a:lnTo>
                    <a:pt x="1143" y="1123"/>
                  </a:lnTo>
                  <a:lnTo>
                    <a:pt x="1143" y="1128"/>
                  </a:lnTo>
                  <a:lnTo>
                    <a:pt x="1144" y="1128"/>
                  </a:lnTo>
                  <a:lnTo>
                    <a:pt x="1143" y="1129"/>
                  </a:lnTo>
                  <a:lnTo>
                    <a:pt x="1143" y="1131"/>
                  </a:lnTo>
                  <a:lnTo>
                    <a:pt x="1141" y="1131"/>
                  </a:lnTo>
                  <a:lnTo>
                    <a:pt x="1140" y="1129"/>
                  </a:lnTo>
                  <a:lnTo>
                    <a:pt x="1140" y="1132"/>
                  </a:lnTo>
                  <a:lnTo>
                    <a:pt x="1143" y="1132"/>
                  </a:lnTo>
                  <a:lnTo>
                    <a:pt x="1143" y="1134"/>
                  </a:lnTo>
                  <a:lnTo>
                    <a:pt x="1144" y="1134"/>
                  </a:lnTo>
                  <a:lnTo>
                    <a:pt x="1143" y="1135"/>
                  </a:lnTo>
                  <a:lnTo>
                    <a:pt x="1143" y="1144"/>
                  </a:lnTo>
                  <a:lnTo>
                    <a:pt x="1140" y="1144"/>
                  </a:lnTo>
                  <a:lnTo>
                    <a:pt x="1140" y="1146"/>
                  </a:lnTo>
                  <a:lnTo>
                    <a:pt x="1138" y="1144"/>
                  </a:lnTo>
                  <a:lnTo>
                    <a:pt x="1138" y="1143"/>
                  </a:lnTo>
                  <a:lnTo>
                    <a:pt x="1137" y="1144"/>
                  </a:lnTo>
                  <a:lnTo>
                    <a:pt x="1137" y="1146"/>
                  </a:lnTo>
                  <a:lnTo>
                    <a:pt x="1138" y="1147"/>
                  </a:lnTo>
                  <a:lnTo>
                    <a:pt x="1137" y="1147"/>
                  </a:lnTo>
                  <a:lnTo>
                    <a:pt x="1135" y="1150"/>
                  </a:lnTo>
                  <a:lnTo>
                    <a:pt x="1135" y="1152"/>
                  </a:lnTo>
                  <a:lnTo>
                    <a:pt x="1137" y="1150"/>
                  </a:lnTo>
                  <a:lnTo>
                    <a:pt x="1137" y="1152"/>
                  </a:lnTo>
                  <a:lnTo>
                    <a:pt x="1138" y="1152"/>
                  </a:lnTo>
                  <a:lnTo>
                    <a:pt x="1138" y="1155"/>
                  </a:lnTo>
                  <a:lnTo>
                    <a:pt x="1140" y="1156"/>
                  </a:lnTo>
                  <a:lnTo>
                    <a:pt x="1138" y="1156"/>
                  </a:lnTo>
                  <a:lnTo>
                    <a:pt x="1140" y="1158"/>
                  </a:lnTo>
                  <a:lnTo>
                    <a:pt x="1140" y="1170"/>
                  </a:lnTo>
                  <a:lnTo>
                    <a:pt x="1138" y="1170"/>
                  </a:lnTo>
                  <a:lnTo>
                    <a:pt x="1138" y="1171"/>
                  </a:lnTo>
                  <a:lnTo>
                    <a:pt x="1140" y="1171"/>
                  </a:lnTo>
                  <a:lnTo>
                    <a:pt x="1138" y="1173"/>
                  </a:lnTo>
                  <a:lnTo>
                    <a:pt x="1138" y="1174"/>
                  </a:lnTo>
                  <a:lnTo>
                    <a:pt x="1137" y="1174"/>
                  </a:lnTo>
                  <a:lnTo>
                    <a:pt x="1137" y="1173"/>
                  </a:lnTo>
                  <a:lnTo>
                    <a:pt x="1134" y="1173"/>
                  </a:lnTo>
                  <a:lnTo>
                    <a:pt x="1134" y="1176"/>
                  </a:lnTo>
                  <a:lnTo>
                    <a:pt x="1135" y="1176"/>
                  </a:lnTo>
                  <a:lnTo>
                    <a:pt x="1137" y="1177"/>
                  </a:lnTo>
                  <a:lnTo>
                    <a:pt x="1135" y="1179"/>
                  </a:lnTo>
                  <a:lnTo>
                    <a:pt x="1135" y="1180"/>
                  </a:lnTo>
                  <a:lnTo>
                    <a:pt x="1137" y="1180"/>
                  </a:lnTo>
                  <a:lnTo>
                    <a:pt x="1135" y="1182"/>
                  </a:lnTo>
                  <a:lnTo>
                    <a:pt x="1135" y="1185"/>
                  </a:lnTo>
                  <a:lnTo>
                    <a:pt x="1134" y="1185"/>
                  </a:lnTo>
                  <a:lnTo>
                    <a:pt x="1134" y="1186"/>
                  </a:lnTo>
                  <a:lnTo>
                    <a:pt x="1132" y="1186"/>
                  </a:lnTo>
                  <a:lnTo>
                    <a:pt x="1132" y="1189"/>
                  </a:lnTo>
                  <a:lnTo>
                    <a:pt x="1129" y="1189"/>
                  </a:lnTo>
                  <a:lnTo>
                    <a:pt x="1129" y="1191"/>
                  </a:lnTo>
                  <a:lnTo>
                    <a:pt x="1131" y="1192"/>
                  </a:lnTo>
                  <a:lnTo>
                    <a:pt x="1129" y="1192"/>
                  </a:lnTo>
                  <a:lnTo>
                    <a:pt x="1129" y="1194"/>
                  </a:lnTo>
                  <a:lnTo>
                    <a:pt x="1128" y="1195"/>
                  </a:lnTo>
                  <a:lnTo>
                    <a:pt x="1128" y="1200"/>
                  </a:lnTo>
                  <a:lnTo>
                    <a:pt x="1129" y="1200"/>
                  </a:lnTo>
                  <a:lnTo>
                    <a:pt x="1129" y="1197"/>
                  </a:lnTo>
                  <a:lnTo>
                    <a:pt x="1131" y="1197"/>
                  </a:lnTo>
                  <a:lnTo>
                    <a:pt x="1131" y="1200"/>
                  </a:lnTo>
                  <a:lnTo>
                    <a:pt x="1129" y="1207"/>
                  </a:lnTo>
                  <a:lnTo>
                    <a:pt x="1128" y="1207"/>
                  </a:lnTo>
                  <a:lnTo>
                    <a:pt x="1126" y="1209"/>
                  </a:lnTo>
                  <a:lnTo>
                    <a:pt x="1126" y="1212"/>
                  </a:lnTo>
                  <a:lnTo>
                    <a:pt x="1128" y="1212"/>
                  </a:lnTo>
                  <a:lnTo>
                    <a:pt x="1128" y="1209"/>
                  </a:lnTo>
                  <a:lnTo>
                    <a:pt x="1129" y="1209"/>
                  </a:lnTo>
                  <a:lnTo>
                    <a:pt x="1129" y="1215"/>
                  </a:lnTo>
                  <a:lnTo>
                    <a:pt x="1128" y="1216"/>
                  </a:lnTo>
                  <a:lnTo>
                    <a:pt x="1126" y="1216"/>
                  </a:lnTo>
                  <a:lnTo>
                    <a:pt x="1125" y="1215"/>
                  </a:lnTo>
                  <a:lnTo>
                    <a:pt x="1125" y="1213"/>
                  </a:lnTo>
                  <a:lnTo>
                    <a:pt x="1123" y="1213"/>
                  </a:lnTo>
                  <a:lnTo>
                    <a:pt x="1123" y="1209"/>
                  </a:lnTo>
                  <a:lnTo>
                    <a:pt x="1120" y="1206"/>
                  </a:lnTo>
                  <a:lnTo>
                    <a:pt x="1120" y="1201"/>
                  </a:lnTo>
                  <a:lnTo>
                    <a:pt x="1119" y="1201"/>
                  </a:lnTo>
                  <a:lnTo>
                    <a:pt x="1119" y="1198"/>
                  </a:lnTo>
                  <a:lnTo>
                    <a:pt x="1120" y="1197"/>
                  </a:lnTo>
                  <a:lnTo>
                    <a:pt x="1122" y="1197"/>
                  </a:lnTo>
                  <a:lnTo>
                    <a:pt x="1122" y="1198"/>
                  </a:lnTo>
                  <a:lnTo>
                    <a:pt x="1123" y="1200"/>
                  </a:lnTo>
                  <a:lnTo>
                    <a:pt x="1123" y="1192"/>
                  </a:lnTo>
                  <a:lnTo>
                    <a:pt x="1125" y="1192"/>
                  </a:lnTo>
                  <a:lnTo>
                    <a:pt x="1123" y="1188"/>
                  </a:lnTo>
                  <a:lnTo>
                    <a:pt x="1125" y="1186"/>
                  </a:lnTo>
                  <a:lnTo>
                    <a:pt x="1125" y="1183"/>
                  </a:lnTo>
                  <a:lnTo>
                    <a:pt x="1126" y="1183"/>
                  </a:lnTo>
                  <a:lnTo>
                    <a:pt x="1128" y="1182"/>
                  </a:lnTo>
                  <a:lnTo>
                    <a:pt x="1128" y="1185"/>
                  </a:lnTo>
                  <a:lnTo>
                    <a:pt x="1131" y="1185"/>
                  </a:lnTo>
                  <a:lnTo>
                    <a:pt x="1131" y="1182"/>
                  </a:lnTo>
                  <a:lnTo>
                    <a:pt x="1129" y="1182"/>
                  </a:lnTo>
                  <a:lnTo>
                    <a:pt x="1129" y="1180"/>
                  </a:lnTo>
                  <a:lnTo>
                    <a:pt x="1131" y="1180"/>
                  </a:lnTo>
                  <a:lnTo>
                    <a:pt x="1131" y="1179"/>
                  </a:lnTo>
                  <a:lnTo>
                    <a:pt x="1128" y="1179"/>
                  </a:lnTo>
                  <a:lnTo>
                    <a:pt x="1128" y="1165"/>
                  </a:lnTo>
                  <a:lnTo>
                    <a:pt x="1129" y="1164"/>
                  </a:lnTo>
                  <a:lnTo>
                    <a:pt x="1129" y="1158"/>
                  </a:lnTo>
                  <a:lnTo>
                    <a:pt x="1128" y="1156"/>
                  </a:lnTo>
                  <a:lnTo>
                    <a:pt x="1129" y="1155"/>
                  </a:lnTo>
                  <a:lnTo>
                    <a:pt x="1129" y="1153"/>
                  </a:lnTo>
                  <a:lnTo>
                    <a:pt x="1131" y="1155"/>
                  </a:lnTo>
                  <a:lnTo>
                    <a:pt x="1131" y="1153"/>
                  </a:lnTo>
                  <a:lnTo>
                    <a:pt x="1132" y="1152"/>
                  </a:lnTo>
                  <a:lnTo>
                    <a:pt x="1132" y="1141"/>
                  </a:lnTo>
                  <a:lnTo>
                    <a:pt x="1134" y="1140"/>
                  </a:lnTo>
                  <a:lnTo>
                    <a:pt x="1134" y="1131"/>
                  </a:lnTo>
                  <a:lnTo>
                    <a:pt x="1135" y="1128"/>
                  </a:lnTo>
                  <a:lnTo>
                    <a:pt x="1135" y="1125"/>
                  </a:lnTo>
                  <a:lnTo>
                    <a:pt x="1137" y="1125"/>
                  </a:lnTo>
                  <a:lnTo>
                    <a:pt x="1138" y="1123"/>
                  </a:lnTo>
                  <a:lnTo>
                    <a:pt x="1138" y="1120"/>
                  </a:lnTo>
                  <a:close/>
                  <a:moveTo>
                    <a:pt x="1141" y="1114"/>
                  </a:moveTo>
                  <a:lnTo>
                    <a:pt x="1143" y="1114"/>
                  </a:lnTo>
                  <a:lnTo>
                    <a:pt x="1143" y="1116"/>
                  </a:lnTo>
                  <a:lnTo>
                    <a:pt x="1140" y="1116"/>
                  </a:lnTo>
                  <a:lnTo>
                    <a:pt x="1141" y="1114"/>
                  </a:lnTo>
                  <a:close/>
                  <a:moveTo>
                    <a:pt x="590" y="1014"/>
                  </a:moveTo>
                  <a:lnTo>
                    <a:pt x="591" y="1014"/>
                  </a:lnTo>
                  <a:lnTo>
                    <a:pt x="591" y="1016"/>
                  </a:lnTo>
                  <a:lnTo>
                    <a:pt x="590" y="1016"/>
                  </a:lnTo>
                  <a:lnTo>
                    <a:pt x="590" y="1014"/>
                  </a:lnTo>
                  <a:close/>
                  <a:moveTo>
                    <a:pt x="585" y="1013"/>
                  </a:moveTo>
                  <a:lnTo>
                    <a:pt x="588" y="1016"/>
                  </a:lnTo>
                  <a:lnTo>
                    <a:pt x="590" y="1016"/>
                  </a:lnTo>
                  <a:lnTo>
                    <a:pt x="590" y="1017"/>
                  </a:lnTo>
                  <a:lnTo>
                    <a:pt x="587" y="1017"/>
                  </a:lnTo>
                  <a:lnTo>
                    <a:pt x="584" y="1014"/>
                  </a:lnTo>
                  <a:lnTo>
                    <a:pt x="585" y="1013"/>
                  </a:lnTo>
                  <a:close/>
                  <a:moveTo>
                    <a:pt x="244" y="996"/>
                  </a:moveTo>
                  <a:lnTo>
                    <a:pt x="244" y="998"/>
                  </a:lnTo>
                  <a:lnTo>
                    <a:pt x="246" y="996"/>
                  </a:lnTo>
                  <a:lnTo>
                    <a:pt x="244" y="996"/>
                  </a:lnTo>
                  <a:close/>
                  <a:moveTo>
                    <a:pt x="213" y="863"/>
                  </a:moveTo>
                  <a:lnTo>
                    <a:pt x="214" y="863"/>
                  </a:lnTo>
                  <a:lnTo>
                    <a:pt x="213" y="864"/>
                  </a:lnTo>
                  <a:lnTo>
                    <a:pt x="213" y="863"/>
                  </a:lnTo>
                  <a:close/>
                  <a:moveTo>
                    <a:pt x="799" y="828"/>
                  </a:moveTo>
                  <a:lnTo>
                    <a:pt x="800" y="828"/>
                  </a:lnTo>
                  <a:lnTo>
                    <a:pt x="797" y="830"/>
                  </a:lnTo>
                  <a:lnTo>
                    <a:pt x="799" y="828"/>
                  </a:lnTo>
                  <a:close/>
                  <a:moveTo>
                    <a:pt x="803" y="825"/>
                  </a:moveTo>
                  <a:lnTo>
                    <a:pt x="803" y="827"/>
                  </a:lnTo>
                  <a:lnTo>
                    <a:pt x="802" y="827"/>
                  </a:lnTo>
                  <a:lnTo>
                    <a:pt x="803" y="825"/>
                  </a:lnTo>
                  <a:close/>
                  <a:moveTo>
                    <a:pt x="856" y="791"/>
                  </a:moveTo>
                  <a:lnTo>
                    <a:pt x="857" y="792"/>
                  </a:lnTo>
                  <a:lnTo>
                    <a:pt x="856" y="794"/>
                  </a:lnTo>
                  <a:lnTo>
                    <a:pt x="856" y="791"/>
                  </a:lnTo>
                  <a:close/>
                  <a:moveTo>
                    <a:pt x="866" y="779"/>
                  </a:moveTo>
                  <a:lnTo>
                    <a:pt x="868" y="779"/>
                  </a:lnTo>
                  <a:lnTo>
                    <a:pt x="866" y="780"/>
                  </a:lnTo>
                  <a:lnTo>
                    <a:pt x="866" y="779"/>
                  </a:lnTo>
                  <a:close/>
                  <a:moveTo>
                    <a:pt x="950" y="734"/>
                  </a:moveTo>
                  <a:lnTo>
                    <a:pt x="951" y="736"/>
                  </a:lnTo>
                  <a:lnTo>
                    <a:pt x="953" y="736"/>
                  </a:lnTo>
                  <a:lnTo>
                    <a:pt x="953" y="739"/>
                  </a:lnTo>
                  <a:lnTo>
                    <a:pt x="950" y="739"/>
                  </a:lnTo>
                  <a:lnTo>
                    <a:pt x="950" y="734"/>
                  </a:lnTo>
                  <a:close/>
                  <a:moveTo>
                    <a:pt x="923" y="725"/>
                  </a:moveTo>
                  <a:lnTo>
                    <a:pt x="923" y="727"/>
                  </a:lnTo>
                  <a:lnTo>
                    <a:pt x="925" y="731"/>
                  </a:lnTo>
                  <a:lnTo>
                    <a:pt x="925" y="727"/>
                  </a:lnTo>
                  <a:lnTo>
                    <a:pt x="923" y="725"/>
                  </a:lnTo>
                  <a:close/>
                  <a:moveTo>
                    <a:pt x="917" y="722"/>
                  </a:moveTo>
                  <a:lnTo>
                    <a:pt x="919" y="722"/>
                  </a:lnTo>
                  <a:lnTo>
                    <a:pt x="919" y="730"/>
                  </a:lnTo>
                  <a:lnTo>
                    <a:pt x="917" y="731"/>
                  </a:lnTo>
                  <a:lnTo>
                    <a:pt x="919" y="733"/>
                  </a:lnTo>
                  <a:lnTo>
                    <a:pt x="917" y="734"/>
                  </a:lnTo>
                  <a:lnTo>
                    <a:pt x="916" y="733"/>
                  </a:lnTo>
                  <a:lnTo>
                    <a:pt x="913" y="733"/>
                  </a:lnTo>
                  <a:lnTo>
                    <a:pt x="913" y="731"/>
                  </a:lnTo>
                  <a:lnTo>
                    <a:pt x="914" y="730"/>
                  </a:lnTo>
                  <a:lnTo>
                    <a:pt x="916" y="725"/>
                  </a:lnTo>
                  <a:lnTo>
                    <a:pt x="917" y="722"/>
                  </a:lnTo>
                  <a:close/>
                  <a:moveTo>
                    <a:pt x="941" y="719"/>
                  </a:moveTo>
                  <a:lnTo>
                    <a:pt x="942" y="719"/>
                  </a:lnTo>
                  <a:lnTo>
                    <a:pt x="942" y="721"/>
                  </a:lnTo>
                  <a:lnTo>
                    <a:pt x="941" y="722"/>
                  </a:lnTo>
                  <a:lnTo>
                    <a:pt x="941" y="725"/>
                  </a:lnTo>
                  <a:lnTo>
                    <a:pt x="938" y="725"/>
                  </a:lnTo>
                  <a:lnTo>
                    <a:pt x="938" y="722"/>
                  </a:lnTo>
                  <a:lnTo>
                    <a:pt x="941" y="719"/>
                  </a:lnTo>
                  <a:close/>
                  <a:moveTo>
                    <a:pt x="916" y="718"/>
                  </a:moveTo>
                  <a:lnTo>
                    <a:pt x="917" y="718"/>
                  </a:lnTo>
                  <a:lnTo>
                    <a:pt x="917" y="721"/>
                  </a:lnTo>
                  <a:lnTo>
                    <a:pt x="916" y="722"/>
                  </a:lnTo>
                  <a:lnTo>
                    <a:pt x="914" y="722"/>
                  </a:lnTo>
                  <a:lnTo>
                    <a:pt x="914" y="721"/>
                  </a:lnTo>
                  <a:lnTo>
                    <a:pt x="916" y="719"/>
                  </a:lnTo>
                  <a:lnTo>
                    <a:pt x="916" y="718"/>
                  </a:lnTo>
                  <a:close/>
                  <a:moveTo>
                    <a:pt x="944" y="709"/>
                  </a:moveTo>
                  <a:lnTo>
                    <a:pt x="944" y="710"/>
                  </a:lnTo>
                  <a:lnTo>
                    <a:pt x="942" y="712"/>
                  </a:lnTo>
                  <a:lnTo>
                    <a:pt x="944" y="713"/>
                  </a:lnTo>
                  <a:lnTo>
                    <a:pt x="945" y="713"/>
                  </a:lnTo>
                  <a:lnTo>
                    <a:pt x="944" y="715"/>
                  </a:lnTo>
                  <a:lnTo>
                    <a:pt x="944" y="716"/>
                  </a:lnTo>
                  <a:lnTo>
                    <a:pt x="945" y="716"/>
                  </a:lnTo>
                  <a:lnTo>
                    <a:pt x="945" y="715"/>
                  </a:lnTo>
                  <a:lnTo>
                    <a:pt x="947" y="715"/>
                  </a:lnTo>
                  <a:lnTo>
                    <a:pt x="944" y="712"/>
                  </a:lnTo>
                  <a:lnTo>
                    <a:pt x="944" y="710"/>
                  </a:lnTo>
                  <a:lnTo>
                    <a:pt x="947" y="709"/>
                  </a:lnTo>
                  <a:lnTo>
                    <a:pt x="944" y="709"/>
                  </a:lnTo>
                  <a:close/>
                  <a:moveTo>
                    <a:pt x="941" y="706"/>
                  </a:moveTo>
                  <a:lnTo>
                    <a:pt x="941" y="707"/>
                  </a:lnTo>
                  <a:lnTo>
                    <a:pt x="942" y="707"/>
                  </a:lnTo>
                  <a:lnTo>
                    <a:pt x="942" y="706"/>
                  </a:lnTo>
                  <a:lnTo>
                    <a:pt x="941" y="706"/>
                  </a:lnTo>
                  <a:close/>
                  <a:moveTo>
                    <a:pt x="189" y="701"/>
                  </a:moveTo>
                  <a:lnTo>
                    <a:pt x="189" y="703"/>
                  </a:lnTo>
                  <a:lnTo>
                    <a:pt x="187" y="703"/>
                  </a:lnTo>
                  <a:lnTo>
                    <a:pt x="189" y="701"/>
                  </a:lnTo>
                  <a:close/>
                  <a:moveTo>
                    <a:pt x="907" y="694"/>
                  </a:moveTo>
                  <a:lnTo>
                    <a:pt x="907" y="695"/>
                  </a:lnTo>
                  <a:lnTo>
                    <a:pt x="908" y="695"/>
                  </a:lnTo>
                  <a:lnTo>
                    <a:pt x="908" y="694"/>
                  </a:lnTo>
                  <a:lnTo>
                    <a:pt x="907" y="694"/>
                  </a:lnTo>
                  <a:close/>
                  <a:moveTo>
                    <a:pt x="29" y="622"/>
                  </a:moveTo>
                  <a:lnTo>
                    <a:pt x="27" y="623"/>
                  </a:lnTo>
                  <a:lnTo>
                    <a:pt x="26" y="623"/>
                  </a:lnTo>
                  <a:lnTo>
                    <a:pt x="26" y="625"/>
                  </a:lnTo>
                  <a:lnTo>
                    <a:pt x="29" y="625"/>
                  </a:lnTo>
                  <a:lnTo>
                    <a:pt x="29" y="623"/>
                  </a:lnTo>
                  <a:lnTo>
                    <a:pt x="32" y="622"/>
                  </a:lnTo>
                  <a:lnTo>
                    <a:pt x="29" y="622"/>
                  </a:lnTo>
                  <a:close/>
                  <a:moveTo>
                    <a:pt x="397" y="0"/>
                  </a:moveTo>
                  <a:lnTo>
                    <a:pt x="400" y="0"/>
                  </a:lnTo>
                  <a:lnTo>
                    <a:pt x="400" y="2"/>
                  </a:lnTo>
                  <a:lnTo>
                    <a:pt x="401" y="3"/>
                  </a:lnTo>
                  <a:lnTo>
                    <a:pt x="403" y="3"/>
                  </a:lnTo>
                  <a:lnTo>
                    <a:pt x="404" y="5"/>
                  </a:lnTo>
                  <a:lnTo>
                    <a:pt x="406" y="5"/>
                  </a:lnTo>
                  <a:lnTo>
                    <a:pt x="407" y="3"/>
                  </a:lnTo>
                  <a:lnTo>
                    <a:pt x="409" y="3"/>
                  </a:lnTo>
                  <a:lnTo>
                    <a:pt x="409" y="5"/>
                  </a:lnTo>
                  <a:lnTo>
                    <a:pt x="410" y="5"/>
                  </a:lnTo>
                  <a:lnTo>
                    <a:pt x="410" y="6"/>
                  </a:lnTo>
                  <a:lnTo>
                    <a:pt x="412" y="6"/>
                  </a:lnTo>
                  <a:lnTo>
                    <a:pt x="413" y="8"/>
                  </a:lnTo>
                  <a:lnTo>
                    <a:pt x="415" y="8"/>
                  </a:lnTo>
                  <a:lnTo>
                    <a:pt x="418" y="6"/>
                  </a:lnTo>
                  <a:lnTo>
                    <a:pt x="419" y="6"/>
                  </a:lnTo>
                  <a:lnTo>
                    <a:pt x="424" y="11"/>
                  </a:lnTo>
                  <a:lnTo>
                    <a:pt x="425" y="11"/>
                  </a:lnTo>
                  <a:lnTo>
                    <a:pt x="428" y="9"/>
                  </a:lnTo>
                  <a:lnTo>
                    <a:pt x="431" y="9"/>
                  </a:lnTo>
                  <a:lnTo>
                    <a:pt x="437" y="11"/>
                  </a:lnTo>
                  <a:lnTo>
                    <a:pt x="439" y="11"/>
                  </a:lnTo>
                  <a:lnTo>
                    <a:pt x="440" y="9"/>
                  </a:lnTo>
                  <a:lnTo>
                    <a:pt x="443" y="9"/>
                  </a:lnTo>
                  <a:lnTo>
                    <a:pt x="446" y="12"/>
                  </a:lnTo>
                  <a:lnTo>
                    <a:pt x="449" y="12"/>
                  </a:lnTo>
                  <a:lnTo>
                    <a:pt x="451" y="9"/>
                  </a:lnTo>
                  <a:lnTo>
                    <a:pt x="455" y="9"/>
                  </a:lnTo>
                  <a:lnTo>
                    <a:pt x="455" y="11"/>
                  </a:lnTo>
                  <a:lnTo>
                    <a:pt x="453" y="14"/>
                  </a:lnTo>
                  <a:lnTo>
                    <a:pt x="453" y="17"/>
                  </a:lnTo>
                  <a:lnTo>
                    <a:pt x="452" y="21"/>
                  </a:lnTo>
                  <a:lnTo>
                    <a:pt x="453" y="26"/>
                  </a:lnTo>
                  <a:lnTo>
                    <a:pt x="458" y="33"/>
                  </a:lnTo>
                  <a:lnTo>
                    <a:pt x="459" y="36"/>
                  </a:lnTo>
                  <a:lnTo>
                    <a:pt x="459" y="42"/>
                  </a:lnTo>
                  <a:lnTo>
                    <a:pt x="462" y="45"/>
                  </a:lnTo>
                  <a:lnTo>
                    <a:pt x="465" y="56"/>
                  </a:lnTo>
                  <a:lnTo>
                    <a:pt x="465" y="57"/>
                  </a:lnTo>
                  <a:lnTo>
                    <a:pt x="468" y="59"/>
                  </a:lnTo>
                  <a:lnTo>
                    <a:pt x="470" y="60"/>
                  </a:lnTo>
                  <a:lnTo>
                    <a:pt x="480" y="62"/>
                  </a:lnTo>
                  <a:lnTo>
                    <a:pt x="483" y="63"/>
                  </a:lnTo>
                  <a:lnTo>
                    <a:pt x="491" y="71"/>
                  </a:lnTo>
                  <a:lnTo>
                    <a:pt x="492" y="71"/>
                  </a:lnTo>
                  <a:lnTo>
                    <a:pt x="495" y="72"/>
                  </a:lnTo>
                  <a:lnTo>
                    <a:pt x="497" y="74"/>
                  </a:lnTo>
                  <a:lnTo>
                    <a:pt x="497" y="77"/>
                  </a:lnTo>
                  <a:lnTo>
                    <a:pt x="498" y="78"/>
                  </a:lnTo>
                  <a:lnTo>
                    <a:pt x="497" y="78"/>
                  </a:lnTo>
                  <a:lnTo>
                    <a:pt x="497" y="80"/>
                  </a:lnTo>
                  <a:lnTo>
                    <a:pt x="494" y="83"/>
                  </a:lnTo>
                  <a:lnTo>
                    <a:pt x="489" y="86"/>
                  </a:lnTo>
                  <a:lnTo>
                    <a:pt x="486" y="87"/>
                  </a:lnTo>
                  <a:lnTo>
                    <a:pt x="485" y="93"/>
                  </a:lnTo>
                  <a:lnTo>
                    <a:pt x="488" y="99"/>
                  </a:lnTo>
                  <a:lnTo>
                    <a:pt x="488" y="102"/>
                  </a:lnTo>
                  <a:lnTo>
                    <a:pt x="489" y="107"/>
                  </a:lnTo>
                  <a:lnTo>
                    <a:pt x="488" y="117"/>
                  </a:lnTo>
                  <a:lnTo>
                    <a:pt x="489" y="120"/>
                  </a:lnTo>
                  <a:lnTo>
                    <a:pt x="491" y="122"/>
                  </a:lnTo>
                  <a:lnTo>
                    <a:pt x="497" y="131"/>
                  </a:lnTo>
                  <a:lnTo>
                    <a:pt x="500" y="131"/>
                  </a:lnTo>
                  <a:lnTo>
                    <a:pt x="500" y="132"/>
                  </a:lnTo>
                  <a:lnTo>
                    <a:pt x="501" y="132"/>
                  </a:lnTo>
                  <a:lnTo>
                    <a:pt x="501" y="135"/>
                  </a:lnTo>
                  <a:lnTo>
                    <a:pt x="506" y="135"/>
                  </a:lnTo>
                  <a:lnTo>
                    <a:pt x="509" y="137"/>
                  </a:lnTo>
                  <a:lnTo>
                    <a:pt x="515" y="137"/>
                  </a:lnTo>
                  <a:lnTo>
                    <a:pt x="516" y="138"/>
                  </a:lnTo>
                  <a:lnTo>
                    <a:pt x="516" y="140"/>
                  </a:lnTo>
                  <a:lnTo>
                    <a:pt x="515" y="141"/>
                  </a:lnTo>
                  <a:lnTo>
                    <a:pt x="515" y="143"/>
                  </a:lnTo>
                  <a:lnTo>
                    <a:pt x="513" y="144"/>
                  </a:lnTo>
                  <a:lnTo>
                    <a:pt x="513" y="150"/>
                  </a:lnTo>
                  <a:lnTo>
                    <a:pt x="515" y="150"/>
                  </a:lnTo>
                  <a:lnTo>
                    <a:pt x="518" y="153"/>
                  </a:lnTo>
                  <a:lnTo>
                    <a:pt x="518" y="156"/>
                  </a:lnTo>
                  <a:lnTo>
                    <a:pt x="521" y="159"/>
                  </a:lnTo>
                  <a:lnTo>
                    <a:pt x="521" y="167"/>
                  </a:lnTo>
                  <a:lnTo>
                    <a:pt x="518" y="168"/>
                  </a:lnTo>
                  <a:lnTo>
                    <a:pt x="512" y="174"/>
                  </a:lnTo>
                  <a:lnTo>
                    <a:pt x="506" y="174"/>
                  </a:lnTo>
                  <a:lnTo>
                    <a:pt x="504" y="176"/>
                  </a:lnTo>
                  <a:lnTo>
                    <a:pt x="503" y="176"/>
                  </a:lnTo>
                  <a:lnTo>
                    <a:pt x="503" y="180"/>
                  </a:lnTo>
                  <a:lnTo>
                    <a:pt x="501" y="182"/>
                  </a:lnTo>
                  <a:lnTo>
                    <a:pt x="497" y="182"/>
                  </a:lnTo>
                  <a:lnTo>
                    <a:pt x="495" y="183"/>
                  </a:lnTo>
                  <a:lnTo>
                    <a:pt x="494" y="182"/>
                  </a:lnTo>
                  <a:lnTo>
                    <a:pt x="492" y="182"/>
                  </a:lnTo>
                  <a:lnTo>
                    <a:pt x="491" y="180"/>
                  </a:lnTo>
                  <a:lnTo>
                    <a:pt x="488" y="176"/>
                  </a:lnTo>
                  <a:lnTo>
                    <a:pt x="486" y="174"/>
                  </a:lnTo>
                  <a:lnTo>
                    <a:pt x="486" y="167"/>
                  </a:lnTo>
                  <a:lnTo>
                    <a:pt x="485" y="167"/>
                  </a:lnTo>
                  <a:lnTo>
                    <a:pt x="482" y="170"/>
                  </a:lnTo>
                  <a:lnTo>
                    <a:pt x="479" y="171"/>
                  </a:lnTo>
                  <a:lnTo>
                    <a:pt x="470" y="171"/>
                  </a:lnTo>
                  <a:lnTo>
                    <a:pt x="470" y="173"/>
                  </a:lnTo>
                  <a:lnTo>
                    <a:pt x="473" y="179"/>
                  </a:lnTo>
                  <a:lnTo>
                    <a:pt x="473" y="189"/>
                  </a:lnTo>
                  <a:lnTo>
                    <a:pt x="474" y="189"/>
                  </a:lnTo>
                  <a:lnTo>
                    <a:pt x="477" y="192"/>
                  </a:lnTo>
                  <a:lnTo>
                    <a:pt x="477" y="194"/>
                  </a:lnTo>
                  <a:lnTo>
                    <a:pt x="482" y="200"/>
                  </a:lnTo>
                  <a:lnTo>
                    <a:pt x="483" y="201"/>
                  </a:lnTo>
                  <a:lnTo>
                    <a:pt x="485" y="201"/>
                  </a:lnTo>
                  <a:lnTo>
                    <a:pt x="486" y="203"/>
                  </a:lnTo>
                  <a:lnTo>
                    <a:pt x="486" y="204"/>
                  </a:lnTo>
                  <a:lnTo>
                    <a:pt x="485" y="207"/>
                  </a:lnTo>
                  <a:lnTo>
                    <a:pt x="485" y="212"/>
                  </a:lnTo>
                  <a:lnTo>
                    <a:pt x="483" y="213"/>
                  </a:lnTo>
                  <a:lnTo>
                    <a:pt x="485" y="215"/>
                  </a:lnTo>
                  <a:lnTo>
                    <a:pt x="485" y="219"/>
                  </a:lnTo>
                  <a:lnTo>
                    <a:pt x="488" y="219"/>
                  </a:lnTo>
                  <a:lnTo>
                    <a:pt x="489" y="221"/>
                  </a:lnTo>
                  <a:lnTo>
                    <a:pt x="489" y="224"/>
                  </a:lnTo>
                  <a:lnTo>
                    <a:pt x="485" y="228"/>
                  </a:lnTo>
                  <a:lnTo>
                    <a:pt x="485" y="230"/>
                  </a:lnTo>
                  <a:lnTo>
                    <a:pt x="486" y="230"/>
                  </a:lnTo>
                  <a:lnTo>
                    <a:pt x="488" y="231"/>
                  </a:lnTo>
                  <a:lnTo>
                    <a:pt x="488" y="233"/>
                  </a:lnTo>
                  <a:lnTo>
                    <a:pt x="486" y="236"/>
                  </a:lnTo>
                  <a:lnTo>
                    <a:pt x="486" y="238"/>
                  </a:lnTo>
                  <a:lnTo>
                    <a:pt x="488" y="240"/>
                  </a:lnTo>
                  <a:lnTo>
                    <a:pt x="489" y="240"/>
                  </a:lnTo>
                  <a:lnTo>
                    <a:pt x="489" y="238"/>
                  </a:lnTo>
                  <a:lnTo>
                    <a:pt x="491" y="240"/>
                  </a:lnTo>
                  <a:lnTo>
                    <a:pt x="492" y="240"/>
                  </a:lnTo>
                  <a:lnTo>
                    <a:pt x="492" y="238"/>
                  </a:lnTo>
                  <a:lnTo>
                    <a:pt x="494" y="238"/>
                  </a:lnTo>
                  <a:lnTo>
                    <a:pt x="494" y="236"/>
                  </a:lnTo>
                  <a:lnTo>
                    <a:pt x="495" y="237"/>
                  </a:lnTo>
                  <a:lnTo>
                    <a:pt x="497" y="237"/>
                  </a:lnTo>
                  <a:lnTo>
                    <a:pt x="497" y="238"/>
                  </a:lnTo>
                  <a:lnTo>
                    <a:pt x="498" y="237"/>
                  </a:lnTo>
                  <a:lnTo>
                    <a:pt x="498" y="233"/>
                  </a:lnTo>
                  <a:lnTo>
                    <a:pt x="501" y="231"/>
                  </a:lnTo>
                  <a:lnTo>
                    <a:pt x="501" y="233"/>
                  </a:lnTo>
                  <a:lnTo>
                    <a:pt x="503" y="233"/>
                  </a:lnTo>
                  <a:lnTo>
                    <a:pt x="504" y="234"/>
                  </a:lnTo>
                  <a:lnTo>
                    <a:pt x="504" y="236"/>
                  </a:lnTo>
                  <a:lnTo>
                    <a:pt x="506" y="236"/>
                  </a:lnTo>
                  <a:lnTo>
                    <a:pt x="506" y="237"/>
                  </a:lnTo>
                  <a:lnTo>
                    <a:pt x="507" y="237"/>
                  </a:lnTo>
                  <a:lnTo>
                    <a:pt x="507" y="240"/>
                  </a:lnTo>
                  <a:lnTo>
                    <a:pt x="509" y="240"/>
                  </a:lnTo>
                  <a:lnTo>
                    <a:pt x="509" y="243"/>
                  </a:lnTo>
                  <a:lnTo>
                    <a:pt x="510" y="243"/>
                  </a:lnTo>
                  <a:lnTo>
                    <a:pt x="510" y="246"/>
                  </a:lnTo>
                  <a:lnTo>
                    <a:pt x="512" y="247"/>
                  </a:lnTo>
                  <a:lnTo>
                    <a:pt x="512" y="249"/>
                  </a:lnTo>
                  <a:lnTo>
                    <a:pt x="515" y="249"/>
                  </a:lnTo>
                  <a:lnTo>
                    <a:pt x="515" y="250"/>
                  </a:lnTo>
                  <a:lnTo>
                    <a:pt x="516" y="250"/>
                  </a:lnTo>
                  <a:lnTo>
                    <a:pt x="516" y="253"/>
                  </a:lnTo>
                  <a:lnTo>
                    <a:pt x="521" y="253"/>
                  </a:lnTo>
                  <a:lnTo>
                    <a:pt x="521" y="256"/>
                  </a:lnTo>
                  <a:lnTo>
                    <a:pt x="522" y="256"/>
                  </a:lnTo>
                  <a:lnTo>
                    <a:pt x="522" y="258"/>
                  </a:lnTo>
                  <a:lnTo>
                    <a:pt x="525" y="258"/>
                  </a:lnTo>
                  <a:lnTo>
                    <a:pt x="527" y="256"/>
                  </a:lnTo>
                  <a:lnTo>
                    <a:pt x="537" y="256"/>
                  </a:lnTo>
                  <a:lnTo>
                    <a:pt x="537" y="258"/>
                  </a:lnTo>
                  <a:lnTo>
                    <a:pt x="540" y="261"/>
                  </a:lnTo>
                  <a:lnTo>
                    <a:pt x="542" y="261"/>
                  </a:lnTo>
                  <a:lnTo>
                    <a:pt x="545" y="262"/>
                  </a:lnTo>
                  <a:lnTo>
                    <a:pt x="545" y="264"/>
                  </a:lnTo>
                  <a:lnTo>
                    <a:pt x="548" y="267"/>
                  </a:lnTo>
                  <a:lnTo>
                    <a:pt x="549" y="267"/>
                  </a:lnTo>
                  <a:lnTo>
                    <a:pt x="551" y="265"/>
                  </a:lnTo>
                  <a:lnTo>
                    <a:pt x="554" y="268"/>
                  </a:lnTo>
                  <a:lnTo>
                    <a:pt x="555" y="268"/>
                  </a:lnTo>
                  <a:lnTo>
                    <a:pt x="555" y="270"/>
                  </a:lnTo>
                  <a:lnTo>
                    <a:pt x="554" y="271"/>
                  </a:lnTo>
                  <a:lnTo>
                    <a:pt x="552" y="271"/>
                  </a:lnTo>
                  <a:lnTo>
                    <a:pt x="552" y="274"/>
                  </a:lnTo>
                  <a:lnTo>
                    <a:pt x="554" y="274"/>
                  </a:lnTo>
                  <a:lnTo>
                    <a:pt x="554" y="276"/>
                  </a:lnTo>
                  <a:lnTo>
                    <a:pt x="552" y="277"/>
                  </a:lnTo>
                  <a:lnTo>
                    <a:pt x="552" y="279"/>
                  </a:lnTo>
                  <a:lnTo>
                    <a:pt x="554" y="277"/>
                  </a:lnTo>
                  <a:lnTo>
                    <a:pt x="555" y="277"/>
                  </a:lnTo>
                  <a:lnTo>
                    <a:pt x="560" y="279"/>
                  </a:lnTo>
                  <a:lnTo>
                    <a:pt x="564" y="282"/>
                  </a:lnTo>
                  <a:lnTo>
                    <a:pt x="566" y="282"/>
                  </a:lnTo>
                  <a:lnTo>
                    <a:pt x="567" y="283"/>
                  </a:lnTo>
                  <a:lnTo>
                    <a:pt x="572" y="283"/>
                  </a:lnTo>
                  <a:lnTo>
                    <a:pt x="576" y="286"/>
                  </a:lnTo>
                  <a:lnTo>
                    <a:pt x="579" y="289"/>
                  </a:lnTo>
                  <a:lnTo>
                    <a:pt x="579" y="291"/>
                  </a:lnTo>
                  <a:lnTo>
                    <a:pt x="581" y="291"/>
                  </a:lnTo>
                  <a:lnTo>
                    <a:pt x="584" y="292"/>
                  </a:lnTo>
                  <a:lnTo>
                    <a:pt x="588" y="294"/>
                  </a:lnTo>
                  <a:lnTo>
                    <a:pt x="590" y="294"/>
                  </a:lnTo>
                  <a:lnTo>
                    <a:pt x="590" y="297"/>
                  </a:lnTo>
                  <a:lnTo>
                    <a:pt x="587" y="298"/>
                  </a:lnTo>
                  <a:lnTo>
                    <a:pt x="585" y="298"/>
                  </a:lnTo>
                  <a:lnTo>
                    <a:pt x="585" y="297"/>
                  </a:lnTo>
                  <a:lnTo>
                    <a:pt x="584" y="297"/>
                  </a:lnTo>
                  <a:lnTo>
                    <a:pt x="584" y="298"/>
                  </a:lnTo>
                  <a:lnTo>
                    <a:pt x="582" y="298"/>
                  </a:lnTo>
                  <a:lnTo>
                    <a:pt x="584" y="300"/>
                  </a:lnTo>
                  <a:lnTo>
                    <a:pt x="579" y="304"/>
                  </a:lnTo>
                  <a:lnTo>
                    <a:pt x="578" y="307"/>
                  </a:lnTo>
                  <a:lnTo>
                    <a:pt x="575" y="309"/>
                  </a:lnTo>
                  <a:lnTo>
                    <a:pt x="573" y="310"/>
                  </a:lnTo>
                  <a:lnTo>
                    <a:pt x="570" y="310"/>
                  </a:lnTo>
                  <a:lnTo>
                    <a:pt x="570" y="312"/>
                  </a:lnTo>
                  <a:lnTo>
                    <a:pt x="569" y="313"/>
                  </a:lnTo>
                  <a:lnTo>
                    <a:pt x="569" y="315"/>
                  </a:lnTo>
                  <a:lnTo>
                    <a:pt x="566" y="318"/>
                  </a:lnTo>
                  <a:lnTo>
                    <a:pt x="566" y="319"/>
                  </a:lnTo>
                  <a:lnTo>
                    <a:pt x="563" y="319"/>
                  </a:lnTo>
                  <a:lnTo>
                    <a:pt x="560" y="322"/>
                  </a:lnTo>
                  <a:lnTo>
                    <a:pt x="560" y="324"/>
                  </a:lnTo>
                  <a:lnTo>
                    <a:pt x="561" y="325"/>
                  </a:lnTo>
                  <a:lnTo>
                    <a:pt x="561" y="330"/>
                  </a:lnTo>
                  <a:lnTo>
                    <a:pt x="560" y="331"/>
                  </a:lnTo>
                  <a:lnTo>
                    <a:pt x="560" y="333"/>
                  </a:lnTo>
                  <a:lnTo>
                    <a:pt x="558" y="333"/>
                  </a:lnTo>
                  <a:lnTo>
                    <a:pt x="558" y="334"/>
                  </a:lnTo>
                  <a:lnTo>
                    <a:pt x="557" y="336"/>
                  </a:lnTo>
                  <a:lnTo>
                    <a:pt x="557" y="337"/>
                  </a:lnTo>
                  <a:lnTo>
                    <a:pt x="554" y="337"/>
                  </a:lnTo>
                  <a:lnTo>
                    <a:pt x="554" y="339"/>
                  </a:lnTo>
                  <a:lnTo>
                    <a:pt x="555" y="342"/>
                  </a:lnTo>
                  <a:lnTo>
                    <a:pt x="555" y="343"/>
                  </a:lnTo>
                  <a:lnTo>
                    <a:pt x="557" y="343"/>
                  </a:lnTo>
                  <a:lnTo>
                    <a:pt x="557" y="349"/>
                  </a:lnTo>
                  <a:lnTo>
                    <a:pt x="554" y="349"/>
                  </a:lnTo>
                  <a:lnTo>
                    <a:pt x="554" y="351"/>
                  </a:lnTo>
                  <a:lnTo>
                    <a:pt x="555" y="352"/>
                  </a:lnTo>
                  <a:lnTo>
                    <a:pt x="555" y="354"/>
                  </a:lnTo>
                  <a:lnTo>
                    <a:pt x="552" y="354"/>
                  </a:lnTo>
                  <a:lnTo>
                    <a:pt x="549" y="357"/>
                  </a:lnTo>
                  <a:lnTo>
                    <a:pt x="549" y="361"/>
                  </a:lnTo>
                  <a:lnTo>
                    <a:pt x="548" y="363"/>
                  </a:lnTo>
                  <a:lnTo>
                    <a:pt x="546" y="363"/>
                  </a:lnTo>
                  <a:lnTo>
                    <a:pt x="546" y="370"/>
                  </a:lnTo>
                  <a:lnTo>
                    <a:pt x="549" y="370"/>
                  </a:lnTo>
                  <a:lnTo>
                    <a:pt x="551" y="373"/>
                  </a:lnTo>
                  <a:lnTo>
                    <a:pt x="554" y="373"/>
                  </a:lnTo>
                  <a:lnTo>
                    <a:pt x="555" y="375"/>
                  </a:lnTo>
                  <a:lnTo>
                    <a:pt x="555" y="376"/>
                  </a:lnTo>
                  <a:lnTo>
                    <a:pt x="558" y="376"/>
                  </a:lnTo>
                  <a:lnTo>
                    <a:pt x="558" y="379"/>
                  </a:lnTo>
                  <a:lnTo>
                    <a:pt x="560" y="379"/>
                  </a:lnTo>
                  <a:lnTo>
                    <a:pt x="560" y="381"/>
                  </a:lnTo>
                  <a:lnTo>
                    <a:pt x="561" y="381"/>
                  </a:lnTo>
                  <a:lnTo>
                    <a:pt x="563" y="379"/>
                  </a:lnTo>
                  <a:lnTo>
                    <a:pt x="567" y="384"/>
                  </a:lnTo>
                  <a:lnTo>
                    <a:pt x="567" y="382"/>
                  </a:lnTo>
                  <a:lnTo>
                    <a:pt x="566" y="379"/>
                  </a:lnTo>
                  <a:lnTo>
                    <a:pt x="567" y="378"/>
                  </a:lnTo>
                  <a:lnTo>
                    <a:pt x="570" y="378"/>
                  </a:lnTo>
                  <a:lnTo>
                    <a:pt x="570" y="379"/>
                  </a:lnTo>
                  <a:lnTo>
                    <a:pt x="573" y="379"/>
                  </a:lnTo>
                  <a:lnTo>
                    <a:pt x="575" y="381"/>
                  </a:lnTo>
                  <a:lnTo>
                    <a:pt x="575" y="382"/>
                  </a:lnTo>
                  <a:lnTo>
                    <a:pt x="576" y="384"/>
                  </a:lnTo>
                  <a:lnTo>
                    <a:pt x="578" y="384"/>
                  </a:lnTo>
                  <a:lnTo>
                    <a:pt x="581" y="385"/>
                  </a:lnTo>
                  <a:lnTo>
                    <a:pt x="581" y="387"/>
                  </a:lnTo>
                  <a:lnTo>
                    <a:pt x="584" y="387"/>
                  </a:lnTo>
                  <a:lnTo>
                    <a:pt x="585" y="388"/>
                  </a:lnTo>
                  <a:lnTo>
                    <a:pt x="585" y="390"/>
                  </a:lnTo>
                  <a:lnTo>
                    <a:pt x="590" y="390"/>
                  </a:lnTo>
                  <a:lnTo>
                    <a:pt x="590" y="391"/>
                  </a:lnTo>
                  <a:lnTo>
                    <a:pt x="593" y="393"/>
                  </a:lnTo>
                  <a:lnTo>
                    <a:pt x="597" y="393"/>
                  </a:lnTo>
                  <a:lnTo>
                    <a:pt x="599" y="394"/>
                  </a:lnTo>
                  <a:lnTo>
                    <a:pt x="600" y="399"/>
                  </a:lnTo>
                  <a:lnTo>
                    <a:pt x="600" y="400"/>
                  </a:lnTo>
                  <a:lnTo>
                    <a:pt x="603" y="403"/>
                  </a:lnTo>
                  <a:lnTo>
                    <a:pt x="603" y="406"/>
                  </a:lnTo>
                  <a:lnTo>
                    <a:pt x="606" y="406"/>
                  </a:lnTo>
                  <a:lnTo>
                    <a:pt x="606" y="403"/>
                  </a:lnTo>
                  <a:lnTo>
                    <a:pt x="608" y="403"/>
                  </a:lnTo>
                  <a:lnTo>
                    <a:pt x="608" y="405"/>
                  </a:lnTo>
                  <a:lnTo>
                    <a:pt x="609" y="405"/>
                  </a:lnTo>
                  <a:lnTo>
                    <a:pt x="611" y="406"/>
                  </a:lnTo>
                  <a:lnTo>
                    <a:pt x="611" y="409"/>
                  </a:lnTo>
                  <a:lnTo>
                    <a:pt x="612" y="409"/>
                  </a:lnTo>
                  <a:lnTo>
                    <a:pt x="616" y="411"/>
                  </a:lnTo>
                  <a:lnTo>
                    <a:pt x="616" y="412"/>
                  </a:lnTo>
                  <a:lnTo>
                    <a:pt x="618" y="412"/>
                  </a:lnTo>
                  <a:lnTo>
                    <a:pt x="618" y="414"/>
                  </a:lnTo>
                  <a:lnTo>
                    <a:pt x="621" y="414"/>
                  </a:lnTo>
                  <a:lnTo>
                    <a:pt x="624" y="417"/>
                  </a:lnTo>
                  <a:lnTo>
                    <a:pt x="627" y="418"/>
                  </a:lnTo>
                  <a:lnTo>
                    <a:pt x="628" y="420"/>
                  </a:lnTo>
                  <a:lnTo>
                    <a:pt x="631" y="420"/>
                  </a:lnTo>
                  <a:lnTo>
                    <a:pt x="633" y="417"/>
                  </a:lnTo>
                  <a:lnTo>
                    <a:pt x="639" y="417"/>
                  </a:lnTo>
                  <a:lnTo>
                    <a:pt x="639" y="418"/>
                  </a:lnTo>
                  <a:lnTo>
                    <a:pt x="640" y="420"/>
                  </a:lnTo>
                  <a:lnTo>
                    <a:pt x="643" y="420"/>
                  </a:lnTo>
                  <a:lnTo>
                    <a:pt x="648" y="424"/>
                  </a:lnTo>
                  <a:lnTo>
                    <a:pt x="652" y="427"/>
                  </a:lnTo>
                  <a:lnTo>
                    <a:pt x="654" y="429"/>
                  </a:lnTo>
                  <a:lnTo>
                    <a:pt x="657" y="430"/>
                  </a:lnTo>
                  <a:lnTo>
                    <a:pt x="660" y="429"/>
                  </a:lnTo>
                  <a:lnTo>
                    <a:pt x="666" y="427"/>
                  </a:lnTo>
                  <a:lnTo>
                    <a:pt x="667" y="429"/>
                  </a:lnTo>
                  <a:lnTo>
                    <a:pt x="667" y="430"/>
                  </a:lnTo>
                  <a:lnTo>
                    <a:pt x="669" y="432"/>
                  </a:lnTo>
                  <a:lnTo>
                    <a:pt x="669" y="438"/>
                  </a:lnTo>
                  <a:lnTo>
                    <a:pt x="670" y="439"/>
                  </a:lnTo>
                  <a:lnTo>
                    <a:pt x="678" y="439"/>
                  </a:lnTo>
                  <a:lnTo>
                    <a:pt x="679" y="441"/>
                  </a:lnTo>
                  <a:lnTo>
                    <a:pt x="688" y="441"/>
                  </a:lnTo>
                  <a:lnTo>
                    <a:pt x="693" y="445"/>
                  </a:lnTo>
                  <a:lnTo>
                    <a:pt x="693" y="447"/>
                  </a:lnTo>
                  <a:lnTo>
                    <a:pt x="697" y="447"/>
                  </a:lnTo>
                  <a:lnTo>
                    <a:pt x="697" y="445"/>
                  </a:lnTo>
                  <a:lnTo>
                    <a:pt x="699" y="444"/>
                  </a:lnTo>
                  <a:lnTo>
                    <a:pt x="699" y="441"/>
                  </a:lnTo>
                  <a:lnTo>
                    <a:pt x="700" y="439"/>
                  </a:lnTo>
                  <a:lnTo>
                    <a:pt x="703" y="439"/>
                  </a:lnTo>
                  <a:lnTo>
                    <a:pt x="709" y="441"/>
                  </a:lnTo>
                  <a:lnTo>
                    <a:pt x="721" y="447"/>
                  </a:lnTo>
                  <a:lnTo>
                    <a:pt x="721" y="442"/>
                  </a:lnTo>
                  <a:lnTo>
                    <a:pt x="720" y="442"/>
                  </a:lnTo>
                  <a:lnTo>
                    <a:pt x="721" y="441"/>
                  </a:lnTo>
                  <a:lnTo>
                    <a:pt x="724" y="441"/>
                  </a:lnTo>
                  <a:lnTo>
                    <a:pt x="727" y="442"/>
                  </a:lnTo>
                  <a:lnTo>
                    <a:pt x="732" y="438"/>
                  </a:lnTo>
                  <a:lnTo>
                    <a:pt x="733" y="438"/>
                  </a:lnTo>
                  <a:lnTo>
                    <a:pt x="733" y="439"/>
                  </a:lnTo>
                  <a:lnTo>
                    <a:pt x="735" y="439"/>
                  </a:lnTo>
                  <a:lnTo>
                    <a:pt x="736" y="441"/>
                  </a:lnTo>
                  <a:lnTo>
                    <a:pt x="736" y="442"/>
                  </a:lnTo>
                  <a:lnTo>
                    <a:pt x="739" y="442"/>
                  </a:lnTo>
                  <a:lnTo>
                    <a:pt x="741" y="444"/>
                  </a:lnTo>
                  <a:lnTo>
                    <a:pt x="741" y="445"/>
                  </a:lnTo>
                  <a:lnTo>
                    <a:pt x="754" y="447"/>
                  </a:lnTo>
                  <a:lnTo>
                    <a:pt x="757" y="450"/>
                  </a:lnTo>
                  <a:lnTo>
                    <a:pt x="757" y="451"/>
                  </a:lnTo>
                  <a:lnTo>
                    <a:pt x="759" y="454"/>
                  </a:lnTo>
                  <a:lnTo>
                    <a:pt x="759" y="456"/>
                  </a:lnTo>
                  <a:lnTo>
                    <a:pt x="757" y="457"/>
                  </a:lnTo>
                  <a:lnTo>
                    <a:pt x="757" y="460"/>
                  </a:lnTo>
                  <a:lnTo>
                    <a:pt x="756" y="462"/>
                  </a:lnTo>
                  <a:lnTo>
                    <a:pt x="757" y="462"/>
                  </a:lnTo>
                  <a:lnTo>
                    <a:pt x="757" y="463"/>
                  </a:lnTo>
                  <a:lnTo>
                    <a:pt x="763" y="465"/>
                  </a:lnTo>
                  <a:lnTo>
                    <a:pt x="763" y="463"/>
                  </a:lnTo>
                  <a:lnTo>
                    <a:pt x="765" y="463"/>
                  </a:lnTo>
                  <a:lnTo>
                    <a:pt x="766" y="465"/>
                  </a:lnTo>
                  <a:lnTo>
                    <a:pt x="769" y="465"/>
                  </a:lnTo>
                  <a:lnTo>
                    <a:pt x="771" y="466"/>
                  </a:lnTo>
                  <a:lnTo>
                    <a:pt x="771" y="468"/>
                  </a:lnTo>
                  <a:lnTo>
                    <a:pt x="773" y="471"/>
                  </a:lnTo>
                  <a:lnTo>
                    <a:pt x="775" y="471"/>
                  </a:lnTo>
                  <a:lnTo>
                    <a:pt x="775" y="472"/>
                  </a:lnTo>
                  <a:lnTo>
                    <a:pt x="778" y="471"/>
                  </a:lnTo>
                  <a:lnTo>
                    <a:pt x="779" y="471"/>
                  </a:lnTo>
                  <a:lnTo>
                    <a:pt x="781" y="472"/>
                  </a:lnTo>
                  <a:lnTo>
                    <a:pt x="781" y="475"/>
                  </a:lnTo>
                  <a:lnTo>
                    <a:pt x="782" y="477"/>
                  </a:lnTo>
                  <a:lnTo>
                    <a:pt x="787" y="478"/>
                  </a:lnTo>
                  <a:lnTo>
                    <a:pt x="788" y="477"/>
                  </a:lnTo>
                  <a:lnTo>
                    <a:pt x="790" y="477"/>
                  </a:lnTo>
                  <a:lnTo>
                    <a:pt x="790" y="475"/>
                  </a:lnTo>
                  <a:lnTo>
                    <a:pt x="794" y="475"/>
                  </a:lnTo>
                  <a:lnTo>
                    <a:pt x="796" y="474"/>
                  </a:lnTo>
                  <a:lnTo>
                    <a:pt x="797" y="474"/>
                  </a:lnTo>
                  <a:lnTo>
                    <a:pt x="800" y="472"/>
                  </a:lnTo>
                  <a:lnTo>
                    <a:pt x="802" y="472"/>
                  </a:lnTo>
                  <a:lnTo>
                    <a:pt x="805" y="474"/>
                  </a:lnTo>
                  <a:lnTo>
                    <a:pt x="806" y="475"/>
                  </a:lnTo>
                  <a:lnTo>
                    <a:pt x="806" y="483"/>
                  </a:lnTo>
                  <a:lnTo>
                    <a:pt x="809" y="484"/>
                  </a:lnTo>
                  <a:lnTo>
                    <a:pt x="811" y="484"/>
                  </a:lnTo>
                  <a:lnTo>
                    <a:pt x="811" y="486"/>
                  </a:lnTo>
                  <a:lnTo>
                    <a:pt x="814" y="486"/>
                  </a:lnTo>
                  <a:lnTo>
                    <a:pt x="817" y="483"/>
                  </a:lnTo>
                  <a:lnTo>
                    <a:pt x="818" y="483"/>
                  </a:lnTo>
                  <a:lnTo>
                    <a:pt x="820" y="481"/>
                  </a:lnTo>
                  <a:lnTo>
                    <a:pt x="821" y="483"/>
                  </a:lnTo>
                  <a:lnTo>
                    <a:pt x="824" y="484"/>
                  </a:lnTo>
                  <a:lnTo>
                    <a:pt x="827" y="484"/>
                  </a:lnTo>
                  <a:lnTo>
                    <a:pt x="827" y="486"/>
                  </a:lnTo>
                  <a:lnTo>
                    <a:pt x="829" y="486"/>
                  </a:lnTo>
                  <a:lnTo>
                    <a:pt x="830" y="484"/>
                  </a:lnTo>
                  <a:lnTo>
                    <a:pt x="833" y="484"/>
                  </a:lnTo>
                  <a:lnTo>
                    <a:pt x="833" y="486"/>
                  </a:lnTo>
                  <a:lnTo>
                    <a:pt x="836" y="486"/>
                  </a:lnTo>
                  <a:lnTo>
                    <a:pt x="839" y="487"/>
                  </a:lnTo>
                  <a:lnTo>
                    <a:pt x="841" y="489"/>
                  </a:lnTo>
                  <a:lnTo>
                    <a:pt x="844" y="489"/>
                  </a:lnTo>
                  <a:lnTo>
                    <a:pt x="844" y="490"/>
                  </a:lnTo>
                  <a:lnTo>
                    <a:pt x="845" y="490"/>
                  </a:lnTo>
                  <a:lnTo>
                    <a:pt x="851" y="493"/>
                  </a:lnTo>
                  <a:lnTo>
                    <a:pt x="853" y="495"/>
                  </a:lnTo>
                  <a:lnTo>
                    <a:pt x="853" y="493"/>
                  </a:lnTo>
                  <a:lnTo>
                    <a:pt x="857" y="493"/>
                  </a:lnTo>
                  <a:lnTo>
                    <a:pt x="862" y="489"/>
                  </a:lnTo>
                  <a:lnTo>
                    <a:pt x="865" y="489"/>
                  </a:lnTo>
                  <a:lnTo>
                    <a:pt x="865" y="487"/>
                  </a:lnTo>
                  <a:lnTo>
                    <a:pt x="866" y="486"/>
                  </a:lnTo>
                  <a:lnTo>
                    <a:pt x="868" y="486"/>
                  </a:lnTo>
                  <a:lnTo>
                    <a:pt x="868" y="492"/>
                  </a:lnTo>
                  <a:lnTo>
                    <a:pt x="871" y="495"/>
                  </a:lnTo>
                  <a:lnTo>
                    <a:pt x="875" y="495"/>
                  </a:lnTo>
                  <a:lnTo>
                    <a:pt x="877" y="496"/>
                  </a:lnTo>
                  <a:lnTo>
                    <a:pt x="880" y="498"/>
                  </a:lnTo>
                  <a:lnTo>
                    <a:pt x="881" y="495"/>
                  </a:lnTo>
                  <a:lnTo>
                    <a:pt x="883" y="493"/>
                  </a:lnTo>
                  <a:lnTo>
                    <a:pt x="887" y="493"/>
                  </a:lnTo>
                  <a:lnTo>
                    <a:pt x="890" y="496"/>
                  </a:lnTo>
                  <a:lnTo>
                    <a:pt x="892" y="496"/>
                  </a:lnTo>
                  <a:lnTo>
                    <a:pt x="895" y="495"/>
                  </a:lnTo>
                  <a:lnTo>
                    <a:pt x="896" y="495"/>
                  </a:lnTo>
                  <a:lnTo>
                    <a:pt x="896" y="493"/>
                  </a:lnTo>
                  <a:lnTo>
                    <a:pt x="898" y="495"/>
                  </a:lnTo>
                  <a:lnTo>
                    <a:pt x="899" y="495"/>
                  </a:lnTo>
                  <a:lnTo>
                    <a:pt x="899" y="493"/>
                  </a:lnTo>
                  <a:lnTo>
                    <a:pt x="901" y="493"/>
                  </a:lnTo>
                  <a:lnTo>
                    <a:pt x="901" y="492"/>
                  </a:lnTo>
                  <a:lnTo>
                    <a:pt x="902" y="493"/>
                  </a:lnTo>
                  <a:lnTo>
                    <a:pt x="904" y="493"/>
                  </a:lnTo>
                  <a:lnTo>
                    <a:pt x="905" y="492"/>
                  </a:lnTo>
                  <a:lnTo>
                    <a:pt x="907" y="493"/>
                  </a:lnTo>
                  <a:lnTo>
                    <a:pt x="907" y="495"/>
                  </a:lnTo>
                  <a:lnTo>
                    <a:pt x="908" y="495"/>
                  </a:lnTo>
                  <a:lnTo>
                    <a:pt x="910" y="496"/>
                  </a:lnTo>
                  <a:lnTo>
                    <a:pt x="911" y="496"/>
                  </a:lnTo>
                  <a:lnTo>
                    <a:pt x="913" y="495"/>
                  </a:lnTo>
                  <a:lnTo>
                    <a:pt x="914" y="492"/>
                  </a:lnTo>
                  <a:lnTo>
                    <a:pt x="916" y="490"/>
                  </a:lnTo>
                  <a:lnTo>
                    <a:pt x="916" y="486"/>
                  </a:lnTo>
                  <a:lnTo>
                    <a:pt x="919" y="481"/>
                  </a:lnTo>
                  <a:lnTo>
                    <a:pt x="919" y="471"/>
                  </a:lnTo>
                  <a:lnTo>
                    <a:pt x="917" y="471"/>
                  </a:lnTo>
                  <a:lnTo>
                    <a:pt x="917" y="468"/>
                  </a:lnTo>
                  <a:lnTo>
                    <a:pt x="914" y="465"/>
                  </a:lnTo>
                  <a:lnTo>
                    <a:pt x="914" y="463"/>
                  </a:lnTo>
                  <a:lnTo>
                    <a:pt x="913" y="463"/>
                  </a:lnTo>
                  <a:lnTo>
                    <a:pt x="913" y="462"/>
                  </a:lnTo>
                  <a:lnTo>
                    <a:pt x="911" y="462"/>
                  </a:lnTo>
                  <a:lnTo>
                    <a:pt x="911" y="460"/>
                  </a:lnTo>
                  <a:lnTo>
                    <a:pt x="910" y="459"/>
                  </a:lnTo>
                  <a:lnTo>
                    <a:pt x="911" y="457"/>
                  </a:lnTo>
                  <a:lnTo>
                    <a:pt x="911" y="451"/>
                  </a:lnTo>
                  <a:lnTo>
                    <a:pt x="913" y="448"/>
                  </a:lnTo>
                  <a:lnTo>
                    <a:pt x="913" y="439"/>
                  </a:lnTo>
                  <a:lnTo>
                    <a:pt x="914" y="436"/>
                  </a:lnTo>
                  <a:lnTo>
                    <a:pt x="917" y="427"/>
                  </a:lnTo>
                  <a:lnTo>
                    <a:pt x="919" y="426"/>
                  </a:lnTo>
                  <a:lnTo>
                    <a:pt x="919" y="420"/>
                  </a:lnTo>
                  <a:lnTo>
                    <a:pt x="917" y="420"/>
                  </a:lnTo>
                  <a:lnTo>
                    <a:pt x="916" y="418"/>
                  </a:lnTo>
                  <a:lnTo>
                    <a:pt x="916" y="417"/>
                  </a:lnTo>
                  <a:lnTo>
                    <a:pt x="917" y="415"/>
                  </a:lnTo>
                  <a:lnTo>
                    <a:pt x="920" y="415"/>
                  </a:lnTo>
                  <a:lnTo>
                    <a:pt x="929" y="414"/>
                  </a:lnTo>
                  <a:lnTo>
                    <a:pt x="929" y="412"/>
                  </a:lnTo>
                  <a:lnTo>
                    <a:pt x="932" y="411"/>
                  </a:lnTo>
                  <a:lnTo>
                    <a:pt x="935" y="411"/>
                  </a:lnTo>
                  <a:lnTo>
                    <a:pt x="935" y="409"/>
                  </a:lnTo>
                  <a:lnTo>
                    <a:pt x="936" y="409"/>
                  </a:lnTo>
                  <a:lnTo>
                    <a:pt x="938" y="408"/>
                  </a:lnTo>
                  <a:lnTo>
                    <a:pt x="939" y="408"/>
                  </a:lnTo>
                  <a:lnTo>
                    <a:pt x="941" y="409"/>
                  </a:lnTo>
                  <a:lnTo>
                    <a:pt x="945" y="409"/>
                  </a:lnTo>
                  <a:lnTo>
                    <a:pt x="948" y="412"/>
                  </a:lnTo>
                  <a:lnTo>
                    <a:pt x="948" y="417"/>
                  </a:lnTo>
                  <a:lnTo>
                    <a:pt x="950" y="418"/>
                  </a:lnTo>
                  <a:lnTo>
                    <a:pt x="950" y="421"/>
                  </a:lnTo>
                  <a:lnTo>
                    <a:pt x="948" y="430"/>
                  </a:lnTo>
                  <a:lnTo>
                    <a:pt x="947" y="432"/>
                  </a:lnTo>
                  <a:lnTo>
                    <a:pt x="947" y="433"/>
                  </a:lnTo>
                  <a:lnTo>
                    <a:pt x="945" y="435"/>
                  </a:lnTo>
                  <a:lnTo>
                    <a:pt x="945" y="442"/>
                  </a:lnTo>
                  <a:lnTo>
                    <a:pt x="948" y="445"/>
                  </a:lnTo>
                  <a:lnTo>
                    <a:pt x="950" y="445"/>
                  </a:lnTo>
                  <a:lnTo>
                    <a:pt x="950" y="447"/>
                  </a:lnTo>
                  <a:lnTo>
                    <a:pt x="951" y="447"/>
                  </a:lnTo>
                  <a:lnTo>
                    <a:pt x="951" y="450"/>
                  </a:lnTo>
                  <a:lnTo>
                    <a:pt x="948" y="451"/>
                  </a:lnTo>
                  <a:lnTo>
                    <a:pt x="947" y="451"/>
                  </a:lnTo>
                  <a:lnTo>
                    <a:pt x="945" y="453"/>
                  </a:lnTo>
                  <a:lnTo>
                    <a:pt x="945" y="454"/>
                  </a:lnTo>
                  <a:lnTo>
                    <a:pt x="944" y="456"/>
                  </a:lnTo>
                  <a:lnTo>
                    <a:pt x="945" y="457"/>
                  </a:lnTo>
                  <a:lnTo>
                    <a:pt x="948" y="459"/>
                  </a:lnTo>
                  <a:lnTo>
                    <a:pt x="950" y="460"/>
                  </a:lnTo>
                  <a:lnTo>
                    <a:pt x="950" y="466"/>
                  </a:lnTo>
                  <a:lnTo>
                    <a:pt x="951" y="465"/>
                  </a:lnTo>
                  <a:lnTo>
                    <a:pt x="953" y="465"/>
                  </a:lnTo>
                  <a:lnTo>
                    <a:pt x="954" y="466"/>
                  </a:lnTo>
                  <a:lnTo>
                    <a:pt x="953" y="468"/>
                  </a:lnTo>
                  <a:lnTo>
                    <a:pt x="954" y="468"/>
                  </a:lnTo>
                  <a:lnTo>
                    <a:pt x="954" y="469"/>
                  </a:lnTo>
                  <a:lnTo>
                    <a:pt x="956" y="469"/>
                  </a:lnTo>
                  <a:lnTo>
                    <a:pt x="956" y="468"/>
                  </a:lnTo>
                  <a:lnTo>
                    <a:pt x="957" y="468"/>
                  </a:lnTo>
                  <a:lnTo>
                    <a:pt x="957" y="469"/>
                  </a:lnTo>
                  <a:lnTo>
                    <a:pt x="959" y="469"/>
                  </a:lnTo>
                  <a:lnTo>
                    <a:pt x="960" y="471"/>
                  </a:lnTo>
                  <a:lnTo>
                    <a:pt x="960" y="472"/>
                  </a:lnTo>
                  <a:lnTo>
                    <a:pt x="962" y="474"/>
                  </a:lnTo>
                  <a:lnTo>
                    <a:pt x="969" y="474"/>
                  </a:lnTo>
                  <a:lnTo>
                    <a:pt x="969" y="472"/>
                  </a:lnTo>
                  <a:lnTo>
                    <a:pt x="974" y="472"/>
                  </a:lnTo>
                  <a:lnTo>
                    <a:pt x="977" y="475"/>
                  </a:lnTo>
                  <a:lnTo>
                    <a:pt x="980" y="474"/>
                  </a:lnTo>
                  <a:lnTo>
                    <a:pt x="983" y="475"/>
                  </a:lnTo>
                  <a:lnTo>
                    <a:pt x="984" y="475"/>
                  </a:lnTo>
                  <a:lnTo>
                    <a:pt x="986" y="477"/>
                  </a:lnTo>
                  <a:lnTo>
                    <a:pt x="984" y="478"/>
                  </a:lnTo>
                  <a:lnTo>
                    <a:pt x="989" y="478"/>
                  </a:lnTo>
                  <a:lnTo>
                    <a:pt x="990" y="480"/>
                  </a:lnTo>
                  <a:lnTo>
                    <a:pt x="995" y="480"/>
                  </a:lnTo>
                  <a:lnTo>
                    <a:pt x="995" y="478"/>
                  </a:lnTo>
                  <a:lnTo>
                    <a:pt x="1002" y="478"/>
                  </a:lnTo>
                  <a:lnTo>
                    <a:pt x="1007" y="477"/>
                  </a:lnTo>
                  <a:lnTo>
                    <a:pt x="1008" y="477"/>
                  </a:lnTo>
                  <a:lnTo>
                    <a:pt x="1010" y="475"/>
                  </a:lnTo>
                  <a:lnTo>
                    <a:pt x="1011" y="472"/>
                  </a:lnTo>
                  <a:lnTo>
                    <a:pt x="1016" y="472"/>
                  </a:lnTo>
                  <a:lnTo>
                    <a:pt x="1019" y="469"/>
                  </a:lnTo>
                  <a:lnTo>
                    <a:pt x="1020" y="469"/>
                  </a:lnTo>
                  <a:lnTo>
                    <a:pt x="1029" y="475"/>
                  </a:lnTo>
                  <a:lnTo>
                    <a:pt x="1035" y="477"/>
                  </a:lnTo>
                  <a:lnTo>
                    <a:pt x="1046" y="475"/>
                  </a:lnTo>
                  <a:lnTo>
                    <a:pt x="1050" y="475"/>
                  </a:lnTo>
                  <a:lnTo>
                    <a:pt x="1052" y="474"/>
                  </a:lnTo>
                  <a:lnTo>
                    <a:pt x="1058" y="474"/>
                  </a:lnTo>
                  <a:lnTo>
                    <a:pt x="1059" y="475"/>
                  </a:lnTo>
                  <a:lnTo>
                    <a:pt x="1065" y="475"/>
                  </a:lnTo>
                  <a:lnTo>
                    <a:pt x="1065" y="474"/>
                  </a:lnTo>
                  <a:lnTo>
                    <a:pt x="1067" y="472"/>
                  </a:lnTo>
                  <a:lnTo>
                    <a:pt x="1067" y="471"/>
                  </a:lnTo>
                  <a:lnTo>
                    <a:pt x="1071" y="471"/>
                  </a:lnTo>
                  <a:lnTo>
                    <a:pt x="1071" y="472"/>
                  </a:lnTo>
                  <a:lnTo>
                    <a:pt x="1073" y="474"/>
                  </a:lnTo>
                  <a:lnTo>
                    <a:pt x="1073" y="475"/>
                  </a:lnTo>
                  <a:lnTo>
                    <a:pt x="1074" y="475"/>
                  </a:lnTo>
                  <a:lnTo>
                    <a:pt x="1076" y="474"/>
                  </a:lnTo>
                  <a:lnTo>
                    <a:pt x="1079" y="474"/>
                  </a:lnTo>
                  <a:lnTo>
                    <a:pt x="1079" y="475"/>
                  </a:lnTo>
                  <a:lnTo>
                    <a:pt x="1082" y="474"/>
                  </a:lnTo>
                  <a:lnTo>
                    <a:pt x="1083" y="474"/>
                  </a:lnTo>
                  <a:lnTo>
                    <a:pt x="1086" y="472"/>
                  </a:lnTo>
                  <a:lnTo>
                    <a:pt x="1086" y="471"/>
                  </a:lnTo>
                  <a:lnTo>
                    <a:pt x="1088" y="472"/>
                  </a:lnTo>
                  <a:lnTo>
                    <a:pt x="1088" y="474"/>
                  </a:lnTo>
                  <a:lnTo>
                    <a:pt x="1089" y="474"/>
                  </a:lnTo>
                  <a:lnTo>
                    <a:pt x="1089" y="472"/>
                  </a:lnTo>
                  <a:lnTo>
                    <a:pt x="1091" y="472"/>
                  </a:lnTo>
                  <a:lnTo>
                    <a:pt x="1091" y="471"/>
                  </a:lnTo>
                  <a:lnTo>
                    <a:pt x="1092" y="471"/>
                  </a:lnTo>
                  <a:lnTo>
                    <a:pt x="1093" y="472"/>
                  </a:lnTo>
                  <a:lnTo>
                    <a:pt x="1096" y="472"/>
                  </a:lnTo>
                  <a:lnTo>
                    <a:pt x="1098" y="469"/>
                  </a:lnTo>
                  <a:lnTo>
                    <a:pt x="1098" y="465"/>
                  </a:lnTo>
                  <a:lnTo>
                    <a:pt x="1096" y="463"/>
                  </a:lnTo>
                  <a:lnTo>
                    <a:pt x="1095" y="460"/>
                  </a:lnTo>
                  <a:lnTo>
                    <a:pt x="1093" y="459"/>
                  </a:lnTo>
                  <a:lnTo>
                    <a:pt x="1093" y="457"/>
                  </a:lnTo>
                  <a:lnTo>
                    <a:pt x="1095" y="457"/>
                  </a:lnTo>
                  <a:lnTo>
                    <a:pt x="1095" y="454"/>
                  </a:lnTo>
                  <a:lnTo>
                    <a:pt x="1096" y="454"/>
                  </a:lnTo>
                  <a:lnTo>
                    <a:pt x="1096" y="451"/>
                  </a:lnTo>
                  <a:lnTo>
                    <a:pt x="1098" y="450"/>
                  </a:lnTo>
                  <a:lnTo>
                    <a:pt x="1099" y="450"/>
                  </a:lnTo>
                  <a:lnTo>
                    <a:pt x="1098" y="448"/>
                  </a:lnTo>
                  <a:lnTo>
                    <a:pt x="1095" y="441"/>
                  </a:lnTo>
                  <a:lnTo>
                    <a:pt x="1093" y="439"/>
                  </a:lnTo>
                  <a:lnTo>
                    <a:pt x="1093" y="441"/>
                  </a:lnTo>
                  <a:lnTo>
                    <a:pt x="1088" y="441"/>
                  </a:lnTo>
                  <a:lnTo>
                    <a:pt x="1085" y="442"/>
                  </a:lnTo>
                  <a:lnTo>
                    <a:pt x="1083" y="442"/>
                  </a:lnTo>
                  <a:lnTo>
                    <a:pt x="1080" y="439"/>
                  </a:lnTo>
                  <a:lnTo>
                    <a:pt x="1079" y="439"/>
                  </a:lnTo>
                  <a:lnTo>
                    <a:pt x="1079" y="438"/>
                  </a:lnTo>
                  <a:lnTo>
                    <a:pt x="1077" y="436"/>
                  </a:lnTo>
                  <a:lnTo>
                    <a:pt x="1076" y="436"/>
                  </a:lnTo>
                  <a:lnTo>
                    <a:pt x="1076" y="430"/>
                  </a:lnTo>
                  <a:lnTo>
                    <a:pt x="1077" y="427"/>
                  </a:lnTo>
                  <a:lnTo>
                    <a:pt x="1079" y="426"/>
                  </a:lnTo>
                  <a:lnTo>
                    <a:pt x="1085" y="424"/>
                  </a:lnTo>
                  <a:lnTo>
                    <a:pt x="1086" y="426"/>
                  </a:lnTo>
                  <a:lnTo>
                    <a:pt x="1088" y="426"/>
                  </a:lnTo>
                  <a:lnTo>
                    <a:pt x="1089" y="427"/>
                  </a:lnTo>
                  <a:lnTo>
                    <a:pt x="1091" y="426"/>
                  </a:lnTo>
                  <a:lnTo>
                    <a:pt x="1092" y="427"/>
                  </a:lnTo>
                  <a:lnTo>
                    <a:pt x="1093" y="427"/>
                  </a:lnTo>
                  <a:lnTo>
                    <a:pt x="1098" y="423"/>
                  </a:lnTo>
                  <a:lnTo>
                    <a:pt x="1105" y="423"/>
                  </a:lnTo>
                  <a:lnTo>
                    <a:pt x="1105" y="420"/>
                  </a:lnTo>
                  <a:lnTo>
                    <a:pt x="1107" y="420"/>
                  </a:lnTo>
                  <a:lnTo>
                    <a:pt x="1107" y="423"/>
                  </a:lnTo>
                  <a:lnTo>
                    <a:pt x="1108" y="423"/>
                  </a:lnTo>
                  <a:lnTo>
                    <a:pt x="1108" y="424"/>
                  </a:lnTo>
                  <a:lnTo>
                    <a:pt x="1110" y="423"/>
                  </a:lnTo>
                  <a:lnTo>
                    <a:pt x="1111" y="423"/>
                  </a:lnTo>
                  <a:lnTo>
                    <a:pt x="1111" y="421"/>
                  </a:lnTo>
                  <a:lnTo>
                    <a:pt x="1113" y="421"/>
                  </a:lnTo>
                  <a:lnTo>
                    <a:pt x="1113" y="420"/>
                  </a:lnTo>
                  <a:lnTo>
                    <a:pt x="1114" y="421"/>
                  </a:lnTo>
                  <a:lnTo>
                    <a:pt x="1116" y="421"/>
                  </a:lnTo>
                  <a:lnTo>
                    <a:pt x="1119" y="420"/>
                  </a:lnTo>
                  <a:lnTo>
                    <a:pt x="1120" y="418"/>
                  </a:lnTo>
                  <a:lnTo>
                    <a:pt x="1122" y="418"/>
                  </a:lnTo>
                  <a:lnTo>
                    <a:pt x="1122" y="417"/>
                  </a:lnTo>
                  <a:lnTo>
                    <a:pt x="1123" y="417"/>
                  </a:lnTo>
                  <a:lnTo>
                    <a:pt x="1126" y="414"/>
                  </a:lnTo>
                  <a:lnTo>
                    <a:pt x="1126" y="411"/>
                  </a:lnTo>
                  <a:lnTo>
                    <a:pt x="1125" y="409"/>
                  </a:lnTo>
                  <a:lnTo>
                    <a:pt x="1123" y="409"/>
                  </a:lnTo>
                  <a:lnTo>
                    <a:pt x="1131" y="402"/>
                  </a:lnTo>
                  <a:lnTo>
                    <a:pt x="1131" y="403"/>
                  </a:lnTo>
                  <a:lnTo>
                    <a:pt x="1134" y="403"/>
                  </a:lnTo>
                  <a:lnTo>
                    <a:pt x="1134" y="402"/>
                  </a:lnTo>
                  <a:lnTo>
                    <a:pt x="1135" y="400"/>
                  </a:lnTo>
                  <a:lnTo>
                    <a:pt x="1137" y="400"/>
                  </a:lnTo>
                  <a:lnTo>
                    <a:pt x="1137" y="399"/>
                  </a:lnTo>
                  <a:lnTo>
                    <a:pt x="1138" y="399"/>
                  </a:lnTo>
                  <a:lnTo>
                    <a:pt x="1140" y="397"/>
                  </a:lnTo>
                  <a:lnTo>
                    <a:pt x="1141" y="397"/>
                  </a:lnTo>
                  <a:lnTo>
                    <a:pt x="1146" y="393"/>
                  </a:lnTo>
                  <a:lnTo>
                    <a:pt x="1147" y="390"/>
                  </a:lnTo>
                  <a:lnTo>
                    <a:pt x="1147" y="387"/>
                  </a:lnTo>
                  <a:lnTo>
                    <a:pt x="1150" y="384"/>
                  </a:lnTo>
                  <a:lnTo>
                    <a:pt x="1153" y="384"/>
                  </a:lnTo>
                  <a:lnTo>
                    <a:pt x="1155" y="381"/>
                  </a:lnTo>
                  <a:lnTo>
                    <a:pt x="1156" y="381"/>
                  </a:lnTo>
                  <a:lnTo>
                    <a:pt x="1161" y="378"/>
                  </a:lnTo>
                  <a:lnTo>
                    <a:pt x="1170" y="378"/>
                  </a:lnTo>
                  <a:lnTo>
                    <a:pt x="1171" y="376"/>
                  </a:lnTo>
                  <a:lnTo>
                    <a:pt x="1174" y="376"/>
                  </a:lnTo>
                  <a:lnTo>
                    <a:pt x="1177" y="373"/>
                  </a:lnTo>
                  <a:lnTo>
                    <a:pt x="1180" y="372"/>
                  </a:lnTo>
                  <a:lnTo>
                    <a:pt x="1182" y="372"/>
                  </a:lnTo>
                  <a:lnTo>
                    <a:pt x="1183" y="370"/>
                  </a:lnTo>
                  <a:lnTo>
                    <a:pt x="1182" y="370"/>
                  </a:lnTo>
                  <a:lnTo>
                    <a:pt x="1183" y="369"/>
                  </a:lnTo>
                  <a:lnTo>
                    <a:pt x="1188" y="369"/>
                  </a:lnTo>
                  <a:lnTo>
                    <a:pt x="1188" y="367"/>
                  </a:lnTo>
                  <a:lnTo>
                    <a:pt x="1191" y="367"/>
                  </a:lnTo>
                  <a:lnTo>
                    <a:pt x="1192" y="366"/>
                  </a:lnTo>
                  <a:lnTo>
                    <a:pt x="1195" y="364"/>
                  </a:lnTo>
                  <a:lnTo>
                    <a:pt x="1198" y="364"/>
                  </a:lnTo>
                  <a:lnTo>
                    <a:pt x="1200" y="361"/>
                  </a:lnTo>
                  <a:lnTo>
                    <a:pt x="1203" y="360"/>
                  </a:lnTo>
                  <a:lnTo>
                    <a:pt x="1201" y="357"/>
                  </a:lnTo>
                  <a:lnTo>
                    <a:pt x="1200" y="355"/>
                  </a:lnTo>
                  <a:lnTo>
                    <a:pt x="1200" y="352"/>
                  </a:lnTo>
                  <a:lnTo>
                    <a:pt x="1203" y="352"/>
                  </a:lnTo>
                  <a:lnTo>
                    <a:pt x="1203" y="351"/>
                  </a:lnTo>
                  <a:lnTo>
                    <a:pt x="1204" y="351"/>
                  </a:lnTo>
                  <a:lnTo>
                    <a:pt x="1204" y="349"/>
                  </a:lnTo>
                  <a:lnTo>
                    <a:pt x="1210" y="349"/>
                  </a:lnTo>
                  <a:lnTo>
                    <a:pt x="1210" y="348"/>
                  </a:lnTo>
                  <a:lnTo>
                    <a:pt x="1215" y="343"/>
                  </a:lnTo>
                  <a:lnTo>
                    <a:pt x="1216" y="343"/>
                  </a:lnTo>
                  <a:lnTo>
                    <a:pt x="1222" y="349"/>
                  </a:lnTo>
                  <a:lnTo>
                    <a:pt x="1222" y="352"/>
                  </a:lnTo>
                  <a:lnTo>
                    <a:pt x="1228" y="352"/>
                  </a:lnTo>
                  <a:lnTo>
                    <a:pt x="1231" y="354"/>
                  </a:lnTo>
                  <a:lnTo>
                    <a:pt x="1231" y="352"/>
                  </a:lnTo>
                  <a:lnTo>
                    <a:pt x="1233" y="352"/>
                  </a:lnTo>
                  <a:lnTo>
                    <a:pt x="1234" y="354"/>
                  </a:lnTo>
                  <a:lnTo>
                    <a:pt x="1237" y="354"/>
                  </a:lnTo>
                  <a:lnTo>
                    <a:pt x="1237" y="355"/>
                  </a:lnTo>
                  <a:lnTo>
                    <a:pt x="1242" y="355"/>
                  </a:lnTo>
                  <a:lnTo>
                    <a:pt x="1242" y="357"/>
                  </a:lnTo>
                  <a:lnTo>
                    <a:pt x="1243" y="357"/>
                  </a:lnTo>
                  <a:lnTo>
                    <a:pt x="1246" y="358"/>
                  </a:lnTo>
                  <a:lnTo>
                    <a:pt x="1245" y="355"/>
                  </a:lnTo>
                  <a:lnTo>
                    <a:pt x="1246" y="354"/>
                  </a:lnTo>
                  <a:lnTo>
                    <a:pt x="1251" y="354"/>
                  </a:lnTo>
                  <a:lnTo>
                    <a:pt x="1252" y="351"/>
                  </a:lnTo>
                  <a:lnTo>
                    <a:pt x="1253" y="351"/>
                  </a:lnTo>
                  <a:lnTo>
                    <a:pt x="1253" y="354"/>
                  </a:lnTo>
                  <a:lnTo>
                    <a:pt x="1256" y="354"/>
                  </a:lnTo>
                  <a:lnTo>
                    <a:pt x="1256" y="349"/>
                  </a:lnTo>
                  <a:lnTo>
                    <a:pt x="1258" y="349"/>
                  </a:lnTo>
                  <a:lnTo>
                    <a:pt x="1258" y="348"/>
                  </a:lnTo>
                  <a:lnTo>
                    <a:pt x="1262" y="348"/>
                  </a:lnTo>
                  <a:lnTo>
                    <a:pt x="1265" y="349"/>
                  </a:lnTo>
                  <a:lnTo>
                    <a:pt x="1267" y="346"/>
                  </a:lnTo>
                  <a:lnTo>
                    <a:pt x="1267" y="343"/>
                  </a:lnTo>
                  <a:lnTo>
                    <a:pt x="1268" y="342"/>
                  </a:lnTo>
                  <a:lnTo>
                    <a:pt x="1271" y="343"/>
                  </a:lnTo>
                  <a:lnTo>
                    <a:pt x="1276" y="342"/>
                  </a:lnTo>
                  <a:lnTo>
                    <a:pt x="1285" y="342"/>
                  </a:lnTo>
                  <a:lnTo>
                    <a:pt x="1286" y="345"/>
                  </a:lnTo>
                  <a:lnTo>
                    <a:pt x="1289" y="348"/>
                  </a:lnTo>
                  <a:lnTo>
                    <a:pt x="1291" y="348"/>
                  </a:lnTo>
                  <a:lnTo>
                    <a:pt x="1292" y="346"/>
                  </a:lnTo>
                  <a:lnTo>
                    <a:pt x="1295" y="346"/>
                  </a:lnTo>
                  <a:lnTo>
                    <a:pt x="1295" y="348"/>
                  </a:lnTo>
                  <a:lnTo>
                    <a:pt x="1294" y="349"/>
                  </a:lnTo>
                  <a:lnTo>
                    <a:pt x="1294" y="351"/>
                  </a:lnTo>
                  <a:lnTo>
                    <a:pt x="1292" y="351"/>
                  </a:lnTo>
                  <a:lnTo>
                    <a:pt x="1288" y="352"/>
                  </a:lnTo>
                  <a:lnTo>
                    <a:pt x="1288" y="354"/>
                  </a:lnTo>
                  <a:lnTo>
                    <a:pt x="1286" y="354"/>
                  </a:lnTo>
                  <a:lnTo>
                    <a:pt x="1286" y="355"/>
                  </a:lnTo>
                  <a:lnTo>
                    <a:pt x="1288" y="360"/>
                  </a:lnTo>
                  <a:lnTo>
                    <a:pt x="1291" y="357"/>
                  </a:lnTo>
                  <a:lnTo>
                    <a:pt x="1294" y="355"/>
                  </a:lnTo>
                  <a:lnTo>
                    <a:pt x="1295" y="358"/>
                  </a:lnTo>
                  <a:lnTo>
                    <a:pt x="1300" y="361"/>
                  </a:lnTo>
                  <a:lnTo>
                    <a:pt x="1298" y="361"/>
                  </a:lnTo>
                  <a:lnTo>
                    <a:pt x="1298" y="363"/>
                  </a:lnTo>
                  <a:lnTo>
                    <a:pt x="1301" y="363"/>
                  </a:lnTo>
                  <a:lnTo>
                    <a:pt x="1301" y="366"/>
                  </a:lnTo>
                  <a:lnTo>
                    <a:pt x="1303" y="367"/>
                  </a:lnTo>
                  <a:lnTo>
                    <a:pt x="1306" y="373"/>
                  </a:lnTo>
                  <a:lnTo>
                    <a:pt x="1306" y="376"/>
                  </a:lnTo>
                  <a:lnTo>
                    <a:pt x="1301" y="379"/>
                  </a:lnTo>
                  <a:lnTo>
                    <a:pt x="1298" y="381"/>
                  </a:lnTo>
                  <a:lnTo>
                    <a:pt x="1300" y="384"/>
                  </a:lnTo>
                  <a:lnTo>
                    <a:pt x="1298" y="385"/>
                  </a:lnTo>
                  <a:lnTo>
                    <a:pt x="1300" y="387"/>
                  </a:lnTo>
                  <a:lnTo>
                    <a:pt x="1301" y="391"/>
                  </a:lnTo>
                  <a:lnTo>
                    <a:pt x="1301" y="387"/>
                  </a:lnTo>
                  <a:lnTo>
                    <a:pt x="1303" y="385"/>
                  </a:lnTo>
                  <a:lnTo>
                    <a:pt x="1304" y="382"/>
                  </a:lnTo>
                  <a:lnTo>
                    <a:pt x="1306" y="381"/>
                  </a:lnTo>
                  <a:lnTo>
                    <a:pt x="1310" y="382"/>
                  </a:lnTo>
                  <a:lnTo>
                    <a:pt x="1316" y="388"/>
                  </a:lnTo>
                  <a:lnTo>
                    <a:pt x="1319" y="390"/>
                  </a:lnTo>
                  <a:lnTo>
                    <a:pt x="1319" y="394"/>
                  </a:lnTo>
                  <a:lnTo>
                    <a:pt x="1321" y="396"/>
                  </a:lnTo>
                  <a:lnTo>
                    <a:pt x="1324" y="396"/>
                  </a:lnTo>
                  <a:lnTo>
                    <a:pt x="1325" y="394"/>
                  </a:lnTo>
                  <a:lnTo>
                    <a:pt x="1328" y="393"/>
                  </a:lnTo>
                  <a:lnTo>
                    <a:pt x="1330" y="394"/>
                  </a:lnTo>
                  <a:lnTo>
                    <a:pt x="1333" y="396"/>
                  </a:lnTo>
                  <a:lnTo>
                    <a:pt x="1334" y="397"/>
                  </a:lnTo>
                  <a:lnTo>
                    <a:pt x="1334" y="399"/>
                  </a:lnTo>
                  <a:lnTo>
                    <a:pt x="1337" y="400"/>
                  </a:lnTo>
                  <a:lnTo>
                    <a:pt x="1339" y="402"/>
                  </a:lnTo>
                  <a:lnTo>
                    <a:pt x="1339" y="403"/>
                  </a:lnTo>
                  <a:lnTo>
                    <a:pt x="1337" y="406"/>
                  </a:lnTo>
                  <a:lnTo>
                    <a:pt x="1337" y="408"/>
                  </a:lnTo>
                  <a:lnTo>
                    <a:pt x="1340" y="411"/>
                  </a:lnTo>
                  <a:lnTo>
                    <a:pt x="1340" y="418"/>
                  </a:lnTo>
                  <a:lnTo>
                    <a:pt x="1337" y="418"/>
                  </a:lnTo>
                  <a:lnTo>
                    <a:pt x="1337" y="417"/>
                  </a:lnTo>
                  <a:lnTo>
                    <a:pt x="1336" y="417"/>
                  </a:lnTo>
                  <a:lnTo>
                    <a:pt x="1330" y="423"/>
                  </a:lnTo>
                  <a:lnTo>
                    <a:pt x="1328" y="423"/>
                  </a:lnTo>
                  <a:lnTo>
                    <a:pt x="1328" y="424"/>
                  </a:lnTo>
                  <a:lnTo>
                    <a:pt x="1327" y="424"/>
                  </a:lnTo>
                  <a:lnTo>
                    <a:pt x="1327" y="426"/>
                  </a:lnTo>
                  <a:lnTo>
                    <a:pt x="1324" y="426"/>
                  </a:lnTo>
                  <a:lnTo>
                    <a:pt x="1324" y="427"/>
                  </a:lnTo>
                  <a:lnTo>
                    <a:pt x="1322" y="429"/>
                  </a:lnTo>
                  <a:lnTo>
                    <a:pt x="1321" y="429"/>
                  </a:lnTo>
                  <a:lnTo>
                    <a:pt x="1319" y="430"/>
                  </a:lnTo>
                  <a:lnTo>
                    <a:pt x="1319" y="432"/>
                  </a:lnTo>
                  <a:lnTo>
                    <a:pt x="1318" y="432"/>
                  </a:lnTo>
                  <a:lnTo>
                    <a:pt x="1318" y="436"/>
                  </a:lnTo>
                  <a:lnTo>
                    <a:pt x="1319" y="436"/>
                  </a:lnTo>
                  <a:lnTo>
                    <a:pt x="1319" y="439"/>
                  </a:lnTo>
                  <a:lnTo>
                    <a:pt x="1318" y="441"/>
                  </a:lnTo>
                  <a:lnTo>
                    <a:pt x="1319" y="441"/>
                  </a:lnTo>
                  <a:lnTo>
                    <a:pt x="1319" y="444"/>
                  </a:lnTo>
                  <a:lnTo>
                    <a:pt x="1327" y="453"/>
                  </a:lnTo>
                  <a:lnTo>
                    <a:pt x="1328" y="454"/>
                  </a:lnTo>
                  <a:lnTo>
                    <a:pt x="1328" y="456"/>
                  </a:lnTo>
                  <a:lnTo>
                    <a:pt x="1330" y="457"/>
                  </a:lnTo>
                  <a:lnTo>
                    <a:pt x="1330" y="460"/>
                  </a:lnTo>
                  <a:lnTo>
                    <a:pt x="1328" y="460"/>
                  </a:lnTo>
                  <a:lnTo>
                    <a:pt x="1328" y="459"/>
                  </a:lnTo>
                  <a:lnTo>
                    <a:pt x="1327" y="459"/>
                  </a:lnTo>
                  <a:lnTo>
                    <a:pt x="1327" y="460"/>
                  </a:lnTo>
                  <a:lnTo>
                    <a:pt x="1325" y="460"/>
                  </a:lnTo>
                  <a:lnTo>
                    <a:pt x="1325" y="459"/>
                  </a:lnTo>
                  <a:lnTo>
                    <a:pt x="1324" y="459"/>
                  </a:lnTo>
                  <a:lnTo>
                    <a:pt x="1318" y="456"/>
                  </a:lnTo>
                  <a:lnTo>
                    <a:pt x="1316" y="454"/>
                  </a:lnTo>
                  <a:lnTo>
                    <a:pt x="1318" y="453"/>
                  </a:lnTo>
                  <a:lnTo>
                    <a:pt x="1318" y="451"/>
                  </a:lnTo>
                  <a:lnTo>
                    <a:pt x="1316" y="450"/>
                  </a:lnTo>
                  <a:lnTo>
                    <a:pt x="1315" y="450"/>
                  </a:lnTo>
                  <a:lnTo>
                    <a:pt x="1315" y="448"/>
                  </a:lnTo>
                  <a:lnTo>
                    <a:pt x="1312" y="445"/>
                  </a:lnTo>
                  <a:lnTo>
                    <a:pt x="1309" y="445"/>
                  </a:lnTo>
                  <a:lnTo>
                    <a:pt x="1309" y="447"/>
                  </a:lnTo>
                  <a:lnTo>
                    <a:pt x="1306" y="447"/>
                  </a:lnTo>
                  <a:lnTo>
                    <a:pt x="1306" y="445"/>
                  </a:lnTo>
                  <a:lnTo>
                    <a:pt x="1301" y="450"/>
                  </a:lnTo>
                  <a:lnTo>
                    <a:pt x="1300" y="448"/>
                  </a:lnTo>
                  <a:lnTo>
                    <a:pt x="1297" y="448"/>
                  </a:lnTo>
                  <a:lnTo>
                    <a:pt x="1285" y="451"/>
                  </a:lnTo>
                  <a:lnTo>
                    <a:pt x="1279" y="454"/>
                  </a:lnTo>
                  <a:lnTo>
                    <a:pt x="1276" y="460"/>
                  </a:lnTo>
                  <a:lnTo>
                    <a:pt x="1273" y="463"/>
                  </a:lnTo>
                  <a:lnTo>
                    <a:pt x="1270" y="463"/>
                  </a:lnTo>
                  <a:lnTo>
                    <a:pt x="1268" y="465"/>
                  </a:lnTo>
                  <a:lnTo>
                    <a:pt x="1265" y="466"/>
                  </a:lnTo>
                  <a:lnTo>
                    <a:pt x="1265" y="469"/>
                  </a:lnTo>
                  <a:lnTo>
                    <a:pt x="1264" y="469"/>
                  </a:lnTo>
                  <a:lnTo>
                    <a:pt x="1262" y="471"/>
                  </a:lnTo>
                  <a:lnTo>
                    <a:pt x="1261" y="471"/>
                  </a:lnTo>
                  <a:lnTo>
                    <a:pt x="1259" y="472"/>
                  </a:lnTo>
                  <a:lnTo>
                    <a:pt x="1259" y="474"/>
                  </a:lnTo>
                  <a:lnTo>
                    <a:pt x="1255" y="474"/>
                  </a:lnTo>
                  <a:lnTo>
                    <a:pt x="1253" y="475"/>
                  </a:lnTo>
                  <a:lnTo>
                    <a:pt x="1252" y="478"/>
                  </a:lnTo>
                  <a:lnTo>
                    <a:pt x="1251" y="480"/>
                  </a:lnTo>
                  <a:lnTo>
                    <a:pt x="1248" y="481"/>
                  </a:lnTo>
                  <a:lnTo>
                    <a:pt x="1245" y="481"/>
                  </a:lnTo>
                  <a:lnTo>
                    <a:pt x="1245" y="483"/>
                  </a:lnTo>
                  <a:lnTo>
                    <a:pt x="1243" y="483"/>
                  </a:lnTo>
                  <a:lnTo>
                    <a:pt x="1243" y="481"/>
                  </a:lnTo>
                  <a:lnTo>
                    <a:pt x="1242" y="481"/>
                  </a:lnTo>
                  <a:lnTo>
                    <a:pt x="1240" y="483"/>
                  </a:lnTo>
                  <a:lnTo>
                    <a:pt x="1239" y="483"/>
                  </a:lnTo>
                  <a:lnTo>
                    <a:pt x="1239" y="484"/>
                  </a:lnTo>
                  <a:lnTo>
                    <a:pt x="1237" y="486"/>
                  </a:lnTo>
                  <a:lnTo>
                    <a:pt x="1237" y="487"/>
                  </a:lnTo>
                  <a:lnTo>
                    <a:pt x="1236" y="489"/>
                  </a:lnTo>
                  <a:lnTo>
                    <a:pt x="1236" y="490"/>
                  </a:lnTo>
                  <a:lnTo>
                    <a:pt x="1234" y="492"/>
                  </a:lnTo>
                  <a:lnTo>
                    <a:pt x="1236" y="493"/>
                  </a:lnTo>
                  <a:lnTo>
                    <a:pt x="1236" y="495"/>
                  </a:lnTo>
                  <a:lnTo>
                    <a:pt x="1234" y="498"/>
                  </a:lnTo>
                  <a:lnTo>
                    <a:pt x="1234" y="502"/>
                  </a:lnTo>
                  <a:lnTo>
                    <a:pt x="1236" y="503"/>
                  </a:lnTo>
                  <a:lnTo>
                    <a:pt x="1236" y="505"/>
                  </a:lnTo>
                  <a:lnTo>
                    <a:pt x="1237" y="505"/>
                  </a:lnTo>
                  <a:lnTo>
                    <a:pt x="1236" y="506"/>
                  </a:lnTo>
                  <a:lnTo>
                    <a:pt x="1237" y="509"/>
                  </a:lnTo>
                  <a:lnTo>
                    <a:pt x="1237" y="511"/>
                  </a:lnTo>
                  <a:lnTo>
                    <a:pt x="1239" y="511"/>
                  </a:lnTo>
                  <a:lnTo>
                    <a:pt x="1240" y="512"/>
                  </a:lnTo>
                  <a:lnTo>
                    <a:pt x="1234" y="518"/>
                  </a:lnTo>
                  <a:lnTo>
                    <a:pt x="1233" y="518"/>
                  </a:lnTo>
                  <a:lnTo>
                    <a:pt x="1233" y="529"/>
                  </a:lnTo>
                  <a:lnTo>
                    <a:pt x="1231" y="529"/>
                  </a:lnTo>
                  <a:lnTo>
                    <a:pt x="1227" y="535"/>
                  </a:lnTo>
                  <a:lnTo>
                    <a:pt x="1227" y="536"/>
                  </a:lnTo>
                  <a:lnTo>
                    <a:pt x="1225" y="538"/>
                  </a:lnTo>
                  <a:lnTo>
                    <a:pt x="1224" y="538"/>
                  </a:lnTo>
                  <a:lnTo>
                    <a:pt x="1222" y="541"/>
                  </a:lnTo>
                  <a:lnTo>
                    <a:pt x="1218" y="541"/>
                  </a:lnTo>
                  <a:lnTo>
                    <a:pt x="1216" y="542"/>
                  </a:lnTo>
                  <a:lnTo>
                    <a:pt x="1216" y="544"/>
                  </a:lnTo>
                  <a:lnTo>
                    <a:pt x="1215" y="545"/>
                  </a:lnTo>
                  <a:lnTo>
                    <a:pt x="1212" y="553"/>
                  </a:lnTo>
                  <a:lnTo>
                    <a:pt x="1212" y="556"/>
                  </a:lnTo>
                  <a:lnTo>
                    <a:pt x="1213" y="557"/>
                  </a:lnTo>
                  <a:lnTo>
                    <a:pt x="1216" y="557"/>
                  </a:lnTo>
                  <a:lnTo>
                    <a:pt x="1219" y="560"/>
                  </a:lnTo>
                  <a:lnTo>
                    <a:pt x="1219" y="565"/>
                  </a:lnTo>
                  <a:lnTo>
                    <a:pt x="1218" y="566"/>
                  </a:lnTo>
                  <a:lnTo>
                    <a:pt x="1216" y="571"/>
                  </a:lnTo>
                  <a:lnTo>
                    <a:pt x="1216" y="572"/>
                  </a:lnTo>
                  <a:lnTo>
                    <a:pt x="1215" y="575"/>
                  </a:lnTo>
                  <a:lnTo>
                    <a:pt x="1213" y="577"/>
                  </a:lnTo>
                  <a:lnTo>
                    <a:pt x="1213" y="580"/>
                  </a:lnTo>
                  <a:lnTo>
                    <a:pt x="1210" y="580"/>
                  </a:lnTo>
                  <a:lnTo>
                    <a:pt x="1210" y="581"/>
                  </a:lnTo>
                  <a:lnTo>
                    <a:pt x="1209" y="584"/>
                  </a:lnTo>
                  <a:lnTo>
                    <a:pt x="1209" y="586"/>
                  </a:lnTo>
                  <a:lnTo>
                    <a:pt x="1206" y="587"/>
                  </a:lnTo>
                  <a:lnTo>
                    <a:pt x="1206" y="589"/>
                  </a:lnTo>
                  <a:lnTo>
                    <a:pt x="1204" y="590"/>
                  </a:lnTo>
                  <a:lnTo>
                    <a:pt x="1204" y="592"/>
                  </a:lnTo>
                  <a:lnTo>
                    <a:pt x="1203" y="592"/>
                  </a:lnTo>
                  <a:lnTo>
                    <a:pt x="1203" y="595"/>
                  </a:lnTo>
                  <a:lnTo>
                    <a:pt x="1201" y="596"/>
                  </a:lnTo>
                  <a:lnTo>
                    <a:pt x="1201" y="598"/>
                  </a:lnTo>
                  <a:lnTo>
                    <a:pt x="1200" y="599"/>
                  </a:lnTo>
                  <a:lnTo>
                    <a:pt x="1200" y="602"/>
                  </a:lnTo>
                  <a:lnTo>
                    <a:pt x="1197" y="608"/>
                  </a:lnTo>
                  <a:lnTo>
                    <a:pt x="1197" y="613"/>
                  </a:lnTo>
                  <a:lnTo>
                    <a:pt x="1195" y="613"/>
                  </a:lnTo>
                  <a:lnTo>
                    <a:pt x="1195" y="616"/>
                  </a:lnTo>
                  <a:lnTo>
                    <a:pt x="1194" y="619"/>
                  </a:lnTo>
                  <a:lnTo>
                    <a:pt x="1192" y="620"/>
                  </a:lnTo>
                  <a:lnTo>
                    <a:pt x="1192" y="623"/>
                  </a:lnTo>
                  <a:lnTo>
                    <a:pt x="1191" y="623"/>
                  </a:lnTo>
                  <a:lnTo>
                    <a:pt x="1189" y="622"/>
                  </a:lnTo>
                  <a:lnTo>
                    <a:pt x="1186" y="620"/>
                  </a:lnTo>
                  <a:lnTo>
                    <a:pt x="1185" y="620"/>
                  </a:lnTo>
                  <a:lnTo>
                    <a:pt x="1183" y="619"/>
                  </a:lnTo>
                  <a:lnTo>
                    <a:pt x="1177" y="619"/>
                  </a:lnTo>
                  <a:lnTo>
                    <a:pt x="1174" y="616"/>
                  </a:lnTo>
                  <a:lnTo>
                    <a:pt x="1167" y="616"/>
                  </a:lnTo>
                  <a:lnTo>
                    <a:pt x="1167" y="617"/>
                  </a:lnTo>
                  <a:lnTo>
                    <a:pt x="1161" y="617"/>
                  </a:lnTo>
                  <a:lnTo>
                    <a:pt x="1161" y="616"/>
                  </a:lnTo>
                  <a:lnTo>
                    <a:pt x="1159" y="614"/>
                  </a:lnTo>
                  <a:lnTo>
                    <a:pt x="1158" y="611"/>
                  </a:lnTo>
                  <a:lnTo>
                    <a:pt x="1155" y="611"/>
                  </a:lnTo>
                  <a:lnTo>
                    <a:pt x="1155" y="617"/>
                  </a:lnTo>
                  <a:lnTo>
                    <a:pt x="1156" y="619"/>
                  </a:lnTo>
                  <a:lnTo>
                    <a:pt x="1156" y="620"/>
                  </a:lnTo>
                  <a:lnTo>
                    <a:pt x="1158" y="622"/>
                  </a:lnTo>
                  <a:lnTo>
                    <a:pt x="1158" y="629"/>
                  </a:lnTo>
                  <a:lnTo>
                    <a:pt x="1159" y="629"/>
                  </a:lnTo>
                  <a:lnTo>
                    <a:pt x="1159" y="631"/>
                  </a:lnTo>
                  <a:lnTo>
                    <a:pt x="1161" y="631"/>
                  </a:lnTo>
                  <a:lnTo>
                    <a:pt x="1161" y="634"/>
                  </a:lnTo>
                  <a:lnTo>
                    <a:pt x="1159" y="643"/>
                  </a:lnTo>
                  <a:lnTo>
                    <a:pt x="1159" y="649"/>
                  </a:lnTo>
                  <a:lnTo>
                    <a:pt x="1158" y="650"/>
                  </a:lnTo>
                  <a:lnTo>
                    <a:pt x="1158" y="659"/>
                  </a:lnTo>
                  <a:lnTo>
                    <a:pt x="1156" y="664"/>
                  </a:lnTo>
                  <a:lnTo>
                    <a:pt x="1155" y="664"/>
                  </a:lnTo>
                  <a:lnTo>
                    <a:pt x="1155" y="665"/>
                  </a:lnTo>
                  <a:lnTo>
                    <a:pt x="1150" y="665"/>
                  </a:lnTo>
                  <a:lnTo>
                    <a:pt x="1150" y="664"/>
                  </a:lnTo>
                  <a:lnTo>
                    <a:pt x="1149" y="662"/>
                  </a:lnTo>
                  <a:lnTo>
                    <a:pt x="1147" y="664"/>
                  </a:lnTo>
                  <a:lnTo>
                    <a:pt x="1147" y="668"/>
                  </a:lnTo>
                  <a:lnTo>
                    <a:pt x="1149" y="670"/>
                  </a:lnTo>
                  <a:lnTo>
                    <a:pt x="1149" y="671"/>
                  </a:lnTo>
                  <a:lnTo>
                    <a:pt x="1146" y="674"/>
                  </a:lnTo>
                  <a:lnTo>
                    <a:pt x="1146" y="676"/>
                  </a:lnTo>
                  <a:lnTo>
                    <a:pt x="1144" y="677"/>
                  </a:lnTo>
                  <a:lnTo>
                    <a:pt x="1144" y="683"/>
                  </a:lnTo>
                  <a:lnTo>
                    <a:pt x="1146" y="685"/>
                  </a:lnTo>
                  <a:lnTo>
                    <a:pt x="1146" y="692"/>
                  </a:lnTo>
                  <a:lnTo>
                    <a:pt x="1147" y="694"/>
                  </a:lnTo>
                  <a:lnTo>
                    <a:pt x="1149" y="697"/>
                  </a:lnTo>
                  <a:lnTo>
                    <a:pt x="1149" y="703"/>
                  </a:lnTo>
                  <a:lnTo>
                    <a:pt x="1147" y="703"/>
                  </a:lnTo>
                  <a:lnTo>
                    <a:pt x="1146" y="704"/>
                  </a:lnTo>
                  <a:lnTo>
                    <a:pt x="1147" y="706"/>
                  </a:lnTo>
                  <a:lnTo>
                    <a:pt x="1141" y="706"/>
                  </a:lnTo>
                  <a:lnTo>
                    <a:pt x="1141" y="710"/>
                  </a:lnTo>
                  <a:lnTo>
                    <a:pt x="1140" y="710"/>
                  </a:lnTo>
                  <a:lnTo>
                    <a:pt x="1140" y="712"/>
                  </a:lnTo>
                  <a:lnTo>
                    <a:pt x="1138" y="713"/>
                  </a:lnTo>
                  <a:lnTo>
                    <a:pt x="1140" y="713"/>
                  </a:lnTo>
                  <a:lnTo>
                    <a:pt x="1140" y="716"/>
                  </a:lnTo>
                  <a:lnTo>
                    <a:pt x="1138" y="716"/>
                  </a:lnTo>
                  <a:lnTo>
                    <a:pt x="1138" y="715"/>
                  </a:lnTo>
                  <a:lnTo>
                    <a:pt x="1137" y="715"/>
                  </a:lnTo>
                  <a:lnTo>
                    <a:pt x="1135" y="716"/>
                  </a:lnTo>
                  <a:lnTo>
                    <a:pt x="1135" y="718"/>
                  </a:lnTo>
                  <a:lnTo>
                    <a:pt x="1134" y="716"/>
                  </a:lnTo>
                  <a:lnTo>
                    <a:pt x="1134" y="715"/>
                  </a:lnTo>
                  <a:lnTo>
                    <a:pt x="1132" y="713"/>
                  </a:lnTo>
                  <a:lnTo>
                    <a:pt x="1131" y="710"/>
                  </a:lnTo>
                  <a:lnTo>
                    <a:pt x="1128" y="707"/>
                  </a:lnTo>
                  <a:lnTo>
                    <a:pt x="1126" y="707"/>
                  </a:lnTo>
                  <a:lnTo>
                    <a:pt x="1126" y="709"/>
                  </a:lnTo>
                  <a:lnTo>
                    <a:pt x="1125" y="709"/>
                  </a:lnTo>
                  <a:lnTo>
                    <a:pt x="1126" y="710"/>
                  </a:lnTo>
                  <a:lnTo>
                    <a:pt x="1125" y="710"/>
                  </a:lnTo>
                  <a:lnTo>
                    <a:pt x="1125" y="715"/>
                  </a:lnTo>
                  <a:lnTo>
                    <a:pt x="1123" y="715"/>
                  </a:lnTo>
                  <a:lnTo>
                    <a:pt x="1122" y="716"/>
                  </a:lnTo>
                  <a:lnTo>
                    <a:pt x="1120" y="716"/>
                  </a:lnTo>
                  <a:lnTo>
                    <a:pt x="1120" y="712"/>
                  </a:lnTo>
                  <a:lnTo>
                    <a:pt x="1119" y="709"/>
                  </a:lnTo>
                  <a:lnTo>
                    <a:pt x="1120" y="709"/>
                  </a:lnTo>
                  <a:lnTo>
                    <a:pt x="1122" y="707"/>
                  </a:lnTo>
                  <a:lnTo>
                    <a:pt x="1119" y="691"/>
                  </a:lnTo>
                  <a:lnTo>
                    <a:pt x="1119" y="689"/>
                  </a:lnTo>
                  <a:lnTo>
                    <a:pt x="1117" y="688"/>
                  </a:lnTo>
                  <a:lnTo>
                    <a:pt x="1117" y="679"/>
                  </a:lnTo>
                  <a:lnTo>
                    <a:pt x="1116" y="679"/>
                  </a:lnTo>
                  <a:lnTo>
                    <a:pt x="1114" y="677"/>
                  </a:lnTo>
                  <a:lnTo>
                    <a:pt x="1114" y="673"/>
                  </a:lnTo>
                  <a:lnTo>
                    <a:pt x="1113" y="671"/>
                  </a:lnTo>
                  <a:lnTo>
                    <a:pt x="1111" y="671"/>
                  </a:lnTo>
                  <a:lnTo>
                    <a:pt x="1111" y="664"/>
                  </a:lnTo>
                  <a:lnTo>
                    <a:pt x="1110" y="658"/>
                  </a:lnTo>
                  <a:lnTo>
                    <a:pt x="1110" y="655"/>
                  </a:lnTo>
                  <a:lnTo>
                    <a:pt x="1111" y="653"/>
                  </a:lnTo>
                  <a:lnTo>
                    <a:pt x="1111" y="650"/>
                  </a:lnTo>
                  <a:lnTo>
                    <a:pt x="1110" y="650"/>
                  </a:lnTo>
                  <a:lnTo>
                    <a:pt x="1111" y="649"/>
                  </a:lnTo>
                  <a:lnTo>
                    <a:pt x="1110" y="647"/>
                  </a:lnTo>
                  <a:lnTo>
                    <a:pt x="1110" y="646"/>
                  </a:lnTo>
                  <a:lnTo>
                    <a:pt x="1108" y="644"/>
                  </a:lnTo>
                  <a:lnTo>
                    <a:pt x="1108" y="641"/>
                  </a:lnTo>
                  <a:lnTo>
                    <a:pt x="1107" y="635"/>
                  </a:lnTo>
                  <a:lnTo>
                    <a:pt x="1107" y="631"/>
                  </a:lnTo>
                  <a:lnTo>
                    <a:pt x="1105" y="631"/>
                  </a:lnTo>
                  <a:lnTo>
                    <a:pt x="1104" y="632"/>
                  </a:lnTo>
                  <a:lnTo>
                    <a:pt x="1104" y="634"/>
                  </a:lnTo>
                  <a:lnTo>
                    <a:pt x="1102" y="632"/>
                  </a:lnTo>
                  <a:lnTo>
                    <a:pt x="1102" y="631"/>
                  </a:lnTo>
                  <a:lnTo>
                    <a:pt x="1101" y="629"/>
                  </a:lnTo>
                  <a:lnTo>
                    <a:pt x="1099" y="629"/>
                  </a:lnTo>
                  <a:lnTo>
                    <a:pt x="1099" y="631"/>
                  </a:lnTo>
                  <a:lnTo>
                    <a:pt x="1096" y="634"/>
                  </a:lnTo>
                  <a:lnTo>
                    <a:pt x="1095" y="634"/>
                  </a:lnTo>
                  <a:lnTo>
                    <a:pt x="1093" y="631"/>
                  </a:lnTo>
                  <a:lnTo>
                    <a:pt x="1092" y="631"/>
                  </a:lnTo>
                  <a:lnTo>
                    <a:pt x="1092" y="629"/>
                  </a:lnTo>
                  <a:lnTo>
                    <a:pt x="1091" y="629"/>
                  </a:lnTo>
                  <a:lnTo>
                    <a:pt x="1091" y="634"/>
                  </a:lnTo>
                  <a:lnTo>
                    <a:pt x="1092" y="640"/>
                  </a:lnTo>
                  <a:lnTo>
                    <a:pt x="1092" y="641"/>
                  </a:lnTo>
                  <a:lnTo>
                    <a:pt x="1091" y="643"/>
                  </a:lnTo>
                  <a:lnTo>
                    <a:pt x="1091" y="644"/>
                  </a:lnTo>
                  <a:lnTo>
                    <a:pt x="1089" y="644"/>
                  </a:lnTo>
                  <a:lnTo>
                    <a:pt x="1088" y="646"/>
                  </a:lnTo>
                  <a:lnTo>
                    <a:pt x="1086" y="646"/>
                  </a:lnTo>
                  <a:lnTo>
                    <a:pt x="1085" y="647"/>
                  </a:lnTo>
                  <a:lnTo>
                    <a:pt x="1085" y="650"/>
                  </a:lnTo>
                  <a:lnTo>
                    <a:pt x="1083" y="652"/>
                  </a:lnTo>
                  <a:lnTo>
                    <a:pt x="1083" y="655"/>
                  </a:lnTo>
                  <a:lnTo>
                    <a:pt x="1085" y="656"/>
                  </a:lnTo>
                  <a:lnTo>
                    <a:pt x="1085" y="661"/>
                  </a:lnTo>
                  <a:lnTo>
                    <a:pt x="1086" y="661"/>
                  </a:lnTo>
                  <a:lnTo>
                    <a:pt x="1085" y="662"/>
                  </a:lnTo>
                  <a:lnTo>
                    <a:pt x="1083" y="662"/>
                  </a:lnTo>
                  <a:lnTo>
                    <a:pt x="1083" y="665"/>
                  </a:lnTo>
                  <a:lnTo>
                    <a:pt x="1082" y="665"/>
                  </a:lnTo>
                  <a:lnTo>
                    <a:pt x="1080" y="667"/>
                  </a:lnTo>
                  <a:lnTo>
                    <a:pt x="1077" y="667"/>
                  </a:lnTo>
                  <a:lnTo>
                    <a:pt x="1077" y="668"/>
                  </a:lnTo>
                  <a:lnTo>
                    <a:pt x="1076" y="668"/>
                  </a:lnTo>
                  <a:lnTo>
                    <a:pt x="1076" y="667"/>
                  </a:lnTo>
                  <a:lnTo>
                    <a:pt x="1074" y="667"/>
                  </a:lnTo>
                  <a:lnTo>
                    <a:pt x="1073" y="665"/>
                  </a:lnTo>
                  <a:lnTo>
                    <a:pt x="1073" y="664"/>
                  </a:lnTo>
                  <a:lnTo>
                    <a:pt x="1071" y="662"/>
                  </a:lnTo>
                  <a:lnTo>
                    <a:pt x="1071" y="658"/>
                  </a:lnTo>
                  <a:lnTo>
                    <a:pt x="1070" y="656"/>
                  </a:lnTo>
                  <a:lnTo>
                    <a:pt x="1070" y="655"/>
                  </a:lnTo>
                  <a:lnTo>
                    <a:pt x="1068" y="655"/>
                  </a:lnTo>
                  <a:lnTo>
                    <a:pt x="1068" y="653"/>
                  </a:lnTo>
                  <a:lnTo>
                    <a:pt x="1065" y="653"/>
                  </a:lnTo>
                  <a:lnTo>
                    <a:pt x="1065" y="656"/>
                  </a:lnTo>
                  <a:lnTo>
                    <a:pt x="1067" y="661"/>
                  </a:lnTo>
                  <a:lnTo>
                    <a:pt x="1067" y="662"/>
                  </a:lnTo>
                  <a:lnTo>
                    <a:pt x="1065" y="662"/>
                  </a:lnTo>
                  <a:lnTo>
                    <a:pt x="1062" y="659"/>
                  </a:lnTo>
                  <a:lnTo>
                    <a:pt x="1062" y="650"/>
                  </a:lnTo>
                  <a:lnTo>
                    <a:pt x="1061" y="650"/>
                  </a:lnTo>
                  <a:lnTo>
                    <a:pt x="1061" y="649"/>
                  </a:lnTo>
                  <a:lnTo>
                    <a:pt x="1062" y="649"/>
                  </a:lnTo>
                  <a:lnTo>
                    <a:pt x="1062" y="647"/>
                  </a:lnTo>
                  <a:lnTo>
                    <a:pt x="1061" y="647"/>
                  </a:lnTo>
                  <a:lnTo>
                    <a:pt x="1061" y="646"/>
                  </a:lnTo>
                  <a:lnTo>
                    <a:pt x="1059" y="644"/>
                  </a:lnTo>
                  <a:lnTo>
                    <a:pt x="1059" y="641"/>
                  </a:lnTo>
                  <a:lnTo>
                    <a:pt x="1058" y="641"/>
                  </a:lnTo>
                  <a:lnTo>
                    <a:pt x="1058" y="638"/>
                  </a:lnTo>
                  <a:lnTo>
                    <a:pt x="1056" y="638"/>
                  </a:lnTo>
                  <a:lnTo>
                    <a:pt x="1055" y="635"/>
                  </a:lnTo>
                  <a:lnTo>
                    <a:pt x="1055" y="634"/>
                  </a:lnTo>
                  <a:lnTo>
                    <a:pt x="1056" y="634"/>
                  </a:lnTo>
                  <a:lnTo>
                    <a:pt x="1058" y="632"/>
                  </a:lnTo>
                  <a:lnTo>
                    <a:pt x="1056" y="632"/>
                  </a:lnTo>
                  <a:lnTo>
                    <a:pt x="1056" y="631"/>
                  </a:lnTo>
                  <a:lnTo>
                    <a:pt x="1055" y="631"/>
                  </a:lnTo>
                  <a:lnTo>
                    <a:pt x="1055" y="629"/>
                  </a:lnTo>
                  <a:lnTo>
                    <a:pt x="1058" y="629"/>
                  </a:lnTo>
                  <a:lnTo>
                    <a:pt x="1058" y="628"/>
                  </a:lnTo>
                  <a:lnTo>
                    <a:pt x="1059" y="625"/>
                  </a:lnTo>
                  <a:lnTo>
                    <a:pt x="1059" y="620"/>
                  </a:lnTo>
                  <a:lnTo>
                    <a:pt x="1061" y="617"/>
                  </a:lnTo>
                  <a:lnTo>
                    <a:pt x="1062" y="616"/>
                  </a:lnTo>
                  <a:lnTo>
                    <a:pt x="1065" y="616"/>
                  </a:lnTo>
                  <a:lnTo>
                    <a:pt x="1065" y="611"/>
                  </a:lnTo>
                  <a:lnTo>
                    <a:pt x="1076" y="611"/>
                  </a:lnTo>
                  <a:lnTo>
                    <a:pt x="1077" y="610"/>
                  </a:lnTo>
                  <a:lnTo>
                    <a:pt x="1077" y="605"/>
                  </a:lnTo>
                  <a:lnTo>
                    <a:pt x="1079" y="605"/>
                  </a:lnTo>
                  <a:lnTo>
                    <a:pt x="1079" y="607"/>
                  </a:lnTo>
                  <a:lnTo>
                    <a:pt x="1080" y="608"/>
                  </a:lnTo>
                  <a:lnTo>
                    <a:pt x="1083" y="608"/>
                  </a:lnTo>
                  <a:lnTo>
                    <a:pt x="1083" y="607"/>
                  </a:lnTo>
                  <a:lnTo>
                    <a:pt x="1082" y="605"/>
                  </a:lnTo>
                  <a:lnTo>
                    <a:pt x="1083" y="604"/>
                  </a:lnTo>
                  <a:lnTo>
                    <a:pt x="1086" y="605"/>
                  </a:lnTo>
                  <a:lnTo>
                    <a:pt x="1086" y="607"/>
                  </a:lnTo>
                  <a:lnTo>
                    <a:pt x="1088" y="608"/>
                  </a:lnTo>
                  <a:lnTo>
                    <a:pt x="1089" y="608"/>
                  </a:lnTo>
                  <a:lnTo>
                    <a:pt x="1089" y="607"/>
                  </a:lnTo>
                  <a:lnTo>
                    <a:pt x="1091" y="602"/>
                  </a:lnTo>
                  <a:lnTo>
                    <a:pt x="1091" y="599"/>
                  </a:lnTo>
                  <a:lnTo>
                    <a:pt x="1093" y="599"/>
                  </a:lnTo>
                  <a:lnTo>
                    <a:pt x="1092" y="598"/>
                  </a:lnTo>
                  <a:lnTo>
                    <a:pt x="1098" y="598"/>
                  </a:lnTo>
                  <a:lnTo>
                    <a:pt x="1099" y="596"/>
                  </a:lnTo>
                  <a:lnTo>
                    <a:pt x="1099" y="590"/>
                  </a:lnTo>
                  <a:lnTo>
                    <a:pt x="1101" y="589"/>
                  </a:lnTo>
                  <a:lnTo>
                    <a:pt x="1102" y="589"/>
                  </a:lnTo>
                  <a:lnTo>
                    <a:pt x="1102" y="583"/>
                  </a:lnTo>
                  <a:lnTo>
                    <a:pt x="1105" y="577"/>
                  </a:lnTo>
                  <a:lnTo>
                    <a:pt x="1105" y="571"/>
                  </a:lnTo>
                  <a:lnTo>
                    <a:pt x="1108" y="571"/>
                  </a:lnTo>
                  <a:lnTo>
                    <a:pt x="1111" y="572"/>
                  </a:lnTo>
                  <a:lnTo>
                    <a:pt x="1111" y="574"/>
                  </a:lnTo>
                  <a:lnTo>
                    <a:pt x="1113" y="574"/>
                  </a:lnTo>
                  <a:lnTo>
                    <a:pt x="1114" y="572"/>
                  </a:lnTo>
                  <a:lnTo>
                    <a:pt x="1116" y="572"/>
                  </a:lnTo>
                  <a:lnTo>
                    <a:pt x="1117" y="571"/>
                  </a:lnTo>
                  <a:lnTo>
                    <a:pt x="1117" y="569"/>
                  </a:lnTo>
                  <a:lnTo>
                    <a:pt x="1116" y="569"/>
                  </a:lnTo>
                  <a:lnTo>
                    <a:pt x="1116" y="568"/>
                  </a:lnTo>
                  <a:lnTo>
                    <a:pt x="1114" y="568"/>
                  </a:lnTo>
                  <a:lnTo>
                    <a:pt x="1113" y="566"/>
                  </a:lnTo>
                  <a:lnTo>
                    <a:pt x="1113" y="565"/>
                  </a:lnTo>
                  <a:lnTo>
                    <a:pt x="1111" y="563"/>
                  </a:lnTo>
                  <a:lnTo>
                    <a:pt x="1110" y="563"/>
                  </a:lnTo>
                  <a:lnTo>
                    <a:pt x="1108" y="562"/>
                  </a:lnTo>
                  <a:lnTo>
                    <a:pt x="1105" y="562"/>
                  </a:lnTo>
                  <a:lnTo>
                    <a:pt x="1105" y="560"/>
                  </a:lnTo>
                  <a:lnTo>
                    <a:pt x="1104" y="560"/>
                  </a:lnTo>
                  <a:lnTo>
                    <a:pt x="1102" y="559"/>
                  </a:lnTo>
                  <a:lnTo>
                    <a:pt x="1099" y="559"/>
                  </a:lnTo>
                  <a:lnTo>
                    <a:pt x="1099" y="557"/>
                  </a:lnTo>
                  <a:lnTo>
                    <a:pt x="1098" y="557"/>
                  </a:lnTo>
                  <a:lnTo>
                    <a:pt x="1096" y="556"/>
                  </a:lnTo>
                  <a:lnTo>
                    <a:pt x="1095" y="556"/>
                  </a:lnTo>
                  <a:lnTo>
                    <a:pt x="1093" y="557"/>
                  </a:lnTo>
                  <a:lnTo>
                    <a:pt x="1082" y="557"/>
                  </a:lnTo>
                  <a:lnTo>
                    <a:pt x="1082" y="559"/>
                  </a:lnTo>
                  <a:lnTo>
                    <a:pt x="1080" y="557"/>
                  </a:lnTo>
                  <a:lnTo>
                    <a:pt x="1080" y="559"/>
                  </a:lnTo>
                  <a:lnTo>
                    <a:pt x="1076" y="559"/>
                  </a:lnTo>
                  <a:lnTo>
                    <a:pt x="1076" y="557"/>
                  </a:lnTo>
                  <a:lnTo>
                    <a:pt x="1074" y="557"/>
                  </a:lnTo>
                  <a:lnTo>
                    <a:pt x="1073" y="559"/>
                  </a:lnTo>
                  <a:lnTo>
                    <a:pt x="1068" y="559"/>
                  </a:lnTo>
                  <a:lnTo>
                    <a:pt x="1062" y="557"/>
                  </a:lnTo>
                  <a:lnTo>
                    <a:pt x="1059" y="556"/>
                  </a:lnTo>
                  <a:lnTo>
                    <a:pt x="1055" y="556"/>
                  </a:lnTo>
                  <a:lnTo>
                    <a:pt x="1047" y="557"/>
                  </a:lnTo>
                  <a:lnTo>
                    <a:pt x="1046" y="557"/>
                  </a:lnTo>
                  <a:lnTo>
                    <a:pt x="1041" y="559"/>
                  </a:lnTo>
                  <a:lnTo>
                    <a:pt x="1040" y="559"/>
                  </a:lnTo>
                  <a:lnTo>
                    <a:pt x="1038" y="557"/>
                  </a:lnTo>
                  <a:lnTo>
                    <a:pt x="1026" y="557"/>
                  </a:lnTo>
                  <a:lnTo>
                    <a:pt x="1022" y="559"/>
                  </a:lnTo>
                  <a:lnTo>
                    <a:pt x="1020" y="557"/>
                  </a:lnTo>
                  <a:lnTo>
                    <a:pt x="1016" y="556"/>
                  </a:lnTo>
                  <a:lnTo>
                    <a:pt x="1008" y="554"/>
                  </a:lnTo>
                  <a:lnTo>
                    <a:pt x="999" y="551"/>
                  </a:lnTo>
                  <a:lnTo>
                    <a:pt x="995" y="551"/>
                  </a:lnTo>
                  <a:lnTo>
                    <a:pt x="995" y="550"/>
                  </a:lnTo>
                  <a:lnTo>
                    <a:pt x="993" y="548"/>
                  </a:lnTo>
                  <a:lnTo>
                    <a:pt x="993" y="545"/>
                  </a:lnTo>
                  <a:lnTo>
                    <a:pt x="995" y="544"/>
                  </a:lnTo>
                  <a:lnTo>
                    <a:pt x="995" y="532"/>
                  </a:lnTo>
                  <a:lnTo>
                    <a:pt x="993" y="529"/>
                  </a:lnTo>
                  <a:lnTo>
                    <a:pt x="993" y="523"/>
                  </a:lnTo>
                  <a:lnTo>
                    <a:pt x="995" y="520"/>
                  </a:lnTo>
                  <a:lnTo>
                    <a:pt x="995" y="518"/>
                  </a:lnTo>
                  <a:lnTo>
                    <a:pt x="993" y="517"/>
                  </a:lnTo>
                  <a:lnTo>
                    <a:pt x="995" y="517"/>
                  </a:lnTo>
                  <a:lnTo>
                    <a:pt x="995" y="515"/>
                  </a:lnTo>
                  <a:lnTo>
                    <a:pt x="993" y="515"/>
                  </a:lnTo>
                  <a:lnTo>
                    <a:pt x="993" y="514"/>
                  </a:lnTo>
                  <a:lnTo>
                    <a:pt x="992" y="514"/>
                  </a:lnTo>
                  <a:lnTo>
                    <a:pt x="992" y="511"/>
                  </a:lnTo>
                  <a:lnTo>
                    <a:pt x="990" y="509"/>
                  </a:lnTo>
                  <a:lnTo>
                    <a:pt x="990" y="508"/>
                  </a:lnTo>
                  <a:lnTo>
                    <a:pt x="989" y="506"/>
                  </a:lnTo>
                  <a:lnTo>
                    <a:pt x="989" y="508"/>
                  </a:lnTo>
                  <a:lnTo>
                    <a:pt x="987" y="506"/>
                  </a:lnTo>
                  <a:lnTo>
                    <a:pt x="987" y="503"/>
                  </a:lnTo>
                  <a:lnTo>
                    <a:pt x="986" y="503"/>
                  </a:lnTo>
                  <a:lnTo>
                    <a:pt x="984" y="505"/>
                  </a:lnTo>
                  <a:lnTo>
                    <a:pt x="984" y="506"/>
                  </a:lnTo>
                  <a:lnTo>
                    <a:pt x="983" y="506"/>
                  </a:lnTo>
                  <a:lnTo>
                    <a:pt x="983" y="508"/>
                  </a:lnTo>
                  <a:lnTo>
                    <a:pt x="984" y="509"/>
                  </a:lnTo>
                  <a:lnTo>
                    <a:pt x="983" y="509"/>
                  </a:lnTo>
                  <a:lnTo>
                    <a:pt x="983" y="511"/>
                  </a:lnTo>
                  <a:lnTo>
                    <a:pt x="986" y="511"/>
                  </a:lnTo>
                  <a:lnTo>
                    <a:pt x="983" y="514"/>
                  </a:lnTo>
                  <a:lnTo>
                    <a:pt x="983" y="517"/>
                  </a:lnTo>
                  <a:lnTo>
                    <a:pt x="980" y="517"/>
                  </a:lnTo>
                  <a:lnTo>
                    <a:pt x="980" y="515"/>
                  </a:lnTo>
                  <a:lnTo>
                    <a:pt x="975" y="515"/>
                  </a:lnTo>
                  <a:lnTo>
                    <a:pt x="975" y="514"/>
                  </a:lnTo>
                  <a:lnTo>
                    <a:pt x="974" y="514"/>
                  </a:lnTo>
                  <a:lnTo>
                    <a:pt x="974" y="515"/>
                  </a:lnTo>
                  <a:lnTo>
                    <a:pt x="972" y="515"/>
                  </a:lnTo>
                  <a:lnTo>
                    <a:pt x="969" y="512"/>
                  </a:lnTo>
                  <a:lnTo>
                    <a:pt x="968" y="512"/>
                  </a:lnTo>
                  <a:lnTo>
                    <a:pt x="968" y="511"/>
                  </a:lnTo>
                  <a:lnTo>
                    <a:pt x="966" y="509"/>
                  </a:lnTo>
                  <a:lnTo>
                    <a:pt x="963" y="508"/>
                  </a:lnTo>
                  <a:lnTo>
                    <a:pt x="962" y="508"/>
                  </a:lnTo>
                  <a:lnTo>
                    <a:pt x="962" y="503"/>
                  </a:lnTo>
                  <a:lnTo>
                    <a:pt x="960" y="502"/>
                  </a:lnTo>
                  <a:lnTo>
                    <a:pt x="960" y="499"/>
                  </a:lnTo>
                  <a:lnTo>
                    <a:pt x="962" y="499"/>
                  </a:lnTo>
                  <a:lnTo>
                    <a:pt x="962" y="498"/>
                  </a:lnTo>
                  <a:lnTo>
                    <a:pt x="959" y="498"/>
                  </a:lnTo>
                  <a:lnTo>
                    <a:pt x="960" y="496"/>
                  </a:lnTo>
                  <a:lnTo>
                    <a:pt x="957" y="496"/>
                  </a:lnTo>
                  <a:lnTo>
                    <a:pt x="957" y="495"/>
                  </a:lnTo>
                  <a:lnTo>
                    <a:pt x="956" y="495"/>
                  </a:lnTo>
                  <a:lnTo>
                    <a:pt x="956" y="493"/>
                  </a:lnTo>
                  <a:lnTo>
                    <a:pt x="953" y="493"/>
                  </a:lnTo>
                  <a:lnTo>
                    <a:pt x="953" y="495"/>
                  </a:lnTo>
                  <a:lnTo>
                    <a:pt x="951" y="496"/>
                  </a:lnTo>
                  <a:lnTo>
                    <a:pt x="953" y="498"/>
                  </a:lnTo>
                  <a:lnTo>
                    <a:pt x="954" y="498"/>
                  </a:lnTo>
                  <a:lnTo>
                    <a:pt x="956" y="499"/>
                  </a:lnTo>
                  <a:lnTo>
                    <a:pt x="956" y="500"/>
                  </a:lnTo>
                  <a:lnTo>
                    <a:pt x="957" y="500"/>
                  </a:lnTo>
                  <a:lnTo>
                    <a:pt x="957" y="502"/>
                  </a:lnTo>
                  <a:lnTo>
                    <a:pt x="959" y="502"/>
                  </a:lnTo>
                  <a:lnTo>
                    <a:pt x="957" y="503"/>
                  </a:lnTo>
                  <a:lnTo>
                    <a:pt x="954" y="503"/>
                  </a:lnTo>
                  <a:lnTo>
                    <a:pt x="953" y="500"/>
                  </a:lnTo>
                  <a:lnTo>
                    <a:pt x="951" y="500"/>
                  </a:lnTo>
                  <a:lnTo>
                    <a:pt x="950" y="502"/>
                  </a:lnTo>
                  <a:lnTo>
                    <a:pt x="950" y="503"/>
                  </a:lnTo>
                  <a:lnTo>
                    <a:pt x="948" y="503"/>
                  </a:lnTo>
                  <a:lnTo>
                    <a:pt x="948" y="502"/>
                  </a:lnTo>
                  <a:lnTo>
                    <a:pt x="947" y="502"/>
                  </a:lnTo>
                  <a:lnTo>
                    <a:pt x="947" y="500"/>
                  </a:lnTo>
                  <a:lnTo>
                    <a:pt x="945" y="500"/>
                  </a:lnTo>
                  <a:lnTo>
                    <a:pt x="941" y="502"/>
                  </a:lnTo>
                  <a:lnTo>
                    <a:pt x="941" y="500"/>
                  </a:lnTo>
                  <a:lnTo>
                    <a:pt x="942" y="500"/>
                  </a:lnTo>
                  <a:lnTo>
                    <a:pt x="944" y="499"/>
                  </a:lnTo>
                  <a:lnTo>
                    <a:pt x="944" y="498"/>
                  </a:lnTo>
                  <a:lnTo>
                    <a:pt x="942" y="498"/>
                  </a:lnTo>
                  <a:lnTo>
                    <a:pt x="942" y="496"/>
                  </a:lnTo>
                  <a:lnTo>
                    <a:pt x="941" y="495"/>
                  </a:lnTo>
                  <a:lnTo>
                    <a:pt x="941" y="493"/>
                  </a:lnTo>
                  <a:lnTo>
                    <a:pt x="939" y="493"/>
                  </a:lnTo>
                  <a:lnTo>
                    <a:pt x="938" y="492"/>
                  </a:lnTo>
                  <a:lnTo>
                    <a:pt x="935" y="492"/>
                  </a:lnTo>
                  <a:lnTo>
                    <a:pt x="935" y="490"/>
                  </a:lnTo>
                  <a:lnTo>
                    <a:pt x="933" y="490"/>
                  </a:lnTo>
                  <a:lnTo>
                    <a:pt x="933" y="489"/>
                  </a:lnTo>
                  <a:lnTo>
                    <a:pt x="932" y="489"/>
                  </a:lnTo>
                  <a:lnTo>
                    <a:pt x="932" y="487"/>
                  </a:lnTo>
                  <a:lnTo>
                    <a:pt x="929" y="487"/>
                  </a:lnTo>
                  <a:lnTo>
                    <a:pt x="929" y="484"/>
                  </a:lnTo>
                  <a:lnTo>
                    <a:pt x="928" y="486"/>
                  </a:lnTo>
                  <a:lnTo>
                    <a:pt x="926" y="489"/>
                  </a:lnTo>
                  <a:lnTo>
                    <a:pt x="926" y="492"/>
                  </a:lnTo>
                  <a:lnTo>
                    <a:pt x="928" y="492"/>
                  </a:lnTo>
                  <a:lnTo>
                    <a:pt x="928" y="490"/>
                  </a:lnTo>
                  <a:lnTo>
                    <a:pt x="929" y="492"/>
                  </a:lnTo>
                  <a:lnTo>
                    <a:pt x="932" y="492"/>
                  </a:lnTo>
                  <a:lnTo>
                    <a:pt x="933" y="493"/>
                  </a:lnTo>
                  <a:lnTo>
                    <a:pt x="933" y="498"/>
                  </a:lnTo>
                  <a:lnTo>
                    <a:pt x="932" y="498"/>
                  </a:lnTo>
                  <a:lnTo>
                    <a:pt x="931" y="496"/>
                  </a:lnTo>
                  <a:lnTo>
                    <a:pt x="931" y="498"/>
                  </a:lnTo>
                  <a:lnTo>
                    <a:pt x="928" y="499"/>
                  </a:lnTo>
                  <a:lnTo>
                    <a:pt x="926" y="500"/>
                  </a:lnTo>
                  <a:lnTo>
                    <a:pt x="926" y="505"/>
                  </a:lnTo>
                  <a:lnTo>
                    <a:pt x="922" y="505"/>
                  </a:lnTo>
                  <a:lnTo>
                    <a:pt x="922" y="506"/>
                  </a:lnTo>
                  <a:lnTo>
                    <a:pt x="920" y="506"/>
                  </a:lnTo>
                  <a:lnTo>
                    <a:pt x="919" y="508"/>
                  </a:lnTo>
                  <a:lnTo>
                    <a:pt x="919" y="509"/>
                  </a:lnTo>
                  <a:lnTo>
                    <a:pt x="917" y="511"/>
                  </a:lnTo>
                  <a:lnTo>
                    <a:pt x="919" y="511"/>
                  </a:lnTo>
                  <a:lnTo>
                    <a:pt x="919" y="514"/>
                  </a:lnTo>
                  <a:lnTo>
                    <a:pt x="917" y="514"/>
                  </a:lnTo>
                  <a:lnTo>
                    <a:pt x="916" y="515"/>
                  </a:lnTo>
                  <a:lnTo>
                    <a:pt x="916" y="520"/>
                  </a:lnTo>
                  <a:lnTo>
                    <a:pt x="914" y="520"/>
                  </a:lnTo>
                  <a:lnTo>
                    <a:pt x="916" y="521"/>
                  </a:lnTo>
                  <a:lnTo>
                    <a:pt x="916" y="524"/>
                  </a:lnTo>
                  <a:lnTo>
                    <a:pt x="917" y="526"/>
                  </a:lnTo>
                  <a:lnTo>
                    <a:pt x="920" y="526"/>
                  </a:lnTo>
                  <a:lnTo>
                    <a:pt x="922" y="524"/>
                  </a:lnTo>
                  <a:lnTo>
                    <a:pt x="929" y="532"/>
                  </a:lnTo>
                  <a:lnTo>
                    <a:pt x="931" y="532"/>
                  </a:lnTo>
                  <a:lnTo>
                    <a:pt x="931" y="536"/>
                  </a:lnTo>
                  <a:lnTo>
                    <a:pt x="932" y="536"/>
                  </a:lnTo>
                  <a:lnTo>
                    <a:pt x="935" y="539"/>
                  </a:lnTo>
                  <a:lnTo>
                    <a:pt x="935" y="541"/>
                  </a:lnTo>
                  <a:lnTo>
                    <a:pt x="939" y="541"/>
                  </a:lnTo>
                  <a:lnTo>
                    <a:pt x="941" y="542"/>
                  </a:lnTo>
                  <a:lnTo>
                    <a:pt x="942" y="542"/>
                  </a:lnTo>
                  <a:lnTo>
                    <a:pt x="942" y="541"/>
                  </a:lnTo>
                  <a:lnTo>
                    <a:pt x="945" y="541"/>
                  </a:lnTo>
                  <a:lnTo>
                    <a:pt x="945" y="539"/>
                  </a:lnTo>
                  <a:lnTo>
                    <a:pt x="948" y="542"/>
                  </a:lnTo>
                  <a:lnTo>
                    <a:pt x="948" y="547"/>
                  </a:lnTo>
                  <a:lnTo>
                    <a:pt x="950" y="548"/>
                  </a:lnTo>
                  <a:lnTo>
                    <a:pt x="950" y="550"/>
                  </a:lnTo>
                  <a:lnTo>
                    <a:pt x="956" y="550"/>
                  </a:lnTo>
                  <a:lnTo>
                    <a:pt x="956" y="553"/>
                  </a:lnTo>
                  <a:lnTo>
                    <a:pt x="954" y="553"/>
                  </a:lnTo>
                  <a:lnTo>
                    <a:pt x="954" y="556"/>
                  </a:lnTo>
                  <a:lnTo>
                    <a:pt x="953" y="556"/>
                  </a:lnTo>
                  <a:lnTo>
                    <a:pt x="953" y="557"/>
                  </a:lnTo>
                  <a:lnTo>
                    <a:pt x="950" y="556"/>
                  </a:lnTo>
                  <a:lnTo>
                    <a:pt x="948" y="556"/>
                  </a:lnTo>
                  <a:lnTo>
                    <a:pt x="947" y="557"/>
                  </a:lnTo>
                  <a:lnTo>
                    <a:pt x="944" y="557"/>
                  </a:lnTo>
                  <a:lnTo>
                    <a:pt x="941" y="556"/>
                  </a:lnTo>
                  <a:lnTo>
                    <a:pt x="938" y="556"/>
                  </a:lnTo>
                  <a:lnTo>
                    <a:pt x="938" y="557"/>
                  </a:lnTo>
                  <a:lnTo>
                    <a:pt x="936" y="557"/>
                  </a:lnTo>
                  <a:lnTo>
                    <a:pt x="935" y="556"/>
                  </a:lnTo>
                  <a:lnTo>
                    <a:pt x="932" y="556"/>
                  </a:lnTo>
                  <a:lnTo>
                    <a:pt x="931" y="557"/>
                  </a:lnTo>
                  <a:lnTo>
                    <a:pt x="931" y="565"/>
                  </a:lnTo>
                  <a:lnTo>
                    <a:pt x="929" y="566"/>
                  </a:lnTo>
                  <a:lnTo>
                    <a:pt x="929" y="568"/>
                  </a:lnTo>
                  <a:lnTo>
                    <a:pt x="928" y="571"/>
                  </a:lnTo>
                  <a:lnTo>
                    <a:pt x="926" y="572"/>
                  </a:lnTo>
                  <a:lnTo>
                    <a:pt x="923" y="572"/>
                  </a:lnTo>
                  <a:lnTo>
                    <a:pt x="923" y="571"/>
                  </a:lnTo>
                  <a:lnTo>
                    <a:pt x="920" y="568"/>
                  </a:lnTo>
                  <a:lnTo>
                    <a:pt x="919" y="569"/>
                  </a:lnTo>
                  <a:lnTo>
                    <a:pt x="917" y="569"/>
                  </a:lnTo>
                  <a:lnTo>
                    <a:pt x="917" y="575"/>
                  </a:lnTo>
                  <a:lnTo>
                    <a:pt x="916" y="575"/>
                  </a:lnTo>
                  <a:lnTo>
                    <a:pt x="916" y="577"/>
                  </a:lnTo>
                  <a:lnTo>
                    <a:pt x="914" y="578"/>
                  </a:lnTo>
                  <a:lnTo>
                    <a:pt x="914" y="580"/>
                  </a:lnTo>
                  <a:lnTo>
                    <a:pt x="913" y="581"/>
                  </a:lnTo>
                  <a:lnTo>
                    <a:pt x="913" y="584"/>
                  </a:lnTo>
                  <a:lnTo>
                    <a:pt x="914" y="584"/>
                  </a:lnTo>
                  <a:lnTo>
                    <a:pt x="914" y="586"/>
                  </a:lnTo>
                  <a:lnTo>
                    <a:pt x="916" y="586"/>
                  </a:lnTo>
                  <a:lnTo>
                    <a:pt x="916" y="590"/>
                  </a:lnTo>
                  <a:lnTo>
                    <a:pt x="917" y="590"/>
                  </a:lnTo>
                  <a:lnTo>
                    <a:pt x="929" y="598"/>
                  </a:lnTo>
                  <a:lnTo>
                    <a:pt x="933" y="601"/>
                  </a:lnTo>
                  <a:lnTo>
                    <a:pt x="941" y="601"/>
                  </a:lnTo>
                  <a:lnTo>
                    <a:pt x="941" y="599"/>
                  </a:lnTo>
                  <a:lnTo>
                    <a:pt x="942" y="599"/>
                  </a:lnTo>
                  <a:lnTo>
                    <a:pt x="944" y="601"/>
                  </a:lnTo>
                  <a:lnTo>
                    <a:pt x="945" y="601"/>
                  </a:lnTo>
                  <a:lnTo>
                    <a:pt x="945" y="607"/>
                  </a:lnTo>
                  <a:lnTo>
                    <a:pt x="942" y="607"/>
                  </a:lnTo>
                  <a:lnTo>
                    <a:pt x="942" y="613"/>
                  </a:lnTo>
                  <a:lnTo>
                    <a:pt x="944" y="613"/>
                  </a:lnTo>
                  <a:lnTo>
                    <a:pt x="944" y="620"/>
                  </a:lnTo>
                  <a:lnTo>
                    <a:pt x="942" y="622"/>
                  </a:lnTo>
                  <a:lnTo>
                    <a:pt x="941" y="622"/>
                  </a:lnTo>
                  <a:lnTo>
                    <a:pt x="941" y="623"/>
                  </a:lnTo>
                  <a:lnTo>
                    <a:pt x="939" y="622"/>
                  </a:lnTo>
                  <a:lnTo>
                    <a:pt x="938" y="623"/>
                  </a:lnTo>
                  <a:lnTo>
                    <a:pt x="938" y="626"/>
                  </a:lnTo>
                  <a:lnTo>
                    <a:pt x="936" y="626"/>
                  </a:lnTo>
                  <a:lnTo>
                    <a:pt x="936" y="635"/>
                  </a:lnTo>
                  <a:lnTo>
                    <a:pt x="938" y="637"/>
                  </a:lnTo>
                  <a:lnTo>
                    <a:pt x="939" y="637"/>
                  </a:lnTo>
                  <a:lnTo>
                    <a:pt x="941" y="640"/>
                  </a:lnTo>
                  <a:lnTo>
                    <a:pt x="942" y="641"/>
                  </a:lnTo>
                  <a:lnTo>
                    <a:pt x="944" y="641"/>
                  </a:lnTo>
                  <a:lnTo>
                    <a:pt x="944" y="643"/>
                  </a:lnTo>
                  <a:lnTo>
                    <a:pt x="945" y="643"/>
                  </a:lnTo>
                  <a:lnTo>
                    <a:pt x="945" y="641"/>
                  </a:lnTo>
                  <a:lnTo>
                    <a:pt x="947" y="641"/>
                  </a:lnTo>
                  <a:lnTo>
                    <a:pt x="947" y="643"/>
                  </a:lnTo>
                  <a:lnTo>
                    <a:pt x="944" y="649"/>
                  </a:lnTo>
                  <a:lnTo>
                    <a:pt x="942" y="650"/>
                  </a:lnTo>
                  <a:lnTo>
                    <a:pt x="942" y="653"/>
                  </a:lnTo>
                  <a:lnTo>
                    <a:pt x="944" y="653"/>
                  </a:lnTo>
                  <a:lnTo>
                    <a:pt x="947" y="655"/>
                  </a:lnTo>
                  <a:lnTo>
                    <a:pt x="948" y="655"/>
                  </a:lnTo>
                  <a:lnTo>
                    <a:pt x="948" y="653"/>
                  </a:lnTo>
                  <a:lnTo>
                    <a:pt x="950" y="655"/>
                  </a:lnTo>
                  <a:lnTo>
                    <a:pt x="954" y="655"/>
                  </a:lnTo>
                  <a:lnTo>
                    <a:pt x="956" y="656"/>
                  </a:lnTo>
                  <a:lnTo>
                    <a:pt x="954" y="656"/>
                  </a:lnTo>
                  <a:lnTo>
                    <a:pt x="954" y="658"/>
                  </a:lnTo>
                  <a:lnTo>
                    <a:pt x="953" y="658"/>
                  </a:lnTo>
                  <a:lnTo>
                    <a:pt x="951" y="661"/>
                  </a:lnTo>
                  <a:lnTo>
                    <a:pt x="950" y="662"/>
                  </a:lnTo>
                  <a:lnTo>
                    <a:pt x="950" y="668"/>
                  </a:lnTo>
                  <a:lnTo>
                    <a:pt x="951" y="668"/>
                  </a:lnTo>
                  <a:lnTo>
                    <a:pt x="951" y="670"/>
                  </a:lnTo>
                  <a:lnTo>
                    <a:pt x="953" y="671"/>
                  </a:lnTo>
                  <a:lnTo>
                    <a:pt x="953" y="673"/>
                  </a:lnTo>
                  <a:lnTo>
                    <a:pt x="954" y="673"/>
                  </a:lnTo>
                  <a:lnTo>
                    <a:pt x="954" y="677"/>
                  </a:lnTo>
                  <a:lnTo>
                    <a:pt x="953" y="677"/>
                  </a:lnTo>
                  <a:lnTo>
                    <a:pt x="953" y="680"/>
                  </a:lnTo>
                  <a:lnTo>
                    <a:pt x="954" y="682"/>
                  </a:lnTo>
                  <a:lnTo>
                    <a:pt x="954" y="688"/>
                  </a:lnTo>
                  <a:lnTo>
                    <a:pt x="956" y="689"/>
                  </a:lnTo>
                  <a:lnTo>
                    <a:pt x="956" y="691"/>
                  </a:lnTo>
                  <a:lnTo>
                    <a:pt x="957" y="692"/>
                  </a:lnTo>
                  <a:lnTo>
                    <a:pt x="957" y="695"/>
                  </a:lnTo>
                  <a:lnTo>
                    <a:pt x="956" y="695"/>
                  </a:lnTo>
                  <a:lnTo>
                    <a:pt x="956" y="697"/>
                  </a:lnTo>
                  <a:lnTo>
                    <a:pt x="957" y="698"/>
                  </a:lnTo>
                  <a:lnTo>
                    <a:pt x="957" y="703"/>
                  </a:lnTo>
                  <a:lnTo>
                    <a:pt x="960" y="704"/>
                  </a:lnTo>
                  <a:lnTo>
                    <a:pt x="960" y="709"/>
                  </a:lnTo>
                  <a:lnTo>
                    <a:pt x="959" y="709"/>
                  </a:lnTo>
                  <a:lnTo>
                    <a:pt x="959" y="713"/>
                  </a:lnTo>
                  <a:lnTo>
                    <a:pt x="960" y="713"/>
                  </a:lnTo>
                  <a:lnTo>
                    <a:pt x="960" y="718"/>
                  </a:lnTo>
                  <a:lnTo>
                    <a:pt x="959" y="719"/>
                  </a:lnTo>
                  <a:lnTo>
                    <a:pt x="956" y="719"/>
                  </a:lnTo>
                  <a:lnTo>
                    <a:pt x="954" y="718"/>
                  </a:lnTo>
                  <a:lnTo>
                    <a:pt x="954" y="716"/>
                  </a:lnTo>
                  <a:lnTo>
                    <a:pt x="953" y="716"/>
                  </a:lnTo>
                  <a:lnTo>
                    <a:pt x="953" y="719"/>
                  </a:lnTo>
                  <a:lnTo>
                    <a:pt x="956" y="719"/>
                  </a:lnTo>
                  <a:lnTo>
                    <a:pt x="957" y="721"/>
                  </a:lnTo>
                  <a:lnTo>
                    <a:pt x="957" y="722"/>
                  </a:lnTo>
                  <a:lnTo>
                    <a:pt x="959" y="727"/>
                  </a:lnTo>
                  <a:lnTo>
                    <a:pt x="959" y="728"/>
                  </a:lnTo>
                  <a:lnTo>
                    <a:pt x="960" y="730"/>
                  </a:lnTo>
                  <a:lnTo>
                    <a:pt x="960" y="734"/>
                  </a:lnTo>
                  <a:lnTo>
                    <a:pt x="956" y="734"/>
                  </a:lnTo>
                  <a:lnTo>
                    <a:pt x="954" y="733"/>
                  </a:lnTo>
                  <a:lnTo>
                    <a:pt x="951" y="733"/>
                  </a:lnTo>
                  <a:lnTo>
                    <a:pt x="951" y="727"/>
                  </a:lnTo>
                  <a:lnTo>
                    <a:pt x="950" y="727"/>
                  </a:lnTo>
                  <a:lnTo>
                    <a:pt x="950" y="734"/>
                  </a:lnTo>
                  <a:lnTo>
                    <a:pt x="948" y="734"/>
                  </a:lnTo>
                  <a:lnTo>
                    <a:pt x="948" y="731"/>
                  </a:lnTo>
                  <a:lnTo>
                    <a:pt x="947" y="733"/>
                  </a:lnTo>
                  <a:lnTo>
                    <a:pt x="947" y="736"/>
                  </a:lnTo>
                  <a:lnTo>
                    <a:pt x="948" y="736"/>
                  </a:lnTo>
                  <a:lnTo>
                    <a:pt x="947" y="737"/>
                  </a:lnTo>
                  <a:lnTo>
                    <a:pt x="944" y="737"/>
                  </a:lnTo>
                  <a:lnTo>
                    <a:pt x="944" y="734"/>
                  </a:lnTo>
                  <a:lnTo>
                    <a:pt x="942" y="731"/>
                  </a:lnTo>
                  <a:lnTo>
                    <a:pt x="942" y="730"/>
                  </a:lnTo>
                  <a:lnTo>
                    <a:pt x="944" y="725"/>
                  </a:lnTo>
                  <a:lnTo>
                    <a:pt x="944" y="724"/>
                  </a:lnTo>
                  <a:lnTo>
                    <a:pt x="942" y="724"/>
                  </a:lnTo>
                  <a:lnTo>
                    <a:pt x="944" y="721"/>
                  </a:lnTo>
                  <a:lnTo>
                    <a:pt x="944" y="718"/>
                  </a:lnTo>
                  <a:lnTo>
                    <a:pt x="939" y="718"/>
                  </a:lnTo>
                  <a:lnTo>
                    <a:pt x="939" y="716"/>
                  </a:lnTo>
                  <a:lnTo>
                    <a:pt x="941" y="715"/>
                  </a:lnTo>
                  <a:lnTo>
                    <a:pt x="941" y="709"/>
                  </a:lnTo>
                  <a:lnTo>
                    <a:pt x="939" y="709"/>
                  </a:lnTo>
                  <a:lnTo>
                    <a:pt x="939" y="715"/>
                  </a:lnTo>
                  <a:lnTo>
                    <a:pt x="938" y="716"/>
                  </a:lnTo>
                  <a:lnTo>
                    <a:pt x="939" y="718"/>
                  </a:lnTo>
                  <a:lnTo>
                    <a:pt x="938" y="719"/>
                  </a:lnTo>
                  <a:lnTo>
                    <a:pt x="936" y="722"/>
                  </a:lnTo>
                  <a:lnTo>
                    <a:pt x="936" y="727"/>
                  </a:lnTo>
                  <a:lnTo>
                    <a:pt x="939" y="727"/>
                  </a:lnTo>
                  <a:lnTo>
                    <a:pt x="941" y="728"/>
                  </a:lnTo>
                  <a:lnTo>
                    <a:pt x="939" y="728"/>
                  </a:lnTo>
                  <a:lnTo>
                    <a:pt x="939" y="730"/>
                  </a:lnTo>
                  <a:lnTo>
                    <a:pt x="938" y="730"/>
                  </a:lnTo>
                  <a:lnTo>
                    <a:pt x="938" y="737"/>
                  </a:lnTo>
                  <a:lnTo>
                    <a:pt x="936" y="737"/>
                  </a:lnTo>
                  <a:lnTo>
                    <a:pt x="936" y="736"/>
                  </a:lnTo>
                  <a:lnTo>
                    <a:pt x="935" y="737"/>
                  </a:lnTo>
                  <a:lnTo>
                    <a:pt x="936" y="739"/>
                  </a:lnTo>
                  <a:lnTo>
                    <a:pt x="933" y="739"/>
                  </a:lnTo>
                  <a:lnTo>
                    <a:pt x="933" y="736"/>
                  </a:lnTo>
                  <a:lnTo>
                    <a:pt x="935" y="736"/>
                  </a:lnTo>
                  <a:lnTo>
                    <a:pt x="935" y="722"/>
                  </a:lnTo>
                  <a:lnTo>
                    <a:pt x="933" y="721"/>
                  </a:lnTo>
                  <a:lnTo>
                    <a:pt x="935" y="719"/>
                  </a:lnTo>
                  <a:lnTo>
                    <a:pt x="935" y="718"/>
                  </a:lnTo>
                  <a:lnTo>
                    <a:pt x="933" y="718"/>
                  </a:lnTo>
                  <a:lnTo>
                    <a:pt x="933" y="725"/>
                  </a:lnTo>
                  <a:lnTo>
                    <a:pt x="932" y="727"/>
                  </a:lnTo>
                  <a:lnTo>
                    <a:pt x="932" y="731"/>
                  </a:lnTo>
                  <a:lnTo>
                    <a:pt x="933" y="731"/>
                  </a:lnTo>
                  <a:lnTo>
                    <a:pt x="932" y="733"/>
                  </a:lnTo>
                  <a:lnTo>
                    <a:pt x="932" y="734"/>
                  </a:lnTo>
                  <a:lnTo>
                    <a:pt x="931" y="734"/>
                  </a:lnTo>
                  <a:lnTo>
                    <a:pt x="931" y="736"/>
                  </a:lnTo>
                  <a:lnTo>
                    <a:pt x="929" y="734"/>
                  </a:lnTo>
                  <a:lnTo>
                    <a:pt x="929" y="730"/>
                  </a:lnTo>
                  <a:lnTo>
                    <a:pt x="928" y="731"/>
                  </a:lnTo>
                  <a:lnTo>
                    <a:pt x="928" y="730"/>
                  </a:lnTo>
                  <a:lnTo>
                    <a:pt x="926" y="730"/>
                  </a:lnTo>
                  <a:lnTo>
                    <a:pt x="926" y="731"/>
                  </a:lnTo>
                  <a:lnTo>
                    <a:pt x="928" y="731"/>
                  </a:lnTo>
                  <a:lnTo>
                    <a:pt x="928" y="733"/>
                  </a:lnTo>
                  <a:lnTo>
                    <a:pt x="926" y="734"/>
                  </a:lnTo>
                  <a:lnTo>
                    <a:pt x="925" y="733"/>
                  </a:lnTo>
                  <a:lnTo>
                    <a:pt x="925" y="737"/>
                  </a:lnTo>
                  <a:lnTo>
                    <a:pt x="923" y="737"/>
                  </a:lnTo>
                  <a:lnTo>
                    <a:pt x="923" y="736"/>
                  </a:lnTo>
                  <a:lnTo>
                    <a:pt x="922" y="734"/>
                  </a:lnTo>
                  <a:lnTo>
                    <a:pt x="920" y="734"/>
                  </a:lnTo>
                  <a:lnTo>
                    <a:pt x="920" y="728"/>
                  </a:lnTo>
                  <a:lnTo>
                    <a:pt x="922" y="728"/>
                  </a:lnTo>
                  <a:lnTo>
                    <a:pt x="920" y="727"/>
                  </a:lnTo>
                  <a:lnTo>
                    <a:pt x="922" y="725"/>
                  </a:lnTo>
                  <a:lnTo>
                    <a:pt x="920" y="725"/>
                  </a:lnTo>
                  <a:lnTo>
                    <a:pt x="919" y="721"/>
                  </a:lnTo>
                  <a:lnTo>
                    <a:pt x="919" y="715"/>
                  </a:lnTo>
                  <a:lnTo>
                    <a:pt x="922" y="712"/>
                  </a:lnTo>
                  <a:lnTo>
                    <a:pt x="922" y="710"/>
                  </a:lnTo>
                  <a:lnTo>
                    <a:pt x="920" y="707"/>
                  </a:lnTo>
                  <a:lnTo>
                    <a:pt x="919" y="706"/>
                  </a:lnTo>
                  <a:lnTo>
                    <a:pt x="917" y="706"/>
                  </a:lnTo>
                  <a:lnTo>
                    <a:pt x="914" y="703"/>
                  </a:lnTo>
                  <a:lnTo>
                    <a:pt x="914" y="704"/>
                  </a:lnTo>
                  <a:lnTo>
                    <a:pt x="913" y="704"/>
                  </a:lnTo>
                  <a:lnTo>
                    <a:pt x="910" y="701"/>
                  </a:lnTo>
                  <a:lnTo>
                    <a:pt x="910" y="698"/>
                  </a:lnTo>
                  <a:lnTo>
                    <a:pt x="908" y="697"/>
                  </a:lnTo>
                  <a:lnTo>
                    <a:pt x="908" y="701"/>
                  </a:lnTo>
                  <a:lnTo>
                    <a:pt x="911" y="704"/>
                  </a:lnTo>
                  <a:lnTo>
                    <a:pt x="911" y="706"/>
                  </a:lnTo>
                  <a:lnTo>
                    <a:pt x="917" y="706"/>
                  </a:lnTo>
                  <a:lnTo>
                    <a:pt x="919" y="707"/>
                  </a:lnTo>
                  <a:lnTo>
                    <a:pt x="919" y="710"/>
                  </a:lnTo>
                  <a:lnTo>
                    <a:pt x="917" y="712"/>
                  </a:lnTo>
                  <a:lnTo>
                    <a:pt x="917" y="713"/>
                  </a:lnTo>
                  <a:lnTo>
                    <a:pt x="916" y="715"/>
                  </a:lnTo>
                  <a:lnTo>
                    <a:pt x="913" y="715"/>
                  </a:lnTo>
                  <a:lnTo>
                    <a:pt x="914" y="716"/>
                  </a:lnTo>
                  <a:lnTo>
                    <a:pt x="913" y="718"/>
                  </a:lnTo>
                  <a:lnTo>
                    <a:pt x="911" y="722"/>
                  </a:lnTo>
                  <a:lnTo>
                    <a:pt x="910" y="724"/>
                  </a:lnTo>
                  <a:lnTo>
                    <a:pt x="908" y="724"/>
                  </a:lnTo>
                  <a:lnTo>
                    <a:pt x="907" y="725"/>
                  </a:lnTo>
                  <a:lnTo>
                    <a:pt x="907" y="727"/>
                  </a:lnTo>
                  <a:lnTo>
                    <a:pt x="905" y="728"/>
                  </a:lnTo>
                  <a:lnTo>
                    <a:pt x="904" y="728"/>
                  </a:lnTo>
                  <a:lnTo>
                    <a:pt x="901" y="730"/>
                  </a:lnTo>
                  <a:lnTo>
                    <a:pt x="898" y="733"/>
                  </a:lnTo>
                  <a:lnTo>
                    <a:pt x="893" y="733"/>
                  </a:lnTo>
                  <a:lnTo>
                    <a:pt x="887" y="734"/>
                  </a:lnTo>
                  <a:lnTo>
                    <a:pt x="881" y="737"/>
                  </a:lnTo>
                  <a:lnTo>
                    <a:pt x="875" y="737"/>
                  </a:lnTo>
                  <a:lnTo>
                    <a:pt x="871" y="740"/>
                  </a:lnTo>
                  <a:lnTo>
                    <a:pt x="868" y="742"/>
                  </a:lnTo>
                  <a:lnTo>
                    <a:pt x="862" y="748"/>
                  </a:lnTo>
                  <a:lnTo>
                    <a:pt x="859" y="752"/>
                  </a:lnTo>
                  <a:lnTo>
                    <a:pt x="857" y="755"/>
                  </a:lnTo>
                  <a:lnTo>
                    <a:pt x="859" y="759"/>
                  </a:lnTo>
                  <a:lnTo>
                    <a:pt x="863" y="771"/>
                  </a:lnTo>
                  <a:lnTo>
                    <a:pt x="863" y="774"/>
                  </a:lnTo>
                  <a:lnTo>
                    <a:pt x="860" y="774"/>
                  </a:lnTo>
                  <a:lnTo>
                    <a:pt x="860" y="776"/>
                  </a:lnTo>
                  <a:lnTo>
                    <a:pt x="865" y="776"/>
                  </a:lnTo>
                  <a:lnTo>
                    <a:pt x="865" y="780"/>
                  </a:lnTo>
                  <a:lnTo>
                    <a:pt x="866" y="780"/>
                  </a:lnTo>
                  <a:lnTo>
                    <a:pt x="865" y="782"/>
                  </a:lnTo>
                  <a:lnTo>
                    <a:pt x="862" y="782"/>
                  </a:lnTo>
                  <a:lnTo>
                    <a:pt x="854" y="788"/>
                  </a:lnTo>
                  <a:lnTo>
                    <a:pt x="854" y="789"/>
                  </a:lnTo>
                  <a:lnTo>
                    <a:pt x="853" y="791"/>
                  </a:lnTo>
                  <a:lnTo>
                    <a:pt x="853" y="794"/>
                  </a:lnTo>
                  <a:lnTo>
                    <a:pt x="856" y="794"/>
                  </a:lnTo>
                  <a:lnTo>
                    <a:pt x="854" y="797"/>
                  </a:lnTo>
                  <a:lnTo>
                    <a:pt x="853" y="797"/>
                  </a:lnTo>
                  <a:lnTo>
                    <a:pt x="851" y="798"/>
                  </a:lnTo>
                  <a:lnTo>
                    <a:pt x="853" y="798"/>
                  </a:lnTo>
                  <a:lnTo>
                    <a:pt x="848" y="801"/>
                  </a:lnTo>
                  <a:lnTo>
                    <a:pt x="847" y="803"/>
                  </a:lnTo>
                  <a:lnTo>
                    <a:pt x="842" y="803"/>
                  </a:lnTo>
                  <a:lnTo>
                    <a:pt x="842" y="804"/>
                  </a:lnTo>
                  <a:lnTo>
                    <a:pt x="841" y="807"/>
                  </a:lnTo>
                  <a:lnTo>
                    <a:pt x="841" y="809"/>
                  </a:lnTo>
                  <a:lnTo>
                    <a:pt x="838" y="812"/>
                  </a:lnTo>
                  <a:lnTo>
                    <a:pt x="838" y="813"/>
                  </a:lnTo>
                  <a:lnTo>
                    <a:pt x="832" y="810"/>
                  </a:lnTo>
                  <a:lnTo>
                    <a:pt x="829" y="810"/>
                  </a:lnTo>
                  <a:lnTo>
                    <a:pt x="829" y="809"/>
                  </a:lnTo>
                  <a:lnTo>
                    <a:pt x="827" y="807"/>
                  </a:lnTo>
                  <a:lnTo>
                    <a:pt x="827" y="806"/>
                  </a:lnTo>
                  <a:lnTo>
                    <a:pt x="826" y="806"/>
                  </a:lnTo>
                  <a:lnTo>
                    <a:pt x="826" y="809"/>
                  </a:lnTo>
                  <a:lnTo>
                    <a:pt x="827" y="809"/>
                  </a:lnTo>
                  <a:lnTo>
                    <a:pt x="827" y="810"/>
                  </a:lnTo>
                  <a:lnTo>
                    <a:pt x="829" y="810"/>
                  </a:lnTo>
                  <a:lnTo>
                    <a:pt x="830" y="812"/>
                  </a:lnTo>
                  <a:lnTo>
                    <a:pt x="833" y="812"/>
                  </a:lnTo>
                  <a:lnTo>
                    <a:pt x="833" y="813"/>
                  </a:lnTo>
                  <a:lnTo>
                    <a:pt x="835" y="813"/>
                  </a:lnTo>
                  <a:lnTo>
                    <a:pt x="836" y="815"/>
                  </a:lnTo>
                  <a:lnTo>
                    <a:pt x="832" y="818"/>
                  </a:lnTo>
                  <a:lnTo>
                    <a:pt x="824" y="819"/>
                  </a:lnTo>
                  <a:lnTo>
                    <a:pt x="823" y="821"/>
                  </a:lnTo>
                  <a:lnTo>
                    <a:pt x="821" y="819"/>
                  </a:lnTo>
                  <a:lnTo>
                    <a:pt x="821" y="821"/>
                  </a:lnTo>
                  <a:lnTo>
                    <a:pt x="820" y="821"/>
                  </a:lnTo>
                  <a:lnTo>
                    <a:pt x="814" y="822"/>
                  </a:lnTo>
                  <a:lnTo>
                    <a:pt x="812" y="822"/>
                  </a:lnTo>
                  <a:lnTo>
                    <a:pt x="811" y="824"/>
                  </a:lnTo>
                  <a:lnTo>
                    <a:pt x="808" y="824"/>
                  </a:lnTo>
                  <a:lnTo>
                    <a:pt x="806" y="825"/>
                  </a:lnTo>
                  <a:lnTo>
                    <a:pt x="803" y="825"/>
                  </a:lnTo>
                  <a:lnTo>
                    <a:pt x="802" y="827"/>
                  </a:lnTo>
                  <a:lnTo>
                    <a:pt x="796" y="830"/>
                  </a:lnTo>
                  <a:lnTo>
                    <a:pt x="794" y="830"/>
                  </a:lnTo>
                  <a:lnTo>
                    <a:pt x="794" y="828"/>
                  </a:lnTo>
                  <a:lnTo>
                    <a:pt x="793" y="828"/>
                  </a:lnTo>
                  <a:lnTo>
                    <a:pt x="793" y="827"/>
                  </a:lnTo>
                  <a:lnTo>
                    <a:pt x="796" y="827"/>
                  </a:lnTo>
                  <a:lnTo>
                    <a:pt x="797" y="825"/>
                  </a:lnTo>
                  <a:lnTo>
                    <a:pt x="797" y="827"/>
                  </a:lnTo>
                  <a:lnTo>
                    <a:pt x="799" y="825"/>
                  </a:lnTo>
                  <a:lnTo>
                    <a:pt x="799" y="824"/>
                  </a:lnTo>
                  <a:lnTo>
                    <a:pt x="800" y="824"/>
                  </a:lnTo>
                  <a:lnTo>
                    <a:pt x="799" y="822"/>
                  </a:lnTo>
                  <a:lnTo>
                    <a:pt x="800" y="819"/>
                  </a:lnTo>
                  <a:lnTo>
                    <a:pt x="799" y="819"/>
                  </a:lnTo>
                  <a:lnTo>
                    <a:pt x="797" y="818"/>
                  </a:lnTo>
                  <a:lnTo>
                    <a:pt x="794" y="818"/>
                  </a:lnTo>
                  <a:lnTo>
                    <a:pt x="791" y="821"/>
                  </a:lnTo>
                  <a:lnTo>
                    <a:pt x="788" y="822"/>
                  </a:lnTo>
                  <a:lnTo>
                    <a:pt x="787" y="822"/>
                  </a:lnTo>
                  <a:lnTo>
                    <a:pt x="787" y="824"/>
                  </a:lnTo>
                  <a:lnTo>
                    <a:pt x="785" y="824"/>
                  </a:lnTo>
                  <a:lnTo>
                    <a:pt x="782" y="827"/>
                  </a:lnTo>
                  <a:lnTo>
                    <a:pt x="782" y="828"/>
                  </a:lnTo>
                  <a:lnTo>
                    <a:pt x="781" y="830"/>
                  </a:lnTo>
                  <a:lnTo>
                    <a:pt x="781" y="831"/>
                  </a:lnTo>
                  <a:lnTo>
                    <a:pt x="779" y="833"/>
                  </a:lnTo>
                  <a:lnTo>
                    <a:pt x="781" y="834"/>
                  </a:lnTo>
                  <a:lnTo>
                    <a:pt x="779" y="834"/>
                  </a:lnTo>
                  <a:lnTo>
                    <a:pt x="778" y="836"/>
                  </a:lnTo>
                  <a:lnTo>
                    <a:pt x="778" y="837"/>
                  </a:lnTo>
                  <a:lnTo>
                    <a:pt x="782" y="837"/>
                  </a:lnTo>
                  <a:lnTo>
                    <a:pt x="782" y="833"/>
                  </a:lnTo>
                  <a:lnTo>
                    <a:pt x="784" y="833"/>
                  </a:lnTo>
                  <a:lnTo>
                    <a:pt x="785" y="831"/>
                  </a:lnTo>
                  <a:lnTo>
                    <a:pt x="784" y="831"/>
                  </a:lnTo>
                  <a:lnTo>
                    <a:pt x="785" y="830"/>
                  </a:lnTo>
                  <a:lnTo>
                    <a:pt x="788" y="830"/>
                  </a:lnTo>
                  <a:lnTo>
                    <a:pt x="790" y="828"/>
                  </a:lnTo>
                  <a:lnTo>
                    <a:pt x="791" y="828"/>
                  </a:lnTo>
                  <a:lnTo>
                    <a:pt x="791" y="831"/>
                  </a:lnTo>
                  <a:lnTo>
                    <a:pt x="790" y="831"/>
                  </a:lnTo>
                  <a:lnTo>
                    <a:pt x="790" y="833"/>
                  </a:lnTo>
                  <a:lnTo>
                    <a:pt x="797" y="830"/>
                  </a:lnTo>
                  <a:lnTo>
                    <a:pt x="791" y="833"/>
                  </a:lnTo>
                  <a:lnTo>
                    <a:pt x="787" y="833"/>
                  </a:lnTo>
                  <a:lnTo>
                    <a:pt x="787" y="834"/>
                  </a:lnTo>
                  <a:lnTo>
                    <a:pt x="788" y="833"/>
                  </a:lnTo>
                  <a:lnTo>
                    <a:pt x="787" y="836"/>
                  </a:lnTo>
                  <a:lnTo>
                    <a:pt x="784" y="836"/>
                  </a:lnTo>
                  <a:lnTo>
                    <a:pt x="782" y="839"/>
                  </a:lnTo>
                  <a:lnTo>
                    <a:pt x="776" y="843"/>
                  </a:lnTo>
                  <a:lnTo>
                    <a:pt x="773" y="846"/>
                  </a:lnTo>
                  <a:lnTo>
                    <a:pt x="768" y="851"/>
                  </a:lnTo>
                  <a:lnTo>
                    <a:pt x="765" y="855"/>
                  </a:lnTo>
                  <a:lnTo>
                    <a:pt x="760" y="855"/>
                  </a:lnTo>
                  <a:lnTo>
                    <a:pt x="760" y="857"/>
                  </a:lnTo>
                  <a:lnTo>
                    <a:pt x="762" y="857"/>
                  </a:lnTo>
                  <a:lnTo>
                    <a:pt x="762" y="860"/>
                  </a:lnTo>
                  <a:lnTo>
                    <a:pt x="760" y="863"/>
                  </a:lnTo>
                  <a:lnTo>
                    <a:pt x="757" y="866"/>
                  </a:lnTo>
                  <a:lnTo>
                    <a:pt x="753" y="872"/>
                  </a:lnTo>
                  <a:lnTo>
                    <a:pt x="748" y="876"/>
                  </a:lnTo>
                  <a:lnTo>
                    <a:pt x="748" y="878"/>
                  </a:lnTo>
                  <a:lnTo>
                    <a:pt x="744" y="882"/>
                  </a:lnTo>
                  <a:lnTo>
                    <a:pt x="744" y="884"/>
                  </a:lnTo>
                  <a:lnTo>
                    <a:pt x="741" y="885"/>
                  </a:lnTo>
                  <a:lnTo>
                    <a:pt x="742" y="884"/>
                  </a:lnTo>
                  <a:lnTo>
                    <a:pt x="739" y="884"/>
                  </a:lnTo>
                  <a:lnTo>
                    <a:pt x="739" y="885"/>
                  </a:lnTo>
                  <a:lnTo>
                    <a:pt x="741" y="885"/>
                  </a:lnTo>
                  <a:lnTo>
                    <a:pt x="735" y="891"/>
                  </a:lnTo>
                  <a:lnTo>
                    <a:pt x="735" y="893"/>
                  </a:lnTo>
                  <a:lnTo>
                    <a:pt x="733" y="893"/>
                  </a:lnTo>
                  <a:lnTo>
                    <a:pt x="733" y="896"/>
                  </a:lnTo>
                  <a:lnTo>
                    <a:pt x="732" y="897"/>
                  </a:lnTo>
                  <a:lnTo>
                    <a:pt x="717" y="903"/>
                  </a:lnTo>
                  <a:lnTo>
                    <a:pt x="711" y="908"/>
                  </a:lnTo>
                  <a:lnTo>
                    <a:pt x="709" y="909"/>
                  </a:lnTo>
                  <a:lnTo>
                    <a:pt x="708" y="909"/>
                  </a:lnTo>
                  <a:lnTo>
                    <a:pt x="708" y="911"/>
                  </a:lnTo>
                  <a:lnTo>
                    <a:pt x="705" y="914"/>
                  </a:lnTo>
                  <a:lnTo>
                    <a:pt x="702" y="914"/>
                  </a:lnTo>
                  <a:lnTo>
                    <a:pt x="703" y="915"/>
                  </a:lnTo>
                  <a:lnTo>
                    <a:pt x="700" y="918"/>
                  </a:lnTo>
                  <a:lnTo>
                    <a:pt x="700" y="920"/>
                  </a:lnTo>
                  <a:lnTo>
                    <a:pt x="696" y="924"/>
                  </a:lnTo>
                  <a:lnTo>
                    <a:pt x="694" y="924"/>
                  </a:lnTo>
                  <a:lnTo>
                    <a:pt x="694" y="923"/>
                  </a:lnTo>
                  <a:lnTo>
                    <a:pt x="693" y="923"/>
                  </a:lnTo>
                  <a:lnTo>
                    <a:pt x="693" y="924"/>
                  </a:lnTo>
                  <a:lnTo>
                    <a:pt x="694" y="924"/>
                  </a:lnTo>
                  <a:lnTo>
                    <a:pt x="696" y="926"/>
                  </a:lnTo>
                  <a:lnTo>
                    <a:pt x="694" y="926"/>
                  </a:lnTo>
                  <a:lnTo>
                    <a:pt x="693" y="927"/>
                  </a:lnTo>
                  <a:lnTo>
                    <a:pt x="691" y="927"/>
                  </a:lnTo>
                  <a:lnTo>
                    <a:pt x="693" y="929"/>
                  </a:lnTo>
                  <a:lnTo>
                    <a:pt x="691" y="930"/>
                  </a:lnTo>
                  <a:lnTo>
                    <a:pt x="690" y="930"/>
                  </a:lnTo>
                  <a:lnTo>
                    <a:pt x="685" y="932"/>
                  </a:lnTo>
                  <a:lnTo>
                    <a:pt x="681" y="936"/>
                  </a:lnTo>
                  <a:lnTo>
                    <a:pt x="679" y="936"/>
                  </a:lnTo>
                  <a:lnTo>
                    <a:pt x="678" y="938"/>
                  </a:lnTo>
                  <a:lnTo>
                    <a:pt x="675" y="938"/>
                  </a:lnTo>
                  <a:lnTo>
                    <a:pt x="675" y="939"/>
                  </a:lnTo>
                  <a:lnTo>
                    <a:pt x="672" y="939"/>
                  </a:lnTo>
                  <a:lnTo>
                    <a:pt x="670" y="941"/>
                  </a:lnTo>
                  <a:lnTo>
                    <a:pt x="669" y="941"/>
                  </a:lnTo>
                  <a:lnTo>
                    <a:pt x="658" y="948"/>
                  </a:lnTo>
                  <a:lnTo>
                    <a:pt x="657" y="948"/>
                  </a:lnTo>
                  <a:lnTo>
                    <a:pt x="655" y="950"/>
                  </a:lnTo>
                  <a:lnTo>
                    <a:pt x="655" y="951"/>
                  </a:lnTo>
                  <a:lnTo>
                    <a:pt x="654" y="951"/>
                  </a:lnTo>
                  <a:lnTo>
                    <a:pt x="651" y="954"/>
                  </a:lnTo>
                  <a:lnTo>
                    <a:pt x="651" y="956"/>
                  </a:lnTo>
                  <a:lnTo>
                    <a:pt x="649" y="956"/>
                  </a:lnTo>
                  <a:lnTo>
                    <a:pt x="649" y="957"/>
                  </a:lnTo>
                  <a:lnTo>
                    <a:pt x="648" y="960"/>
                  </a:lnTo>
                  <a:lnTo>
                    <a:pt x="648" y="963"/>
                  </a:lnTo>
                  <a:lnTo>
                    <a:pt x="649" y="965"/>
                  </a:lnTo>
                  <a:lnTo>
                    <a:pt x="652" y="965"/>
                  </a:lnTo>
                  <a:lnTo>
                    <a:pt x="652" y="972"/>
                  </a:lnTo>
                  <a:lnTo>
                    <a:pt x="651" y="972"/>
                  </a:lnTo>
                  <a:lnTo>
                    <a:pt x="651" y="977"/>
                  </a:lnTo>
                  <a:lnTo>
                    <a:pt x="649" y="977"/>
                  </a:lnTo>
                  <a:lnTo>
                    <a:pt x="649" y="978"/>
                  </a:lnTo>
                  <a:lnTo>
                    <a:pt x="648" y="978"/>
                  </a:lnTo>
                  <a:lnTo>
                    <a:pt x="645" y="981"/>
                  </a:lnTo>
                  <a:lnTo>
                    <a:pt x="643" y="981"/>
                  </a:lnTo>
                  <a:lnTo>
                    <a:pt x="640" y="984"/>
                  </a:lnTo>
                  <a:lnTo>
                    <a:pt x="637" y="984"/>
                  </a:lnTo>
                  <a:lnTo>
                    <a:pt x="636" y="986"/>
                  </a:lnTo>
                  <a:lnTo>
                    <a:pt x="634" y="986"/>
                  </a:lnTo>
                  <a:lnTo>
                    <a:pt x="633" y="987"/>
                  </a:lnTo>
                  <a:lnTo>
                    <a:pt x="630" y="987"/>
                  </a:lnTo>
                  <a:lnTo>
                    <a:pt x="625" y="989"/>
                  </a:lnTo>
                  <a:lnTo>
                    <a:pt x="625" y="990"/>
                  </a:lnTo>
                  <a:lnTo>
                    <a:pt x="621" y="990"/>
                  </a:lnTo>
                  <a:lnTo>
                    <a:pt x="619" y="989"/>
                  </a:lnTo>
                  <a:lnTo>
                    <a:pt x="616" y="989"/>
                  </a:lnTo>
                  <a:lnTo>
                    <a:pt x="616" y="987"/>
                  </a:lnTo>
                  <a:lnTo>
                    <a:pt x="615" y="987"/>
                  </a:lnTo>
                  <a:lnTo>
                    <a:pt x="615" y="989"/>
                  </a:lnTo>
                  <a:lnTo>
                    <a:pt x="609" y="989"/>
                  </a:lnTo>
                  <a:lnTo>
                    <a:pt x="609" y="987"/>
                  </a:lnTo>
                  <a:lnTo>
                    <a:pt x="605" y="987"/>
                  </a:lnTo>
                  <a:lnTo>
                    <a:pt x="602" y="989"/>
                  </a:lnTo>
                  <a:lnTo>
                    <a:pt x="602" y="992"/>
                  </a:lnTo>
                  <a:lnTo>
                    <a:pt x="600" y="993"/>
                  </a:lnTo>
                  <a:lnTo>
                    <a:pt x="600" y="996"/>
                  </a:lnTo>
                  <a:lnTo>
                    <a:pt x="599" y="999"/>
                  </a:lnTo>
                  <a:lnTo>
                    <a:pt x="599" y="1001"/>
                  </a:lnTo>
                  <a:lnTo>
                    <a:pt x="597" y="1002"/>
                  </a:lnTo>
                  <a:lnTo>
                    <a:pt x="597" y="1007"/>
                  </a:lnTo>
                  <a:lnTo>
                    <a:pt x="596" y="1007"/>
                  </a:lnTo>
                  <a:lnTo>
                    <a:pt x="594" y="1010"/>
                  </a:lnTo>
                  <a:lnTo>
                    <a:pt x="593" y="1010"/>
                  </a:lnTo>
                  <a:lnTo>
                    <a:pt x="590" y="1013"/>
                  </a:lnTo>
                  <a:lnTo>
                    <a:pt x="590" y="1014"/>
                  </a:lnTo>
                  <a:lnTo>
                    <a:pt x="588" y="1013"/>
                  </a:lnTo>
                  <a:lnTo>
                    <a:pt x="587" y="1013"/>
                  </a:lnTo>
                  <a:lnTo>
                    <a:pt x="585" y="1011"/>
                  </a:lnTo>
                  <a:lnTo>
                    <a:pt x="585" y="1010"/>
                  </a:lnTo>
                  <a:lnTo>
                    <a:pt x="587" y="1007"/>
                  </a:lnTo>
                  <a:lnTo>
                    <a:pt x="584" y="1004"/>
                  </a:lnTo>
                  <a:lnTo>
                    <a:pt x="585" y="1007"/>
                  </a:lnTo>
                  <a:lnTo>
                    <a:pt x="585" y="1010"/>
                  </a:lnTo>
                  <a:lnTo>
                    <a:pt x="584" y="1014"/>
                  </a:lnTo>
                  <a:lnTo>
                    <a:pt x="582" y="1017"/>
                  </a:lnTo>
                  <a:lnTo>
                    <a:pt x="582" y="1019"/>
                  </a:lnTo>
                  <a:lnTo>
                    <a:pt x="581" y="1019"/>
                  </a:lnTo>
                  <a:lnTo>
                    <a:pt x="581" y="1013"/>
                  </a:lnTo>
                  <a:lnTo>
                    <a:pt x="579" y="1011"/>
                  </a:lnTo>
                  <a:lnTo>
                    <a:pt x="579" y="1010"/>
                  </a:lnTo>
                  <a:lnTo>
                    <a:pt x="575" y="1010"/>
                  </a:lnTo>
                  <a:lnTo>
                    <a:pt x="575" y="1011"/>
                  </a:lnTo>
                  <a:lnTo>
                    <a:pt x="569" y="1011"/>
                  </a:lnTo>
                  <a:lnTo>
                    <a:pt x="569" y="1013"/>
                  </a:lnTo>
                  <a:lnTo>
                    <a:pt x="566" y="1013"/>
                  </a:lnTo>
                  <a:lnTo>
                    <a:pt x="564" y="1014"/>
                  </a:lnTo>
                  <a:lnTo>
                    <a:pt x="563" y="1014"/>
                  </a:lnTo>
                  <a:lnTo>
                    <a:pt x="557" y="1020"/>
                  </a:lnTo>
                  <a:lnTo>
                    <a:pt x="554" y="1026"/>
                  </a:lnTo>
                  <a:lnTo>
                    <a:pt x="554" y="1029"/>
                  </a:lnTo>
                  <a:lnTo>
                    <a:pt x="552" y="1030"/>
                  </a:lnTo>
                  <a:lnTo>
                    <a:pt x="552" y="1032"/>
                  </a:lnTo>
                  <a:lnTo>
                    <a:pt x="549" y="1035"/>
                  </a:lnTo>
                  <a:lnTo>
                    <a:pt x="548" y="1038"/>
                  </a:lnTo>
                  <a:lnTo>
                    <a:pt x="548" y="1042"/>
                  </a:lnTo>
                  <a:lnTo>
                    <a:pt x="546" y="1048"/>
                  </a:lnTo>
                  <a:lnTo>
                    <a:pt x="546" y="1051"/>
                  </a:lnTo>
                  <a:lnTo>
                    <a:pt x="548" y="1053"/>
                  </a:lnTo>
                  <a:lnTo>
                    <a:pt x="548" y="1056"/>
                  </a:lnTo>
                  <a:lnTo>
                    <a:pt x="549" y="1063"/>
                  </a:lnTo>
                  <a:lnTo>
                    <a:pt x="549" y="1066"/>
                  </a:lnTo>
                  <a:lnTo>
                    <a:pt x="551" y="1066"/>
                  </a:lnTo>
                  <a:lnTo>
                    <a:pt x="551" y="1068"/>
                  </a:lnTo>
                  <a:lnTo>
                    <a:pt x="552" y="1068"/>
                  </a:lnTo>
                  <a:lnTo>
                    <a:pt x="552" y="1072"/>
                  </a:lnTo>
                  <a:lnTo>
                    <a:pt x="554" y="1072"/>
                  </a:lnTo>
                  <a:lnTo>
                    <a:pt x="554" y="1074"/>
                  </a:lnTo>
                  <a:lnTo>
                    <a:pt x="552" y="1074"/>
                  </a:lnTo>
                  <a:lnTo>
                    <a:pt x="552" y="1084"/>
                  </a:lnTo>
                  <a:lnTo>
                    <a:pt x="551" y="1087"/>
                  </a:lnTo>
                  <a:lnTo>
                    <a:pt x="548" y="1087"/>
                  </a:lnTo>
                  <a:lnTo>
                    <a:pt x="548" y="1089"/>
                  </a:lnTo>
                  <a:lnTo>
                    <a:pt x="546" y="1089"/>
                  </a:lnTo>
                  <a:lnTo>
                    <a:pt x="546" y="1090"/>
                  </a:lnTo>
                  <a:lnTo>
                    <a:pt x="548" y="1090"/>
                  </a:lnTo>
                  <a:lnTo>
                    <a:pt x="548" y="1089"/>
                  </a:lnTo>
                  <a:lnTo>
                    <a:pt x="551" y="1089"/>
                  </a:lnTo>
                  <a:lnTo>
                    <a:pt x="549" y="1090"/>
                  </a:lnTo>
                  <a:lnTo>
                    <a:pt x="549" y="1092"/>
                  </a:lnTo>
                  <a:lnTo>
                    <a:pt x="551" y="1098"/>
                  </a:lnTo>
                  <a:lnTo>
                    <a:pt x="555" y="1107"/>
                  </a:lnTo>
                  <a:lnTo>
                    <a:pt x="555" y="1113"/>
                  </a:lnTo>
                  <a:lnTo>
                    <a:pt x="554" y="1114"/>
                  </a:lnTo>
                  <a:lnTo>
                    <a:pt x="555" y="1114"/>
                  </a:lnTo>
                  <a:lnTo>
                    <a:pt x="555" y="1116"/>
                  </a:lnTo>
                  <a:lnTo>
                    <a:pt x="557" y="1119"/>
                  </a:lnTo>
                  <a:lnTo>
                    <a:pt x="557" y="1122"/>
                  </a:lnTo>
                  <a:lnTo>
                    <a:pt x="554" y="1116"/>
                  </a:lnTo>
                  <a:lnTo>
                    <a:pt x="551" y="1113"/>
                  </a:lnTo>
                  <a:lnTo>
                    <a:pt x="551" y="1117"/>
                  </a:lnTo>
                  <a:lnTo>
                    <a:pt x="549" y="1117"/>
                  </a:lnTo>
                  <a:lnTo>
                    <a:pt x="549" y="1114"/>
                  </a:lnTo>
                  <a:lnTo>
                    <a:pt x="548" y="1114"/>
                  </a:lnTo>
                  <a:lnTo>
                    <a:pt x="548" y="1116"/>
                  </a:lnTo>
                  <a:lnTo>
                    <a:pt x="546" y="1117"/>
                  </a:lnTo>
                  <a:lnTo>
                    <a:pt x="546" y="1119"/>
                  </a:lnTo>
                  <a:lnTo>
                    <a:pt x="549" y="1122"/>
                  </a:lnTo>
                  <a:lnTo>
                    <a:pt x="549" y="1123"/>
                  </a:lnTo>
                  <a:lnTo>
                    <a:pt x="555" y="1123"/>
                  </a:lnTo>
                  <a:lnTo>
                    <a:pt x="555" y="1125"/>
                  </a:lnTo>
                  <a:lnTo>
                    <a:pt x="557" y="1125"/>
                  </a:lnTo>
                  <a:lnTo>
                    <a:pt x="557" y="1126"/>
                  </a:lnTo>
                  <a:lnTo>
                    <a:pt x="560" y="1126"/>
                  </a:lnTo>
                  <a:lnTo>
                    <a:pt x="560" y="1135"/>
                  </a:lnTo>
                  <a:lnTo>
                    <a:pt x="558" y="1135"/>
                  </a:lnTo>
                  <a:lnTo>
                    <a:pt x="558" y="1137"/>
                  </a:lnTo>
                  <a:lnTo>
                    <a:pt x="560" y="1137"/>
                  </a:lnTo>
                  <a:lnTo>
                    <a:pt x="560" y="1138"/>
                  </a:lnTo>
                  <a:lnTo>
                    <a:pt x="558" y="1138"/>
                  </a:lnTo>
                  <a:lnTo>
                    <a:pt x="558" y="1143"/>
                  </a:lnTo>
                  <a:lnTo>
                    <a:pt x="557" y="1143"/>
                  </a:lnTo>
                  <a:lnTo>
                    <a:pt x="557" y="1155"/>
                  </a:lnTo>
                  <a:lnTo>
                    <a:pt x="555" y="1158"/>
                  </a:lnTo>
                  <a:lnTo>
                    <a:pt x="555" y="1162"/>
                  </a:lnTo>
                  <a:lnTo>
                    <a:pt x="554" y="1162"/>
                  </a:lnTo>
                  <a:lnTo>
                    <a:pt x="554" y="1165"/>
                  </a:lnTo>
                  <a:lnTo>
                    <a:pt x="552" y="1167"/>
                  </a:lnTo>
                  <a:lnTo>
                    <a:pt x="552" y="1168"/>
                  </a:lnTo>
                  <a:lnTo>
                    <a:pt x="549" y="1174"/>
                  </a:lnTo>
                  <a:lnTo>
                    <a:pt x="549" y="1176"/>
                  </a:lnTo>
                  <a:lnTo>
                    <a:pt x="548" y="1177"/>
                  </a:lnTo>
                  <a:lnTo>
                    <a:pt x="546" y="1177"/>
                  </a:lnTo>
                  <a:lnTo>
                    <a:pt x="545" y="1180"/>
                  </a:lnTo>
                  <a:lnTo>
                    <a:pt x="545" y="1182"/>
                  </a:lnTo>
                  <a:lnTo>
                    <a:pt x="542" y="1183"/>
                  </a:lnTo>
                  <a:lnTo>
                    <a:pt x="543" y="1183"/>
                  </a:lnTo>
                  <a:lnTo>
                    <a:pt x="545" y="1182"/>
                  </a:lnTo>
                  <a:lnTo>
                    <a:pt x="542" y="1186"/>
                  </a:lnTo>
                  <a:lnTo>
                    <a:pt x="540" y="1188"/>
                  </a:lnTo>
                  <a:lnTo>
                    <a:pt x="539" y="1191"/>
                  </a:lnTo>
                  <a:lnTo>
                    <a:pt x="539" y="1192"/>
                  </a:lnTo>
                  <a:lnTo>
                    <a:pt x="537" y="1192"/>
                  </a:lnTo>
                  <a:lnTo>
                    <a:pt x="537" y="1197"/>
                  </a:lnTo>
                  <a:lnTo>
                    <a:pt x="536" y="1200"/>
                  </a:lnTo>
                  <a:lnTo>
                    <a:pt x="536" y="1203"/>
                  </a:lnTo>
                  <a:lnTo>
                    <a:pt x="534" y="1203"/>
                  </a:lnTo>
                  <a:lnTo>
                    <a:pt x="534" y="1204"/>
                  </a:lnTo>
                  <a:lnTo>
                    <a:pt x="533" y="1209"/>
                  </a:lnTo>
                  <a:lnTo>
                    <a:pt x="533" y="1215"/>
                  </a:lnTo>
                  <a:lnTo>
                    <a:pt x="534" y="1218"/>
                  </a:lnTo>
                  <a:lnTo>
                    <a:pt x="534" y="1219"/>
                  </a:lnTo>
                  <a:lnTo>
                    <a:pt x="536" y="1219"/>
                  </a:lnTo>
                  <a:lnTo>
                    <a:pt x="536" y="1222"/>
                  </a:lnTo>
                  <a:lnTo>
                    <a:pt x="533" y="1222"/>
                  </a:lnTo>
                  <a:lnTo>
                    <a:pt x="530" y="1225"/>
                  </a:lnTo>
                  <a:lnTo>
                    <a:pt x="533" y="1224"/>
                  </a:lnTo>
                  <a:lnTo>
                    <a:pt x="536" y="1224"/>
                  </a:lnTo>
                  <a:lnTo>
                    <a:pt x="537" y="1228"/>
                  </a:lnTo>
                  <a:lnTo>
                    <a:pt x="537" y="1273"/>
                  </a:lnTo>
                  <a:lnTo>
                    <a:pt x="536" y="1273"/>
                  </a:lnTo>
                  <a:lnTo>
                    <a:pt x="534" y="1275"/>
                  </a:lnTo>
                  <a:lnTo>
                    <a:pt x="533" y="1275"/>
                  </a:lnTo>
                  <a:lnTo>
                    <a:pt x="525" y="1273"/>
                  </a:lnTo>
                  <a:lnTo>
                    <a:pt x="524" y="1273"/>
                  </a:lnTo>
                  <a:lnTo>
                    <a:pt x="524" y="1272"/>
                  </a:lnTo>
                  <a:lnTo>
                    <a:pt x="525" y="1272"/>
                  </a:lnTo>
                  <a:lnTo>
                    <a:pt x="527" y="1270"/>
                  </a:lnTo>
                  <a:lnTo>
                    <a:pt x="522" y="1270"/>
                  </a:lnTo>
                  <a:lnTo>
                    <a:pt x="522" y="1272"/>
                  </a:lnTo>
                  <a:lnTo>
                    <a:pt x="516" y="1272"/>
                  </a:lnTo>
                  <a:lnTo>
                    <a:pt x="515" y="1273"/>
                  </a:lnTo>
                  <a:lnTo>
                    <a:pt x="512" y="1275"/>
                  </a:lnTo>
                  <a:lnTo>
                    <a:pt x="510" y="1276"/>
                  </a:lnTo>
                  <a:lnTo>
                    <a:pt x="510" y="1278"/>
                  </a:lnTo>
                  <a:lnTo>
                    <a:pt x="509" y="1278"/>
                  </a:lnTo>
                  <a:lnTo>
                    <a:pt x="509" y="1282"/>
                  </a:lnTo>
                  <a:lnTo>
                    <a:pt x="510" y="1283"/>
                  </a:lnTo>
                  <a:lnTo>
                    <a:pt x="510" y="1285"/>
                  </a:lnTo>
                  <a:lnTo>
                    <a:pt x="504" y="1291"/>
                  </a:lnTo>
                  <a:lnTo>
                    <a:pt x="504" y="1294"/>
                  </a:lnTo>
                  <a:lnTo>
                    <a:pt x="503" y="1294"/>
                  </a:lnTo>
                  <a:lnTo>
                    <a:pt x="503" y="1295"/>
                  </a:lnTo>
                  <a:lnTo>
                    <a:pt x="497" y="1301"/>
                  </a:lnTo>
                  <a:lnTo>
                    <a:pt x="497" y="1304"/>
                  </a:lnTo>
                  <a:lnTo>
                    <a:pt x="495" y="1304"/>
                  </a:lnTo>
                  <a:lnTo>
                    <a:pt x="495" y="1309"/>
                  </a:lnTo>
                  <a:lnTo>
                    <a:pt x="494" y="1310"/>
                  </a:lnTo>
                  <a:lnTo>
                    <a:pt x="494" y="1312"/>
                  </a:lnTo>
                  <a:lnTo>
                    <a:pt x="501" y="1319"/>
                  </a:lnTo>
                  <a:lnTo>
                    <a:pt x="506" y="1319"/>
                  </a:lnTo>
                  <a:lnTo>
                    <a:pt x="504" y="1321"/>
                  </a:lnTo>
                  <a:lnTo>
                    <a:pt x="501" y="1321"/>
                  </a:lnTo>
                  <a:lnTo>
                    <a:pt x="500" y="1319"/>
                  </a:lnTo>
                  <a:lnTo>
                    <a:pt x="495" y="1319"/>
                  </a:lnTo>
                  <a:lnTo>
                    <a:pt x="495" y="1321"/>
                  </a:lnTo>
                  <a:lnTo>
                    <a:pt x="491" y="1321"/>
                  </a:lnTo>
                  <a:lnTo>
                    <a:pt x="489" y="1322"/>
                  </a:lnTo>
                  <a:lnTo>
                    <a:pt x="488" y="1322"/>
                  </a:lnTo>
                  <a:lnTo>
                    <a:pt x="486" y="1324"/>
                  </a:lnTo>
                  <a:lnTo>
                    <a:pt x="483" y="1324"/>
                  </a:lnTo>
                  <a:lnTo>
                    <a:pt x="482" y="1325"/>
                  </a:lnTo>
                  <a:lnTo>
                    <a:pt x="480" y="1325"/>
                  </a:lnTo>
                  <a:lnTo>
                    <a:pt x="474" y="1327"/>
                  </a:lnTo>
                  <a:lnTo>
                    <a:pt x="473" y="1327"/>
                  </a:lnTo>
                  <a:lnTo>
                    <a:pt x="471" y="1328"/>
                  </a:lnTo>
                  <a:lnTo>
                    <a:pt x="470" y="1328"/>
                  </a:lnTo>
                  <a:lnTo>
                    <a:pt x="462" y="1336"/>
                  </a:lnTo>
                  <a:lnTo>
                    <a:pt x="461" y="1339"/>
                  </a:lnTo>
                  <a:lnTo>
                    <a:pt x="461" y="1342"/>
                  </a:lnTo>
                  <a:lnTo>
                    <a:pt x="459" y="1343"/>
                  </a:lnTo>
                  <a:lnTo>
                    <a:pt x="461" y="1343"/>
                  </a:lnTo>
                  <a:lnTo>
                    <a:pt x="462" y="1342"/>
                  </a:lnTo>
                  <a:lnTo>
                    <a:pt x="462" y="1343"/>
                  </a:lnTo>
                  <a:lnTo>
                    <a:pt x="461" y="1345"/>
                  </a:lnTo>
                  <a:lnTo>
                    <a:pt x="459" y="1345"/>
                  </a:lnTo>
                  <a:lnTo>
                    <a:pt x="459" y="1348"/>
                  </a:lnTo>
                  <a:lnTo>
                    <a:pt x="458" y="1348"/>
                  </a:lnTo>
                  <a:lnTo>
                    <a:pt x="458" y="1349"/>
                  </a:lnTo>
                  <a:lnTo>
                    <a:pt x="459" y="1351"/>
                  </a:lnTo>
                  <a:lnTo>
                    <a:pt x="458" y="1357"/>
                  </a:lnTo>
                  <a:lnTo>
                    <a:pt x="456" y="1358"/>
                  </a:lnTo>
                  <a:lnTo>
                    <a:pt x="455" y="1361"/>
                  </a:lnTo>
                  <a:lnTo>
                    <a:pt x="453" y="1361"/>
                  </a:lnTo>
                  <a:lnTo>
                    <a:pt x="452" y="1363"/>
                  </a:lnTo>
                  <a:lnTo>
                    <a:pt x="443" y="1369"/>
                  </a:lnTo>
                  <a:lnTo>
                    <a:pt x="442" y="1370"/>
                  </a:lnTo>
                  <a:lnTo>
                    <a:pt x="436" y="1372"/>
                  </a:lnTo>
                  <a:lnTo>
                    <a:pt x="434" y="1372"/>
                  </a:lnTo>
                  <a:lnTo>
                    <a:pt x="433" y="1373"/>
                  </a:lnTo>
                  <a:lnTo>
                    <a:pt x="433" y="1375"/>
                  </a:lnTo>
                  <a:lnTo>
                    <a:pt x="427" y="1375"/>
                  </a:lnTo>
                  <a:lnTo>
                    <a:pt x="421" y="1373"/>
                  </a:lnTo>
                  <a:lnTo>
                    <a:pt x="421" y="1372"/>
                  </a:lnTo>
                  <a:lnTo>
                    <a:pt x="419" y="1372"/>
                  </a:lnTo>
                  <a:lnTo>
                    <a:pt x="419" y="1370"/>
                  </a:lnTo>
                  <a:lnTo>
                    <a:pt x="416" y="1370"/>
                  </a:lnTo>
                  <a:lnTo>
                    <a:pt x="413" y="1366"/>
                  </a:lnTo>
                  <a:lnTo>
                    <a:pt x="412" y="1366"/>
                  </a:lnTo>
                  <a:lnTo>
                    <a:pt x="406" y="1361"/>
                  </a:lnTo>
                  <a:lnTo>
                    <a:pt x="404" y="1360"/>
                  </a:lnTo>
                  <a:lnTo>
                    <a:pt x="401" y="1355"/>
                  </a:lnTo>
                  <a:lnTo>
                    <a:pt x="398" y="1352"/>
                  </a:lnTo>
                  <a:lnTo>
                    <a:pt x="398" y="1351"/>
                  </a:lnTo>
                  <a:lnTo>
                    <a:pt x="392" y="1345"/>
                  </a:lnTo>
                  <a:lnTo>
                    <a:pt x="391" y="1342"/>
                  </a:lnTo>
                  <a:lnTo>
                    <a:pt x="391" y="1340"/>
                  </a:lnTo>
                  <a:lnTo>
                    <a:pt x="386" y="1337"/>
                  </a:lnTo>
                  <a:lnTo>
                    <a:pt x="388" y="1337"/>
                  </a:lnTo>
                  <a:lnTo>
                    <a:pt x="389" y="1336"/>
                  </a:lnTo>
                  <a:lnTo>
                    <a:pt x="386" y="1336"/>
                  </a:lnTo>
                  <a:lnTo>
                    <a:pt x="388" y="1334"/>
                  </a:lnTo>
                  <a:lnTo>
                    <a:pt x="391" y="1334"/>
                  </a:lnTo>
                  <a:lnTo>
                    <a:pt x="391" y="1333"/>
                  </a:lnTo>
                  <a:lnTo>
                    <a:pt x="388" y="1333"/>
                  </a:lnTo>
                  <a:lnTo>
                    <a:pt x="386" y="1334"/>
                  </a:lnTo>
                  <a:lnTo>
                    <a:pt x="386" y="1333"/>
                  </a:lnTo>
                  <a:lnTo>
                    <a:pt x="385" y="1334"/>
                  </a:lnTo>
                  <a:lnTo>
                    <a:pt x="385" y="1333"/>
                  </a:lnTo>
                  <a:lnTo>
                    <a:pt x="383" y="1331"/>
                  </a:lnTo>
                  <a:lnTo>
                    <a:pt x="383" y="1330"/>
                  </a:lnTo>
                  <a:lnTo>
                    <a:pt x="382" y="1327"/>
                  </a:lnTo>
                  <a:lnTo>
                    <a:pt x="383" y="1324"/>
                  </a:lnTo>
                  <a:lnTo>
                    <a:pt x="382" y="1325"/>
                  </a:lnTo>
                  <a:lnTo>
                    <a:pt x="380" y="1325"/>
                  </a:lnTo>
                  <a:lnTo>
                    <a:pt x="374" y="1310"/>
                  </a:lnTo>
                  <a:lnTo>
                    <a:pt x="374" y="1301"/>
                  </a:lnTo>
                  <a:lnTo>
                    <a:pt x="373" y="1295"/>
                  </a:lnTo>
                  <a:lnTo>
                    <a:pt x="373" y="1292"/>
                  </a:lnTo>
                  <a:lnTo>
                    <a:pt x="374" y="1291"/>
                  </a:lnTo>
                  <a:lnTo>
                    <a:pt x="374" y="1292"/>
                  </a:lnTo>
                  <a:lnTo>
                    <a:pt x="376" y="1300"/>
                  </a:lnTo>
                  <a:lnTo>
                    <a:pt x="377" y="1298"/>
                  </a:lnTo>
                  <a:lnTo>
                    <a:pt x="377" y="1300"/>
                  </a:lnTo>
                  <a:lnTo>
                    <a:pt x="379" y="1301"/>
                  </a:lnTo>
                  <a:lnTo>
                    <a:pt x="379" y="1303"/>
                  </a:lnTo>
                  <a:lnTo>
                    <a:pt x="377" y="1303"/>
                  </a:lnTo>
                  <a:lnTo>
                    <a:pt x="377" y="1309"/>
                  </a:lnTo>
                  <a:lnTo>
                    <a:pt x="383" y="1309"/>
                  </a:lnTo>
                  <a:lnTo>
                    <a:pt x="383" y="1307"/>
                  </a:lnTo>
                  <a:lnTo>
                    <a:pt x="382" y="1307"/>
                  </a:lnTo>
                  <a:lnTo>
                    <a:pt x="382" y="1306"/>
                  </a:lnTo>
                  <a:lnTo>
                    <a:pt x="380" y="1307"/>
                  </a:lnTo>
                  <a:lnTo>
                    <a:pt x="380" y="1306"/>
                  </a:lnTo>
                  <a:lnTo>
                    <a:pt x="379" y="1306"/>
                  </a:lnTo>
                  <a:lnTo>
                    <a:pt x="380" y="1304"/>
                  </a:lnTo>
                  <a:lnTo>
                    <a:pt x="380" y="1301"/>
                  </a:lnTo>
                  <a:lnTo>
                    <a:pt x="379" y="1300"/>
                  </a:lnTo>
                  <a:lnTo>
                    <a:pt x="379" y="1292"/>
                  </a:lnTo>
                  <a:lnTo>
                    <a:pt x="377" y="1291"/>
                  </a:lnTo>
                  <a:lnTo>
                    <a:pt x="377" y="1289"/>
                  </a:lnTo>
                  <a:lnTo>
                    <a:pt x="376" y="1288"/>
                  </a:lnTo>
                  <a:lnTo>
                    <a:pt x="373" y="1288"/>
                  </a:lnTo>
                  <a:lnTo>
                    <a:pt x="373" y="1283"/>
                  </a:lnTo>
                  <a:lnTo>
                    <a:pt x="371" y="1282"/>
                  </a:lnTo>
                  <a:lnTo>
                    <a:pt x="371" y="1280"/>
                  </a:lnTo>
                  <a:lnTo>
                    <a:pt x="370" y="1280"/>
                  </a:lnTo>
                  <a:lnTo>
                    <a:pt x="370" y="1279"/>
                  </a:lnTo>
                  <a:lnTo>
                    <a:pt x="368" y="1279"/>
                  </a:lnTo>
                  <a:lnTo>
                    <a:pt x="371" y="1278"/>
                  </a:lnTo>
                  <a:lnTo>
                    <a:pt x="371" y="1276"/>
                  </a:lnTo>
                  <a:lnTo>
                    <a:pt x="370" y="1275"/>
                  </a:lnTo>
                  <a:lnTo>
                    <a:pt x="370" y="1278"/>
                  </a:lnTo>
                  <a:lnTo>
                    <a:pt x="368" y="1278"/>
                  </a:lnTo>
                  <a:lnTo>
                    <a:pt x="368" y="1276"/>
                  </a:lnTo>
                  <a:lnTo>
                    <a:pt x="367" y="1275"/>
                  </a:lnTo>
                  <a:lnTo>
                    <a:pt x="367" y="1270"/>
                  </a:lnTo>
                  <a:lnTo>
                    <a:pt x="365" y="1269"/>
                  </a:lnTo>
                  <a:lnTo>
                    <a:pt x="364" y="1266"/>
                  </a:lnTo>
                  <a:lnTo>
                    <a:pt x="364" y="1264"/>
                  </a:lnTo>
                  <a:lnTo>
                    <a:pt x="362" y="1263"/>
                  </a:lnTo>
                  <a:lnTo>
                    <a:pt x="362" y="1261"/>
                  </a:lnTo>
                  <a:lnTo>
                    <a:pt x="361" y="1261"/>
                  </a:lnTo>
                  <a:lnTo>
                    <a:pt x="361" y="1258"/>
                  </a:lnTo>
                  <a:lnTo>
                    <a:pt x="358" y="1252"/>
                  </a:lnTo>
                  <a:lnTo>
                    <a:pt x="358" y="1249"/>
                  </a:lnTo>
                  <a:lnTo>
                    <a:pt x="356" y="1249"/>
                  </a:lnTo>
                  <a:lnTo>
                    <a:pt x="356" y="1248"/>
                  </a:lnTo>
                  <a:lnTo>
                    <a:pt x="355" y="1243"/>
                  </a:lnTo>
                  <a:lnTo>
                    <a:pt x="353" y="1236"/>
                  </a:lnTo>
                  <a:lnTo>
                    <a:pt x="349" y="1225"/>
                  </a:lnTo>
                  <a:lnTo>
                    <a:pt x="349" y="1222"/>
                  </a:lnTo>
                  <a:lnTo>
                    <a:pt x="347" y="1222"/>
                  </a:lnTo>
                  <a:lnTo>
                    <a:pt x="347" y="1221"/>
                  </a:lnTo>
                  <a:lnTo>
                    <a:pt x="346" y="1219"/>
                  </a:lnTo>
                  <a:lnTo>
                    <a:pt x="346" y="1218"/>
                  </a:lnTo>
                  <a:lnTo>
                    <a:pt x="343" y="1218"/>
                  </a:lnTo>
                  <a:lnTo>
                    <a:pt x="343" y="1216"/>
                  </a:lnTo>
                  <a:lnTo>
                    <a:pt x="341" y="1215"/>
                  </a:lnTo>
                  <a:lnTo>
                    <a:pt x="341" y="1213"/>
                  </a:lnTo>
                  <a:lnTo>
                    <a:pt x="338" y="1207"/>
                  </a:lnTo>
                  <a:lnTo>
                    <a:pt x="338" y="1206"/>
                  </a:lnTo>
                  <a:lnTo>
                    <a:pt x="332" y="1200"/>
                  </a:lnTo>
                  <a:lnTo>
                    <a:pt x="331" y="1200"/>
                  </a:lnTo>
                  <a:lnTo>
                    <a:pt x="329" y="1198"/>
                  </a:lnTo>
                  <a:lnTo>
                    <a:pt x="329" y="1197"/>
                  </a:lnTo>
                  <a:lnTo>
                    <a:pt x="332" y="1197"/>
                  </a:lnTo>
                  <a:lnTo>
                    <a:pt x="332" y="1195"/>
                  </a:lnTo>
                  <a:lnTo>
                    <a:pt x="328" y="1195"/>
                  </a:lnTo>
                  <a:lnTo>
                    <a:pt x="328" y="1192"/>
                  </a:lnTo>
                  <a:lnTo>
                    <a:pt x="329" y="1192"/>
                  </a:lnTo>
                  <a:lnTo>
                    <a:pt x="329" y="1191"/>
                  </a:lnTo>
                  <a:lnTo>
                    <a:pt x="326" y="1192"/>
                  </a:lnTo>
                  <a:lnTo>
                    <a:pt x="323" y="1192"/>
                  </a:lnTo>
                  <a:lnTo>
                    <a:pt x="323" y="1189"/>
                  </a:lnTo>
                  <a:lnTo>
                    <a:pt x="320" y="1183"/>
                  </a:lnTo>
                  <a:lnTo>
                    <a:pt x="319" y="1183"/>
                  </a:lnTo>
                  <a:lnTo>
                    <a:pt x="319" y="1179"/>
                  </a:lnTo>
                  <a:lnTo>
                    <a:pt x="316" y="1174"/>
                  </a:lnTo>
                  <a:lnTo>
                    <a:pt x="316" y="1173"/>
                  </a:lnTo>
                  <a:lnTo>
                    <a:pt x="314" y="1173"/>
                  </a:lnTo>
                  <a:lnTo>
                    <a:pt x="314" y="1170"/>
                  </a:lnTo>
                  <a:lnTo>
                    <a:pt x="313" y="1170"/>
                  </a:lnTo>
                  <a:lnTo>
                    <a:pt x="313" y="1168"/>
                  </a:lnTo>
                  <a:lnTo>
                    <a:pt x="308" y="1159"/>
                  </a:lnTo>
                  <a:lnTo>
                    <a:pt x="308" y="1156"/>
                  </a:lnTo>
                  <a:lnTo>
                    <a:pt x="307" y="1156"/>
                  </a:lnTo>
                  <a:lnTo>
                    <a:pt x="307" y="1155"/>
                  </a:lnTo>
                  <a:lnTo>
                    <a:pt x="308" y="1155"/>
                  </a:lnTo>
                  <a:lnTo>
                    <a:pt x="310" y="1153"/>
                  </a:lnTo>
                  <a:lnTo>
                    <a:pt x="311" y="1153"/>
                  </a:lnTo>
                  <a:lnTo>
                    <a:pt x="311" y="1152"/>
                  </a:lnTo>
                  <a:lnTo>
                    <a:pt x="310" y="1153"/>
                  </a:lnTo>
                  <a:lnTo>
                    <a:pt x="307" y="1153"/>
                  </a:lnTo>
                  <a:lnTo>
                    <a:pt x="304" y="1144"/>
                  </a:lnTo>
                  <a:lnTo>
                    <a:pt x="305" y="1143"/>
                  </a:lnTo>
                  <a:lnTo>
                    <a:pt x="304" y="1143"/>
                  </a:lnTo>
                  <a:lnTo>
                    <a:pt x="304" y="1138"/>
                  </a:lnTo>
                  <a:lnTo>
                    <a:pt x="302" y="1138"/>
                  </a:lnTo>
                  <a:lnTo>
                    <a:pt x="302" y="1134"/>
                  </a:lnTo>
                  <a:lnTo>
                    <a:pt x="301" y="1131"/>
                  </a:lnTo>
                  <a:lnTo>
                    <a:pt x="301" y="1128"/>
                  </a:lnTo>
                  <a:lnTo>
                    <a:pt x="299" y="1126"/>
                  </a:lnTo>
                  <a:lnTo>
                    <a:pt x="299" y="1125"/>
                  </a:lnTo>
                  <a:lnTo>
                    <a:pt x="301" y="1126"/>
                  </a:lnTo>
                  <a:lnTo>
                    <a:pt x="301" y="1125"/>
                  </a:lnTo>
                  <a:lnTo>
                    <a:pt x="299" y="1122"/>
                  </a:lnTo>
                  <a:lnTo>
                    <a:pt x="299" y="1116"/>
                  </a:lnTo>
                  <a:lnTo>
                    <a:pt x="301" y="1116"/>
                  </a:lnTo>
                  <a:lnTo>
                    <a:pt x="301" y="1113"/>
                  </a:lnTo>
                  <a:lnTo>
                    <a:pt x="299" y="1114"/>
                  </a:lnTo>
                  <a:lnTo>
                    <a:pt x="299" y="1116"/>
                  </a:lnTo>
                  <a:lnTo>
                    <a:pt x="298" y="1114"/>
                  </a:lnTo>
                  <a:lnTo>
                    <a:pt x="298" y="1110"/>
                  </a:lnTo>
                  <a:lnTo>
                    <a:pt x="296" y="1107"/>
                  </a:lnTo>
                  <a:lnTo>
                    <a:pt x="296" y="1105"/>
                  </a:lnTo>
                  <a:lnTo>
                    <a:pt x="293" y="1102"/>
                  </a:lnTo>
                  <a:lnTo>
                    <a:pt x="293" y="1101"/>
                  </a:lnTo>
                  <a:lnTo>
                    <a:pt x="292" y="1099"/>
                  </a:lnTo>
                  <a:lnTo>
                    <a:pt x="292" y="1096"/>
                  </a:lnTo>
                  <a:lnTo>
                    <a:pt x="291" y="1095"/>
                  </a:lnTo>
                  <a:lnTo>
                    <a:pt x="291" y="1090"/>
                  </a:lnTo>
                  <a:lnTo>
                    <a:pt x="289" y="1089"/>
                  </a:lnTo>
                  <a:lnTo>
                    <a:pt x="289" y="1087"/>
                  </a:lnTo>
                  <a:lnTo>
                    <a:pt x="292" y="1087"/>
                  </a:lnTo>
                  <a:lnTo>
                    <a:pt x="289" y="1086"/>
                  </a:lnTo>
                  <a:lnTo>
                    <a:pt x="288" y="1086"/>
                  </a:lnTo>
                  <a:lnTo>
                    <a:pt x="288" y="1080"/>
                  </a:lnTo>
                  <a:lnTo>
                    <a:pt x="286" y="1080"/>
                  </a:lnTo>
                  <a:lnTo>
                    <a:pt x="286" y="1078"/>
                  </a:lnTo>
                  <a:lnTo>
                    <a:pt x="288" y="1078"/>
                  </a:lnTo>
                  <a:lnTo>
                    <a:pt x="288" y="1077"/>
                  </a:lnTo>
                  <a:lnTo>
                    <a:pt x="289" y="1077"/>
                  </a:lnTo>
                  <a:lnTo>
                    <a:pt x="286" y="1075"/>
                  </a:lnTo>
                  <a:lnTo>
                    <a:pt x="286" y="1074"/>
                  </a:lnTo>
                  <a:lnTo>
                    <a:pt x="285" y="1074"/>
                  </a:lnTo>
                  <a:lnTo>
                    <a:pt x="286" y="1075"/>
                  </a:lnTo>
                  <a:lnTo>
                    <a:pt x="286" y="1077"/>
                  </a:lnTo>
                  <a:lnTo>
                    <a:pt x="285" y="1075"/>
                  </a:lnTo>
                  <a:lnTo>
                    <a:pt x="283" y="1075"/>
                  </a:lnTo>
                  <a:lnTo>
                    <a:pt x="283" y="1071"/>
                  </a:lnTo>
                  <a:lnTo>
                    <a:pt x="282" y="1071"/>
                  </a:lnTo>
                  <a:lnTo>
                    <a:pt x="282" y="1066"/>
                  </a:lnTo>
                  <a:lnTo>
                    <a:pt x="280" y="1066"/>
                  </a:lnTo>
                  <a:lnTo>
                    <a:pt x="280" y="1065"/>
                  </a:lnTo>
                  <a:lnTo>
                    <a:pt x="279" y="1065"/>
                  </a:lnTo>
                  <a:lnTo>
                    <a:pt x="277" y="1066"/>
                  </a:lnTo>
                  <a:lnTo>
                    <a:pt x="277" y="1065"/>
                  </a:lnTo>
                  <a:lnTo>
                    <a:pt x="276" y="1065"/>
                  </a:lnTo>
                  <a:lnTo>
                    <a:pt x="276" y="1063"/>
                  </a:lnTo>
                  <a:lnTo>
                    <a:pt x="274" y="1063"/>
                  </a:lnTo>
                  <a:lnTo>
                    <a:pt x="273" y="1062"/>
                  </a:lnTo>
                  <a:lnTo>
                    <a:pt x="274" y="1062"/>
                  </a:lnTo>
                  <a:lnTo>
                    <a:pt x="274" y="1060"/>
                  </a:lnTo>
                  <a:lnTo>
                    <a:pt x="277" y="1060"/>
                  </a:lnTo>
                  <a:lnTo>
                    <a:pt x="277" y="1059"/>
                  </a:lnTo>
                  <a:lnTo>
                    <a:pt x="280" y="1059"/>
                  </a:lnTo>
                  <a:lnTo>
                    <a:pt x="280" y="1057"/>
                  </a:lnTo>
                  <a:lnTo>
                    <a:pt x="279" y="1057"/>
                  </a:lnTo>
                  <a:lnTo>
                    <a:pt x="277" y="1059"/>
                  </a:lnTo>
                  <a:lnTo>
                    <a:pt x="276" y="1059"/>
                  </a:lnTo>
                  <a:lnTo>
                    <a:pt x="274" y="1060"/>
                  </a:lnTo>
                  <a:lnTo>
                    <a:pt x="274" y="1059"/>
                  </a:lnTo>
                  <a:lnTo>
                    <a:pt x="271" y="1056"/>
                  </a:lnTo>
                  <a:lnTo>
                    <a:pt x="270" y="1056"/>
                  </a:lnTo>
                  <a:lnTo>
                    <a:pt x="270" y="1054"/>
                  </a:lnTo>
                  <a:lnTo>
                    <a:pt x="271" y="1053"/>
                  </a:lnTo>
                  <a:lnTo>
                    <a:pt x="270" y="1053"/>
                  </a:lnTo>
                  <a:lnTo>
                    <a:pt x="268" y="1051"/>
                  </a:lnTo>
                  <a:lnTo>
                    <a:pt x="268" y="1050"/>
                  </a:lnTo>
                  <a:lnTo>
                    <a:pt x="267" y="1050"/>
                  </a:lnTo>
                  <a:lnTo>
                    <a:pt x="265" y="1048"/>
                  </a:lnTo>
                  <a:lnTo>
                    <a:pt x="265" y="1047"/>
                  </a:lnTo>
                  <a:lnTo>
                    <a:pt x="267" y="1047"/>
                  </a:lnTo>
                  <a:lnTo>
                    <a:pt x="267" y="1045"/>
                  </a:lnTo>
                  <a:lnTo>
                    <a:pt x="264" y="1036"/>
                  </a:lnTo>
                  <a:lnTo>
                    <a:pt x="264" y="1035"/>
                  </a:lnTo>
                  <a:lnTo>
                    <a:pt x="261" y="1035"/>
                  </a:lnTo>
                  <a:lnTo>
                    <a:pt x="259" y="1033"/>
                  </a:lnTo>
                  <a:lnTo>
                    <a:pt x="267" y="1033"/>
                  </a:lnTo>
                  <a:lnTo>
                    <a:pt x="265" y="1032"/>
                  </a:lnTo>
                  <a:lnTo>
                    <a:pt x="262" y="1032"/>
                  </a:lnTo>
                  <a:lnTo>
                    <a:pt x="262" y="1030"/>
                  </a:lnTo>
                  <a:lnTo>
                    <a:pt x="259" y="1030"/>
                  </a:lnTo>
                  <a:lnTo>
                    <a:pt x="261" y="1029"/>
                  </a:lnTo>
                  <a:lnTo>
                    <a:pt x="264" y="1029"/>
                  </a:lnTo>
                  <a:lnTo>
                    <a:pt x="262" y="1027"/>
                  </a:lnTo>
                  <a:lnTo>
                    <a:pt x="259" y="1029"/>
                  </a:lnTo>
                  <a:lnTo>
                    <a:pt x="258" y="1029"/>
                  </a:lnTo>
                  <a:lnTo>
                    <a:pt x="258" y="1026"/>
                  </a:lnTo>
                  <a:lnTo>
                    <a:pt x="256" y="1026"/>
                  </a:lnTo>
                  <a:lnTo>
                    <a:pt x="256" y="1024"/>
                  </a:lnTo>
                  <a:lnTo>
                    <a:pt x="258" y="1024"/>
                  </a:lnTo>
                  <a:lnTo>
                    <a:pt x="258" y="1023"/>
                  </a:lnTo>
                  <a:lnTo>
                    <a:pt x="259" y="1021"/>
                  </a:lnTo>
                  <a:lnTo>
                    <a:pt x="258" y="1021"/>
                  </a:lnTo>
                  <a:lnTo>
                    <a:pt x="256" y="1023"/>
                  </a:lnTo>
                  <a:lnTo>
                    <a:pt x="256" y="1021"/>
                  </a:lnTo>
                  <a:lnTo>
                    <a:pt x="255" y="1021"/>
                  </a:lnTo>
                  <a:lnTo>
                    <a:pt x="255" y="1019"/>
                  </a:lnTo>
                  <a:lnTo>
                    <a:pt x="253" y="1019"/>
                  </a:lnTo>
                  <a:lnTo>
                    <a:pt x="253" y="1016"/>
                  </a:lnTo>
                  <a:lnTo>
                    <a:pt x="252" y="1014"/>
                  </a:lnTo>
                  <a:lnTo>
                    <a:pt x="250" y="1011"/>
                  </a:lnTo>
                  <a:lnTo>
                    <a:pt x="250" y="1010"/>
                  </a:lnTo>
                  <a:lnTo>
                    <a:pt x="247" y="1008"/>
                  </a:lnTo>
                  <a:lnTo>
                    <a:pt x="246" y="1007"/>
                  </a:lnTo>
                  <a:lnTo>
                    <a:pt x="246" y="1005"/>
                  </a:lnTo>
                  <a:lnTo>
                    <a:pt x="247" y="1004"/>
                  </a:lnTo>
                  <a:lnTo>
                    <a:pt x="244" y="1004"/>
                  </a:lnTo>
                  <a:lnTo>
                    <a:pt x="244" y="999"/>
                  </a:lnTo>
                  <a:lnTo>
                    <a:pt x="243" y="998"/>
                  </a:lnTo>
                  <a:lnTo>
                    <a:pt x="243" y="995"/>
                  </a:lnTo>
                  <a:lnTo>
                    <a:pt x="241" y="995"/>
                  </a:lnTo>
                  <a:lnTo>
                    <a:pt x="241" y="993"/>
                  </a:lnTo>
                  <a:lnTo>
                    <a:pt x="240" y="989"/>
                  </a:lnTo>
                  <a:lnTo>
                    <a:pt x="240" y="986"/>
                  </a:lnTo>
                  <a:lnTo>
                    <a:pt x="238" y="984"/>
                  </a:lnTo>
                  <a:lnTo>
                    <a:pt x="238" y="981"/>
                  </a:lnTo>
                  <a:lnTo>
                    <a:pt x="237" y="981"/>
                  </a:lnTo>
                  <a:lnTo>
                    <a:pt x="237" y="978"/>
                  </a:lnTo>
                  <a:lnTo>
                    <a:pt x="240" y="981"/>
                  </a:lnTo>
                  <a:lnTo>
                    <a:pt x="240" y="978"/>
                  </a:lnTo>
                  <a:lnTo>
                    <a:pt x="238" y="978"/>
                  </a:lnTo>
                  <a:lnTo>
                    <a:pt x="238" y="977"/>
                  </a:lnTo>
                  <a:lnTo>
                    <a:pt x="240" y="975"/>
                  </a:lnTo>
                  <a:lnTo>
                    <a:pt x="237" y="975"/>
                  </a:lnTo>
                  <a:lnTo>
                    <a:pt x="237" y="974"/>
                  </a:lnTo>
                  <a:lnTo>
                    <a:pt x="238" y="974"/>
                  </a:lnTo>
                  <a:lnTo>
                    <a:pt x="238" y="972"/>
                  </a:lnTo>
                  <a:lnTo>
                    <a:pt x="237" y="971"/>
                  </a:lnTo>
                  <a:lnTo>
                    <a:pt x="237" y="966"/>
                  </a:lnTo>
                  <a:lnTo>
                    <a:pt x="235" y="965"/>
                  </a:lnTo>
                  <a:lnTo>
                    <a:pt x="235" y="960"/>
                  </a:lnTo>
                  <a:lnTo>
                    <a:pt x="237" y="959"/>
                  </a:lnTo>
                  <a:lnTo>
                    <a:pt x="235" y="957"/>
                  </a:lnTo>
                  <a:lnTo>
                    <a:pt x="235" y="950"/>
                  </a:lnTo>
                  <a:lnTo>
                    <a:pt x="234" y="948"/>
                  </a:lnTo>
                  <a:lnTo>
                    <a:pt x="234" y="945"/>
                  </a:lnTo>
                  <a:lnTo>
                    <a:pt x="232" y="945"/>
                  </a:lnTo>
                  <a:lnTo>
                    <a:pt x="232" y="944"/>
                  </a:lnTo>
                  <a:lnTo>
                    <a:pt x="234" y="944"/>
                  </a:lnTo>
                  <a:lnTo>
                    <a:pt x="232" y="941"/>
                  </a:lnTo>
                  <a:lnTo>
                    <a:pt x="232" y="939"/>
                  </a:lnTo>
                  <a:lnTo>
                    <a:pt x="231" y="939"/>
                  </a:lnTo>
                  <a:lnTo>
                    <a:pt x="231" y="938"/>
                  </a:lnTo>
                  <a:lnTo>
                    <a:pt x="232" y="936"/>
                  </a:lnTo>
                  <a:lnTo>
                    <a:pt x="231" y="936"/>
                  </a:lnTo>
                  <a:lnTo>
                    <a:pt x="231" y="933"/>
                  </a:lnTo>
                  <a:lnTo>
                    <a:pt x="229" y="932"/>
                  </a:lnTo>
                  <a:lnTo>
                    <a:pt x="229" y="930"/>
                  </a:lnTo>
                  <a:lnTo>
                    <a:pt x="231" y="930"/>
                  </a:lnTo>
                  <a:lnTo>
                    <a:pt x="232" y="929"/>
                  </a:lnTo>
                  <a:lnTo>
                    <a:pt x="229" y="929"/>
                  </a:lnTo>
                  <a:lnTo>
                    <a:pt x="229" y="926"/>
                  </a:lnTo>
                  <a:lnTo>
                    <a:pt x="228" y="926"/>
                  </a:lnTo>
                  <a:lnTo>
                    <a:pt x="228" y="923"/>
                  </a:lnTo>
                  <a:lnTo>
                    <a:pt x="229" y="923"/>
                  </a:lnTo>
                  <a:lnTo>
                    <a:pt x="228" y="921"/>
                  </a:lnTo>
                  <a:lnTo>
                    <a:pt x="228" y="920"/>
                  </a:lnTo>
                  <a:lnTo>
                    <a:pt x="226" y="918"/>
                  </a:lnTo>
                  <a:lnTo>
                    <a:pt x="226" y="915"/>
                  </a:lnTo>
                  <a:lnTo>
                    <a:pt x="223" y="912"/>
                  </a:lnTo>
                  <a:lnTo>
                    <a:pt x="223" y="911"/>
                  </a:lnTo>
                  <a:lnTo>
                    <a:pt x="225" y="909"/>
                  </a:lnTo>
                  <a:lnTo>
                    <a:pt x="223" y="909"/>
                  </a:lnTo>
                  <a:lnTo>
                    <a:pt x="223" y="908"/>
                  </a:lnTo>
                  <a:lnTo>
                    <a:pt x="225" y="908"/>
                  </a:lnTo>
                  <a:lnTo>
                    <a:pt x="225" y="906"/>
                  </a:lnTo>
                  <a:lnTo>
                    <a:pt x="223" y="908"/>
                  </a:lnTo>
                  <a:lnTo>
                    <a:pt x="222" y="906"/>
                  </a:lnTo>
                  <a:lnTo>
                    <a:pt x="222" y="900"/>
                  </a:lnTo>
                  <a:lnTo>
                    <a:pt x="220" y="899"/>
                  </a:lnTo>
                  <a:lnTo>
                    <a:pt x="220" y="896"/>
                  </a:lnTo>
                  <a:lnTo>
                    <a:pt x="222" y="896"/>
                  </a:lnTo>
                  <a:lnTo>
                    <a:pt x="222" y="897"/>
                  </a:lnTo>
                  <a:lnTo>
                    <a:pt x="223" y="897"/>
                  </a:lnTo>
                  <a:lnTo>
                    <a:pt x="225" y="899"/>
                  </a:lnTo>
                  <a:lnTo>
                    <a:pt x="226" y="899"/>
                  </a:lnTo>
                  <a:lnTo>
                    <a:pt x="225" y="900"/>
                  </a:lnTo>
                  <a:lnTo>
                    <a:pt x="226" y="900"/>
                  </a:lnTo>
                  <a:lnTo>
                    <a:pt x="226" y="896"/>
                  </a:lnTo>
                  <a:lnTo>
                    <a:pt x="222" y="896"/>
                  </a:lnTo>
                  <a:lnTo>
                    <a:pt x="222" y="894"/>
                  </a:lnTo>
                  <a:lnTo>
                    <a:pt x="220" y="894"/>
                  </a:lnTo>
                  <a:lnTo>
                    <a:pt x="220" y="893"/>
                  </a:lnTo>
                  <a:lnTo>
                    <a:pt x="219" y="893"/>
                  </a:lnTo>
                  <a:lnTo>
                    <a:pt x="219" y="890"/>
                  </a:lnTo>
                  <a:lnTo>
                    <a:pt x="217" y="888"/>
                  </a:lnTo>
                  <a:lnTo>
                    <a:pt x="217" y="887"/>
                  </a:lnTo>
                  <a:lnTo>
                    <a:pt x="219" y="885"/>
                  </a:lnTo>
                  <a:lnTo>
                    <a:pt x="219" y="884"/>
                  </a:lnTo>
                  <a:lnTo>
                    <a:pt x="220" y="884"/>
                  </a:lnTo>
                  <a:lnTo>
                    <a:pt x="222" y="885"/>
                  </a:lnTo>
                  <a:lnTo>
                    <a:pt x="222" y="882"/>
                  </a:lnTo>
                  <a:lnTo>
                    <a:pt x="219" y="882"/>
                  </a:lnTo>
                  <a:lnTo>
                    <a:pt x="217" y="879"/>
                  </a:lnTo>
                  <a:lnTo>
                    <a:pt x="217" y="878"/>
                  </a:lnTo>
                  <a:lnTo>
                    <a:pt x="216" y="876"/>
                  </a:lnTo>
                  <a:lnTo>
                    <a:pt x="216" y="872"/>
                  </a:lnTo>
                  <a:lnTo>
                    <a:pt x="217" y="872"/>
                  </a:lnTo>
                  <a:lnTo>
                    <a:pt x="217" y="870"/>
                  </a:lnTo>
                  <a:lnTo>
                    <a:pt x="219" y="872"/>
                  </a:lnTo>
                  <a:lnTo>
                    <a:pt x="220" y="870"/>
                  </a:lnTo>
                  <a:lnTo>
                    <a:pt x="222" y="872"/>
                  </a:lnTo>
                  <a:lnTo>
                    <a:pt x="222" y="875"/>
                  </a:lnTo>
                  <a:lnTo>
                    <a:pt x="223" y="875"/>
                  </a:lnTo>
                  <a:lnTo>
                    <a:pt x="222" y="873"/>
                  </a:lnTo>
                  <a:lnTo>
                    <a:pt x="223" y="872"/>
                  </a:lnTo>
                  <a:lnTo>
                    <a:pt x="223" y="870"/>
                  </a:lnTo>
                  <a:lnTo>
                    <a:pt x="222" y="870"/>
                  </a:lnTo>
                  <a:lnTo>
                    <a:pt x="222" y="867"/>
                  </a:lnTo>
                  <a:lnTo>
                    <a:pt x="220" y="869"/>
                  </a:lnTo>
                  <a:lnTo>
                    <a:pt x="219" y="867"/>
                  </a:lnTo>
                  <a:lnTo>
                    <a:pt x="219" y="866"/>
                  </a:lnTo>
                  <a:lnTo>
                    <a:pt x="220" y="866"/>
                  </a:lnTo>
                  <a:lnTo>
                    <a:pt x="220" y="864"/>
                  </a:lnTo>
                  <a:lnTo>
                    <a:pt x="222" y="864"/>
                  </a:lnTo>
                  <a:lnTo>
                    <a:pt x="222" y="863"/>
                  </a:lnTo>
                  <a:lnTo>
                    <a:pt x="223" y="863"/>
                  </a:lnTo>
                  <a:lnTo>
                    <a:pt x="225" y="861"/>
                  </a:lnTo>
                  <a:lnTo>
                    <a:pt x="222" y="861"/>
                  </a:lnTo>
                  <a:lnTo>
                    <a:pt x="222" y="860"/>
                  </a:lnTo>
                  <a:lnTo>
                    <a:pt x="223" y="858"/>
                  </a:lnTo>
                  <a:lnTo>
                    <a:pt x="222" y="858"/>
                  </a:lnTo>
                  <a:lnTo>
                    <a:pt x="222" y="854"/>
                  </a:lnTo>
                  <a:lnTo>
                    <a:pt x="220" y="855"/>
                  </a:lnTo>
                  <a:lnTo>
                    <a:pt x="220" y="860"/>
                  </a:lnTo>
                  <a:lnTo>
                    <a:pt x="217" y="861"/>
                  </a:lnTo>
                  <a:lnTo>
                    <a:pt x="216" y="861"/>
                  </a:lnTo>
                  <a:lnTo>
                    <a:pt x="216" y="866"/>
                  </a:lnTo>
                  <a:lnTo>
                    <a:pt x="214" y="866"/>
                  </a:lnTo>
                  <a:lnTo>
                    <a:pt x="214" y="854"/>
                  </a:lnTo>
                  <a:lnTo>
                    <a:pt x="213" y="854"/>
                  </a:lnTo>
                  <a:lnTo>
                    <a:pt x="214" y="851"/>
                  </a:lnTo>
                  <a:lnTo>
                    <a:pt x="214" y="849"/>
                  </a:lnTo>
                  <a:lnTo>
                    <a:pt x="213" y="851"/>
                  </a:lnTo>
                  <a:lnTo>
                    <a:pt x="213" y="846"/>
                  </a:lnTo>
                  <a:lnTo>
                    <a:pt x="217" y="846"/>
                  </a:lnTo>
                  <a:lnTo>
                    <a:pt x="217" y="848"/>
                  </a:lnTo>
                  <a:lnTo>
                    <a:pt x="222" y="848"/>
                  </a:lnTo>
                  <a:lnTo>
                    <a:pt x="223" y="851"/>
                  </a:lnTo>
                  <a:lnTo>
                    <a:pt x="225" y="851"/>
                  </a:lnTo>
                  <a:lnTo>
                    <a:pt x="225" y="849"/>
                  </a:lnTo>
                  <a:lnTo>
                    <a:pt x="222" y="846"/>
                  </a:lnTo>
                  <a:lnTo>
                    <a:pt x="217" y="846"/>
                  </a:lnTo>
                  <a:lnTo>
                    <a:pt x="216" y="845"/>
                  </a:lnTo>
                  <a:lnTo>
                    <a:pt x="213" y="845"/>
                  </a:lnTo>
                  <a:lnTo>
                    <a:pt x="213" y="843"/>
                  </a:lnTo>
                  <a:lnTo>
                    <a:pt x="211" y="843"/>
                  </a:lnTo>
                  <a:lnTo>
                    <a:pt x="211" y="839"/>
                  </a:lnTo>
                  <a:lnTo>
                    <a:pt x="213" y="837"/>
                  </a:lnTo>
                  <a:lnTo>
                    <a:pt x="217" y="836"/>
                  </a:lnTo>
                  <a:lnTo>
                    <a:pt x="213" y="836"/>
                  </a:lnTo>
                  <a:lnTo>
                    <a:pt x="213" y="834"/>
                  </a:lnTo>
                  <a:lnTo>
                    <a:pt x="211" y="834"/>
                  </a:lnTo>
                  <a:lnTo>
                    <a:pt x="211" y="836"/>
                  </a:lnTo>
                  <a:lnTo>
                    <a:pt x="210" y="836"/>
                  </a:lnTo>
                  <a:lnTo>
                    <a:pt x="210" y="830"/>
                  </a:lnTo>
                  <a:lnTo>
                    <a:pt x="208" y="827"/>
                  </a:lnTo>
                  <a:lnTo>
                    <a:pt x="210" y="827"/>
                  </a:lnTo>
                  <a:lnTo>
                    <a:pt x="210" y="825"/>
                  </a:lnTo>
                  <a:lnTo>
                    <a:pt x="211" y="825"/>
                  </a:lnTo>
                  <a:lnTo>
                    <a:pt x="211" y="824"/>
                  </a:lnTo>
                  <a:lnTo>
                    <a:pt x="210" y="822"/>
                  </a:lnTo>
                  <a:lnTo>
                    <a:pt x="208" y="825"/>
                  </a:lnTo>
                  <a:lnTo>
                    <a:pt x="208" y="822"/>
                  </a:lnTo>
                  <a:lnTo>
                    <a:pt x="207" y="821"/>
                  </a:lnTo>
                  <a:lnTo>
                    <a:pt x="207" y="819"/>
                  </a:lnTo>
                  <a:lnTo>
                    <a:pt x="208" y="819"/>
                  </a:lnTo>
                  <a:lnTo>
                    <a:pt x="208" y="816"/>
                  </a:lnTo>
                  <a:lnTo>
                    <a:pt x="207" y="816"/>
                  </a:lnTo>
                  <a:lnTo>
                    <a:pt x="208" y="815"/>
                  </a:lnTo>
                  <a:lnTo>
                    <a:pt x="208" y="813"/>
                  </a:lnTo>
                  <a:lnTo>
                    <a:pt x="210" y="813"/>
                  </a:lnTo>
                  <a:lnTo>
                    <a:pt x="210" y="807"/>
                  </a:lnTo>
                  <a:lnTo>
                    <a:pt x="211" y="804"/>
                  </a:lnTo>
                  <a:lnTo>
                    <a:pt x="211" y="798"/>
                  </a:lnTo>
                  <a:lnTo>
                    <a:pt x="213" y="798"/>
                  </a:lnTo>
                  <a:lnTo>
                    <a:pt x="213" y="795"/>
                  </a:lnTo>
                  <a:lnTo>
                    <a:pt x="214" y="795"/>
                  </a:lnTo>
                  <a:lnTo>
                    <a:pt x="214" y="792"/>
                  </a:lnTo>
                  <a:lnTo>
                    <a:pt x="216" y="791"/>
                  </a:lnTo>
                  <a:lnTo>
                    <a:pt x="217" y="788"/>
                  </a:lnTo>
                  <a:lnTo>
                    <a:pt x="217" y="782"/>
                  </a:lnTo>
                  <a:lnTo>
                    <a:pt x="219" y="782"/>
                  </a:lnTo>
                  <a:lnTo>
                    <a:pt x="219" y="777"/>
                  </a:lnTo>
                  <a:lnTo>
                    <a:pt x="220" y="776"/>
                  </a:lnTo>
                  <a:lnTo>
                    <a:pt x="220" y="774"/>
                  </a:lnTo>
                  <a:lnTo>
                    <a:pt x="219" y="774"/>
                  </a:lnTo>
                  <a:lnTo>
                    <a:pt x="220" y="773"/>
                  </a:lnTo>
                  <a:lnTo>
                    <a:pt x="219" y="773"/>
                  </a:lnTo>
                  <a:lnTo>
                    <a:pt x="219" y="774"/>
                  </a:lnTo>
                  <a:lnTo>
                    <a:pt x="217" y="773"/>
                  </a:lnTo>
                  <a:lnTo>
                    <a:pt x="217" y="771"/>
                  </a:lnTo>
                  <a:lnTo>
                    <a:pt x="216" y="773"/>
                  </a:lnTo>
                  <a:lnTo>
                    <a:pt x="216" y="770"/>
                  </a:lnTo>
                  <a:lnTo>
                    <a:pt x="217" y="770"/>
                  </a:lnTo>
                  <a:lnTo>
                    <a:pt x="216" y="767"/>
                  </a:lnTo>
                  <a:lnTo>
                    <a:pt x="217" y="765"/>
                  </a:lnTo>
                  <a:lnTo>
                    <a:pt x="214" y="765"/>
                  </a:lnTo>
                  <a:lnTo>
                    <a:pt x="214" y="764"/>
                  </a:lnTo>
                  <a:lnTo>
                    <a:pt x="213" y="764"/>
                  </a:lnTo>
                  <a:lnTo>
                    <a:pt x="213" y="762"/>
                  </a:lnTo>
                  <a:lnTo>
                    <a:pt x="216" y="762"/>
                  </a:lnTo>
                  <a:lnTo>
                    <a:pt x="214" y="758"/>
                  </a:lnTo>
                  <a:lnTo>
                    <a:pt x="211" y="759"/>
                  </a:lnTo>
                  <a:lnTo>
                    <a:pt x="210" y="761"/>
                  </a:lnTo>
                  <a:lnTo>
                    <a:pt x="210" y="757"/>
                  </a:lnTo>
                  <a:lnTo>
                    <a:pt x="208" y="757"/>
                  </a:lnTo>
                  <a:lnTo>
                    <a:pt x="208" y="759"/>
                  </a:lnTo>
                  <a:lnTo>
                    <a:pt x="205" y="759"/>
                  </a:lnTo>
                  <a:lnTo>
                    <a:pt x="205" y="758"/>
                  </a:lnTo>
                  <a:lnTo>
                    <a:pt x="208" y="755"/>
                  </a:lnTo>
                  <a:lnTo>
                    <a:pt x="211" y="755"/>
                  </a:lnTo>
                  <a:lnTo>
                    <a:pt x="210" y="754"/>
                  </a:lnTo>
                  <a:lnTo>
                    <a:pt x="208" y="754"/>
                  </a:lnTo>
                  <a:lnTo>
                    <a:pt x="208" y="752"/>
                  </a:lnTo>
                  <a:lnTo>
                    <a:pt x="207" y="752"/>
                  </a:lnTo>
                  <a:lnTo>
                    <a:pt x="207" y="751"/>
                  </a:lnTo>
                  <a:lnTo>
                    <a:pt x="205" y="752"/>
                  </a:lnTo>
                  <a:lnTo>
                    <a:pt x="205" y="751"/>
                  </a:lnTo>
                  <a:lnTo>
                    <a:pt x="204" y="749"/>
                  </a:lnTo>
                  <a:lnTo>
                    <a:pt x="204" y="748"/>
                  </a:lnTo>
                  <a:lnTo>
                    <a:pt x="205" y="748"/>
                  </a:lnTo>
                  <a:lnTo>
                    <a:pt x="207" y="746"/>
                  </a:lnTo>
                  <a:lnTo>
                    <a:pt x="202" y="746"/>
                  </a:lnTo>
                  <a:lnTo>
                    <a:pt x="204" y="745"/>
                  </a:lnTo>
                  <a:lnTo>
                    <a:pt x="207" y="745"/>
                  </a:lnTo>
                  <a:lnTo>
                    <a:pt x="210" y="742"/>
                  </a:lnTo>
                  <a:lnTo>
                    <a:pt x="211" y="742"/>
                  </a:lnTo>
                  <a:lnTo>
                    <a:pt x="211" y="740"/>
                  </a:lnTo>
                  <a:lnTo>
                    <a:pt x="205" y="743"/>
                  </a:lnTo>
                  <a:lnTo>
                    <a:pt x="204" y="743"/>
                  </a:lnTo>
                  <a:lnTo>
                    <a:pt x="205" y="740"/>
                  </a:lnTo>
                  <a:lnTo>
                    <a:pt x="207" y="740"/>
                  </a:lnTo>
                  <a:lnTo>
                    <a:pt x="208" y="737"/>
                  </a:lnTo>
                  <a:lnTo>
                    <a:pt x="211" y="737"/>
                  </a:lnTo>
                  <a:lnTo>
                    <a:pt x="213" y="736"/>
                  </a:lnTo>
                  <a:lnTo>
                    <a:pt x="214" y="733"/>
                  </a:lnTo>
                  <a:lnTo>
                    <a:pt x="220" y="733"/>
                  </a:lnTo>
                  <a:lnTo>
                    <a:pt x="222" y="731"/>
                  </a:lnTo>
                  <a:lnTo>
                    <a:pt x="225" y="730"/>
                  </a:lnTo>
                  <a:lnTo>
                    <a:pt x="226" y="728"/>
                  </a:lnTo>
                  <a:lnTo>
                    <a:pt x="229" y="728"/>
                  </a:lnTo>
                  <a:lnTo>
                    <a:pt x="229" y="727"/>
                  </a:lnTo>
                  <a:lnTo>
                    <a:pt x="228" y="727"/>
                  </a:lnTo>
                  <a:lnTo>
                    <a:pt x="226" y="728"/>
                  </a:lnTo>
                  <a:lnTo>
                    <a:pt x="225" y="728"/>
                  </a:lnTo>
                  <a:lnTo>
                    <a:pt x="225" y="730"/>
                  </a:lnTo>
                  <a:lnTo>
                    <a:pt x="223" y="730"/>
                  </a:lnTo>
                  <a:lnTo>
                    <a:pt x="220" y="731"/>
                  </a:lnTo>
                  <a:lnTo>
                    <a:pt x="217" y="730"/>
                  </a:lnTo>
                  <a:lnTo>
                    <a:pt x="216" y="730"/>
                  </a:lnTo>
                  <a:lnTo>
                    <a:pt x="216" y="731"/>
                  </a:lnTo>
                  <a:lnTo>
                    <a:pt x="202" y="731"/>
                  </a:lnTo>
                  <a:lnTo>
                    <a:pt x="201" y="730"/>
                  </a:lnTo>
                  <a:lnTo>
                    <a:pt x="202" y="728"/>
                  </a:lnTo>
                  <a:lnTo>
                    <a:pt x="202" y="724"/>
                  </a:lnTo>
                  <a:lnTo>
                    <a:pt x="205" y="721"/>
                  </a:lnTo>
                  <a:lnTo>
                    <a:pt x="205" y="719"/>
                  </a:lnTo>
                  <a:lnTo>
                    <a:pt x="207" y="718"/>
                  </a:lnTo>
                  <a:lnTo>
                    <a:pt x="210" y="718"/>
                  </a:lnTo>
                  <a:lnTo>
                    <a:pt x="210" y="716"/>
                  </a:lnTo>
                  <a:lnTo>
                    <a:pt x="211" y="716"/>
                  </a:lnTo>
                  <a:lnTo>
                    <a:pt x="210" y="715"/>
                  </a:lnTo>
                  <a:lnTo>
                    <a:pt x="210" y="716"/>
                  </a:lnTo>
                  <a:lnTo>
                    <a:pt x="205" y="716"/>
                  </a:lnTo>
                  <a:lnTo>
                    <a:pt x="205" y="718"/>
                  </a:lnTo>
                  <a:lnTo>
                    <a:pt x="204" y="719"/>
                  </a:lnTo>
                  <a:lnTo>
                    <a:pt x="202" y="719"/>
                  </a:lnTo>
                  <a:lnTo>
                    <a:pt x="201" y="718"/>
                  </a:lnTo>
                  <a:lnTo>
                    <a:pt x="201" y="710"/>
                  </a:lnTo>
                  <a:lnTo>
                    <a:pt x="202" y="709"/>
                  </a:lnTo>
                  <a:lnTo>
                    <a:pt x="202" y="707"/>
                  </a:lnTo>
                  <a:lnTo>
                    <a:pt x="205" y="704"/>
                  </a:lnTo>
                  <a:lnTo>
                    <a:pt x="207" y="704"/>
                  </a:lnTo>
                  <a:lnTo>
                    <a:pt x="207" y="706"/>
                  </a:lnTo>
                  <a:lnTo>
                    <a:pt x="210" y="706"/>
                  </a:lnTo>
                  <a:lnTo>
                    <a:pt x="211" y="707"/>
                  </a:lnTo>
                  <a:lnTo>
                    <a:pt x="213" y="704"/>
                  </a:lnTo>
                  <a:lnTo>
                    <a:pt x="214" y="704"/>
                  </a:lnTo>
                  <a:lnTo>
                    <a:pt x="216" y="703"/>
                  </a:lnTo>
                  <a:lnTo>
                    <a:pt x="217" y="704"/>
                  </a:lnTo>
                  <a:lnTo>
                    <a:pt x="219" y="704"/>
                  </a:lnTo>
                  <a:lnTo>
                    <a:pt x="219" y="701"/>
                  </a:lnTo>
                  <a:lnTo>
                    <a:pt x="217" y="703"/>
                  </a:lnTo>
                  <a:lnTo>
                    <a:pt x="216" y="701"/>
                  </a:lnTo>
                  <a:lnTo>
                    <a:pt x="214" y="701"/>
                  </a:lnTo>
                  <a:lnTo>
                    <a:pt x="214" y="703"/>
                  </a:lnTo>
                  <a:lnTo>
                    <a:pt x="210" y="703"/>
                  </a:lnTo>
                  <a:lnTo>
                    <a:pt x="207" y="701"/>
                  </a:lnTo>
                  <a:lnTo>
                    <a:pt x="202" y="701"/>
                  </a:lnTo>
                  <a:lnTo>
                    <a:pt x="199" y="704"/>
                  </a:lnTo>
                  <a:lnTo>
                    <a:pt x="198" y="704"/>
                  </a:lnTo>
                  <a:lnTo>
                    <a:pt x="198" y="703"/>
                  </a:lnTo>
                  <a:lnTo>
                    <a:pt x="195" y="703"/>
                  </a:lnTo>
                  <a:lnTo>
                    <a:pt x="195" y="700"/>
                  </a:lnTo>
                  <a:lnTo>
                    <a:pt x="196" y="698"/>
                  </a:lnTo>
                  <a:lnTo>
                    <a:pt x="195" y="697"/>
                  </a:lnTo>
                  <a:lnTo>
                    <a:pt x="195" y="698"/>
                  </a:lnTo>
                  <a:lnTo>
                    <a:pt x="193" y="698"/>
                  </a:lnTo>
                  <a:lnTo>
                    <a:pt x="193" y="700"/>
                  </a:lnTo>
                  <a:lnTo>
                    <a:pt x="192" y="701"/>
                  </a:lnTo>
                  <a:lnTo>
                    <a:pt x="192" y="703"/>
                  </a:lnTo>
                  <a:lnTo>
                    <a:pt x="190" y="703"/>
                  </a:lnTo>
                  <a:lnTo>
                    <a:pt x="189" y="701"/>
                  </a:lnTo>
                  <a:lnTo>
                    <a:pt x="189" y="700"/>
                  </a:lnTo>
                  <a:lnTo>
                    <a:pt x="187" y="700"/>
                  </a:lnTo>
                  <a:lnTo>
                    <a:pt x="186" y="701"/>
                  </a:lnTo>
                  <a:lnTo>
                    <a:pt x="184" y="701"/>
                  </a:lnTo>
                  <a:lnTo>
                    <a:pt x="184" y="703"/>
                  </a:lnTo>
                  <a:lnTo>
                    <a:pt x="187" y="703"/>
                  </a:lnTo>
                  <a:lnTo>
                    <a:pt x="189" y="704"/>
                  </a:lnTo>
                  <a:lnTo>
                    <a:pt x="192" y="704"/>
                  </a:lnTo>
                  <a:lnTo>
                    <a:pt x="192" y="712"/>
                  </a:lnTo>
                  <a:lnTo>
                    <a:pt x="190" y="712"/>
                  </a:lnTo>
                  <a:lnTo>
                    <a:pt x="190" y="713"/>
                  </a:lnTo>
                  <a:lnTo>
                    <a:pt x="189" y="715"/>
                  </a:lnTo>
                  <a:lnTo>
                    <a:pt x="187" y="715"/>
                  </a:lnTo>
                  <a:lnTo>
                    <a:pt x="187" y="716"/>
                  </a:lnTo>
                  <a:lnTo>
                    <a:pt x="184" y="716"/>
                  </a:lnTo>
                  <a:lnTo>
                    <a:pt x="183" y="715"/>
                  </a:lnTo>
                  <a:lnTo>
                    <a:pt x="181" y="715"/>
                  </a:lnTo>
                  <a:lnTo>
                    <a:pt x="183" y="716"/>
                  </a:lnTo>
                  <a:lnTo>
                    <a:pt x="181" y="716"/>
                  </a:lnTo>
                  <a:lnTo>
                    <a:pt x="181" y="718"/>
                  </a:lnTo>
                  <a:lnTo>
                    <a:pt x="178" y="718"/>
                  </a:lnTo>
                  <a:lnTo>
                    <a:pt x="181" y="719"/>
                  </a:lnTo>
                  <a:lnTo>
                    <a:pt x="184" y="719"/>
                  </a:lnTo>
                  <a:lnTo>
                    <a:pt x="184" y="724"/>
                  </a:lnTo>
                  <a:lnTo>
                    <a:pt x="181" y="721"/>
                  </a:lnTo>
                  <a:lnTo>
                    <a:pt x="180" y="721"/>
                  </a:lnTo>
                  <a:lnTo>
                    <a:pt x="180" y="722"/>
                  </a:lnTo>
                  <a:lnTo>
                    <a:pt x="181" y="722"/>
                  </a:lnTo>
                  <a:lnTo>
                    <a:pt x="181" y="724"/>
                  </a:lnTo>
                  <a:lnTo>
                    <a:pt x="180" y="724"/>
                  </a:lnTo>
                  <a:lnTo>
                    <a:pt x="177" y="722"/>
                  </a:lnTo>
                  <a:lnTo>
                    <a:pt x="177" y="725"/>
                  </a:lnTo>
                  <a:lnTo>
                    <a:pt x="178" y="725"/>
                  </a:lnTo>
                  <a:lnTo>
                    <a:pt x="178" y="727"/>
                  </a:lnTo>
                  <a:lnTo>
                    <a:pt x="180" y="725"/>
                  </a:lnTo>
                  <a:lnTo>
                    <a:pt x="181" y="725"/>
                  </a:lnTo>
                  <a:lnTo>
                    <a:pt x="181" y="727"/>
                  </a:lnTo>
                  <a:lnTo>
                    <a:pt x="183" y="727"/>
                  </a:lnTo>
                  <a:lnTo>
                    <a:pt x="184" y="725"/>
                  </a:lnTo>
                  <a:lnTo>
                    <a:pt x="184" y="727"/>
                  </a:lnTo>
                  <a:lnTo>
                    <a:pt x="186" y="727"/>
                  </a:lnTo>
                  <a:lnTo>
                    <a:pt x="186" y="728"/>
                  </a:lnTo>
                  <a:lnTo>
                    <a:pt x="187" y="730"/>
                  </a:lnTo>
                  <a:lnTo>
                    <a:pt x="189" y="730"/>
                  </a:lnTo>
                  <a:lnTo>
                    <a:pt x="189" y="731"/>
                  </a:lnTo>
                  <a:lnTo>
                    <a:pt x="190" y="731"/>
                  </a:lnTo>
                  <a:lnTo>
                    <a:pt x="190" y="736"/>
                  </a:lnTo>
                  <a:lnTo>
                    <a:pt x="189" y="740"/>
                  </a:lnTo>
                  <a:lnTo>
                    <a:pt x="187" y="743"/>
                  </a:lnTo>
                  <a:lnTo>
                    <a:pt x="184" y="745"/>
                  </a:lnTo>
                  <a:lnTo>
                    <a:pt x="184" y="746"/>
                  </a:lnTo>
                  <a:lnTo>
                    <a:pt x="183" y="749"/>
                  </a:lnTo>
                  <a:lnTo>
                    <a:pt x="181" y="751"/>
                  </a:lnTo>
                  <a:lnTo>
                    <a:pt x="181" y="755"/>
                  </a:lnTo>
                  <a:lnTo>
                    <a:pt x="180" y="755"/>
                  </a:lnTo>
                  <a:lnTo>
                    <a:pt x="180" y="757"/>
                  </a:lnTo>
                  <a:lnTo>
                    <a:pt x="177" y="758"/>
                  </a:lnTo>
                  <a:lnTo>
                    <a:pt x="174" y="758"/>
                  </a:lnTo>
                  <a:lnTo>
                    <a:pt x="168" y="761"/>
                  </a:lnTo>
                  <a:lnTo>
                    <a:pt x="168" y="762"/>
                  </a:lnTo>
                  <a:lnTo>
                    <a:pt x="163" y="762"/>
                  </a:lnTo>
                  <a:lnTo>
                    <a:pt x="162" y="764"/>
                  </a:lnTo>
                  <a:lnTo>
                    <a:pt x="160" y="764"/>
                  </a:lnTo>
                  <a:lnTo>
                    <a:pt x="157" y="767"/>
                  </a:lnTo>
                  <a:lnTo>
                    <a:pt x="156" y="767"/>
                  </a:lnTo>
                  <a:lnTo>
                    <a:pt x="157" y="765"/>
                  </a:lnTo>
                  <a:lnTo>
                    <a:pt x="156" y="765"/>
                  </a:lnTo>
                  <a:lnTo>
                    <a:pt x="153" y="768"/>
                  </a:lnTo>
                  <a:lnTo>
                    <a:pt x="153" y="770"/>
                  </a:lnTo>
                  <a:lnTo>
                    <a:pt x="148" y="771"/>
                  </a:lnTo>
                  <a:lnTo>
                    <a:pt x="145" y="771"/>
                  </a:lnTo>
                  <a:lnTo>
                    <a:pt x="138" y="776"/>
                  </a:lnTo>
                  <a:lnTo>
                    <a:pt x="135" y="776"/>
                  </a:lnTo>
                  <a:lnTo>
                    <a:pt x="133" y="777"/>
                  </a:lnTo>
                  <a:lnTo>
                    <a:pt x="132" y="776"/>
                  </a:lnTo>
                  <a:lnTo>
                    <a:pt x="132" y="777"/>
                  </a:lnTo>
                  <a:lnTo>
                    <a:pt x="131" y="777"/>
                  </a:lnTo>
                  <a:lnTo>
                    <a:pt x="131" y="779"/>
                  </a:lnTo>
                  <a:lnTo>
                    <a:pt x="122" y="779"/>
                  </a:lnTo>
                  <a:lnTo>
                    <a:pt x="122" y="777"/>
                  </a:lnTo>
                  <a:lnTo>
                    <a:pt x="119" y="777"/>
                  </a:lnTo>
                  <a:lnTo>
                    <a:pt x="117" y="776"/>
                  </a:lnTo>
                  <a:lnTo>
                    <a:pt x="110" y="773"/>
                  </a:lnTo>
                  <a:lnTo>
                    <a:pt x="108" y="771"/>
                  </a:lnTo>
                  <a:lnTo>
                    <a:pt x="107" y="771"/>
                  </a:lnTo>
                  <a:lnTo>
                    <a:pt x="104" y="768"/>
                  </a:lnTo>
                  <a:lnTo>
                    <a:pt x="101" y="768"/>
                  </a:lnTo>
                  <a:lnTo>
                    <a:pt x="98" y="765"/>
                  </a:lnTo>
                  <a:lnTo>
                    <a:pt x="92" y="761"/>
                  </a:lnTo>
                  <a:lnTo>
                    <a:pt x="89" y="757"/>
                  </a:lnTo>
                  <a:lnTo>
                    <a:pt x="81" y="749"/>
                  </a:lnTo>
                  <a:lnTo>
                    <a:pt x="78" y="745"/>
                  </a:lnTo>
                  <a:lnTo>
                    <a:pt x="77" y="743"/>
                  </a:lnTo>
                  <a:lnTo>
                    <a:pt x="77" y="742"/>
                  </a:lnTo>
                  <a:lnTo>
                    <a:pt x="75" y="742"/>
                  </a:lnTo>
                  <a:lnTo>
                    <a:pt x="75" y="740"/>
                  </a:lnTo>
                  <a:lnTo>
                    <a:pt x="74" y="740"/>
                  </a:lnTo>
                  <a:lnTo>
                    <a:pt x="63" y="730"/>
                  </a:lnTo>
                  <a:lnTo>
                    <a:pt x="62" y="730"/>
                  </a:lnTo>
                  <a:lnTo>
                    <a:pt x="62" y="727"/>
                  </a:lnTo>
                  <a:lnTo>
                    <a:pt x="59" y="727"/>
                  </a:lnTo>
                  <a:lnTo>
                    <a:pt x="57" y="724"/>
                  </a:lnTo>
                  <a:lnTo>
                    <a:pt x="57" y="721"/>
                  </a:lnTo>
                  <a:lnTo>
                    <a:pt x="56" y="722"/>
                  </a:lnTo>
                  <a:lnTo>
                    <a:pt x="54" y="722"/>
                  </a:lnTo>
                  <a:lnTo>
                    <a:pt x="51" y="718"/>
                  </a:lnTo>
                  <a:lnTo>
                    <a:pt x="50" y="716"/>
                  </a:lnTo>
                  <a:lnTo>
                    <a:pt x="48" y="716"/>
                  </a:lnTo>
                  <a:lnTo>
                    <a:pt x="47" y="713"/>
                  </a:lnTo>
                  <a:lnTo>
                    <a:pt x="45" y="712"/>
                  </a:lnTo>
                  <a:lnTo>
                    <a:pt x="44" y="712"/>
                  </a:lnTo>
                  <a:lnTo>
                    <a:pt x="44" y="710"/>
                  </a:lnTo>
                  <a:lnTo>
                    <a:pt x="42" y="707"/>
                  </a:lnTo>
                  <a:lnTo>
                    <a:pt x="39" y="706"/>
                  </a:lnTo>
                  <a:lnTo>
                    <a:pt x="38" y="704"/>
                  </a:lnTo>
                  <a:lnTo>
                    <a:pt x="38" y="701"/>
                  </a:lnTo>
                  <a:lnTo>
                    <a:pt x="36" y="701"/>
                  </a:lnTo>
                  <a:lnTo>
                    <a:pt x="36" y="700"/>
                  </a:lnTo>
                  <a:lnTo>
                    <a:pt x="38" y="698"/>
                  </a:lnTo>
                  <a:lnTo>
                    <a:pt x="38" y="695"/>
                  </a:lnTo>
                  <a:lnTo>
                    <a:pt x="39" y="695"/>
                  </a:lnTo>
                  <a:lnTo>
                    <a:pt x="39" y="694"/>
                  </a:lnTo>
                  <a:lnTo>
                    <a:pt x="42" y="692"/>
                  </a:lnTo>
                  <a:lnTo>
                    <a:pt x="42" y="691"/>
                  </a:lnTo>
                  <a:lnTo>
                    <a:pt x="44" y="692"/>
                  </a:lnTo>
                  <a:lnTo>
                    <a:pt x="42" y="694"/>
                  </a:lnTo>
                  <a:lnTo>
                    <a:pt x="42" y="695"/>
                  </a:lnTo>
                  <a:lnTo>
                    <a:pt x="47" y="695"/>
                  </a:lnTo>
                  <a:lnTo>
                    <a:pt x="47" y="694"/>
                  </a:lnTo>
                  <a:lnTo>
                    <a:pt x="48" y="694"/>
                  </a:lnTo>
                  <a:lnTo>
                    <a:pt x="48" y="698"/>
                  </a:lnTo>
                  <a:lnTo>
                    <a:pt x="47" y="700"/>
                  </a:lnTo>
                  <a:lnTo>
                    <a:pt x="48" y="701"/>
                  </a:lnTo>
                  <a:lnTo>
                    <a:pt x="53" y="701"/>
                  </a:lnTo>
                  <a:lnTo>
                    <a:pt x="54" y="700"/>
                  </a:lnTo>
                  <a:lnTo>
                    <a:pt x="56" y="700"/>
                  </a:lnTo>
                  <a:lnTo>
                    <a:pt x="59" y="698"/>
                  </a:lnTo>
                  <a:lnTo>
                    <a:pt x="62" y="698"/>
                  </a:lnTo>
                  <a:lnTo>
                    <a:pt x="62" y="697"/>
                  </a:lnTo>
                  <a:lnTo>
                    <a:pt x="63" y="697"/>
                  </a:lnTo>
                  <a:lnTo>
                    <a:pt x="63" y="694"/>
                  </a:lnTo>
                  <a:lnTo>
                    <a:pt x="65" y="692"/>
                  </a:lnTo>
                  <a:lnTo>
                    <a:pt x="65" y="697"/>
                  </a:lnTo>
                  <a:lnTo>
                    <a:pt x="69" y="697"/>
                  </a:lnTo>
                  <a:lnTo>
                    <a:pt x="69" y="695"/>
                  </a:lnTo>
                  <a:lnTo>
                    <a:pt x="72" y="695"/>
                  </a:lnTo>
                  <a:lnTo>
                    <a:pt x="72" y="692"/>
                  </a:lnTo>
                  <a:lnTo>
                    <a:pt x="74" y="692"/>
                  </a:lnTo>
                  <a:lnTo>
                    <a:pt x="75" y="694"/>
                  </a:lnTo>
                  <a:lnTo>
                    <a:pt x="75" y="695"/>
                  </a:lnTo>
                  <a:lnTo>
                    <a:pt x="77" y="694"/>
                  </a:lnTo>
                  <a:lnTo>
                    <a:pt x="77" y="692"/>
                  </a:lnTo>
                  <a:lnTo>
                    <a:pt x="80" y="692"/>
                  </a:lnTo>
                  <a:lnTo>
                    <a:pt x="81" y="691"/>
                  </a:lnTo>
                  <a:lnTo>
                    <a:pt x="84" y="689"/>
                  </a:lnTo>
                  <a:lnTo>
                    <a:pt x="86" y="689"/>
                  </a:lnTo>
                  <a:lnTo>
                    <a:pt x="86" y="688"/>
                  </a:lnTo>
                  <a:lnTo>
                    <a:pt x="93" y="688"/>
                  </a:lnTo>
                  <a:lnTo>
                    <a:pt x="95" y="686"/>
                  </a:lnTo>
                  <a:lnTo>
                    <a:pt x="95" y="685"/>
                  </a:lnTo>
                  <a:lnTo>
                    <a:pt x="96" y="683"/>
                  </a:lnTo>
                  <a:lnTo>
                    <a:pt x="98" y="680"/>
                  </a:lnTo>
                  <a:lnTo>
                    <a:pt x="101" y="677"/>
                  </a:lnTo>
                  <a:lnTo>
                    <a:pt x="101" y="674"/>
                  </a:lnTo>
                  <a:lnTo>
                    <a:pt x="102" y="671"/>
                  </a:lnTo>
                  <a:lnTo>
                    <a:pt x="107" y="667"/>
                  </a:lnTo>
                  <a:lnTo>
                    <a:pt x="107" y="668"/>
                  </a:lnTo>
                  <a:lnTo>
                    <a:pt x="108" y="668"/>
                  </a:lnTo>
                  <a:lnTo>
                    <a:pt x="108" y="665"/>
                  </a:lnTo>
                  <a:lnTo>
                    <a:pt x="110" y="665"/>
                  </a:lnTo>
                  <a:lnTo>
                    <a:pt x="110" y="661"/>
                  </a:lnTo>
                  <a:lnTo>
                    <a:pt x="108" y="661"/>
                  </a:lnTo>
                  <a:lnTo>
                    <a:pt x="108" y="659"/>
                  </a:lnTo>
                  <a:lnTo>
                    <a:pt x="107" y="659"/>
                  </a:lnTo>
                  <a:lnTo>
                    <a:pt x="107" y="661"/>
                  </a:lnTo>
                  <a:lnTo>
                    <a:pt x="104" y="661"/>
                  </a:lnTo>
                  <a:lnTo>
                    <a:pt x="104" y="668"/>
                  </a:lnTo>
                  <a:lnTo>
                    <a:pt x="102" y="668"/>
                  </a:lnTo>
                  <a:lnTo>
                    <a:pt x="102" y="670"/>
                  </a:lnTo>
                  <a:lnTo>
                    <a:pt x="101" y="670"/>
                  </a:lnTo>
                  <a:lnTo>
                    <a:pt x="101" y="668"/>
                  </a:lnTo>
                  <a:lnTo>
                    <a:pt x="98" y="668"/>
                  </a:lnTo>
                  <a:lnTo>
                    <a:pt x="98" y="667"/>
                  </a:lnTo>
                  <a:lnTo>
                    <a:pt x="96" y="667"/>
                  </a:lnTo>
                  <a:lnTo>
                    <a:pt x="96" y="668"/>
                  </a:lnTo>
                  <a:lnTo>
                    <a:pt x="92" y="668"/>
                  </a:lnTo>
                  <a:lnTo>
                    <a:pt x="92" y="667"/>
                  </a:lnTo>
                  <a:lnTo>
                    <a:pt x="90" y="668"/>
                  </a:lnTo>
                  <a:lnTo>
                    <a:pt x="92" y="668"/>
                  </a:lnTo>
                  <a:lnTo>
                    <a:pt x="92" y="670"/>
                  </a:lnTo>
                  <a:lnTo>
                    <a:pt x="89" y="670"/>
                  </a:lnTo>
                  <a:lnTo>
                    <a:pt x="86" y="671"/>
                  </a:lnTo>
                  <a:lnTo>
                    <a:pt x="83" y="671"/>
                  </a:lnTo>
                  <a:lnTo>
                    <a:pt x="80" y="673"/>
                  </a:lnTo>
                  <a:lnTo>
                    <a:pt x="77" y="673"/>
                  </a:lnTo>
                  <a:lnTo>
                    <a:pt x="72" y="677"/>
                  </a:lnTo>
                  <a:lnTo>
                    <a:pt x="72" y="679"/>
                  </a:lnTo>
                  <a:lnTo>
                    <a:pt x="71" y="679"/>
                  </a:lnTo>
                  <a:lnTo>
                    <a:pt x="69" y="677"/>
                  </a:lnTo>
                  <a:lnTo>
                    <a:pt x="62" y="677"/>
                  </a:lnTo>
                  <a:lnTo>
                    <a:pt x="62" y="676"/>
                  </a:lnTo>
                  <a:lnTo>
                    <a:pt x="59" y="676"/>
                  </a:lnTo>
                  <a:lnTo>
                    <a:pt x="57" y="674"/>
                  </a:lnTo>
                  <a:lnTo>
                    <a:pt x="50" y="674"/>
                  </a:lnTo>
                  <a:lnTo>
                    <a:pt x="48" y="673"/>
                  </a:lnTo>
                  <a:lnTo>
                    <a:pt x="45" y="671"/>
                  </a:lnTo>
                  <a:lnTo>
                    <a:pt x="41" y="668"/>
                  </a:lnTo>
                  <a:lnTo>
                    <a:pt x="33" y="665"/>
                  </a:lnTo>
                  <a:lnTo>
                    <a:pt x="26" y="659"/>
                  </a:lnTo>
                  <a:lnTo>
                    <a:pt x="24" y="658"/>
                  </a:lnTo>
                  <a:lnTo>
                    <a:pt x="23" y="658"/>
                  </a:lnTo>
                  <a:lnTo>
                    <a:pt x="23" y="656"/>
                  </a:lnTo>
                  <a:lnTo>
                    <a:pt x="21" y="656"/>
                  </a:lnTo>
                  <a:lnTo>
                    <a:pt x="21" y="653"/>
                  </a:lnTo>
                  <a:lnTo>
                    <a:pt x="23" y="653"/>
                  </a:lnTo>
                  <a:lnTo>
                    <a:pt x="23" y="652"/>
                  </a:lnTo>
                  <a:lnTo>
                    <a:pt x="21" y="653"/>
                  </a:lnTo>
                  <a:lnTo>
                    <a:pt x="18" y="653"/>
                  </a:lnTo>
                  <a:lnTo>
                    <a:pt x="18" y="652"/>
                  </a:lnTo>
                  <a:lnTo>
                    <a:pt x="20" y="650"/>
                  </a:lnTo>
                  <a:lnTo>
                    <a:pt x="21" y="650"/>
                  </a:lnTo>
                  <a:lnTo>
                    <a:pt x="21" y="649"/>
                  </a:lnTo>
                  <a:lnTo>
                    <a:pt x="20" y="649"/>
                  </a:lnTo>
                  <a:lnTo>
                    <a:pt x="20" y="647"/>
                  </a:lnTo>
                  <a:lnTo>
                    <a:pt x="17" y="647"/>
                  </a:lnTo>
                  <a:lnTo>
                    <a:pt x="17" y="646"/>
                  </a:lnTo>
                  <a:lnTo>
                    <a:pt x="18" y="646"/>
                  </a:lnTo>
                  <a:lnTo>
                    <a:pt x="18" y="644"/>
                  </a:lnTo>
                  <a:lnTo>
                    <a:pt x="17" y="644"/>
                  </a:lnTo>
                  <a:lnTo>
                    <a:pt x="15" y="646"/>
                  </a:lnTo>
                  <a:lnTo>
                    <a:pt x="14" y="644"/>
                  </a:lnTo>
                  <a:lnTo>
                    <a:pt x="12" y="644"/>
                  </a:lnTo>
                  <a:lnTo>
                    <a:pt x="14" y="643"/>
                  </a:lnTo>
                  <a:lnTo>
                    <a:pt x="14" y="641"/>
                  </a:lnTo>
                  <a:lnTo>
                    <a:pt x="15" y="641"/>
                  </a:lnTo>
                  <a:lnTo>
                    <a:pt x="15" y="640"/>
                  </a:lnTo>
                  <a:lnTo>
                    <a:pt x="14" y="640"/>
                  </a:lnTo>
                  <a:lnTo>
                    <a:pt x="14" y="641"/>
                  </a:lnTo>
                  <a:lnTo>
                    <a:pt x="12" y="641"/>
                  </a:lnTo>
                  <a:lnTo>
                    <a:pt x="12" y="635"/>
                  </a:lnTo>
                  <a:lnTo>
                    <a:pt x="14" y="634"/>
                  </a:lnTo>
                  <a:lnTo>
                    <a:pt x="15" y="635"/>
                  </a:lnTo>
                  <a:lnTo>
                    <a:pt x="17" y="634"/>
                  </a:lnTo>
                  <a:lnTo>
                    <a:pt x="15" y="634"/>
                  </a:lnTo>
                  <a:lnTo>
                    <a:pt x="15" y="632"/>
                  </a:lnTo>
                  <a:lnTo>
                    <a:pt x="18" y="632"/>
                  </a:lnTo>
                  <a:lnTo>
                    <a:pt x="18" y="631"/>
                  </a:lnTo>
                  <a:lnTo>
                    <a:pt x="21" y="628"/>
                  </a:lnTo>
                  <a:lnTo>
                    <a:pt x="23" y="628"/>
                  </a:lnTo>
                  <a:lnTo>
                    <a:pt x="23" y="626"/>
                  </a:lnTo>
                  <a:lnTo>
                    <a:pt x="24" y="625"/>
                  </a:lnTo>
                  <a:lnTo>
                    <a:pt x="23" y="625"/>
                  </a:lnTo>
                  <a:lnTo>
                    <a:pt x="20" y="628"/>
                  </a:lnTo>
                  <a:lnTo>
                    <a:pt x="17" y="628"/>
                  </a:lnTo>
                  <a:lnTo>
                    <a:pt x="17" y="629"/>
                  </a:lnTo>
                  <a:lnTo>
                    <a:pt x="14" y="629"/>
                  </a:lnTo>
                  <a:lnTo>
                    <a:pt x="14" y="631"/>
                  </a:lnTo>
                  <a:lnTo>
                    <a:pt x="12" y="631"/>
                  </a:lnTo>
                  <a:lnTo>
                    <a:pt x="9" y="635"/>
                  </a:lnTo>
                  <a:lnTo>
                    <a:pt x="9" y="637"/>
                  </a:lnTo>
                  <a:lnTo>
                    <a:pt x="2" y="637"/>
                  </a:lnTo>
                  <a:lnTo>
                    <a:pt x="0" y="635"/>
                  </a:lnTo>
                  <a:lnTo>
                    <a:pt x="0" y="634"/>
                  </a:lnTo>
                  <a:lnTo>
                    <a:pt x="2" y="634"/>
                  </a:lnTo>
                  <a:lnTo>
                    <a:pt x="2" y="632"/>
                  </a:lnTo>
                  <a:lnTo>
                    <a:pt x="3" y="632"/>
                  </a:lnTo>
                  <a:lnTo>
                    <a:pt x="5" y="634"/>
                  </a:lnTo>
                  <a:lnTo>
                    <a:pt x="5" y="632"/>
                  </a:lnTo>
                  <a:lnTo>
                    <a:pt x="3" y="632"/>
                  </a:lnTo>
                  <a:lnTo>
                    <a:pt x="3" y="631"/>
                  </a:lnTo>
                  <a:lnTo>
                    <a:pt x="2" y="631"/>
                  </a:lnTo>
                  <a:lnTo>
                    <a:pt x="2" y="628"/>
                  </a:lnTo>
                  <a:lnTo>
                    <a:pt x="0" y="628"/>
                  </a:lnTo>
                  <a:lnTo>
                    <a:pt x="2" y="626"/>
                  </a:lnTo>
                  <a:lnTo>
                    <a:pt x="2" y="623"/>
                  </a:lnTo>
                  <a:lnTo>
                    <a:pt x="3" y="622"/>
                  </a:lnTo>
                  <a:lnTo>
                    <a:pt x="5" y="622"/>
                  </a:lnTo>
                  <a:lnTo>
                    <a:pt x="5" y="619"/>
                  </a:lnTo>
                  <a:lnTo>
                    <a:pt x="6" y="619"/>
                  </a:lnTo>
                  <a:lnTo>
                    <a:pt x="6" y="620"/>
                  </a:lnTo>
                  <a:lnTo>
                    <a:pt x="8" y="620"/>
                  </a:lnTo>
                  <a:lnTo>
                    <a:pt x="8" y="619"/>
                  </a:lnTo>
                  <a:lnTo>
                    <a:pt x="9" y="619"/>
                  </a:lnTo>
                  <a:lnTo>
                    <a:pt x="11" y="617"/>
                  </a:lnTo>
                  <a:lnTo>
                    <a:pt x="27" y="617"/>
                  </a:lnTo>
                  <a:lnTo>
                    <a:pt x="27" y="599"/>
                  </a:lnTo>
                  <a:lnTo>
                    <a:pt x="30" y="599"/>
                  </a:lnTo>
                  <a:lnTo>
                    <a:pt x="30" y="601"/>
                  </a:lnTo>
                  <a:lnTo>
                    <a:pt x="32" y="604"/>
                  </a:lnTo>
                  <a:lnTo>
                    <a:pt x="33" y="601"/>
                  </a:lnTo>
                  <a:lnTo>
                    <a:pt x="35" y="601"/>
                  </a:lnTo>
                  <a:lnTo>
                    <a:pt x="35" y="599"/>
                  </a:lnTo>
                  <a:lnTo>
                    <a:pt x="38" y="602"/>
                  </a:lnTo>
                  <a:lnTo>
                    <a:pt x="38" y="604"/>
                  </a:lnTo>
                  <a:lnTo>
                    <a:pt x="39" y="602"/>
                  </a:lnTo>
                  <a:lnTo>
                    <a:pt x="42" y="602"/>
                  </a:lnTo>
                  <a:lnTo>
                    <a:pt x="42" y="601"/>
                  </a:lnTo>
                  <a:lnTo>
                    <a:pt x="44" y="602"/>
                  </a:lnTo>
                  <a:lnTo>
                    <a:pt x="47" y="602"/>
                  </a:lnTo>
                  <a:lnTo>
                    <a:pt x="47" y="604"/>
                  </a:lnTo>
                  <a:lnTo>
                    <a:pt x="48" y="602"/>
                  </a:lnTo>
                  <a:lnTo>
                    <a:pt x="66" y="602"/>
                  </a:lnTo>
                  <a:lnTo>
                    <a:pt x="71" y="607"/>
                  </a:lnTo>
                  <a:lnTo>
                    <a:pt x="72" y="607"/>
                  </a:lnTo>
                  <a:lnTo>
                    <a:pt x="75" y="608"/>
                  </a:lnTo>
                  <a:lnTo>
                    <a:pt x="84" y="608"/>
                  </a:lnTo>
                  <a:lnTo>
                    <a:pt x="87" y="605"/>
                  </a:lnTo>
                  <a:lnTo>
                    <a:pt x="89" y="605"/>
                  </a:lnTo>
                  <a:lnTo>
                    <a:pt x="89" y="602"/>
                  </a:lnTo>
                  <a:lnTo>
                    <a:pt x="90" y="601"/>
                  </a:lnTo>
                  <a:lnTo>
                    <a:pt x="92" y="601"/>
                  </a:lnTo>
                  <a:lnTo>
                    <a:pt x="95" y="599"/>
                  </a:lnTo>
                  <a:lnTo>
                    <a:pt x="96" y="599"/>
                  </a:lnTo>
                  <a:lnTo>
                    <a:pt x="98" y="598"/>
                  </a:lnTo>
                  <a:lnTo>
                    <a:pt x="102" y="598"/>
                  </a:lnTo>
                  <a:lnTo>
                    <a:pt x="105" y="596"/>
                  </a:lnTo>
                  <a:lnTo>
                    <a:pt x="110" y="595"/>
                  </a:lnTo>
                  <a:lnTo>
                    <a:pt x="111" y="595"/>
                  </a:lnTo>
                  <a:lnTo>
                    <a:pt x="111" y="602"/>
                  </a:lnTo>
                  <a:lnTo>
                    <a:pt x="113" y="602"/>
                  </a:lnTo>
                  <a:lnTo>
                    <a:pt x="114" y="604"/>
                  </a:lnTo>
                  <a:lnTo>
                    <a:pt x="123" y="604"/>
                  </a:lnTo>
                  <a:lnTo>
                    <a:pt x="123" y="602"/>
                  </a:lnTo>
                  <a:lnTo>
                    <a:pt x="125" y="602"/>
                  </a:lnTo>
                  <a:lnTo>
                    <a:pt x="125" y="599"/>
                  </a:lnTo>
                  <a:lnTo>
                    <a:pt x="128" y="598"/>
                  </a:lnTo>
                  <a:lnTo>
                    <a:pt x="132" y="598"/>
                  </a:lnTo>
                  <a:lnTo>
                    <a:pt x="132" y="596"/>
                  </a:lnTo>
                  <a:lnTo>
                    <a:pt x="135" y="596"/>
                  </a:lnTo>
                  <a:lnTo>
                    <a:pt x="135" y="593"/>
                  </a:lnTo>
                  <a:lnTo>
                    <a:pt x="131" y="593"/>
                  </a:lnTo>
                  <a:lnTo>
                    <a:pt x="131" y="589"/>
                  </a:lnTo>
                  <a:lnTo>
                    <a:pt x="129" y="587"/>
                  </a:lnTo>
                  <a:lnTo>
                    <a:pt x="129" y="584"/>
                  </a:lnTo>
                  <a:lnTo>
                    <a:pt x="131" y="584"/>
                  </a:lnTo>
                  <a:lnTo>
                    <a:pt x="133" y="583"/>
                  </a:lnTo>
                  <a:lnTo>
                    <a:pt x="133" y="580"/>
                  </a:lnTo>
                  <a:lnTo>
                    <a:pt x="132" y="575"/>
                  </a:lnTo>
                  <a:lnTo>
                    <a:pt x="129" y="571"/>
                  </a:lnTo>
                  <a:lnTo>
                    <a:pt x="126" y="565"/>
                  </a:lnTo>
                  <a:lnTo>
                    <a:pt x="125" y="559"/>
                  </a:lnTo>
                  <a:lnTo>
                    <a:pt x="125" y="557"/>
                  </a:lnTo>
                  <a:lnTo>
                    <a:pt x="123" y="556"/>
                  </a:lnTo>
                  <a:lnTo>
                    <a:pt x="120" y="554"/>
                  </a:lnTo>
                  <a:lnTo>
                    <a:pt x="119" y="553"/>
                  </a:lnTo>
                  <a:lnTo>
                    <a:pt x="119" y="548"/>
                  </a:lnTo>
                  <a:lnTo>
                    <a:pt x="116" y="547"/>
                  </a:lnTo>
                  <a:lnTo>
                    <a:pt x="116" y="532"/>
                  </a:lnTo>
                  <a:lnTo>
                    <a:pt x="114" y="530"/>
                  </a:lnTo>
                  <a:lnTo>
                    <a:pt x="110" y="530"/>
                  </a:lnTo>
                  <a:lnTo>
                    <a:pt x="107" y="532"/>
                  </a:lnTo>
                  <a:lnTo>
                    <a:pt x="102" y="532"/>
                  </a:lnTo>
                  <a:lnTo>
                    <a:pt x="99" y="530"/>
                  </a:lnTo>
                  <a:lnTo>
                    <a:pt x="96" y="530"/>
                  </a:lnTo>
                  <a:lnTo>
                    <a:pt x="96" y="529"/>
                  </a:lnTo>
                  <a:lnTo>
                    <a:pt x="95" y="526"/>
                  </a:lnTo>
                  <a:lnTo>
                    <a:pt x="95" y="524"/>
                  </a:lnTo>
                  <a:lnTo>
                    <a:pt x="92" y="523"/>
                  </a:lnTo>
                  <a:lnTo>
                    <a:pt x="90" y="521"/>
                  </a:lnTo>
                  <a:lnTo>
                    <a:pt x="89" y="518"/>
                  </a:lnTo>
                  <a:lnTo>
                    <a:pt x="89" y="509"/>
                  </a:lnTo>
                  <a:lnTo>
                    <a:pt x="92" y="506"/>
                  </a:lnTo>
                  <a:lnTo>
                    <a:pt x="92" y="498"/>
                  </a:lnTo>
                  <a:lnTo>
                    <a:pt x="93" y="498"/>
                  </a:lnTo>
                  <a:lnTo>
                    <a:pt x="93" y="489"/>
                  </a:lnTo>
                  <a:lnTo>
                    <a:pt x="90" y="486"/>
                  </a:lnTo>
                  <a:lnTo>
                    <a:pt x="77" y="486"/>
                  </a:lnTo>
                  <a:lnTo>
                    <a:pt x="72" y="481"/>
                  </a:lnTo>
                  <a:lnTo>
                    <a:pt x="69" y="481"/>
                  </a:lnTo>
                  <a:lnTo>
                    <a:pt x="63" y="478"/>
                  </a:lnTo>
                  <a:lnTo>
                    <a:pt x="62" y="477"/>
                  </a:lnTo>
                  <a:lnTo>
                    <a:pt x="60" y="474"/>
                  </a:lnTo>
                  <a:lnTo>
                    <a:pt x="63" y="462"/>
                  </a:lnTo>
                  <a:lnTo>
                    <a:pt x="63" y="457"/>
                  </a:lnTo>
                  <a:lnTo>
                    <a:pt x="72" y="448"/>
                  </a:lnTo>
                  <a:lnTo>
                    <a:pt x="78" y="444"/>
                  </a:lnTo>
                  <a:lnTo>
                    <a:pt x="81" y="439"/>
                  </a:lnTo>
                  <a:lnTo>
                    <a:pt x="86" y="435"/>
                  </a:lnTo>
                  <a:lnTo>
                    <a:pt x="86" y="433"/>
                  </a:lnTo>
                  <a:lnTo>
                    <a:pt x="90" y="423"/>
                  </a:lnTo>
                  <a:lnTo>
                    <a:pt x="101" y="412"/>
                  </a:lnTo>
                  <a:lnTo>
                    <a:pt x="102" y="412"/>
                  </a:lnTo>
                  <a:lnTo>
                    <a:pt x="104" y="411"/>
                  </a:lnTo>
                  <a:lnTo>
                    <a:pt x="108" y="411"/>
                  </a:lnTo>
                  <a:lnTo>
                    <a:pt x="110" y="412"/>
                  </a:lnTo>
                  <a:lnTo>
                    <a:pt x="111" y="412"/>
                  </a:lnTo>
                  <a:lnTo>
                    <a:pt x="114" y="415"/>
                  </a:lnTo>
                  <a:lnTo>
                    <a:pt x="114" y="420"/>
                  </a:lnTo>
                  <a:lnTo>
                    <a:pt x="116" y="423"/>
                  </a:lnTo>
                  <a:lnTo>
                    <a:pt x="120" y="427"/>
                  </a:lnTo>
                  <a:lnTo>
                    <a:pt x="123" y="429"/>
                  </a:lnTo>
                  <a:lnTo>
                    <a:pt x="128" y="427"/>
                  </a:lnTo>
                  <a:lnTo>
                    <a:pt x="132" y="424"/>
                  </a:lnTo>
                  <a:lnTo>
                    <a:pt x="138" y="421"/>
                  </a:lnTo>
                  <a:lnTo>
                    <a:pt x="141" y="421"/>
                  </a:lnTo>
                  <a:lnTo>
                    <a:pt x="145" y="420"/>
                  </a:lnTo>
                  <a:lnTo>
                    <a:pt x="157" y="420"/>
                  </a:lnTo>
                  <a:lnTo>
                    <a:pt x="163" y="417"/>
                  </a:lnTo>
                  <a:lnTo>
                    <a:pt x="171" y="415"/>
                  </a:lnTo>
                  <a:lnTo>
                    <a:pt x="171" y="414"/>
                  </a:lnTo>
                  <a:lnTo>
                    <a:pt x="172" y="408"/>
                  </a:lnTo>
                  <a:lnTo>
                    <a:pt x="172" y="406"/>
                  </a:lnTo>
                  <a:lnTo>
                    <a:pt x="177" y="400"/>
                  </a:lnTo>
                  <a:lnTo>
                    <a:pt x="183" y="396"/>
                  </a:lnTo>
                  <a:lnTo>
                    <a:pt x="184" y="394"/>
                  </a:lnTo>
                  <a:lnTo>
                    <a:pt x="186" y="391"/>
                  </a:lnTo>
                  <a:lnTo>
                    <a:pt x="186" y="390"/>
                  </a:lnTo>
                  <a:lnTo>
                    <a:pt x="189" y="379"/>
                  </a:lnTo>
                  <a:lnTo>
                    <a:pt x="190" y="376"/>
                  </a:lnTo>
                  <a:lnTo>
                    <a:pt x="195" y="372"/>
                  </a:lnTo>
                  <a:lnTo>
                    <a:pt x="219" y="360"/>
                  </a:lnTo>
                  <a:lnTo>
                    <a:pt x="219" y="358"/>
                  </a:lnTo>
                  <a:lnTo>
                    <a:pt x="220" y="358"/>
                  </a:lnTo>
                  <a:lnTo>
                    <a:pt x="222" y="354"/>
                  </a:lnTo>
                  <a:lnTo>
                    <a:pt x="222" y="352"/>
                  </a:lnTo>
                  <a:lnTo>
                    <a:pt x="225" y="348"/>
                  </a:lnTo>
                  <a:lnTo>
                    <a:pt x="229" y="342"/>
                  </a:lnTo>
                  <a:lnTo>
                    <a:pt x="231" y="337"/>
                  </a:lnTo>
                  <a:lnTo>
                    <a:pt x="234" y="333"/>
                  </a:lnTo>
                  <a:lnTo>
                    <a:pt x="237" y="325"/>
                  </a:lnTo>
                  <a:lnTo>
                    <a:pt x="238" y="318"/>
                  </a:lnTo>
                  <a:lnTo>
                    <a:pt x="240" y="312"/>
                  </a:lnTo>
                  <a:lnTo>
                    <a:pt x="241" y="310"/>
                  </a:lnTo>
                  <a:lnTo>
                    <a:pt x="249" y="307"/>
                  </a:lnTo>
                  <a:lnTo>
                    <a:pt x="258" y="306"/>
                  </a:lnTo>
                  <a:lnTo>
                    <a:pt x="259" y="304"/>
                  </a:lnTo>
                  <a:lnTo>
                    <a:pt x="267" y="298"/>
                  </a:lnTo>
                  <a:lnTo>
                    <a:pt x="267" y="297"/>
                  </a:lnTo>
                  <a:lnTo>
                    <a:pt x="265" y="294"/>
                  </a:lnTo>
                  <a:lnTo>
                    <a:pt x="265" y="292"/>
                  </a:lnTo>
                  <a:lnTo>
                    <a:pt x="262" y="289"/>
                  </a:lnTo>
                  <a:lnTo>
                    <a:pt x="262" y="288"/>
                  </a:lnTo>
                  <a:lnTo>
                    <a:pt x="264" y="286"/>
                  </a:lnTo>
                  <a:lnTo>
                    <a:pt x="264" y="285"/>
                  </a:lnTo>
                  <a:lnTo>
                    <a:pt x="265" y="286"/>
                  </a:lnTo>
                  <a:lnTo>
                    <a:pt x="267" y="285"/>
                  </a:lnTo>
                  <a:lnTo>
                    <a:pt x="268" y="282"/>
                  </a:lnTo>
                  <a:lnTo>
                    <a:pt x="270" y="280"/>
                  </a:lnTo>
                  <a:lnTo>
                    <a:pt x="271" y="280"/>
                  </a:lnTo>
                  <a:lnTo>
                    <a:pt x="271" y="276"/>
                  </a:lnTo>
                  <a:lnTo>
                    <a:pt x="273" y="276"/>
                  </a:lnTo>
                  <a:lnTo>
                    <a:pt x="273" y="274"/>
                  </a:lnTo>
                  <a:lnTo>
                    <a:pt x="274" y="274"/>
                  </a:lnTo>
                  <a:lnTo>
                    <a:pt x="276" y="273"/>
                  </a:lnTo>
                  <a:lnTo>
                    <a:pt x="277" y="273"/>
                  </a:lnTo>
                  <a:lnTo>
                    <a:pt x="277" y="270"/>
                  </a:lnTo>
                  <a:lnTo>
                    <a:pt x="279" y="270"/>
                  </a:lnTo>
                  <a:lnTo>
                    <a:pt x="279" y="268"/>
                  </a:lnTo>
                  <a:lnTo>
                    <a:pt x="282" y="265"/>
                  </a:lnTo>
                  <a:lnTo>
                    <a:pt x="280" y="265"/>
                  </a:lnTo>
                  <a:lnTo>
                    <a:pt x="280" y="264"/>
                  </a:lnTo>
                  <a:lnTo>
                    <a:pt x="283" y="264"/>
                  </a:lnTo>
                  <a:lnTo>
                    <a:pt x="283" y="261"/>
                  </a:lnTo>
                  <a:lnTo>
                    <a:pt x="285" y="261"/>
                  </a:lnTo>
                  <a:lnTo>
                    <a:pt x="285" y="259"/>
                  </a:lnTo>
                  <a:lnTo>
                    <a:pt x="286" y="261"/>
                  </a:lnTo>
                  <a:lnTo>
                    <a:pt x="288" y="261"/>
                  </a:lnTo>
                  <a:lnTo>
                    <a:pt x="288" y="259"/>
                  </a:lnTo>
                  <a:lnTo>
                    <a:pt x="289" y="258"/>
                  </a:lnTo>
                  <a:lnTo>
                    <a:pt x="292" y="258"/>
                  </a:lnTo>
                  <a:lnTo>
                    <a:pt x="292" y="256"/>
                  </a:lnTo>
                  <a:lnTo>
                    <a:pt x="293" y="256"/>
                  </a:lnTo>
                  <a:lnTo>
                    <a:pt x="293" y="255"/>
                  </a:lnTo>
                  <a:lnTo>
                    <a:pt x="295" y="255"/>
                  </a:lnTo>
                  <a:lnTo>
                    <a:pt x="295" y="252"/>
                  </a:lnTo>
                  <a:lnTo>
                    <a:pt x="296" y="252"/>
                  </a:lnTo>
                  <a:lnTo>
                    <a:pt x="299" y="250"/>
                  </a:lnTo>
                  <a:lnTo>
                    <a:pt x="298" y="250"/>
                  </a:lnTo>
                  <a:lnTo>
                    <a:pt x="298" y="249"/>
                  </a:lnTo>
                  <a:lnTo>
                    <a:pt x="293" y="249"/>
                  </a:lnTo>
                  <a:lnTo>
                    <a:pt x="293" y="247"/>
                  </a:lnTo>
                  <a:lnTo>
                    <a:pt x="292" y="247"/>
                  </a:lnTo>
                  <a:lnTo>
                    <a:pt x="292" y="244"/>
                  </a:lnTo>
                  <a:lnTo>
                    <a:pt x="293" y="243"/>
                  </a:lnTo>
                  <a:lnTo>
                    <a:pt x="293" y="238"/>
                  </a:lnTo>
                  <a:lnTo>
                    <a:pt x="295" y="234"/>
                  </a:lnTo>
                  <a:lnTo>
                    <a:pt x="295" y="233"/>
                  </a:lnTo>
                  <a:lnTo>
                    <a:pt x="296" y="233"/>
                  </a:lnTo>
                  <a:lnTo>
                    <a:pt x="296" y="230"/>
                  </a:lnTo>
                  <a:lnTo>
                    <a:pt x="295" y="227"/>
                  </a:lnTo>
                  <a:lnTo>
                    <a:pt x="295" y="222"/>
                  </a:lnTo>
                  <a:lnTo>
                    <a:pt x="292" y="218"/>
                  </a:lnTo>
                  <a:lnTo>
                    <a:pt x="292" y="215"/>
                  </a:lnTo>
                  <a:lnTo>
                    <a:pt x="293" y="215"/>
                  </a:lnTo>
                  <a:lnTo>
                    <a:pt x="293" y="210"/>
                  </a:lnTo>
                  <a:lnTo>
                    <a:pt x="295" y="210"/>
                  </a:lnTo>
                  <a:lnTo>
                    <a:pt x="298" y="207"/>
                  </a:lnTo>
                  <a:lnTo>
                    <a:pt x="299" y="207"/>
                  </a:lnTo>
                  <a:lnTo>
                    <a:pt x="301" y="204"/>
                  </a:lnTo>
                  <a:lnTo>
                    <a:pt x="305" y="204"/>
                  </a:lnTo>
                  <a:lnTo>
                    <a:pt x="305" y="201"/>
                  </a:lnTo>
                  <a:lnTo>
                    <a:pt x="307" y="200"/>
                  </a:lnTo>
                  <a:lnTo>
                    <a:pt x="308" y="201"/>
                  </a:lnTo>
                  <a:lnTo>
                    <a:pt x="310" y="200"/>
                  </a:lnTo>
                  <a:lnTo>
                    <a:pt x="313" y="200"/>
                  </a:lnTo>
                  <a:lnTo>
                    <a:pt x="314" y="198"/>
                  </a:lnTo>
                  <a:lnTo>
                    <a:pt x="316" y="198"/>
                  </a:lnTo>
                  <a:lnTo>
                    <a:pt x="316" y="197"/>
                  </a:lnTo>
                  <a:lnTo>
                    <a:pt x="323" y="197"/>
                  </a:lnTo>
                  <a:lnTo>
                    <a:pt x="322" y="195"/>
                  </a:lnTo>
                  <a:lnTo>
                    <a:pt x="323" y="195"/>
                  </a:lnTo>
                  <a:lnTo>
                    <a:pt x="325" y="194"/>
                  </a:lnTo>
                  <a:lnTo>
                    <a:pt x="328" y="194"/>
                  </a:lnTo>
                  <a:lnTo>
                    <a:pt x="328" y="192"/>
                  </a:lnTo>
                  <a:lnTo>
                    <a:pt x="329" y="191"/>
                  </a:lnTo>
                  <a:lnTo>
                    <a:pt x="331" y="188"/>
                  </a:lnTo>
                  <a:lnTo>
                    <a:pt x="331" y="186"/>
                  </a:lnTo>
                  <a:lnTo>
                    <a:pt x="325" y="180"/>
                  </a:lnTo>
                  <a:lnTo>
                    <a:pt x="323" y="180"/>
                  </a:lnTo>
                  <a:lnTo>
                    <a:pt x="320" y="179"/>
                  </a:lnTo>
                  <a:lnTo>
                    <a:pt x="319" y="179"/>
                  </a:lnTo>
                  <a:lnTo>
                    <a:pt x="316" y="176"/>
                  </a:lnTo>
                  <a:lnTo>
                    <a:pt x="314" y="176"/>
                  </a:lnTo>
                  <a:lnTo>
                    <a:pt x="313" y="177"/>
                  </a:lnTo>
                  <a:lnTo>
                    <a:pt x="310" y="177"/>
                  </a:lnTo>
                  <a:lnTo>
                    <a:pt x="307" y="176"/>
                  </a:lnTo>
                  <a:lnTo>
                    <a:pt x="304" y="176"/>
                  </a:lnTo>
                  <a:lnTo>
                    <a:pt x="302" y="177"/>
                  </a:lnTo>
                  <a:lnTo>
                    <a:pt x="299" y="174"/>
                  </a:lnTo>
                  <a:lnTo>
                    <a:pt x="298" y="171"/>
                  </a:lnTo>
                  <a:lnTo>
                    <a:pt x="298" y="168"/>
                  </a:lnTo>
                  <a:lnTo>
                    <a:pt x="299" y="167"/>
                  </a:lnTo>
                  <a:lnTo>
                    <a:pt x="299" y="165"/>
                  </a:lnTo>
                  <a:lnTo>
                    <a:pt x="298" y="164"/>
                  </a:lnTo>
                  <a:lnTo>
                    <a:pt x="298" y="162"/>
                  </a:lnTo>
                  <a:lnTo>
                    <a:pt x="299" y="161"/>
                  </a:lnTo>
                  <a:lnTo>
                    <a:pt x="299" y="159"/>
                  </a:lnTo>
                  <a:lnTo>
                    <a:pt x="301" y="158"/>
                  </a:lnTo>
                  <a:lnTo>
                    <a:pt x="301" y="156"/>
                  </a:lnTo>
                  <a:lnTo>
                    <a:pt x="298" y="156"/>
                  </a:lnTo>
                  <a:lnTo>
                    <a:pt x="298" y="159"/>
                  </a:lnTo>
                  <a:lnTo>
                    <a:pt x="296" y="159"/>
                  </a:lnTo>
                  <a:lnTo>
                    <a:pt x="296" y="161"/>
                  </a:lnTo>
                  <a:lnTo>
                    <a:pt x="291" y="161"/>
                  </a:lnTo>
                  <a:lnTo>
                    <a:pt x="289" y="159"/>
                  </a:lnTo>
                  <a:lnTo>
                    <a:pt x="286" y="159"/>
                  </a:lnTo>
                  <a:lnTo>
                    <a:pt x="286" y="161"/>
                  </a:lnTo>
                  <a:lnTo>
                    <a:pt x="285" y="159"/>
                  </a:lnTo>
                  <a:lnTo>
                    <a:pt x="283" y="159"/>
                  </a:lnTo>
                  <a:lnTo>
                    <a:pt x="283" y="156"/>
                  </a:lnTo>
                  <a:lnTo>
                    <a:pt x="285" y="155"/>
                  </a:lnTo>
                  <a:lnTo>
                    <a:pt x="283" y="152"/>
                  </a:lnTo>
                  <a:lnTo>
                    <a:pt x="283" y="147"/>
                  </a:lnTo>
                  <a:lnTo>
                    <a:pt x="282" y="147"/>
                  </a:lnTo>
                  <a:lnTo>
                    <a:pt x="277" y="146"/>
                  </a:lnTo>
                  <a:lnTo>
                    <a:pt x="276" y="144"/>
                  </a:lnTo>
                  <a:lnTo>
                    <a:pt x="274" y="141"/>
                  </a:lnTo>
                  <a:lnTo>
                    <a:pt x="273" y="140"/>
                  </a:lnTo>
                  <a:lnTo>
                    <a:pt x="270" y="138"/>
                  </a:lnTo>
                  <a:lnTo>
                    <a:pt x="270" y="137"/>
                  </a:lnTo>
                  <a:lnTo>
                    <a:pt x="268" y="135"/>
                  </a:lnTo>
                  <a:lnTo>
                    <a:pt x="268" y="134"/>
                  </a:lnTo>
                  <a:lnTo>
                    <a:pt x="271" y="131"/>
                  </a:lnTo>
                  <a:lnTo>
                    <a:pt x="273" y="131"/>
                  </a:lnTo>
                  <a:lnTo>
                    <a:pt x="273" y="129"/>
                  </a:lnTo>
                  <a:lnTo>
                    <a:pt x="274" y="128"/>
                  </a:lnTo>
                  <a:lnTo>
                    <a:pt x="276" y="125"/>
                  </a:lnTo>
                  <a:lnTo>
                    <a:pt x="276" y="117"/>
                  </a:lnTo>
                  <a:lnTo>
                    <a:pt x="273" y="116"/>
                  </a:lnTo>
                  <a:lnTo>
                    <a:pt x="267" y="110"/>
                  </a:lnTo>
                  <a:lnTo>
                    <a:pt x="267" y="107"/>
                  </a:lnTo>
                  <a:lnTo>
                    <a:pt x="268" y="107"/>
                  </a:lnTo>
                  <a:lnTo>
                    <a:pt x="268" y="105"/>
                  </a:lnTo>
                  <a:lnTo>
                    <a:pt x="270" y="102"/>
                  </a:lnTo>
                  <a:lnTo>
                    <a:pt x="271" y="102"/>
                  </a:lnTo>
                  <a:lnTo>
                    <a:pt x="276" y="101"/>
                  </a:lnTo>
                  <a:lnTo>
                    <a:pt x="277" y="101"/>
                  </a:lnTo>
                  <a:lnTo>
                    <a:pt x="282" y="96"/>
                  </a:lnTo>
                  <a:lnTo>
                    <a:pt x="282" y="95"/>
                  </a:lnTo>
                  <a:lnTo>
                    <a:pt x="280" y="93"/>
                  </a:lnTo>
                  <a:lnTo>
                    <a:pt x="280" y="92"/>
                  </a:lnTo>
                  <a:lnTo>
                    <a:pt x="267" y="92"/>
                  </a:lnTo>
                  <a:lnTo>
                    <a:pt x="264" y="89"/>
                  </a:lnTo>
                  <a:lnTo>
                    <a:pt x="264" y="86"/>
                  </a:lnTo>
                  <a:lnTo>
                    <a:pt x="265" y="84"/>
                  </a:lnTo>
                  <a:lnTo>
                    <a:pt x="268" y="83"/>
                  </a:lnTo>
                  <a:lnTo>
                    <a:pt x="268" y="80"/>
                  </a:lnTo>
                  <a:lnTo>
                    <a:pt x="267" y="77"/>
                  </a:lnTo>
                  <a:lnTo>
                    <a:pt x="267" y="75"/>
                  </a:lnTo>
                  <a:lnTo>
                    <a:pt x="261" y="75"/>
                  </a:lnTo>
                  <a:lnTo>
                    <a:pt x="259" y="74"/>
                  </a:lnTo>
                  <a:lnTo>
                    <a:pt x="259" y="69"/>
                  </a:lnTo>
                  <a:lnTo>
                    <a:pt x="261" y="69"/>
                  </a:lnTo>
                  <a:lnTo>
                    <a:pt x="261" y="68"/>
                  </a:lnTo>
                  <a:lnTo>
                    <a:pt x="262" y="68"/>
                  </a:lnTo>
                  <a:lnTo>
                    <a:pt x="262" y="63"/>
                  </a:lnTo>
                  <a:lnTo>
                    <a:pt x="265" y="62"/>
                  </a:lnTo>
                  <a:lnTo>
                    <a:pt x="265" y="57"/>
                  </a:lnTo>
                  <a:lnTo>
                    <a:pt x="267" y="56"/>
                  </a:lnTo>
                  <a:lnTo>
                    <a:pt x="274" y="54"/>
                  </a:lnTo>
                  <a:lnTo>
                    <a:pt x="276" y="53"/>
                  </a:lnTo>
                  <a:lnTo>
                    <a:pt x="282" y="50"/>
                  </a:lnTo>
                  <a:lnTo>
                    <a:pt x="288" y="50"/>
                  </a:lnTo>
                  <a:lnTo>
                    <a:pt x="299" y="54"/>
                  </a:lnTo>
                  <a:lnTo>
                    <a:pt x="316" y="57"/>
                  </a:lnTo>
                  <a:lnTo>
                    <a:pt x="320" y="57"/>
                  </a:lnTo>
                  <a:lnTo>
                    <a:pt x="323" y="56"/>
                  </a:lnTo>
                  <a:lnTo>
                    <a:pt x="325" y="56"/>
                  </a:lnTo>
                  <a:lnTo>
                    <a:pt x="325" y="57"/>
                  </a:lnTo>
                  <a:lnTo>
                    <a:pt x="326" y="59"/>
                  </a:lnTo>
                  <a:lnTo>
                    <a:pt x="329" y="60"/>
                  </a:lnTo>
                  <a:lnTo>
                    <a:pt x="331" y="62"/>
                  </a:lnTo>
                  <a:lnTo>
                    <a:pt x="343" y="65"/>
                  </a:lnTo>
                  <a:lnTo>
                    <a:pt x="352" y="65"/>
                  </a:lnTo>
                  <a:lnTo>
                    <a:pt x="352" y="63"/>
                  </a:lnTo>
                  <a:lnTo>
                    <a:pt x="355" y="60"/>
                  </a:lnTo>
                  <a:lnTo>
                    <a:pt x="358" y="59"/>
                  </a:lnTo>
                  <a:lnTo>
                    <a:pt x="362" y="54"/>
                  </a:lnTo>
                  <a:lnTo>
                    <a:pt x="364" y="54"/>
                  </a:lnTo>
                  <a:lnTo>
                    <a:pt x="367" y="56"/>
                  </a:lnTo>
                  <a:lnTo>
                    <a:pt x="368" y="56"/>
                  </a:lnTo>
                  <a:lnTo>
                    <a:pt x="373" y="54"/>
                  </a:lnTo>
                  <a:lnTo>
                    <a:pt x="379" y="51"/>
                  </a:lnTo>
                  <a:lnTo>
                    <a:pt x="380" y="50"/>
                  </a:lnTo>
                  <a:lnTo>
                    <a:pt x="382" y="50"/>
                  </a:lnTo>
                  <a:lnTo>
                    <a:pt x="385" y="51"/>
                  </a:lnTo>
                  <a:lnTo>
                    <a:pt x="391" y="51"/>
                  </a:lnTo>
                  <a:lnTo>
                    <a:pt x="395" y="47"/>
                  </a:lnTo>
                  <a:lnTo>
                    <a:pt x="395" y="41"/>
                  </a:lnTo>
                  <a:lnTo>
                    <a:pt x="397" y="41"/>
                  </a:lnTo>
                  <a:lnTo>
                    <a:pt x="398" y="39"/>
                  </a:lnTo>
                  <a:lnTo>
                    <a:pt x="400" y="39"/>
                  </a:lnTo>
                  <a:lnTo>
                    <a:pt x="401" y="41"/>
                  </a:lnTo>
                  <a:lnTo>
                    <a:pt x="404" y="41"/>
                  </a:lnTo>
                  <a:lnTo>
                    <a:pt x="404" y="39"/>
                  </a:lnTo>
                  <a:lnTo>
                    <a:pt x="407" y="38"/>
                  </a:lnTo>
                  <a:lnTo>
                    <a:pt x="407" y="36"/>
                  </a:lnTo>
                  <a:lnTo>
                    <a:pt x="409" y="35"/>
                  </a:lnTo>
                  <a:lnTo>
                    <a:pt x="407" y="33"/>
                  </a:lnTo>
                  <a:lnTo>
                    <a:pt x="407" y="32"/>
                  </a:lnTo>
                  <a:lnTo>
                    <a:pt x="409" y="30"/>
                  </a:lnTo>
                  <a:lnTo>
                    <a:pt x="397"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37">
              <a:extLst>
                <a:ext uri="{FF2B5EF4-FFF2-40B4-BE49-F238E27FC236}">
                  <a16:creationId xmlns:a16="http://schemas.microsoft.com/office/drawing/2014/main" id="{AE7FF638-4D74-4E9A-B9AD-DC205B6D0005}"/>
                </a:ext>
              </a:extLst>
            </p:cNvPr>
            <p:cNvSpPr>
              <a:spLocks/>
            </p:cNvSpPr>
            <p:nvPr/>
          </p:nvSpPr>
          <p:spPr bwMode="auto">
            <a:xfrm>
              <a:off x="2203170" y="3821724"/>
              <a:ext cx="162673" cy="90257"/>
            </a:xfrm>
            <a:custGeom>
              <a:avLst/>
              <a:gdLst/>
              <a:ahLst/>
              <a:cxnLst>
                <a:cxn ang="0">
                  <a:pos x="67" y="2"/>
                </a:cxn>
                <a:cxn ang="0">
                  <a:pos x="70" y="3"/>
                </a:cxn>
                <a:cxn ang="0">
                  <a:pos x="75" y="3"/>
                </a:cxn>
                <a:cxn ang="0">
                  <a:pos x="85" y="6"/>
                </a:cxn>
                <a:cxn ang="0">
                  <a:pos x="82" y="11"/>
                </a:cxn>
                <a:cxn ang="0">
                  <a:pos x="88" y="15"/>
                </a:cxn>
                <a:cxn ang="0">
                  <a:pos x="93" y="15"/>
                </a:cxn>
                <a:cxn ang="0">
                  <a:pos x="100" y="17"/>
                </a:cxn>
                <a:cxn ang="0">
                  <a:pos x="109" y="20"/>
                </a:cxn>
                <a:cxn ang="0">
                  <a:pos x="118" y="14"/>
                </a:cxn>
                <a:cxn ang="0">
                  <a:pos x="126" y="20"/>
                </a:cxn>
                <a:cxn ang="0">
                  <a:pos x="135" y="21"/>
                </a:cxn>
                <a:cxn ang="0">
                  <a:pos x="133" y="27"/>
                </a:cxn>
                <a:cxn ang="0">
                  <a:pos x="132" y="36"/>
                </a:cxn>
                <a:cxn ang="0">
                  <a:pos x="135" y="44"/>
                </a:cxn>
                <a:cxn ang="0">
                  <a:pos x="139" y="48"/>
                </a:cxn>
                <a:cxn ang="0">
                  <a:pos x="149" y="47"/>
                </a:cxn>
                <a:cxn ang="0">
                  <a:pos x="154" y="54"/>
                </a:cxn>
                <a:cxn ang="0">
                  <a:pos x="152" y="57"/>
                </a:cxn>
                <a:cxn ang="0">
                  <a:pos x="151" y="63"/>
                </a:cxn>
                <a:cxn ang="0">
                  <a:pos x="151" y="66"/>
                </a:cxn>
                <a:cxn ang="0">
                  <a:pos x="154" y="75"/>
                </a:cxn>
                <a:cxn ang="0">
                  <a:pos x="148" y="77"/>
                </a:cxn>
                <a:cxn ang="0">
                  <a:pos x="145" y="78"/>
                </a:cxn>
                <a:cxn ang="0">
                  <a:pos x="144" y="78"/>
                </a:cxn>
                <a:cxn ang="0">
                  <a:pos x="139" y="80"/>
                </a:cxn>
                <a:cxn ang="0">
                  <a:pos x="135" y="80"/>
                </a:cxn>
                <a:cxn ang="0">
                  <a:pos x="129" y="81"/>
                </a:cxn>
                <a:cxn ang="0">
                  <a:pos x="127" y="77"/>
                </a:cxn>
                <a:cxn ang="0">
                  <a:pos x="121" y="80"/>
                </a:cxn>
                <a:cxn ang="0">
                  <a:pos x="114" y="80"/>
                </a:cxn>
                <a:cxn ang="0">
                  <a:pos x="102" y="81"/>
                </a:cxn>
                <a:cxn ang="0">
                  <a:pos x="76" y="75"/>
                </a:cxn>
                <a:cxn ang="0">
                  <a:pos x="67" y="78"/>
                </a:cxn>
                <a:cxn ang="0">
                  <a:pos x="63" y="83"/>
                </a:cxn>
                <a:cxn ang="0">
                  <a:pos x="51" y="86"/>
                </a:cxn>
                <a:cxn ang="0">
                  <a:pos x="40" y="84"/>
                </a:cxn>
                <a:cxn ang="0">
                  <a:pos x="39" y="81"/>
                </a:cxn>
                <a:cxn ang="0">
                  <a:pos x="30" y="78"/>
                </a:cxn>
                <a:cxn ang="0">
                  <a:pos x="18" y="80"/>
                </a:cxn>
                <a:cxn ang="0">
                  <a:pos x="15" y="75"/>
                </a:cxn>
                <a:cxn ang="0">
                  <a:pos x="12" y="74"/>
                </a:cxn>
                <a:cxn ang="0">
                  <a:pos x="10" y="74"/>
                </a:cxn>
                <a:cxn ang="0">
                  <a:pos x="9" y="71"/>
                </a:cxn>
                <a:cxn ang="0">
                  <a:pos x="6" y="66"/>
                </a:cxn>
                <a:cxn ang="0">
                  <a:pos x="0" y="62"/>
                </a:cxn>
                <a:cxn ang="0">
                  <a:pos x="3" y="57"/>
                </a:cxn>
                <a:cxn ang="0">
                  <a:pos x="7" y="54"/>
                </a:cxn>
                <a:cxn ang="0">
                  <a:pos x="12" y="54"/>
                </a:cxn>
                <a:cxn ang="0">
                  <a:pos x="12" y="50"/>
                </a:cxn>
                <a:cxn ang="0">
                  <a:pos x="12" y="45"/>
                </a:cxn>
                <a:cxn ang="0">
                  <a:pos x="13" y="41"/>
                </a:cxn>
                <a:cxn ang="0">
                  <a:pos x="16" y="38"/>
                </a:cxn>
                <a:cxn ang="0">
                  <a:pos x="22" y="33"/>
                </a:cxn>
                <a:cxn ang="0">
                  <a:pos x="27" y="27"/>
                </a:cxn>
                <a:cxn ang="0">
                  <a:pos x="33" y="20"/>
                </a:cxn>
                <a:cxn ang="0">
                  <a:pos x="34" y="15"/>
                </a:cxn>
                <a:cxn ang="0">
                  <a:pos x="46" y="9"/>
                </a:cxn>
                <a:cxn ang="0">
                  <a:pos x="49" y="6"/>
                </a:cxn>
                <a:cxn ang="0">
                  <a:pos x="52" y="3"/>
                </a:cxn>
                <a:cxn ang="0">
                  <a:pos x="57" y="3"/>
                </a:cxn>
              </a:cxnLst>
              <a:rect l="0" t="0" r="r" b="b"/>
              <a:pathLst>
                <a:path w="155" h="86">
                  <a:moveTo>
                    <a:pt x="63" y="0"/>
                  </a:moveTo>
                  <a:lnTo>
                    <a:pt x="64" y="2"/>
                  </a:lnTo>
                  <a:lnTo>
                    <a:pt x="67" y="2"/>
                  </a:lnTo>
                  <a:lnTo>
                    <a:pt x="69" y="0"/>
                  </a:lnTo>
                  <a:lnTo>
                    <a:pt x="70" y="2"/>
                  </a:lnTo>
                  <a:lnTo>
                    <a:pt x="70" y="3"/>
                  </a:lnTo>
                  <a:lnTo>
                    <a:pt x="72" y="5"/>
                  </a:lnTo>
                  <a:lnTo>
                    <a:pt x="75" y="5"/>
                  </a:lnTo>
                  <a:lnTo>
                    <a:pt x="75" y="3"/>
                  </a:lnTo>
                  <a:lnTo>
                    <a:pt x="79" y="3"/>
                  </a:lnTo>
                  <a:lnTo>
                    <a:pt x="82" y="6"/>
                  </a:lnTo>
                  <a:lnTo>
                    <a:pt x="85" y="6"/>
                  </a:lnTo>
                  <a:lnTo>
                    <a:pt x="87" y="8"/>
                  </a:lnTo>
                  <a:lnTo>
                    <a:pt x="84" y="11"/>
                  </a:lnTo>
                  <a:lnTo>
                    <a:pt x="82" y="11"/>
                  </a:lnTo>
                  <a:lnTo>
                    <a:pt x="81" y="12"/>
                  </a:lnTo>
                  <a:lnTo>
                    <a:pt x="81" y="15"/>
                  </a:lnTo>
                  <a:lnTo>
                    <a:pt x="88" y="15"/>
                  </a:lnTo>
                  <a:lnTo>
                    <a:pt x="88" y="14"/>
                  </a:lnTo>
                  <a:lnTo>
                    <a:pt x="90" y="14"/>
                  </a:lnTo>
                  <a:lnTo>
                    <a:pt x="93" y="15"/>
                  </a:lnTo>
                  <a:lnTo>
                    <a:pt x="94" y="15"/>
                  </a:lnTo>
                  <a:lnTo>
                    <a:pt x="96" y="17"/>
                  </a:lnTo>
                  <a:lnTo>
                    <a:pt x="100" y="17"/>
                  </a:lnTo>
                  <a:lnTo>
                    <a:pt x="103" y="18"/>
                  </a:lnTo>
                  <a:lnTo>
                    <a:pt x="103" y="20"/>
                  </a:lnTo>
                  <a:lnTo>
                    <a:pt x="109" y="20"/>
                  </a:lnTo>
                  <a:lnTo>
                    <a:pt x="114" y="15"/>
                  </a:lnTo>
                  <a:lnTo>
                    <a:pt x="117" y="15"/>
                  </a:lnTo>
                  <a:lnTo>
                    <a:pt x="118" y="14"/>
                  </a:lnTo>
                  <a:lnTo>
                    <a:pt x="121" y="17"/>
                  </a:lnTo>
                  <a:lnTo>
                    <a:pt x="124" y="18"/>
                  </a:lnTo>
                  <a:lnTo>
                    <a:pt x="126" y="20"/>
                  </a:lnTo>
                  <a:lnTo>
                    <a:pt x="132" y="20"/>
                  </a:lnTo>
                  <a:lnTo>
                    <a:pt x="133" y="21"/>
                  </a:lnTo>
                  <a:lnTo>
                    <a:pt x="135" y="21"/>
                  </a:lnTo>
                  <a:lnTo>
                    <a:pt x="135" y="24"/>
                  </a:lnTo>
                  <a:lnTo>
                    <a:pt x="133" y="26"/>
                  </a:lnTo>
                  <a:lnTo>
                    <a:pt x="133" y="27"/>
                  </a:lnTo>
                  <a:lnTo>
                    <a:pt x="135" y="32"/>
                  </a:lnTo>
                  <a:lnTo>
                    <a:pt x="133" y="33"/>
                  </a:lnTo>
                  <a:lnTo>
                    <a:pt x="132" y="36"/>
                  </a:lnTo>
                  <a:lnTo>
                    <a:pt x="132" y="42"/>
                  </a:lnTo>
                  <a:lnTo>
                    <a:pt x="133" y="42"/>
                  </a:lnTo>
                  <a:lnTo>
                    <a:pt x="135" y="44"/>
                  </a:lnTo>
                  <a:lnTo>
                    <a:pt x="135" y="45"/>
                  </a:lnTo>
                  <a:lnTo>
                    <a:pt x="136" y="45"/>
                  </a:lnTo>
                  <a:lnTo>
                    <a:pt x="139" y="48"/>
                  </a:lnTo>
                  <a:lnTo>
                    <a:pt x="141" y="48"/>
                  </a:lnTo>
                  <a:lnTo>
                    <a:pt x="144" y="47"/>
                  </a:lnTo>
                  <a:lnTo>
                    <a:pt x="149" y="47"/>
                  </a:lnTo>
                  <a:lnTo>
                    <a:pt x="149" y="45"/>
                  </a:lnTo>
                  <a:lnTo>
                    <a:pt x="151" y="47"/>
                  </a:lnTo>
                  <a:lnTo>
                    <a:pt x="154" y="54"/>
                  </a:lnTo>
                  <a:lnTo>
                    <a:pt x="155" y="56"/>
                  </a:lnTo>
                  <a:lnTo>
                    <a:pt x="154" y="56"/>
                  </a:lnTo>
                  <a:lnTo>
                    <a:pt x="152" y="57"/>
                  </a:lnTo>
                  <a:lnTo>
                    <a:pt x="152" y="60"/>
                  </a:lnTo>
                  <a:lnTo>
                    <a:pt x="151" y="60"/>
                  </a:lnTo>
                  <a:lnTo>
                    <a:pt x="151" y="63"/>
                  </a:lnTo>
                  <a:lnTo>
                    <a:pt x="149" y="63"/>
                  </a:lnTo>
                  <a:lnTo>
                    <a:pt x="149" y="65"/>
                  </a:lnTo>
                  <a:lnTo>
                    <a:pt x="151" y="66"/>
                  </a:lnTo>
                  <a:lnTo>
                    <a:pt x="152" y="69"/>
                  </a:lnTo>
                  <a:lnTo>
                    <a:pt x="154" y="71"/>
                  </a:lnTo>
                  <a:lnTo>
                    <a:pt x="154" y="75"/>
                  </a:lnTo>
                  <a:lnTo>
                    <a:pt x="152" y="78"/>
                  </a:lnTo>
                  <a:lnTo>
                    <a:pt x="149" y="78"/>
                  </a:lnTo>
                  <a:lnTo>
                    <a:pt x="148" y="77"/>
                  </a:lnTo>
                  <a:lnTo>
                    <a:pt x="147" y="77"/>
                  </a:lnTo>
                  <a:lnTo>
                    <a:pt x="147" y="78"/>
                  </a:lnTo>
                  <a:lnTo>
                    <a:pt x="145" y="78"/>
                  </a:lnTo>
                  <a:lnTo>
                    <a:pt x="145" y="80"/>
                  </a:lnTo>
                  <a:lnTo>
                    <a:pt x="144" y="80"/>
                  </a:lnTo>
                  <a:lnTo>
                    <a:pt x="144" y="78"/>
                  </a:lnTo>
                  <a:lnTo>
                    <a:pt x="142" y="77"/>
                  </a:lnTo>
                  <a:lnTo>
                    <a:pt x="142" y="78"/>
                  </a:lnTo>
                  <a:lnTo>
                    <a:pt x="139" y="80"/>
                  </a:lnTo>
                  <a:lnTo>
                    <a:pt x="138" y="80"/>
                  </a:lnTo>
                  <a:lnTo>
                    <a:pt x="135" y="81"/>
                  </a:lnTo>
                  <a:lnTo>
                    <a:pt x="135" y="80"/>
                  </a:lnTo>
                  <a:lnTo>
                    <a:pt x="132" y="80"/>
                  </a:lnTo>
                  <a:lnTo>
                    <a:pt x="130" y="81"/>
                  </a:lnTo>
                  <a:lnTo>
                    <a:pt x="129" y="81"/>
                  </a:lnTo>
                  <a:lnTo>
                    <a:pt x="129" y="80"/>
                  </a:lnTo>
                  <a:lnTo>
                    <a:pt x="127" y="78"/>
                  </a:lnTo>
                  <a:lnTo>
                    <a:pt x="127" y="77"/>
                  </a:lnTo>
                  <a:lnTo>
                    <a:pt x="123" y="77"/>
                  </a:lnTo>
                  <a:lnTo>
                    <a:pt x="123" y="78"/>
                  </a:lnTo>
                  <a:lnTo>
                    <a:pt x="121" y="80"/>
                  </a:lnTo>
                  <a:lnTo>
                    <a:pt x="121" y="81"/>
                  </a:lnTo>
                  <a:lnTo>
                    <a:pt x="115" y="81"/>
                  </a:lnTo>
                  <a:lnTo>
                    <a:pt x="114" y="80"/>
                  </a:lnTo>
                  <a:lnTo>
                    <a:pt x="108" y="80"/>
                  </a:lnTo>
                  <a:lnTo>
                    <a:pt x="106" y="81"/>
                  </a:lnTo>
                  <a:lnTo>
                    <a:pt x="102" y="81"/>
                  </a:lnTo>
                  <a:lnTo>
                    <a:pt x="91" y="83"/>
                  </a:lnTo>
                  <a:lnTo>
                    <a:pt x="85" y="81"/>
                  </a:lnTo>
                  <a:lnTo>
                    <a:pt x="76" y="75"/>
                  </a:lnTo>
                  <a:lnTo>
                    <a:pt x="75" y="75"/>
                  </a:lnTo>
                  <a:lnTo>
                    <a:pt x="72" y="78"/>
                  </a:lnTo>
                  <a:lnTo>
                    <a:pt x="67" y="78"/>
                  </a:lnTo>
                  <a:lnTo>
                    <a:pt x="66" y="81"/>
                  </a:lnTo>
                  <a:lnTo>
                    <a:pt x="64" y="83"/>
                  </a:lnTo>
                  <a:lnTo>
                    <a:pt x="63" y="83"/>
                  </a:lnTo>
                  <a:lnTo>
                    <a:pt x="58" y="84"/>
                  </a:lnTo>
                  <a:lnTo>
                    <a:pt x="51" y="84"/>
                  </a:lnTo>
                  <a:lnTo>
                    <a:pt x="51" y="86"/>
                  </a:lnTo>
                  <a:lnTo>
                    <a:pt x="46" y="86"/>
                  </a:lnTo>
                  <a:lnTo>
                    <a:pt x="45" y="84"/>
                  </a:lnTo>
                  <a:lnTo>
                    <a:pt x="40" y="84"/>
                  </a:lnTo>
                  <a:lnTo>
                    <a:pt x="42" y="83"/>
                  </a:lnTo>
                  <a:lnTo>
                    <a:pt x="40" y="81"/>
                  </a:lnTo>
                  <a:lnTo>
                    <a:pt x="39" y="81"/>
                  </a:lnTo>
                  <a:lnTo>
                    <a:pt x="36" y="80"/>
                  </a:lnTo>
                  <a:lnTo>
                    <a:pt x="33" y="81"/>
                  </a:lnTo>
                  <a:lnTo>
                    <a:pt x="30" y="78"/>
                  </a:lnTo>
                  <a:lnTo>
                    <a:pt x="25" y="78"/>
                  </a:lnTo>
                  <a:lnTo>
                    <a:pt x="25" y="80"/>
                  </a:lnTo>
                  <a:lnTo>
                    <a:pt x="18" y="80"/>
                  </a:lnTo>
                  <a:lnTo>
                    <a:pt x="16" y="78"/>
                  </a:lnTo>
                  <a:lnTo>
                    <a:pt x="16" y="77"/>
                  </a:lnTo>
                  <a:lnTo>
                    <a:pt x="15" y="75"/>
                  </a:lnTo>
                  <a:lnTo>
                    <a:pt x="13" y="75"/>
                  </a:lnTo>
                  <a:lnTo>
                    <a:pt x="13" y="74"/>
                  </a:lnTo>
                  <a:lnTo>
                    <a:pt x="12" y="74"/>
                  </a:lnTo>
                  <a:lnTo>
                    <a:pt x="12" y="75"/>
                  </a:lnTo>
                  <a:lnTo>
                    <a:pt x="10" y="75"/>
                  </a:lnTo>
                  <a:lnTo>
                    <a:pt x="10" y="74"/>
                  </a:lnTo>
                  <a:lnTo>
                    <a:pt x="9" y="74"/>
                  </a:lnTo>
                  <a:lnTo>
                    <a:pt x="10" y="72"/>
                  </a:lnTo>
                  <a:lnTo>
                    <a:pt x="9" y="71"/>
                  </a:lnTo>
                  <a:lnTo>
                    <a:pt x="7" y="71"/>
                  </a:lnTo>
                  <a:lnTo>
                    <a:pt x="6" y="72"/>
                  </a:lnTo>
                  <a:lnTo>
                    <a:pt x="6" y="66"/>
                  </a:lnTo>
                  <a:lnTo>
                    <a:pt x="4" y="65"/>
                  </a:lnTo>
                  <a:lnTo>
                    <a:pt x="1" y="63"/>
                  </a:lnTo>
                  <a:lnTo>
                    <a:pt x="0" y="62"/>
                  </a:lnTo>
                  <a:lnTo>
                    <a:pt x="1" y="60"/>
                  </a:lnTo>
                  <a:lnTo>
                    <a:pt x="1" y="59"/>
                  </a:lnTo>
                  <a:lnTo>
                    <a:pt x="3" y="57"/>
                  </a:lnTo>
                  <a:lnTo>
                    <a:pt x="4" y="57"/>
                  </a:lnTo>
                  <a:lnTo>
                    <a:pt x="7" y="56"/>
                  </a:lnTo>
                  <a:lnTo>
                    <a:pt x="7" y="54"/>
                  </a:lnTo>
                  <a:lnTo>
                    <a:pt x="9" y="53"/>
                  </a:lnTo>
                  <a:lnTo>
                    <a:pt x="10" y="53"/>
                  </a:lnTo>
                  <a:lnTo>
                    <a:pt x="12" y="54"/>
                  </a:lnTo>
                  <a:lnTo>
                    <a:pt x="13" y="53"/>
                  </a:lnTo>
                  <a:lnTo>
                    <a:pt x="12" y="51"/>
                  </a:lnTo>
                  <a:lnTo>
                    <a:pt x="12" y="50"/>
                  </a:lnTo>
                  <a:lnTo>
                    <a:pt x="10" y="48"/>
                  </a:lnTo>
                  <a:lnTo>
                    <a:pt x="10" y="47"/>
                  </a:lnTo>
                  <a:lnTo>
                    <a:pt x="12" y="45"/>
                  </a:lnTo>
                  <a:lnTo>
                    <a:pt x="12" y="42"/>
                  </a:lnTo>
                  <a:lnTo>
                    <a:pt x="13" y="42"/>
                  </a:lnTo>
                  <a:lnTo>
                    <a:pt x="13" y="41"/>
                  </a:lnTo>
                  <a:lnTo>
                    <a:pt x="15" y="41"/>
                  </a:lnTo>
                  <a:lnTo>
                    <a:pt x="15" y="39"/>
                  </a:lnTo>
                  <a:lnTo>
                    <a:pt x="16" y="38"/>
                  </a:lnTo>
                  <a:lnTo>
                    <a:pt x="19" y="38"/>
                  </a:lnTo>
                  <a:lnTo>
                    <a:pt x="21" y="36"/>
                  </a:lnTo>
                  <a:lnTo>
                    <a:pt x="22" y="33"/>
                  </a:lnTo>
                  <a:lnTo>
                    <a:pt x="22" y="30"/>
                  </a:lnTo>
                  <a:lnTo>
                    <a:pt x="25" y="27"/>
                  </a:lnTo>
                  <a:lnTo>
                    <a:pt x="27" y="27"/>
                  </a:lnTo>
                  <a:lnTo>
                    <a:pt x="28" y="26"/>
                  </a:lnTo>
                  <a:lnTo>
                    <a:pt x="30" y="23"/>
                  </a:lnTo>
                  <a:lnTo>
                    <a:pt x="33" y="20"/>
                  </a:lnTo>
                  <a:lnTo>
                    <a:pt x="33" y="17"/>
                  </a:lnTo>
                  <a:lnTo>
                    <a:pt x="34" y="17"/>
                  </a:lnTo>
                  <a:lnTo>
                    <a:pt x="34" y="15"/>
                  </a:lnTo>
                  <a:lnTo>
                    <a:pt x="36" y="15"/>
                  </a:lnTo>
                  <a:lnTo>
                    <a:pt x="40" y="11"/>
                  </a:lnTo>
                  <a:lnTo>
                    <a:pt x="46" y="9"/>
                  </a:lnTo>
                  <a:lnTo>
                    <a:pt x="48" y="9"/>
                  </a:lnTo>
                  <a:lnTo>
                    <a:pt x="49" y="8"/>
                  </a:lnTo>
                  <a:lnTo>
                    <a:pt x="49" y="6"/>
                  </a:lnTo>
                  <a:lnTo>
                    <a:pt x="51" y="5"/>
                  </a:lnTo>
                  <a:lnTo>
                    <a:pt x="52" y="5"/>
                  </a:lnTo>
                  <a:lnTo>
                    <a:pt x="52" y="3"/>
                  </a:lnTo>
                  <a:lnTo>
                    <a:pt x="54" y="3"/>
                  </a:lnTo>
                  <a:lnTo>
                    <a:pt x="55" y="2"/>
                  </a:lnTo>
                  <a:lnTo>
                    <a:pt x="57" y="3"/>
                  </a:lnTo>
                  <a:lnTo>
                    <a:pt x="58" y="2"/>
                  </a:lnTo>
                  <a:lnTo>
                    <a:pt x="63"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5" name="Tableau 4">
            <a:extLst>
              <a:ext uri="{FF2B5EF4-FFF2-40B4-BE49-F238E27FC236}">
                <a16:creationId xmlns:a16="http://schemas.microsoft.com/office/drawing/2014/main" id="{193F606F-309D-DE93-8151-6C48BD9D0AD8}"/>
              </a:ext>
            </a:extLst>
          </p:cNvPr>
          <p:cNvGraphicFramePr>
            <a:graphicFrameLocks noGrp="1"/>
          </p:cNvGraphicFramePr>
          <p:nvPr/>
        </p:nvGraphicFramePr>
        <p:xfrm>
          <a:off x="3862316" y="4189924"/>
          <a:ext cx="208280" cy="365760"/>
        </p:xfrm>
        <a:graphic>
          <a:graphicData uri="http://schemas.openxmlformats.org/drawingml/2006/table">
            <a:tbl>
              <a:tblPr/>
              <a:tblGrid>
                <a:gridCol w="208280">
                  <a:extLst>
                    <a:ext uri="{9D8B030D-6E8A-4147-A177-3AD203B41FA5}">
                      <a16:colId xmlns:a16="http://schemas.microsoft.com/office/drawing/2014/main" val="3566803066"/>
                    </a:ext>
                  </a:extLst>
                </a:gridCol>
              </a:tblGrid>
              <a:tr h="0">
                <a:tc>
                  <a:txBody>
                    <a:bodyPr/>
                    <a:lstStyle/>
                    <a:p>
                      <a:endParaRPr lang="en-GB"/>
                    </a:p>
                  </a:txBody>
                  <a:tcPr>
                    <a:lnL w="12700" cmpd="sng">
                      <a:solidFill>
                        <a:schemeClr val="bg1"/>
                      </a:solidFill>
                      <a:prstDash val="solid"/>
                    </a:lnL>
                    <a:lnR w="12700" cmpd="sng">
                      <a:solidFill>
                        <a:schemeClr val="bg1"/>
                      </a:solidFill>
                      <a:prstDash val="solid"/>
                    </a:lnR>
                    <a:lnT w="12700" cmpd="sng">
                      <a:solidFill>
                        <a:schemeClr val="bg1"/>
                      </a:solidFill>
                      <a:prstDash val="solid"/>
                    </a:lnT>
                    <a:lnB w="12700" cmpd="sng">
                      <a:solidFill>
                        <a:schemeClr val="bg1"/>
                      </a:solidFill>
                      <a:prstDash val="solid"/>
                    </a:lnB>
                  </a:tcPr>
                </a:tc>
                <a:extLst>
                  <a:ext uri="{0D108BD9-81ED-4DB2-BD59-A6C34878D82A}">
                    <a16:rowId xmlns:a16="http://schemas.microsoft.com/office/drawing/2014/main" val="2273278019"/>
                  </a:ext>
                </a:extLst>
              </a:tr>
            </a:tbl>
          </a:graphicData>
        </a:graphic>
      </p:graphicFrame>
      <p:sp>
        <p:nvSpPr>
          <p:cNvPr id="75" name="Ellipse 74">
            <a:extLst>
              <a:ext uri="{FF2B5EF4-FFF2-40B4-BE49-F238E27FC236}">
                <a16:creationId xmlns:a16="http://schemas.microsoft.com/office/drawing/2014/main" id="{E412042A-84E7-D2FD-BD7E-0E2794B29B5A}"/>
              </a:ext>
            </a:extLst>
          </p:cNvPr>
          <p:cNvSpPr/>
          <p:nvPr/>
        </p:nvSpPr>
        <p:spPr>
          <a:xfrm>
            <a:off x="1518985" y="3507024"/>
            <a:ext cx="108000" cy="108000"/>
          </a:xfrm>
          <a:prstGeom prst="ellipse">
            <a:avLst/>
          </a:prstGeom>
          <a:solidFill>
            <a:srgbClr val="FFC00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1100" err="1">
              <a:solidFill>
                <a:schemeClr val="bg1"/>
              </a:solidFill>
              <a:latin typeface="Raleway" pitchFamily="2" charset="0"/>
            </a:endParaRPr>
          </a:p>
        </p:txBody>
      </p:sp>
      <p:sp>
        <p:nvSpPr>
          <p:cNvPr id="76" name="Triangle isocèle 75">
            <a:extLst>
              <a:ext uri="{FF2B5EF4-FFF2-40B4-BE49-F238E27FC236}">
                <a16:creationId xmlns:a16="http://schemas.microsoft.com/office/drawing/2014/main" id="{1DC8269C-194A-DA7E-D484-E6983DBEAFBF}"/>
              </a:ext>
            </a:extLst>
          </p:cNvPr>
          <p:cNvSpPr/>
          <p:nvPr/>
        </p:nvSpPr>
        <p:spPr>
          <a:xfrm flipH="1">
            <a:off x="1665385" y="3546444"/>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sp>
        <p:nvSpPr>
          <p:cNvPr id="13" name="ZoneTexte 12">
            <a:extLst>
              <a:ext uri="{FF2B5EF4-FFF2-40B4-BE49-F238E27FC236}">
                <a16:creationId xmlns:a16="http://schemas.microsoft.com/office/drawing/2014/main" id="{A1FDBEAD-41B6-7C4B-81AA-4A03851D5F66}"/>
              </a:ext>
            </a:extLst>
          </p:cNvPr>
          <p:cNvSpPr txBox="1"/>
          <p:nvPr/>
        </p:nvSpPr>
        <p:spPr>
          <a:xfrm>
            <a:off x="3038210" y="4402480"/>
            <a:ext cx="1498710" cy="261610"/>
          </a:xfrm>
          <a:prstGeom prst="rect">
            <a:avLst/>
          </a:prstGeom>
          <a:noFill/>
        </p:spPr>
        <p:txBody>
          <a:bodyPr wrap="square">
            <a:spAutoFit/>
          </a:bodyPr>
          <a:lstStyle/>
          <a:p>
            <a:pPr marL="0" algn="l" defTabSz="914400" rtl="0" eaLnBrk="1" latinLnBrk="0" hangingPunct="1"/>
            <a:r>
              <a:rPr kumimoji="0" lang="en-GB" sz="1100" b="1" i="1" u="none" strike="noStrike" kern="1200" cap="none" spc="0" normalizeH="0" baseline="0">
                <a:ln>
                  <a:noFill/>
                </a:ln>
                <a:solidFill>
                  <a:srgbClr val="E86A28"/>
                </a:solidFill>
                <a:effectLst/>
                <a:uLnTx/>
                <a:uFillTx/>
                <a:latin typeface="Raleway" pitchFamily="2" charset="0"/>
              </a:rPr>
              <a:t>Biological E</a:t>
            </a:r>
            <a:r>
              <a:rPr kumimoji="0" lang="en-GB" sz="1100" b="1" u="none" strike="noStrike" kern="1200" cap="none" spc="0" normalizeH="0" baseline="0">
                <a:ln>
                  <a:noFill/>
                </a:ln>
                <a:effectLst/>
                <a:uLnTx/>
                <a:uFillTx/>
                <a:latin typeface="Raleway" pitchFamily="2" charset="0"/>
              </a:rPr>
              <a:t> </a:t>
            </a:r>
          </a:p>
        </p:txBody>
      </p:sp>
      <p:graphicFrame>
        <p:nvGraphicFramePr>
          <p:cNvPr id="12" name="Table 5">
            <a:extLst>
              <a:ext uri="{FF2B5EF4-FFF2-40B4-BE49-F238E27FC236}">
                <a16:creationId xmlns:a16="http://schemas.microsoft.com/office/drawing/2014/main" id="{4B20B7B2-B7B8-8173-F541-C29DB8CADFBD}"/>
              </a:ext>
            </a:extLst>
          </p:cNvPr>
          <p:cNvGraphicFramePr>
            <a:graphicFrameLocks noGrp="1"/>
          </p:cNvGraphicFramePr>
          <p:nvPr>
            <p:extLst>
              <p:ext uri="{D42A27DB-BD31-4B8C-83A1-F6EECF244321}">
                <p14:modId xmlns:p14="http://schemas.microsoft.com/office/powerpoint/2010/main" val="335108261"/>
              </p:ext>
            </p:extLst>
          </p:nvPr>
        </p:nvGraphicFramePr>
        <p:xfrm>
          <a:off x="5083629" y="1308150"/>
          <a:ext cx="6958673" cy="3222990"/>
        </p:xfrm>
        <a:graphic>
          <a:graphicData uri="http://schemas.openxmlformats.org/drawingml/2006/table">
            <a:tbl>
              <a:tblPr firstRow="1" bandRow="1">
                <a:tableStyleId>{9D7B26C5-4107-4FEC-AEDC-1716B250A1EF}</a:tableStyleId>
              </a:tblPr>
              <a:tblGrid>
                <a:gridCol w="1232504">
                  <a:extLst>
                    <a:ext uri="{9D8B030D-6E8A-4147-A177-3AD203B41FA5}">
                      <a16:colId xmlns:a16="http://schemas.microsoft.com/office/drawing/2014/main" val="1971178031"/>
                    </a:ext>
                  </a:extLst>
                </a:gridCol>
                <a:gridCol w="1075267">
                  <a:extLst>
                    <a:ext uri="{9D8B030D-6E8A-4147-A177-3AD203B41FA5}">
                      <a16:colId xmlns:a16="http://schemas.microsoft.com/office/drawing/2014/main" val="4106639385"/>
                    </a:ext>
                  </a:extLst>
                </a:gridCol>
                <a:gridCol w="982133">
                  <a:extLst>
                    <a:ext uri="{9D8B030D-6E8A-4147-A177-3AD203B41FA5}">
                      <a16:colId xmlns:a16="http://schemas.microsoft.com/office/drawing/2014/main" val="1505498681"/>
                    </a:ext>
                  </a:extLst>
                </a:gridCol>
                <a:gridCol w="965200">
                  <a:extLst>
                    <a:ext uri="{9D8B030D-6E8A-4147-A177-3AD203B41FA5}">
                      <a16:colId xmlns:a16="http://schemas.microsoft.com/office/drawing/2014/main" val="845154092"/>
                    </a:ext>
                  </a:extLst>
                </a:gridCol>
                <a:gridCol w="2703569">
                  <a:extLst>
                    <a:ext uri="{9D8B030D-6E8A-4147-A177-3AD203B41FA5}">
                      <a16:colId xmlns:a16="http://schemas.microsoft.com/office/drawing/2014/main" val="4158918225"/>
                    </a:ext>
                  </a:extLst>
                </a:gridCol>
              </a:tblGrid>
              <a:tr h="435983">
                <a:tc>
                  <a:txBody>
                    <a:bodyPr/>
                    <a:lstStyle/>
                    <a:p>
                      <a:r>
                        <a:rPr lang="en-US" sz="1200">
                          <a:solidFill>
                            <a:schemeClr val="bg1"/>
                          </a:solidFill>
                          <a:latin typeface="Raleway" pitchFamily="2" charset="0"/>
                        </a:rPr>
                        <a:t>State/ City</a:t>
                      </a:r>
                    </a:p>
                  </a:txBody>
                  <a:tcPr>
                    <a:solidFill>
                      <a:schemeClr val="tx1"/>
                    </a:solidFill>
                  </a:tcPr>
                </a:tc>
                <a:tc>
                  <a:txBody>
                    <a:bodyPr/>
                    <a:lstStyle/>
                    <a:p>
                      <a:r>
                        <a:rPr lang="en-US" sz="1200">
                          <a:solidFill>
                            <a:schemeClr val="bg1"/>
                          </a:solidFill>
                          <a:latin typeface="Raleway" pitchFamily="2" charset="0"/>
                        </a:rPr>
                        <a:t>Recipient company</a:t>
                      </a:r>
                    </a:p>
                  </a:txBody>
                  <a:tcPr>
                    <a:solidFill>
                      <a:schemeClr val="tx1"/>
                    </a:solidFill>
                  </a:tcPr>
                </a:tc>
                <a:tc>
                  <a:txBody>
                    <a:bodyPr/>
                    <a:lstStyle/>
                    <a:p>
                      <a:r>
                        <a:rPr lang="en-US" sz="1200">
                          <a:solidFill>
                            <a:schemeClr val="bg1"/>
                          </a:solidFill>
                          <a:latin typeface="Raleway" pitchFamily="2" charset="0"/>
                        </a:rPr>
                        <a:t>Developer</a:t>
                      </a:r>
                    </a:p>
                  </a:txBody>
                  <a:tcPr>
                    <a:solidFill>
                      <a:schemeClr val="tx1"/>
                    </a:solidFill>
                  </a:tcPr>
                </a:tc>
                <a:tc>
                  <a:txBody>
                    <a:bodyPr/>
                    <a:lstStyle/>
                    <a:p>
                      <a:r>
                        <a:rPr lang="en-US" sz="1200">
                          <a:solidFill>
                            <a:schemeClr val="bg1"/>
                          </a:solidFill>
                          <a:latin typeface="Raleway" pitchFamily="2" charset="0"/>
                        </a:rPr>
                        <a:t>Production type</a:t>
                      </a:r>
                    </a:p>
                  </a:txBody>
                  <a:tcPr>
                    <a:solidFill>
                      <a:schemeClr val="tx1"/>
                    </a:solidFill>
                  </a:tcPr>
                </a:tc>
                <a:tc>
                  <a:txBody>
                    <a:bodyPr/>
                    <a:lstStyle/>
                    <a:p>
                      <a:r>
                        <a:rPr lang="en-US" sz="1200">
                          <a:solidFill>
                            <a:schemeClr val="bg1"/>
                          </a:solidFill>
                          <a:latin typeface="Raleway" pitchFamily="2" charset="0"/>
                        </a:rPr>
                        <a:t>Status</a:t>
                      </a:r>
                    </a:p>
                  </a:txBody>
                  <a:tcPr>
                    <a:solidFill>
                      <a:schemeClr val="tx1"/>
                    </a:solidFill>
                  </a:tcPr>
                </a:tc>
                <a:extLst>
                  <a:ext uri="{0D108BD9-81ED-4DB2-BD59-A6C34878D82A}">
                    <a16:rowId xmlns:a16="http://schemas.microsoft.com/office/drawing/2014/main" val="3036631337"/>
                  </a:ext>
                </a:extLst>
              </a:tr>
              <a:tr h="518828">
                <a:tc>
                  <a:txBody>
                    <a:bodyPr/>
                    <a:lstStyle/>
                    <a:p>
                      <a:r>
                        <a:rPr lang="en-US" sz="1200" b="1">
                          <a:latin typeface="Raleway" pitchFamily="2" charset="0"/>
                        </a:rPr>
                        <a:t>Maharashtra (Pune)</a:t>
                      </a:r>
                    </a:p>
                  </a:txBody>
                  <a:tcPr anchor="ctr"/>
                </a:tc>
                <a:tc>
                  <a:txBody>
                    <a:bodyPr/>
                    <a:lstStyle/>
                    <a:p>
                      <a:r>
                        <a:rPr lang="en-US" sz="1200" err="1">
                          <a:latin typeface="Raleway" pitchFamily="2" charset="0"/>
                        </a:rPr>
                        <a:t>Gennova</a:t>
                      </a:r>
                      <a:r>
                        <a:rPr lang="en-US" sz="1200">
                          <a:latin typeface="Raleway" pitchFamily="2" charset="0"/>
                        </a:rPr>
                        <a:t> Biopharmaceuticals</a:t>
                      </a:r>
                    </a:p>
                  </a:txBody>
                  <a:tcPr anchor="ctr"/>
                </a:tc>
                <a:tc>
                  <a:txBody>
                    <a:bodyPr/>
                    <a:lstStyle/>
                    <a:p>
                      <a:r>
                        <a:rPr lang="en-US" sz="1200" err="1">
                          <a:latin typeface="Raleway" pitchFamily="2" charset="0"/>
                        </a:rPr>
                        <a:t>Gennova</a:t>
                      </a:r>
                      <a:r>
                        <a:rPr lang="en-US" sz="1200">
                          <a:latin typeface="Raleway" pitchFamily="2" charset="0"/>
                        </a:rPr>
                        <a:t> Biopharmaceuticals</a:t>
                      </a:r>
                    </a:p>
                  </a:txBody>
                  <a:tcPr anchor="ctr"/>
                </a:tc>
                <a:tc>
                  <a:txBody>
                    <a:bodyPr/>
                    <a:lstStyle/>
                    <a:p>
                      <a:r>
                        <a:rPr lang="en-US" sz="1200">
                          <a:latin typeface="Raleway" pitchFamily="2" charset="0"/>
                        </a:rPr>
                        <a:t>End-to-end</a:t>
                      </a:r>
                    </a:p>
                  </a:txBody>
                  <a:tcPr anchor="ctr"/>
                </a:tc>
                <a:tc>
                  <a:txBody>
                    <a:bodyPr/>
                    <a:lstStyle/>
                    <a:p>
                      <a:pPr algn="l" fontAlgn="ctr"/>
                      <a:r>
                        <a:rPr lang="en-US" sz="1050" b="0" i="0" u="none" strike="noStrike">
                          <a:solidFill>
                            <a:srgbClr val="000000"/>
                          </a:solidFill>
                          <a:effectLst/>
                          <a:latin typeface="Raleway" pitchFamily="2" charset="0"/>
                        </a:rPr>
                        <a:t>On April 2023. </a:t>
                      </a:r>
                      <a:r>
                        <a:rPr lang="en-US" sz="1050" b="0" i="0" u="none" strike="noStrike" err="1">
                          <a:solidFill>
                            <a:srgbClr val="000000"/>
                          </a:solidFill>
                          <a:effectLst/>
                          <a:latin typeface="Raleway" pitchFamily="2" charset="0"/>
                        </a:rPr>
                        <a:t>Gennova</a:t>
                      </a:r>
                      <a:r>
                        <a:rPr lang="en-US" sz="1050" b="0" i="0" u="none" strike="noStrike">
                          <a:solidFill>
                            <a:srgbClr val="000000"/>
                          </a:solidFill>
                          <a:effectLst/>
                          <a:latin typeface="Raleway" pitchFamily="2" charset="0"/>
                        </a:rPr>
                        <a:t> seeks EUA for 1</a:t>
                      </a:r>
                      <a:r>
                        <a:rPr lang="en-US" sz="1050" b="0" i="0" u="none" strike="noStrike" baseline="30000">
                          <a:solidFill>
                            <a:srgbClr val="000000"/>
                          </a:solidFill>
                          <a:effectLst/>
                          <a:latin typeface="Raleway" pitchFamily="2" charset="0"/>
                        </a:rPr>
                        <a:t>st</a:t>
                      </a:r>
                      <a:r>
                        <a:rPr lang="en-US" sz="1050" b="0" i="0" u="none" strike="noStrike">
                          <a:solidFill>
                            <a:srgbClr val="000000"/>
                          </a:solidFill>
                          <a:effectLst/>
                          <a:latin typeface="Raleway" pitchFamily="2" charset="0"/>
                        </a:rPr>
                        <a:t> needle-free, thermostable mRNA vaccine as a booster for Omicron variant.</a:t>
                      </a:r>
                    </a:p>
                  </a:txBody>
                  <a:tcPr marL="0" marR="0" marT="0" marB="0" anchor="ctr"/>
                </a:tc>
                <a:extLst>
                  <a:ext uri="{0D108BD9-81ED-4DB2-BD59-A6C34878D82A}">
                    <a16:rowId xmlns:a16="http://schemas.microsoft.com/office/drawing/2014/main" val="3801935204"/>
                  </a:ext>
                </a:extLst>
              </a:tr>
              <a:tr h="518828">
                <a:tc>
                  <a:txBody>
                    <a:bodyPr/>
                    <a:lstStyle/>
                    <a:p>
                      <a:r>
                        <a:rPr lang="en-US" sz="1200" b="1">
                          <a:latin typeface="Raleway" pitchFamily="2" charset="0"/>
                        </a:rPr>
                        <a:t>Maharashtra (Mumbai)</a:t>
                      </a:r>
                    </a:p>
                  </a:txBody>
                  <a:tcPr anchor="ctr"/>
                </a:tc>
                <a:tc>
                  <a:txBody>
                    <a:bodyPr/>
                    <a:lstStyle/>
                    <a:p>
                      <a:r>
                        <a:rPr lang="en-US" sz="1200">
                          <a:latin typeface="Raleway" pitchFamily="2" charset="0"/>
                        </a:rPr>
                        <a:t>VAV Lifesciences</a:t>
                      </a:r>
                    </a:p>
                  </a:txBody>
                  <a:tcPr anchor="ctr"/>
                </a:tc>
                <a:tc>
                  <a:txBody>
                    <a:bodyPr/>
                    <a:lstStyle/>
                    <a:p>
                      <a:pPr algn="l" fontAlgn="ctr"/>
                      <a:r>
                        <a:rPr lang="en-US" sz="1200" b="0" i="0" u="none" strike="noStrike">
                          <a:solidFill>
                            <a:srgbClr val="000000"/>
                          </a:solidFill>
                          <a:effectLst/>
                          <a:latin typeface="Raleway" pitchFamily="2" charset="0"/>
                        </a:rPr>
                        <a:t>BioNTech</a:t>
                      </a:r>
                    </a:p>
                  </a:txBody>
                  <a:tcPr marL="0" marR="0" marT="0" marB="0" anchor="ctr"/>
                </a:tc>
                <a:tc>
                  <a:txBody>
                    <a:bodyPr/>
                    <a:lstStyle/>
                    <a:p>
                      <a:r>
                        <a:rPr lang="en-US" sz="1200">
                          <a:latin typeface="Raleway" pitchFamily="2" charset="0"/>
                        </a:rPr>
                        <a:t>Drug substance</a:t>
                      </a:r>
                    </a:p>
                  </a:txBody>
                  <a:tcPr anchor="ctr"/>
                </a:tc>
                <a:tc>
                  <a:txBody>
                    <a:bodyPr/>
                    <a:lstStyle/>
                    <a:p>
                      <a:r>
                        <a:rPr lang="en-US" sz="1050">
                          <a:latin typeface="Raleway" pitchFamily="2" charset="0"/>
                        </a:rPr>
                        <a:t>Agreed with a US-based multinational contract development and manufacturing organization (CDMO) to manufacture and supply highly purified gene-based lipid nanoparticles (LNPs) for BioNTech</a:t>
                      </a:r>
                    </a:p>
                  </a:txBody>
                  <a:tcPr anchor="ctr"/>
                </a:tc>
                <a:extLst>
                  <a:ext uri="{0D108BD9-81ED-4DB2-BD59-A6C34878D82A}">
                    <a16:rowId xmlns:a16="http://schemas.microsoft.com/office/drawing/2014/main" val="423017230"/>
                  </a:ext>
                </a:extLst>
              </a:tr>
              <a:tr h="1074150">
                <a:tc>
                  <a:txBody>
                    <a:bodyPr/>
                    <a:lstStyle/>
                    <a:p>
                      <a:r>
                        <a:rPr lang="en-US" sz="1200" b="1">
                          <a:latin typeface="Raleway" pitchFamily="2" charset="0"/>
                        </a:rPr>
                        <a:t>Maharashtra (Mumbai)</a:t>
                      </a:r>
                    </a:p>
                  </a:txBody>
                  <a:tcPr anchor="ctr"/>
                </a:tc>
                <a:tc>
                  <a:txBody>
                    <a:bodyPr/>
                    <a:lstStyle/>
                    <a:p>
                      <a:r>
                        <a:rPr lang="en-US" sz="1200">
                          <a:latin typeface="Raleway" pitchFamily="2" charset="0"/>
                        </a:rPr>
                        <a:t>VAV Lifesciences</a:t>
                      </a:r>
                    </a:p>
                  </a:txBody>
                  <a:tcPr anchor="ctr"/>
                </a:tc>
                <a:tc>
                  <a:txBody>
                    <a:bodyPr/>
                    <a:lstStyle/>
                    <a:p>
                      <a:pPr algn="l" fontAlgn="ctr"/>
                      <a:r>
                        <a:rPr lang="en-US" sz="1200" b="0" i="0" u="none" strike="noStrike">
                          <a:solidFill>
                            <a:srgbClr val="000000"/>
                          </a:solidFill>
                          <a:effectLst/>
                          <a:latin typeface="Raleway" pitchFamily="2" charset="0"/>
                        </a:rPr>
                        <a:t>Moderna</a:t>
                      </a:r>
                    </a:p>
                  </a:txBody>
                  <a:tcPr marL="0" marR="0" marT="0" marB="0" anchor="ctr"/>
                </a:tc>
                <a:tc>
                  <a:txBody>
                    <a:bodyPr/>
                    <a:lstStyle/>
                    <a:p>
                      <a:r>
                        <a:rPr lang="en-US" sz="1200">
                          <a:latin typeface="Raleway" pitchFamily="2" charset="0"/>
                        </a:rPr>
                        <a:t>Drug substance</a:t>
                      </a:r>
                    </a:p>
                  </a:txBody>
                  <a:tcPr anchor="ctr"/>
                </a:tc>
                <a:tc>
                  <a:txBody>
                    <a:bodyPr/>
                    <a:lstStyle/>
                    <a:p>
                      <a:r>
                        <a:rPr lang="en-US" sz="1050">
                          <a:latin typeface="Raleway" pitchFamily="2" charset="0"/>
                        </a:rPr>
                        <a:t>Agreed with a US-based multinational contract development and manufacturing organization (CDMO) to manufacture and supply highly purified gene-based lipid nanoparticles (LNPs) for Moderna</a:t>
                      </a:r>
                    </a:p>
                  </a:txBody>
                  <a:tcPr anchor="ctr"/>
                </a:tc>
                <a:extLst>
                  <a:ext uri="{0D108BD9-81ED-4DB2-BD59-A6C34878D82A}">
                    <a16:rowId xmlns:a16="http://schemas.microsoft.com/office/drawing/2014/main" val="4114079512"/>
                  </a:ext>
                </a:extLst>
              </a:tr>
            </a:tbl>
          </a:graphicData>
        </a:graphic>
      </p:graphicFrame>
      <p:sp>
        <p:nvSpPr>
          <p:cNvPr id="17" name="Title 1">
            <a:extLst>
              <a:ext uri="{FF2B5EF4-FFF2-40B4-BE49-F238E27FC236}">
                <a16:creationId xmlns:a16="http://schemas.microsoft.com/office/drawing/2014/main" id="{12E07B06-9E80-4409-95A9-71224155189C}"/>
              </a:ext>
            </a:extLst>
          </p:cNvPr>
          <p:cNvSpPr>
            <a:spLocks noGrp="1"/>
          </p:cNvSpPr>
          <p:nvPr>
            <p:ph type="title"/>
          </p:nvPr>
        </p:nvSpPr>
        <p:spPr>
          <a:xfrm>
            <a:off x="823228" y="188944"/>
            <a:ext cx="10515600" cy="630298"/>
          </a:xfrm>
        </p:spPr>
        <p:txBody>
          <a:bodyPr>
            <a:noAutofit/>
          </a:bodyPr>
          <a:lstStyle/>
          <a:p>
            <a:pPr>
              <a:lnSpc>
                <a:spcPct val="150000"/>
              </a:lnSpc>
            </a:pPr>
            <a:r>
              <a:rPr lang="en-US" sz="3600">
                <a:solidFill>
                  <a:srgbClr val="0070C0"/>
                </a:solidFill>
              </a:rPr>
              <a:t>India</a:t>
            </a:r>
          </a:p>
        </p:txBody>
      </p:sp>
      <p:grpSp>
        <p:nvGrpSpPr>
          <p:cNvPr id="18" name="Group 17">
            <a:extLst>
              <a:ext uri="{FF2B5EF4-FFF2-40B4-BE49-F238E27FC236}">
                <a16:creationId xmlns:a16="http://schemas.microsoft.com/office/drawing/2014/main" id="{0146EC46-12EA-E2CF-3984-C3917AE129EE}"/>
              </a:ext>
            </a:extLst>
          </p:cNvPr>
          <p:cNvGrpSpPr/>
          <p:nvPr/>
        </p:nvGrpSpPr>
        <p:grpSpPr>
          <a:xfrm>
            <a:off x="7941271" y="6105545"/>
            <a:ext cx="1640641" cy="179501"/>
            <a:chOff x="9823279" y="6105545"/>
            <a:chExt cx="1640641" cy="179501"/>
          </a:xfrm>
        </p:grpSpPr>
        <p:sp>
          <p:nvSpPr>
            <p:cNvPr id="19" name="Ellipse 48">
              <a:extLst>
                <a:ext uri="{FF2B5EF4-FFF2-40B4-BE49-F238E27FC236}">
                  <a16:creationId xmlns:a16="http://schemas.microsoft.com/office/drawing/2014/main" id="{26DA24E3-B94E-30BE-4DE0-67C86CA6C2C8}"/>
                </a:ext>
              </a:extLst>
            </p:cNvPr>
            <p:cNvSpPr/>
            <p:nvPr/>
          </p:nvSpPr>
          <p:spPr>
            <a:xfrm>
              <a:off x="9823279" y="6105545"/>
              <a:ext cx="178157" cy="179501"/>
            </a:xfrm>
            <a:prstGeom prst="ellipse">
              <a:avLst/>
            </a:prstGeom>
            <a:solidFill>
              <a:srgbClr val="FFC00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20" name="ZoneTexte 50">
              <a:extLst>
                <a:ext uri="{FF2B5EF4-FFF2-40B4-BE49-F238E27FC236}">
                  <a16:creationId xmlns:a16="http://schemas.microsoft.com/office/drawing/2014/main" id="{3202F721-044C-D651-3D25-907E33F082A0}"/>
                </a:ext>
              </a:extLst>
            </p:cNvPr>
            <p:cNvSpPr txBox="1"/>
            <p:nvPr/>
          </p:nvSpPr>
          <p:spPr>
            <a:xfrm>
              <a:off x="10090542" y="6105545"/>
              <a:ext cx="1373378" cy="12974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Drug substance </a:t>
              </a:r>
            </a:p>
          </p:txBody>
        </p:sp>
      </p:grpSp>
      <p:sp>
        <p:nvSpPr>
          <p:cNvPr id="21" name="Ellipse 74">
            <a:extLst>
              <a:ext uri="{FF2B5EF4-FFF2-40B4-BE49-F238E27FC236}">
                <a16:creationId xmlns:a16="http://schemas.microsoft.com/office/drawing/2014/main" id="{63929D40-DF55-27BA-43DB-AF4A65DFD91D}"/>
              </a:ext>
            </a:extLst>
          </p:cNvPr>
          <p:cNvSpPr/>
          <p:nvPr/>
        </p:nvSpPr>
        <p:spPr>
          <a:xfrm>
            <a:off x="1475442" y="3365510"/>
            <a:ext cx="108000" cy="108000"/>
          </a:xfrm>
          <a:prstGeom prst="ellipse">
            <a:avLst/>
          </a:prstGeom>
          <a:solidFill>
            <a:srgbClr val="FFC00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1100" err="1">
              <a:solidFill>
                <a:schemeClr val="bg1"/>
              </a:solidFill>
              <a:latin typeface="Raleway" pitchFamily="2" charset="0"/>
            </a:endParaRPr>
          </a:p>
        </p:txBody>
      </p:sp>
      <p:sp>
        <p:nvSpPr>
          <p:cNvPr id="22" name="ZoneTexte 12">
            <a:extLst>
              <a:ext uri="{FF2B5EF4-FFF2-40B4-BE49-F238E27FC236}">
                <a16:creationId xmlns:a16="http://schemas.microsoft.com/office/drawing/2014/main" id="{E7CD04C2-62AA-F703-BC44-3410ABF98C59}"/>
              </a:ext>
            </a:extLst>
          </p:cNvPr>
          <p:cNvSpPr txBox="1"/>
          <p:nvPr/>
        </p:nvSpPr>
        <p:spPr>
          <a:xfrm>
            <a:off x="1806096" y="3192094"/>
            <a:ext cx="931082" cy="261610"/>
          </a:xfrm>
          <a:prstGeom prst="rect">
            <a:avLst/>
          </a:prstGeom>
          <a:noFill/>
        </p:spPr>
        <p:txBody>
          <a:bodyPr wrap="square">
            <a:spAutoFit/>
          </a:bodyPr>
          <a:lstStyle/>
          <a:p>
            <a:pPr marL="0" algn="l" defTabSz="914400" rtl="0" eaLnBrk="1" latinLnBrk="0" hangingPunct="1"/>
            <a:r>
              <a:rPr lang="en-GB" sz="1100" b="1" err="1">
                <a:latin typeface="Raleway" pitchFamily="2" charset="0"/>
              </a:rPr>
              <a:t>Gennova</a:t>
            </a:r>
            <a:r>
              <a:rPr kumimoji="0" lang="en-GB" sz="1100" b="1" u="none" strike="noStrike" kern="1200" cap="none" spc="0" normalizeH="0" baseline="0">
                <a:ln>
                  <a:noFill/>
                </a:ln>
                <a:effectLst/>
                <a:uLnTx/>
                <a:uFillTx/>
                <a:latin typeface="Raleway" pitchFamily="2" charset="0"/>
              </a:rPr>
              <a:t> </a:t>
            </a:r>
          </a:p>
        </p:txBody>
      </p:sp>
      <p:sp>
        <p:nvSpPr>
          <p:cNvPr id="23" name="ZoneTexte 12">
            <a:extLst>
              <a:ext uri="{FF2B5EF4-FFF2-40B4-BE49-F238E27FC236}">
                <a16:creationId xmlns:a16="http://schemas.microsoft.com/office/drawing/2014/main" id="{41B3D128-849B-2694-D474-65003760585D}"/>
              </a:ext>
            </a:extLst>
          </p:cNvPr>
          <p:cNvSpPr txBox="1"/>
          <p:nvPr/>
        </p:nvSpPr>
        <p:spPr>
          <a:xfrm>
            <a:off x="614885" y="3711712"/>
            <a:ext cx="931082" cy="430887"/>
          </a:xfrm>
          <a:prstGeom prst="rect">
            <a:avLst/>
          </a:prstGeom>
          <a:noFill/>
        </p:spPr>
        <p:txBody>
          <a:bodyPr wrap="square">
            <a:spAutoFit/>
          </a:bodyPr>
          <a:lstStyle/>
          <a:p>
            <a:pPr marL="0" algn="l" defTabSz="914400" rtl="0" eaLnBrk="1" latinLnBrk="0" hangingPunct="1"/>
            <a:r>
              <a:rPr lang="en-GB" sz="1100" b="1">
                <a:latin typeface="Raleway" pitchFamily="2" charset="0"/>
              </a:rPr>
              <a:t>VAV + BioNTech</a:t>
            </a:r>
            <a:endParaRPr kumimoji="0" lang="en-GB" sz="1100" b="1" u="none" strike="noStrike" kern="1200" cap="none" spc="0" normalizeH="0" baseline="0">
              <a:ln>
                <a:noFill/>
              </a:ln>
              <a:effectLst/>
              <a:uLnTx/>
              <a:uFillTx/>
              <a:latin typeface="Raleway" pitchFamily="2" charset="0"/>
            </a:endParaRPr>
          </a:p>
        </p:txBody>
      </p:sp>
      <p:sp>
        <p:nvSpPr>
          <p:cNvPr id="24" name="ZoneTexte 12">
            <a:extLst>
              <a:ext uri="{FF2B5EF4-FFF2-40B4-BE49-F238E27FC236}">
                <a16:creationId xmlns:a16="http://schemas.microsoft.com/office/drawing/2014/main" id="{853107E4-48E3-1AF3-C742-047B9BD2589B}"/>
              </a:ext>
            </a:extLst>
          </p:cNvPr>
          <p:cNvSpPr txBox="1"/>
          <p:nvPr/>
        </p:nvSpPr>
        <p:spPr>
          <a:xfrm>
            <a:off x="767285" y="4412400"/>
            <a:ext cx="931082" cy="430887"/>
          </a:xfrm>
          <a:prstGeom prst="rect">
            <a:avLst/>
          </a:prstGeom>
          <a:noFill/>
        </p:spPr>
        <p:txBody>
          <a:bodyPr wrap="square">
            <a:spAutoFit/>
          </a:bodyPr>
          <a:lstStyle/>
          <a:p>
            <a:pPr marL="0" algn="l" defTabSz="914400" rtl="0" eaLnBrk="1" latinLnBrk="0" hangingPunct="1"/>
            <a:r>
              <a:rPr lang="en-GB" sz="1100" b="1">
                <a:latin typeface="Raleway" pitchFamily="2" charset="0"/>
              </a:rPr>
              <a:t>VAV + BioNTech</a:t>
            </a:r>
            <a:endParaRPr kumimoji="0" lang="en-GB" sz="1100" b="1" u="none" strike="noStrike" kern="1200" cap="none" spc="0" normalizeH="0" baseline="0">
              <a:ln>
                <a:noFill/>
              </a:ln>
              <a:effectLst/>
              <a:uLnTx/>
              <a:uFillTx/>
              <a:latin typeface="Raleway" pitchFamily="2" charset="0"/>
            </a:endParaRPr>
          </a:p>
        </p:txBody>
      </p:sp>
      <p:cxnSp>
        <p:nvCxnSpPr>
          <p:cNvPr id="26" name="Straight Connector 25">
            <a:extLst>
              <a:ext uri="{FF2B5EF4-FFF2-40B4-BE49-F238E27FC236}">
                <a16:creationId xmlns:a16="http://schemas.microsoft.com/office/drawing/2014/main" id="{FC87661F-BE94-A51B-B7FE-19B3D030709A}"/>
              </a:ext>
            </a:extLst>
          </p:cNvPr>
          <p:cNvCxnSpPr>
            <a:cxnSpLocks/>
          </p:cNvCxnSpPr>
          <p:nvPr/>
        </p:nvCxnSpPr>
        <p:spPr>
          <a:xfrm flipV="1">
            <a:off x="1816736" y="3457694"/>
            <a:ext cx="422190" cy="146524"/>
          </a:xfrm>
          <a:prstGeom prst="line">
            <a:avLst/>
          </a:prstGeom>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A0F8ECAB-5D65-80C3-1E80-CD760B6C4C85}"/>
              </a:ext>
            </a:extLst>
          </p:cNvPr>
          <p:cNvCxnSpPr>
            <a:cxnSpLocks/>
            <a:stCxn id="24" idx="0"/>
          </p:cNvCxnSpPr>
          <p:nvPr/>
        </p:nvCxnSpPr>
        <p:spPr>
          <a:xfrm flipV="1">
            <a:off x="1232826" y="3635589"/>
            <a:ext cx="313141" cy="776811"/>
          </a:xfrm>
          <a:prstGeom prst="line">
            <a:avLst/>
          </a:prstGeom>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B2E2D5C7-293E-EC91-91C6-546D2F5CAA1E}"/>
              </a:ext>
            </a:extLst>
          </p:cNvPr>
          <p:cNvCxnSpPr>
            <a:cxnSpLocks/>
          </p:cNvCxnSpPr>
          <p:nvPr/>
        </p:nvCxnSpPr>
        <p:spPr>
          <a:xfrm flipH="1" flipV="1">
            <a:off x="2730449" y="4157394"/>
            <a:ext cx="435778" cy="261610"/>
          </a:xfrm>
          <a:prstGeom prst="line">
            <a:avLst/>
          </a:prstGeom>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8AF7B9CC-85C5-C35A-FBE7-4FCB5D0AEED6}"/>
              </a:ext>
            </a:extLst>
          </p:cNvPr>
          <p:cNvCxnSpPr>
            <a:cxnSpLocks/>
            <a:endCxn id="21" idx="3"/>
          </p:cNvCxnSpPr>
          <p:nvPr/>
        </p:nvCxnSpPr>
        <p:spPr>
          <a:xfrm flipV="1">
            <a:off x="1129644" y="3457694"/>
            <a:ext cx="361614" cy="431400"/>
          </a:xfrm>
          <a:prstGeom prst="line">
            <a:avLst/>
          </a:prstGeom>
        </p:spPr>
        <p:style>
          <a:lnRef idx="1">
            <a:schemeClr val="dk1"/>
          </a:lnRef>
          <a:fillRef idx="0">
            <a:schemeClr val="dk1"/>
          </a:fillRef>
          <a:effectRef idx="0">
            <a:schemeClr val="dk1"/>
          </a:effectRef>
          <a:fontRef idx="minor">
            <a:schemeClr val="tx1"/>
          </a:fontRef>
        </p:style>
      </p:cxnSp>
      <p:sp>
        <p:nvSpPr>
          <p:cNvPr id="25" name="ZoneTexte 161">
            <a:extLst>
              <a:ext uri="{FF2B5EF4-FFF2-40B4-BE49-F238E27FC236}">
                <a16:creationId xmlns:a16="http://schemas.microsoft.com/office/drawing/2014/main" id="{5D4849F8-149D-5926-8C16-AD5B836FE537}"/>
              </a:ext>
            </a:extLst>
          </p:cNvPr>
          <p:cNvSpPr txBox="1"/>
          <p:nvPr/>
        </p:nvSpPr>
        <p:spPr>
          <a:xfrm>
            <a:off x="7059044" y="6129159"/>
            <a:ext cx="1373378"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End-to-End</a:t>
            </a:r>
          </a:p>
        </p:txBody>
      </p:sp>
      <p:sp>
        <p:nvSpPr>
          <p:cNvPr id="30" name="Rectangle 29">
            <a:extLst>
              <a:ext uri="{FF2B5EF4-FFF2-40B4-BE49-F238E27FC236}">
                <a16:creationId xmlns:a16="http://schemas.microsoft.com/office/drawing/2014/main" id="{84E69687-45F8-70A8-D77C-1124F51451BF}"/>
              </a:ext>
            </a:extLst>
          </p:cNvPr>
          <p:cNvSpPr/>
          <p:nvPr/>
        </p:nvSpPr>
        <p:spPr>
          <a:xfrm>
            <a:off x="4565400" y="6143343"/>
            <a:ext cx="299221" cy="131853"/>
          </a:xfrm>
          <a:prstGeom prst="rect">
            <a:avLst/>
          </a:prstGeom>
          <a:solidFill>
            <a:schemeClr val="accent2"/>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err="1">
              <a:solidFill>
                <a:schemeClr val="bg1"/>
              </a:solidFill>
              <a:latin typeface="Raleway" pitchFamily="2" charset="0"/>
            </a:endParaRPr>
          </a:p>
        </p:txBody>
      </p:sp>
      <p:sp>
        <p:nvSpPr>
          <p:cNvPr id="31" name="ZoneTexte 2">
            <a:extLst>
              <a:ext uri="{FF2B5EF4-FFF2-40B4-BE49-F238E27FC236}">
                <a16:creationId xmlns:a16="http://schemas.microsoft.com/office/drawing/2014/main" id="{D55D045A-B5F8-E39D-A18B-85B73A0B5B4F}"/>
              </a:ext>
            </a:extLst>
          </p:cNvPr>
          <p:cNvSpPr txBox="1"/>
          <p:nvPr/>
        </p:nvSpPr>
        <p:spPr>
          <a:xfrm>
            <a:off x="4948256" y="6129159"/>
            <a:ext cx="2110733" cy="18526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i="1">
                <a:solidFill>
                  <a:srgbClr val="E86A28"/>
                </a:solidFill>
                <a:latin typeface="Raleway" pitchFamily="2" charset="0"/>
              </a:rPr>
              <a:t>mRNA </a:t>
            </a:r>
            <a:r>
              <a:rPr lang="en-US" sz="1050" b="1" i="1" err="1">
                <a:solidFill>
                  <a:srgbClr val="E86A28"/>
                </a:solidFill>
                <a:latin typeface="Raleway" pitchFamily="2" charset="0"/>
              </a:rPr>
              <a:t>programme</a:t>
            </a:r>
            <a:r>
              <a:rPr lang="en-US" sz="1050" b="1" i="1">
                <a:solidFill>
                  <a:srgbClr val="E86A28"/>
                </a:solidFill>
                <a:latin typeface="Raleway" pitchFamily="2" charset="0"/>
              </a:rPr>
              <a:t> partner</a:t>
            </a:r>
          </a:p>
        </p:txBody>
      </p:sp>
      <p:sp>
        <p:nvSpPr>
          <p:cNvPr id="32" name="Triangle isocèle 203">
            <a:extLst>
              <a:ext uri="{FF2B5EF4-FFF2-40B4-BE49-F238E27FC236}">
                <a16:creationId xmlns:a16="http://schemas.microsoft.com/office/drawing/2014/main" id="{860A79A6-241D-D2E7-EE4F-0531814F380B}"/>
              </a:ext>
            </a:extLst>
          </p:cNvPr>
          <p:cNvSpPr/>
          <p:nvPr/>
        </p:nvSpPr>
        <p:spPr>
          <a:xfrm flipH="1">
            <a:off x="6790359" y="6076217"/>
            <a:ext cx="184002" cy="196472"/>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2" name="Slide Number Placeholder 1">
            <a:extLst>
              <a:ext uri="{FF2B5EF4-FFF2-40B4-BE49-F238E27FC236}">
                <a16:creationId xmlns:a16="http://schemas.microsoft.com/office/drawing/2014/main" id="{19514A4E-8A2C-F3AC-696C-48E612A12BFD}"/>
              </a:ext>
            </a:extLst>
          </p:cNvPr>
          <p:cNvSpPr>
            <a:spLocks noGrp="1"/>
          </p:cNvSpPr>
          <p:nvPr>
            <p:ph type="sldNum" sz="quarter" idx="12"/>
          </p:nvPr>
        </p:nvSpPr>
        <p:spPr/>
        <p:txBody>
          <a:bodyPr/>
          <a:lstStyle/>
          <a:p>
            <a:fld id="{1D1C8182-8BBE-B542-ADE5-8820B104469B}" type="slidenum">
              <a:rPr lang="en-RO" smtClean="0"/>
              <a:pPr/>
              <a:t>5</a:t>
            </a:fld>
            <a:endParaRPr lang="en-RO"/>
          </a:p>
        </p:txBody>
      </p:sp>
    </p:spTree>
    <p:extLst>
      <p:ext uri="{BB962C8B-B14F-4D97-AF65-F5344CB8AC3E}">
        <p14:creationId xmlns:p14="http://schemas.microsoft.com/office/powerpoint/2010/main" val="32570999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8" name="Google Shape;228;p29"/>
          <p:cNvSpPr/>
          <p:nvPr/>
        </p:nvSpPr>
        <p:spPr>
          <a:xfrm>
            <a:off x="2313864" y="3272973"/>
            <a:ext cx="157758" cy="102909"/>
          </a:xfrm>
          <a:custGeom>
            <a:avLst/>
            <a:gdLst/>
            <a:ahLst/>
            <a:cxnLst/>
            <a:rect l="l" t="t" r="r" b="b"/>
            <a:pathLst>
              <a:path w="3483" h="2667" extrusionOk="0">
                <a:moveTo>
                  <a:pt x="2945" y="1"/>
                </a:moveTo>
                <a:cubicBezTo>
                  <a:pt x="2885" y="60"/>
                  <a:pt x="2627" y="199"/>
                  <a:pt x="2328" y="239"/>
                </a:cubicBezTo>
                <a:cubicBezTo>
                  <a:pt x="2179" y="249"/>
                  <a:pt x="1990" y="254"/>
                  <a:pt x="1834" y="254"/>
                </a:cubicBezTo>
                <a:cubicBezTo>
                  <a:pt x="1677" y="254"/>
                  <a:pt x="1553" y="249"/>
                  <a:pt x="1533" y="239"/>
                </a:cubicBezTo>
                <a:cubicBezTo>
                  <a:pt x="1499" y="217"/>
                  <a:pt x="1361" y="189"/>
                  <a:pt x="1224" y="189"/>
                </a:cubicBezTo>
                <a:cubicBezTo>
                  <a:pt x="1116" y="189"/>
                  <a:pt x="1008" y="206"/>
                  <a:pt x="956" y="259"/>
                </a:cubicBezTo>
                <a:cubicBezTo>
                  <a:pt x="836" y="379"/>
                  <a:pt x="558" y="756"/>
                  <a:pt x="478" y="856"/>
                </a:cubicBezTo>
                <a:cubicBezTo>
                  <a:pt x="379" y="955"/>
                  <a:pt x="80" y="1055"/>
                  <a:pt x="61" y="1095"/>
                </a:cubicBezTo>
                <a:cubicBezTo>
                  <a:pt x="61" y="1174"/>
                  <a:pt x="1" y="1691"/>
                  <a:pt x="61" y="1851"/>
                </a:cubicBezTo>
                <a:cubicBezTo>
                  <a:pt x="100" y="1990"/>
                  <a:pt x="439" y="2288"/>
                  <a:pt x="478" y="2348"/>
                </a:cubicBezTo>
                <a:cubicBezTo>
                  <a:pt x="518" y="2388"/>
                  <a:pt x="836" y="2368"/>
                  <a:pt x="936" y="2408"/>
                </a:cubicBezTo>
                <a:cubicBezTo>
                  <a:pt x="1035" y="2467"/>
                  <a:pt x="1453" y="2666"/>
                  <a:pt x="1453" y="2666"/>
                </a:cubicBezTo>
                <a:cubicBezTo>
                  <a:pt x="1453" y="2666"/>
                  <a:pt x="1672" y="2507"/>
                  <a:pt x="1692" y="2467"/>
                </a:cubicBezTo>
                <a:cubicBezTo>
                  <a:pt x="1732" y="2408"/>
                  <a:pt x="1931" y="2328"/>
                  <a:pt x="2050" y="2268"/>
                </a:cubicBezTo>
                <a:cubicBezTo>
                  <a:pt x="2189" y="2229"/>
                  <a:pt x="2647" y="1970"/>
                  <a:pt x="2667" y="1890"/>
                </a:cubicBezTo>
                <a:cubicBezTo>
                  <a:pt x="2686" y="1831"/>
                  <a:pt x="2726" y="1572"/>
                  <a:pt x="2766" y="1433"/>
                </a:cubicBezTo>
                <a:cubicBezTo>
                  <a:pt x="2846" y="1274"/>
                  <a:pt x="3064" y="1035"/>
                  <a:pt x="3184" y="896"/>
                </a:cubicBezTo>
                <a:cubicBezTo>
                  <a:pt x="3323" y="796"/>
                  <a:pt x="3482" y="697"/>
                  <a:pt x="3462" y="478"/>
                </a:cubicBezTo>
                <a:cubicBezTo>
                  <a:pt x="3442" y="279"/>
                  <a:pt x="3243" y="40"/>
                  <a:pt x="3243" y="40"/>
                </a:cubicBezTo>
                <a:lnTo>
                  <a:pt x="2945" y="40"/>
                </a:lnTo>
                <a:lnTo>
                  <a:pt x="2945" y="1"/>
                </a:lnTo>
                <a:close/>
              </a:path>
            </a:pathLst>
          </a:custGeom>
          <a:solidFill>
            <a:schemeClr val="accent2"/>
          </a:solidFill>
          <a:ln>
            <a:noFill/>
          </a:ln>
        </p:spPr>
        <p:txBody>
          <a:bodyPr spcFirstLastPara="1" wrap="square" lIns="121900" tIns="121900" rIns="121900" bIns="121900" anchor="ctr" anchorCtr="0">
            <a:noAutofit/>
          </a:bodyPr>
          <a:lstStyle/>
          <a:p>
            <a:endParaRPr sz="1100">
              <a:latin typeface="Raleway" pitchFamily="2" charset="0"/>
            </a:endParaRPr>
          </a:p>
        </p:txBody>
      </p:sp>
      <p:sp>
        <p:nvSpPr>
          <p:cNvPr id="69" name="Triangle isocèle 68">
            <a:extLst>
              <a:ext uri="{FF2B5EF4-FFF2-40B4-BE49-F238E27FC236}">
                <a16:creationId xmlns:a16="http://schemas.microsoft.com/office/drawing/2014/main" id="{B0D1A816-10A7-551A-2188-2307C7367F75}"/>
              </a:ext>
            </a:extLst>
          </p:cNvPr>
          <p:cNvSpPr/>
          <p:nvPr/>
        </p:nvSpPr>
        <p:spPr>
          <a:xfrm flipH="1">
            <a:off x="3353170" y="2688514"/>
            <a:ext cx="108000" cy="144000"/>
          </a:xfrm>
          <a:prstGeom prst="triangle">
            <a:avLst/>
          </a:prstGeom>
          <a:solidFill>
            <a:schemeClr val="accent1"/>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sp>
        <p:nvSpPr>
          <p:cNvPr id="95" name="Triangle isocèle 94">
            <a:extLst>
              <a:ext uri="{FF2B5EF4-FFF2-40B4-BE49-F238E27FC236}">
                <a16:creationId xmlns:a16="http://schemas.microsoft.com/office/drawing/2014/main" id="{7A23DE43-D5C4-4BA4-6B85-13CF64E87204}"/>
              </a:ext>
            </a:extLst>
          </p:cNvPr>
          <p:cNvSpPr/>
          <p:nvPr/>
        </p:nvSpPr>
        <p:spPr>
          <a:xfrm flipH="1">
            <a:off x="3339843" y="3227358"/>
            <a:ext cx="108000" cy="144000"/>
          </a:xfrm>
          <a:prstGeom prst="triangle">
            <a:avLst/>
          </a:prstGeom>
          <a:solidFill>
            <a:schemeClr val="accent1"/>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sp>
        <p:nvSpPr>
          <p:cNvPr id="21" name="Title 1">
            <a:extLst>
              <a:ext uri="{FF2B5EF4-FFF2-40B4-BE49-F238E27FC236}">
                <a16:creationId xmlns:a16="http://schemas.microsoft.com/office/drawing/2014/main" id="{80A79E22-4166-FE7D-D511-809B216323C0}"/>
              </a:ext>
            </a:extLst>
          </p:cNvPr>
          <p:cNvSpPr>
            <a:spLocks noGrp="1"/>
          </p:cNvSpPr>
          <p:nvPr>
            <p:ph type="title"/>
          </p:nvPr>
        </p:nvSpPr>
        <p:spPr>
          <a:xfrm>
            <a:off x="838200" y="222075"/>
            <a:ext cx="10515600" cy="630298"/>
          </a:xfrm>
        </p:spPr>
        <p:txBody>
          <a:bodyPr>
            <a:noAutofit/>
          </a:bodyPr>
          <a:lstStyle/>
          <a:p>
            <a:pPr>
              <a:lnSpc>
                <a:spcPct val="150000"/>
              </a:lnSpc>
            </a:pPr>
            <a:r>
              <a:rPr lang="en-US" sz="3600">
                <a:solidFill>
                  <a:srgbClr val="0070C0"/>
                </a:solidFill>
              </a:rPr>
              <a:t>China</a:t>
            </a:r>
            <a:endParaRPr lang="en-US" sz="3200">
              <a:solidFill>
                <a:srgbClr val="0070C0"/>
              </a:solidFill>
            </a:endParaRPr>
          </a:p>
        </p:txBody>
      </p:sp>
      <p:graphicFrame>
        <p:nvGraphicFramePr>
          <p:cNvPr id="22" name="Table 5">
            <a:extLst>
              <a:ext uri="{FF2B5EF4-FFF2-40B4-BE49-F238E27FC236}">
                <a16:creationId xmlns:a16="http://schemas.microsoft.com/office/drawing/2014/main" id="{DA3C978E-42D5-18F3-5BAE-FB3CFD2FC67E}"/>
              </a:ext>
            </a:extLst>
          </p:cNvPr>
          <p:cNvGraphicFramePr>
            <a:graphicFrameLocks noGrp="1"/>
          </p:cNvGraphicFramePr>
          <p:nvPr>
            <p:extLst>
              <p:ext uri="{D42A27DB-BD31-4B8C-83A1-F6EECF244321}">
                <p14:modId xmlns:p14="http://schemas.microsoft.com/office/powerpoint/2010/main" val="784319470"/>
              </p:ext>
            </p:extLst>
          </p:nvPr>
        </p:nvGraphicFramePr>
        <p:xfrm>
          <a:off x="4957784" y="157381"/>
          <a:ext cx="7234215" cy="6246877"/>
        </p:xfrm>
        <a:graphic>
          <a:graphicData uri="http://schemas.openxmlformats.org/drawingml/2006/table">
            <a:tbl>
              <a:tblPr firstRow="1" bandRow="1">
                <a:tableStyleId>{9D7B26C5-4107-4FEC-AEDC-1716B250A1EF}</a:tableStyleId>
              </a:tblPr>
              <a:tblGrid>
                <a:gridCol w="962862">
                  <a:extLst>
                    <a:ext uri="{9D8B030D-6E8A-4147-A177-3AD203B41FA5}">
                      <a16:colId xmlns:a16="http://schemas.microsoft.com/office/drawing/2014/main" val="1971178031"/>
                    </a:ext>
                  </a:extLst>
                </a:gridCol>
                <a:gridCol w="1197072">
                  <a:extLst>
                    <a:ext uri="{9D8B030D-6E8A-4147-A177-3AD203B41FA5}">
                      <a16:colId xmlns:a16="http://schemas.microsoft.com/office/drawing/2014/main" val="4106639385"/>
                    </a:ext>
                  </a:extLst>
                </a:gridCol>
                <a:gridCol w="1518027">
                  <a:extLst>
                    <a:ext uri="{9D8B030D-6E8A-4147-A177-3AD203B41FA5}">
                      <a16:colId xmlns:a16="http://schemas.microsoft.com/office/drawing/2014/main" val="1505498681"/>
                    </a:ext>
                  </a:extLst>
                </a:gridCol>
                <a:gridCol w="3556254">
                  <a:extLst>
                    <a:ext uri="{9D8B030D-6E8A-4147-A177-3AD203B41FA5}">
                      <a16:colId xmlns:a16="http://schemas.microsoft.com/office/drawing/2014/main" val="4158918225"/>
                    </a:ext>
                  </a:extLst>
                </a:gridCol>
              </a:tblGrid>
              <a:tr h="334320">
                <a:tc>
                  <a:txBody>
                    <a:bodyPr/>
                    <a:lstStyle/>
                    <a:p>
                      <a:r>
                        <a:rPr lang="en-US" sz="1000">
                          <a:solidFill>
                            <a:schemeClr val="bg1"/>
                          </a:solidFill>
                          <a:latin typeface="Raleway" pitchFamily="2" charset="0"/>
                        </a:rPr>
                        <a:t>Provinces</a:t>
                      </a:r>
                    </a:p>
                  </a:txBody>
                  <a:tcPr>
                    <a:solidFill>
                      <a:schemeClr val="tx1"/>
                    </a:solidFill>
                  </a:tcPr>
                </a:tc>
                <a:tc>
                  <a:txBody>
                    <a:bodyPr/>
                    <a:lstStyle/>
                    <a:p>
                      <a:r>
                        <a:rPr lang="en-US" sz="1000">
                          <a:solidFill>
                            <a:schemeClr val="bg1"/>
                          </a:solidFill>
                          <a:latin typeface="Raleway" pitchFamily="2" charset="0"/>
                        </a:rPr>
                        <a:t>Recipient company</a:t>
                      </a:r>
                    </a:p>
                  </a:txBody>
                  <a:tcPr>
                    <a:solidFill>
                      <a:schemeClr val="tx1"/>
                    </a:solidFill>
                  </a:tcPr>
                </a:tc>
                <a:tc>
                  <a:txBody>
                    <a:bodyPr/>
                    <a:lstStyle/>
                    <a:p>
                      <a:r>
                        <a:rPr lang="en-US" sz="1000">
                          <a:solidFill>
                            <a:schemeClr val="bg1"/>
                          </a:solidFill>
                          <a:latin typeface="Raleway" pitchFamily="2" charset="0"/>
                        </a:rPr>
                        <a:t>Developer</a:t>
                      </a:r>
                    </a:p>
                  </a:txBody>
                  <a:tcPr>
                    <a:solidFill>
                      <a:schemeClr val="tx1"/>
                    </a:solidFill>
                  </a:tcPr>
                </a:tc>
                <a:tc>
                  <a:txBody>
                    <a:bodyPr/>
                    <a:lstStyle/>
                    <a:p>
                      <a:r>
                        <a:rPr lang="en-US" sz="1000">
                          <a:solidFill>
                            <a:schemeClr val="bg1"/>
                          </a:solidFill>
                          <a:latin typeface="Raleway" pitchFamily="2" charset="0"/>
                        </a:rPr>
                        <a:t>Status</a:t>
                      </a:r>
                    </a:p>
                  </a:txBody>
                  <a:tcPr>
                    <a:solidFill>
                      <a:schemeClr val="tx1"/>
                    </a:solidFill>
                  </a:tcPr>
                </a:tc>
                <a:extLst>
                  <a:ext uri="{0D108BD9-81ED-4DB2-BD59-A6C34878D82A}">
                    <a16:rowId xmlns:a16="http://schemas.microsoft.com/office/drawing/2014/main" val="3036631337"/>
                  </a:ext>
                </a:extLst>
              </a:tr>
              <a:tr h="464581">
                <a:tc>
                  <a:txBody>
                    <a:bodyPr/>
                    <a:lstStyle/>
                    <a:p>
                      <a:r>
                        <a:rPr lang="en-US" sz="1000" b="1">
                          <a:latin typeface="Raleway" pitchFamily="2" charset="0"/>
                        </a:rPr>
                        <a:t>Shanghai</a:t>
                      </a:r>
                    </a:p>
                  </a:txBody>
                  <a:tcPr anchor="ctr"/>
                </a:tc>
                <a:tc>
                  <a:txBody>
                    <a:bodyPr/>
                    <a:lstStyle/>
                    <a:p>
                      <a:r>
                        <a:rPr lang="en-US" sz="1000">
                          <a:latin typeface="Raleway" pitchFamily="2" charset="0"/>
                        </a:rPr>
                        <a:t>Shanghai Fosun Pharma</a:t>
                      </a:r>
                    </a:p>
                  </a:txBody>
                  <a:tcPr anchor="ctr"/>
                </a:tc>
                <a:tc>
                  <a:txBody>
                    <a:bodyPr/>
                    <a:lstStyle/>
                    <a:p>
                      <a:r>
                        <a:rPr lang="en-US" sz="1000">
                          <a:latin typeface="Raleway" pitchFamily="2" charset="0"/>
                        </a:rPr>
                        <a:t>BioNTech</a:t>
                      </a:r>
                    </a:p>
                  </a:txBody>
                  <a:tcPr anchor="ctr"/>
                </a:tc>
                <a:tc>
                  <a:txBody>
                    <a:bodyPr/>
                    <a:lstStyle/>
                    <a:p>
                      <a:pPr algn="l" fontAlgn="ctr"/>
                      <a:r>
                        <a:rPr lang="en-US" sz="900" b="0" i="0" u="none" strike="noStrike">
                          <a:solidFill>
                            <a:schemeClr val="tx1"/>
                          </a:solidFill>
                          <a:effectLst/>
                          <a:latin typeface="Raleway" pitchFamily="2" charset="0"/>
                        </a:rPr>
                        <a:t>Had a Joint venture agreement with BioNTech in May 2021 to produce mRNA-based vaccines starting with COVID but may expand to other infectious diseases and therapeutics.</a:t>
                      </a:r>
                    </a:p>
                  </a:txBody>
                  <a:tcPr marL="0" marR="0" marT="0" marB="0" anchor="ctr"/>
                </a:tc>
                <a:extLst>
                  <a:ext uri="{0D108BD9-81ED-4DB2-BD59-A6C34878D82A}">
                    <a16:rowId xmlns:a16="http://schemas.microsoft.com/office/drawing/2014/main" val="2859557857"/>
                  </a:ext>
                </a:extLst>
              </a:tr>
              <a:tr h="320122">
                <a:tc>
                  <a:txBody>
                    <a:bodyPr/>
                    <a:lstStyle/>
                    <a:p>
                      <a:r>
                        <a:rPr lang="en-US" sz="1000" b="1" dirty="0">
                          <a:latin typeface="Raleway" pitchFamily="2" charset="0"/>
                        </a:rPr>
                        <a:t>Beijing</a:t>
                      </a:r>
                    </a:p>
                  </a:txBody>
                  <a:tcPr anchor="ctr"/>
                </a:tc>
                <a:tc>
                  <a:txBody>
                    <a:bodyPr/>
                    <a:lstStyle/>
                    <a:p>
                      <a:r>
                        <a:rPr lang="en-US" sz="1000">
                          <a:latin typeface="Raleway" pitchFamily="2" charset="0"/>
                        </a:rPr>
                        <a:t>Sinopharm</a:t>
                      </a:r>
                    </a:p>
                  </a:txBody>
                  <a:tcPr anchor="ctr"/>
                </a:tc>
                <a:tc>
                  <a:txBody>
                    <a:bodyPr/>
                    <a:lstStyle/>
                    <a:p>
                      <a:r>
                        <a:rPr lang="en-US" sz="1000">
                          <a:latin typeface="Raleway" pitchFamily="2" charset="0"/>
                        </a:rPr>
                        <a:t>Sinopharm</a:t>
                      </a:r>
                    </a:p>
                  </a:txBody>
                  <a:tcPr anchor="ctr"/>
                </a:tc>
                <a:tc>
                  <a:txBody>
                    <a:bodyPr/>
                    <a:lstStyle/>
                    <a:p>
                      <a:pPr algn="l" fontAlgn="ctr"/>
                      <a:r>
                        <a:rPr lang="en-US" sz="900" b="0" i="0" u="none" strike="noStrike">
                          <a:solidFill>
                            <a:srgbClr val="000000"/>
                          </a:solidFill>
                          <a:effectLst/>
                          <a:latin typeface="Raleway" pitchFamily="2" charset="0"/>
                        </a:rPr>
                        <a:t>The application for clinical trials of a domestic Omicron-specific mRNA COVID-19 vaccine has been submitted for approval</a:t>
                      </a:r>
                    </a:p>
                  </a:txBody>
                  <a:tcPr marL="0" marR="0" marT="0" marB="0" anchor="ctr"/>
                </a:tc>
                <a:extLst>
                  <a:ext uri="{0D108BD9-81ED-4DB2-BD59-A6C34878D82A}">
                    <a16:rowId xmlns:a16="http://schemas.microsoft.com/office/drawing/2014/main" val="3801935204"/>
                  </a:ext>
                </a:extLst>
              </a:tr>
              <a:tr h="511746">
                <a:tc>
                  <a:txBody>
                    <a:bodyPr/>
                    <a:lstStyle/>
                    <a:p>
                      <a:r>
                        <a:rPr lang="en-US" sz="1000" b="1">
                          <a:latin typeface="Raleway" pitchFamily="2" charset="0"/>
                        </a:rPr>
                        <a:t>Shanghai</a:t>
                      </a:r>
                    </a:p>
                  </a:txBody>
                  <a:tcPr anchor="ctr"/>
                </a:tc>
                <a:tc>
                  <a:txBody>
                    <a:bodyPr/>
                    <a:lstStyle/>
                    <a:p>
                      <a:r>
                        <a:rPr lang="en-US" sz="1000">
                          <a:latin typeface="Raleway" pitchFamily="2" charset="0"/>
                        </a:rPr>
                        <a:t>Everest Medicines</a:t>
                      </a:r>
                    </a:p>
                  </a:txBody>
                  <a:tcPr anchor="ctr"/>
                </a:tc>
                <a:tc>
                  <a:txBody>
                    <a:bodyPr/>
                    <a:lstStyle/>
                    <a:p>
                      <a:pPr algn="l" fontAlgn="ctr"/>
                      <a:r>
                        <a:rPr lang="en-US" sz="1000" b="0" i="0" u="none" strike="noStrike">
                          <a:solidFill>
                            <a:srgbClr val="000000"/>
                          </a:solidFill>
                          <a:effectLst/>
                          <a:latin typeface="Raleway" pitchFamily="2" charset="0"/>
                        </a:rPr>
                        <a:t>Providence</a:t>
                      </a:r>
                    </a:p>
                  </a:txBody>
                  <a:tcPr marL="0" marR="0" marT="0" marB="0" anchor="ctr"/>
                </a:tc>
                <a:tc>
                  <a:txBody>
                    <a:bodyPr/>
                    <a:lstStyle/>
                    <a:p>
                      <a:r>
                        <a:rPr lang="en-US" sz="900">
                          <a:latin typeface="Raleway" pitchFamily="2" charset="0"/>
                        </a:rPr>
                        <a:t>Signed an agreement with Providence on mRNA vaccines and cancer therapeutics. mRNA rabies vaccine program has achieved preclinical proof-of-concept, according to the press release in Feb 2023.</a:t>
                      </a:r>
                    </a:p>
                  </a:txBody>
                  <a:tcPr anchor="ctr"/>
                </a:tc>
                <a:extLst>
                  <a:ext uri="{0D108BD9-81ED-4DB2-BD59-A6C34878D82A}">
                    <a16:rowId xmlns:a16="http://schemas.microsoft.com/office/drawing/2014/main" val="423017230"/>
                  </a:ext>
                </a:extLst>
              </a:tr>
              <a:tr h="414451">
                <a:tc>
                  <a:txBody>
                    <a:bodyPr/>
                    <a:lstStyle/>
                    <a:p>
                      <a:r>
                        <a:rPr lang="en-US" sz="1000" b="1">
                          <a:latin typeface="Raleway" pitchFamily="2" charset="0"/>
                        </a:rPr>
                        <a:t>Hong Kong</a:t>
                      </a:r>
                    </a:p>
                  </a:txBody>
                  <a:tcPr anchor="ctr"/>
                </a:tc>
                <a:tc>
                  <a:txBody>
                    <a:bodyPr/>
                    <a:lstStyle/>
                    <a:p>
                      <a:r>
                        <a:rPr lang="en-US" sz="1000">
                          <a:latin typeface="Raleway" pitchFamily="2" charset="0"/>
                        </a:rPr>
                        <a:t>China Resources Pharmaceutical</a:t>
                      </a:r>
                    </a:p>
                  </a:txBody>
                  <a:tcPr anchor="ctr"/>
                </a:tc>
                <a:tc>
                  <a:txBody>
                    <a:bodyPr/>
                    <a:lstStyle/>
                    <a:p>
                      <a:pPr algn="l" fontAlgn="ctr"/>
                      <a:r>
                        <a:rPr lang="en-US" sz="1000" b="0" i="0" u="none" strike="noStrike">
                          <a:solidFill>
                            <a:srgbClr val="000000"/>
                          </a:solidFill>
                          <a:effectLst/>
                          <a:latin typeface="Raleway" pitchFamily="2" charset="0"/>
                        </a:rPr>
                        <a:t>Everest Medicines</a:t>
                      </a:r>
                    </a:p>
                  </a:txBody>
                  <a:tcPr marL="0" marR="0" marT="0" marB="0" anchor="ctr"/>
                </a:tc>
                <a:tc>
                  <a:txBody>
                    <a:bodyPr/>
                    <a:lstStyle/>
                    <a:p>
                      <a:r>
                        <a:rPr lang="en-US" sz="900">
                          <a:latin typeface="Raleway" pitchFamily="2" charset="0"/>
                        </a:rPr>
                        <a:t>No update</a:t>
                      </a:r>
                    </a:p>
                  </a:txBody>
                  <a:tcPr anchor="ctr"/>
                </a:tc>
                <a:extLst>
                  <a:ext uri="{0D108BD9-81ED-4DB2-BD59-A6C34878D82A}">
                    <a16:rowId xmlns:a16="http://schemas.microsoft.com/office/drawing/2014/main" val="4114079512"/>
                  </a:ext>
                </a:extLst>
              </a:tr>
              <a:tr h="460571">
                <a:tc>
                  <a:txBody>
                    <a:bodyPr/>
                    <a:lstStyle/>
                    <a:p>
                      <a:r>
                        <a:rPr lang="en-US" sz="1000" b="1">
                          <a:latin typeface="Raleway" pitchFamily="2" charset="0"/>
                        </a:rPr>
                        <a:t>Shanghai</a:t>
                      </a:r>
                    </a:p>
                  </a:txBody>
                  <a:tcPr anchor="ctr"/>
                </a:tc>
                <a:tc>
                  <a:txBody>
                    <a:bodyPr/>
                    <a:lstStyle/>
                    <a:p>
                      <a:r>
                        <a:rPr lang="en-US" sz="1000" err="1">
                          <a:latin typeface="Raleway" pitchFamily="2" charset="0"/>
                        </a:rPr>
                        <a:t>Stemirna</a:t>
                      </a:r>
                      <a:r>
                        <a:rPr lang="en-US" sz="1000">
                          <a:latin typeface="Raleway" pitchFamily="2" charset="0"/>
                        </a:rPr>
                        <a:t> Therapeutics</a:t>
                      </a:r>
                    </a:p>
                  </a:txBody>
                  <a:tcPr anchor="ctr"/>
                </a:tc>
                <a:tc>
                  <a:txBody>
                    <a:bodyPr/>
                    <a:lstStyle/>
                    <a:p>
                      <a:pPr algn="l" fontAlgn="ctr"/>
                      <a:r>
                        <a:rPr lang="en-US" sz="1000" b="0" i="0" u="none" strike="noStrike" err="1">
                          <a:solidFill>
                            <a:srgbClr val="000000"/>
                          </a:solidFill>
                          <a:effectLst/>
                          <a:latin typeface="Raleway" pitchFamily="2" charset="0"/>
                        </a:rPr>
                        <a:t>Stemirna</a:t>
                      </a:r>
                      <a:r>
                        <a:rPr lang="en-US" sz="1000" b="0" i="0" u="none" strike="noStrike">
                          <a:solidFill>
                            <a:srgbClr val="000000"/>
                          </a:solidFill>
                          <a:effectLst/>
                          <a:latin typeface="Raleway" pitchFamily="2" charset="0"/>
                        </a:rPr>
                        <a:t> Therapeutics</a:t>
                      </a:r>
                    </a:p>
                  </a:txBody>
                  <a:tcPr marL="0" marR="0" marT="0" marB="0" anchor="ctr"/>
                </a:tc>
                <a:tc>
                  <a:txBody>
                    <a:bodyPr/>
                    <a:lstStyle/>
                    <a:p>
                      <a:r>
                        <a:rPr lang="en-US" sz="900">
                          <a:latin typeface="Raleway" pitchFamily="2" charset="0"/>
                        </a:rPr>
                        <a:t>No update</a:t>
                      </a:r>
                    </a:p>
                  </a:txBody>
                  <a:tcPr anchor="ctr"/>
                </a:tc>
                <a:extLst>
                  <a:ext uri="{0D108BD9-81ED-4DB2-BD59-A6C34878D82A}">
                    <a16:rowId xmlns:a16="http://schemas.microsoft.com/office/drawing/2014/main" val="529381199"/>
                  </a:ext>
                </a:extLst>
              </a:tr>
              <a:tr h="332635">
                <a:tc>
                  <a:txBody>
                    <a:bodyPr/>
                    <a:lstStyle/>
                    <a:p>
                      <a:r>
                        <a:rPr lang="en-US" sz="1000" b="1" err="1">
                          <a:latin typeface="Raleway" pitchFamily="2" charset="0"/>
                        </a:rPr>
                        <a:t>Tianjing</a:t>
                      </a:r>
                      <a:endParaRPr lang="en-US" sz="1000" b="1">
                        <a:latin typeface="Raleway" pitchFamily="2" charset="0"/>
                      </a:endParaRPr>
                    </a:p>
                  </a:txBody>
                  <a:tcPr anchor="ctr"/>
                </a:tc>
                <a:tc>
                  <a:txBody>
                    <a:bodyPr/>
                    <a:lstStyle/>
                    <a:p>
                      <a:r>
                        <a:rPr lang="en-US" sz="1000">
                          <a:latin typeface="Raleway" pitchFamily="2" charset="0"/>
                        </a:rPr>
                        <a:t>CanSino</a:t>
                      </a:r>
                    </a:p>
                  </a:txBody>
                  <a:tcPr anchor="ctr"/>
                </a:tc>
                <a:tc>
                  <a:txBody>
                    <a:bodyPr/>
                    <a:lstStyle/>
                    <a:p>
                      <a:pPr algn="l" fontAlgn="ctr"/>
                      <a:r>
                        <a:rPr lang="en-US" sz="1000" b="0" i="0" u="none" strike="noStrike">
                          <a:solidFill>
                            <a:srgbClr val="000000"/>
                          </a:solidFill>
                          <a:effectLst/>
                          <a:latin typeface="Raleway" pitchFamily="2" charset="0"/>
                        </a:rPr>
                        <a:t>CanSino</a:t>
                      </a:r>
                    </a:p>
                  </a:txBody>
                  <a:tcPr marL="0" marR="0" marT="0" marB="0" anchor="ctr"/>
                </a:tc>
                <a:tc>
                  <a:txBody>
                    <a:bodyPr/>
                    <a:lstStyle/>
                    <a:p>
                      <a:r>
                        <a:rPr lang="en-US" sz="900">
                          <a:latin typeface="Raleway" pitchFamily="2" charset="0"/>
                        </a:rPr>
                        <a:t>COVID-19 &amp; other prophylactic vaccines</a:t>
                      </a:r>
                    </a:p>
                  </a:txBody>
                  <a:tcPr anchor="ctr"/>
                </a:tc>
                <a:extLst>
                  <a:ext uri="{0D108BD9-81ED-4DB2-BD59-A6C34878D82A}">
                    <a16:rowId xmlns:a16="http://schemas.microsoft.com/office/drawing/2014/main" val="2121041782"/>
                  </a:ext>
                </a:extLst>
              </a:tr>
              <a:tr h="400868">
                <a:tc>
                  <a:txBody>
                    <a:bodyPr/>
                    <a:lstStyle/>
                    <a:p>
                      <a:r>
                        <a:rPr lang="en-US" sz="1000" b="1">
                          <a:latin typeface="Raleway" pitchFamily="2" charset="0"/>
                        </a:rPr>
                        <a:t>Jiangsu</a:t>
                      </a:r>
                    </a:p>
                  </a:txBody>
                  <a:tcPr anchor="ctr"/>
                </a:tc>
                <a:tc>
                  <a:txBody>
                    <a:bodyPr/>
                    <a:lstStyle/>
                    <a:p>
                      <a:r>
                        <a:rPr lang="en-US" sz="1000" err="1">
                          <a:latin typeface="Raleway" pitchFamily="2" charset="0"/>
                        </a:rPr>
                        <a:t>Walvax</a:t>
                      </a:r>
                      <a:endParaRPr lang="en-US" sz="1000">
                        <a:latin typeface="Raleway" pitchFamily="2" charset="0"/>
                      </a:endParaRPr>
                    </a:p>
                  </a:txBody>
                  <a:tcPr anchor="ctr"/>
                </a:tc>
                <a:tc>
                  <a:txBody>
                    <a:bodyPr/>
                    <a:lstStyle/>
                    <a:p>
                      <a:pPr algn="l" fontAlgn="ctr"/>
                      <a:r>
                        <a:rPr lang="en-US" sz="1000" b="0" i="0" u="none" strike="noStrike">
                          <a:solidFill>
                            <a:srgbClr val="000000"/>
                          </a:solidFill>
                          <a:effectLst/>
                          <a:latin typeface="Raleway" pitchFamily="2" charset="0"/>
                        </a:rPr>
                        <a:t>Suzhou </a:t>
                      </a:r>
                      <a:r>
                        <a:rPr lang="en-US" sz="1000" b="0" i="0" u="none" strike="noStrike" err="1">
                          <a:solidFill>
                            <a:srgbClr val="000000"/>
                          </a:solidFill>
                          <a:effectLst/>
                          <a:latin typeface="Raleway" pitchFamily="2" charset="0"/>
                        </a:rPr>
                        <a:t>Abogen</a:t>
                      </a:r>
                      <a:r>
                        <a:rPr lang="en-US" sz="1000" b="0" i="0" u="none" strike="noStrike">
                          <a:solidFill>
                            <a:srgbClr val="000000"/>
                          </a:solidFill>
                          <a:effectLst/>
                          <a:latin typeface="Raleway" pitchFamily="2" charset="0"/>
                        </a:rPr>
                        <a:t> Biosciences</a:t>
                      </a:r>
                    </a:p>
                  </a:txBody>
                  <a:tcPr marL="0" marR="0" marT="0" marB="0" anchor="ctr"/>
                </a:tc>
                <a:tc>
                  <a:txBody>
                    <a:bodyPr/>
                    <a:lstStyle/>
                    <a:p>
                      <a:r>
                        <a:rPr lang="en-US" sz="900">
                          <a:latin typeface="Raleway" pitchFamily="2" charset="0"/>
                        </a:rPr>
                        <a:t>Only COVID-19 vaccines (Phase-3 Clinical Trial)</a:t>
                      </a:r>
                    </a:p>
                  </a:txBody>
                  <a:tcPr anchor="ctr"/>
                </a:tc>
                <a:extLst>
                  <a:ext uri="{0D108BD9-81ED-4DB2-BD59-A6C34878D82A}">
                    <a16:rowId xmlns:a16="http://schemas.microsoft.com/office/drawing/2014/main" val="2569066204"/>
                  </a:ext>
                </a:extLst>
              </a:tr>
              <a:tr h="511746">
                <a:tc>
                  <a:txBody>
                    <a:bodyPr/>
                    <a:lstStyle/>
                    <a:p>
                      <a:r>
                        <a:rPr lang="en-US" sz="1000" b="1">
                          <a:latin typeface="Raleway" pitchFamily="2" charset="0"/>
                        </a:rPr>
                        <a:t>Beijing</a:t>
                      </a:r>
                    </a:p>
                  </a:txBody>
                  <a:tcPr anchor="ctr"/>
                </a:tc>
                <a:tc>
                  <a:txBody>
                    <a:bodyPr/>
                    <a:lstStyle/>
                    <a:p>
                      <a:r>
                        <a:rPr lang="en-US" sz="1000">
                          <a:latin typeface="Raleway" pitchFamily="2" charset="0"/>
                        </a:rPr>
                        <a:t>AIM Vaccine</a:t>
                      </a:r>
                    </a:p>
                  </a:txBody>
                  <a:tcPr anchor="ctr"/>
                </a:tc>
                <a:tc>
                  <a:txBody>
                    <a:bodyPr/>
                    <a:lstStyle/>
                    <a:p>
                      <a:pPr algn="l" fontAlgn="ctr"/>
                      <a:r>
                        <a:rPr lang="en-US" sz="1000" b="0" i="0" u="none" strike="noStrike">
                          <a:solidFill>
                            <a:srgbClr val="000000"/>
                          </a:solidFill>
                          <a:effectLst/>
                          <a:latin typeface="Raleway" pitchFamily="2" charset="0"/>
                        </a:rPr>
                        <a:t>AIM vaccine</a:t>
                      </a:r>
                    </a:p>
                  </a:txBody>
                  <a:tcPr marL="0" marR="0" marT="0" marB="0" anchor="ctr"/>
                </a:tc>
                <a:tc>
                  <a:txBody>
                    <a:bodyPr/>
                    <a:lstStyle/>
                    <a:p>
                      <a:r>
                        <a:rPr lang="en-US" sz="900">
                          <a:latin typeface="Raleway" pitchFamily="2" charset="0"/>
                        </a:rPr>
                        <a:t>COVID-19 vaccines (Phase-1, clinical trial), Human rabies vaccine (Preclinical), RSV (Preclinical)</a:t>
                      </a:r>
                    </a:p>
                  </a:txBody>
                  <a:tcPr anchor="ctr"/>
                </a:tc>
                <a:extLst>
                  <a:ext uri="{0D108BD9-81ED-4DB2-BD59-A6C34878D82A}">
                    <a16:rowId xmlns:a16="http://schemas.microsoft.com/office/drawing/2014/main" val="2875299620"/>
                  </a:ext>
                </a:extLst>
              </a:tr>
              <a:tr h="655035">
                <a:tc>
                  <a:txBody>
                    <a:bodyPr/>
                    <a:lstStyle/>
                    <a:p>
                      <a:r>
                        <a:rPr lang="en-US" sz="1000" b="1">
                          <a:latin typeface="Raleway" pitchFamily="2" charset="0"/>
                        </a:rPr>
                        <a:t>Suzhou</a:t>
                      </a:r>
                    </a:p>
                  </a:txBody>
                  <a:tcPr anchor="ctr"/>
                </a:tc>
                <a:tc>
                  <a:txBody>
                    <a:bodyPr/>
                    <a:lstStyle/>
                    <a:p>
                      <a:r>
                        <a:rPr lang="en-US" sz="1000" err="1">
                          <a:latin typeface="Raleway" pitchFamily="2" charset="0"/>
                        </a:rPr>
                        <a:t>Abogen</a:t>
                      </a:r>
                      <a:r>
                        <a:rPr lang="en-US" sz="1000">
                          <a:latin typeface="Raleway" pitchFamily="2" charset="0"/>
                        </a:rPr>
                        <a:t> Biosciences</a:t>
                      </a:r>
                    </a:p>
                  </a:txBody>
                  <a:tcPr anchor="ctr"/>
                </a:tc>
                <a:tc>
                  <a:txBody>
                    <a:bodyPr/>
                    <a:lstStyle/>
                    <a:p>
                      <a:pPr algn="l" fontAlgn="ctr"/>
                      <a:r>
                        <a:rPr lang="en-US" sz="1000" b="0" i="0" u="none" strike="noStrike" err="1">
                          <a:solidFill>
                            <a:srgbClr val="000000"/>
                          </a:solidFill>
                          <a:effectLst/>
                          <a:latin typeface="Raleway" pitchFamily="2" charset="0"/>
                        </a:rPr>
                        <a:t>Abogen</a:t>
                      </a:r>
                      <a:r>
                        <a:rPr lang="en-US" sz="1000" b="0" i="0" u="none" strike="noStrike">
                          <a:solidFill>
                            <a:srgbClr val="000000"/>
                          </a:solidFill>
                          <a:effectLst/>
                          <a:latin typeface="Raleway" pitchFamily="2" charset="0"/>
                        </a:rPr>
                        <a:t> Biosciences</a:t>
                      </a:r>
                    </a:p>
                  </a:txBody>
                  <a:tcPr marL="0" marR="0" marT="0" marB="0" anchor="ctr"/>
                </a:tc>
                <a:tc>
                  <a:txBody>
                    <a:bodyPr/>
                    <a:lstStyle/>
                    <a:p>
                      <a:r>
                        <a:rPr lang="en-US" sz="900">
                          <a:latin typeface="Raleway" pitchFamily="2" charset="0"/>
                        </a:rPr>
                        <a:t>COVID-19 (Phase-3 CT overseas), Rabies (Preclinical), RSV (Preclinical), Varicella Zoster (Preclinical)</a:t>
                      </a:r>
                    </a:p>
                  </a:txBody>
                  <a:tcPr anchor="ctr"/>
                </a:tc>
                <a:extLst>
                  <a:ext uri="{0D108BD9-81ED-4DB2-BD59-A6C34878D82A}">
                    <a16:rowId xmlns:a16="http://schemas.microsoft.com/office/drawing/2014/main" val="681317782"/>
                  </a:ext>
                </a:extLst>
              </a:tr>
              <a:tr h="400868">
                <a:tc>
                  <a:txBody>
                    <a:bodyPr/>
                    <a:lstStyle/>
                    <a:p>
                      <a:r>
                        <a:rPr lang="en-US" sz="1000" b="1">
                          <a:latin typeface="Raleway" pitchFamily="2" charset="0"/>
                        </a:rPr>
                        <a:t>Wuhan</a:t>
                      </a:r>
                    </a:p>
                  </a:txBody>
                  <a:tcPr anchor="ctr"/>
                </a:tc>
                <a:tc>
                  <a:txBody>
                    <a:bodyPr/>
                    <a:lstStyle/>
                    <a:p>
                      <a:r>
                        <a:rPr lang="en-US" sz="1000">
                          <a:latin typeface="Raleway" pitchFamily="2" charset="0"/>
                        </a:rPr>
                        <a:t>Wuhan </a:t>
                      </a:r>
                      <a:r>
                        <a:rPr lang="en-US" sz="1000" err="1">
                          <a:latin typeface="Raleway" pitchFamily="2" charset="0"/>
                        </a:rPr>
                        <a:t>Recogen</a:t>
                      </a:r>
                      <a:r>
                        <a:rPr lang="en-US" sz="1000">
                          <a:latin typeface="Raleway" pitchFamily="2" charset="0"/>
                        </a:rPr>
                        <a:t> </a:t>
                      </a:r>
                      <a:r>
                        <a:rPr lang="en-US" sz="1000" err="1">
                          <a:latin typeface="Raleway" pitchFamily="2" charset="0"/>
                        </a:rPr>
                        <a:t>Biotechology</a:t>
                      </a:r>
                      <a:endParaRPr lang="en-US" sz="1000">
                        <a:latin typeface="Raleway" pitchFamily="2" charset="0"/>
                      </a:endParaRPr>
                    </a:p>
                  </a:txBody>
                  <a:tcPr anchor="ctr"/>
                </a:tc>
                <a:tc>
                  <a:txBody>
                    <a:bodyPr/>
                    <a:lstStyle/>
                    <a:p>
                      <a:pPr algn="l" fontAlgn="ctr"/>
                      <a:endParaRPr lang="en-US" sz="1000" b="0" i="0" u="none" strike="noStrike">
                        <a:solidFill>
                          <a:srgbClr val="000000"/>
                        </a:solidFill>
                        <a:effectLst/>
                        <a:latin typeface="Raleway" pitchFamily="2" charset="0"/>
                      </a:endParaRPr>
                    </a:p>
                  </a:txBody>
                  <a:tcPr marL="0" marR="0" marT="0" marB="0" anchor="ctr"/>
                </a:tc>
                <a:tc>
                  <a:txBody>
                    <a:bodyPr/>
                    <a:lstStyle/>
                    <a:p>
                      <a:r>
                        <a:rPr lang="en-US" sz="900">
                          <a:latin typeface="Raleway" pitchFamily="2" charset="0"/>
                        </a:rPr>
                        <a:t>COVID-19 vaccines (Pre-clinical)</a:t>
                      </a:r>
                    </a:p>
                  </a:txBody>
                  <a:tcPr anchor="ctr"/>
                </a:tc>
                <a:extLst>
                  <a:ext uri="{0D108BD9-81ED-4DB2-BD59-A6C34878D82A}">
                    <a16:rowId xmlns:a16="http://schemas.microsoft.com/office/drawing/2014/main" val="3419986139"/>
                  </a:ext>
                </a:extLst>
              </a:tr>
              <a:tr h="511746">
                <a:tc>
                  <a:txBody>
                    <a:bodyPr/>
                    <a:lstStyle/>
                    <a:p>
                      <a:r>
                        <a:rPr lang="en-US" sz="1000" b="1" dirty="0">
                          <a:latin typeface="Raleway" pitchFamily="2" charset="0"/>
                        </a:rPr>
                        <a:t>Hong Kong</a:t>
                      </a:r>
                    </a:p>
                  </a:txBody>
                  <a:tcPr anchor="ctr"/>
                </a:tc>
                <a:tc>
                  <a:txBody>
                    <a:bodyPr/>
                    <a:lstStyle/>
                    <a:p>
                      <a:r>
                        <a:rPr lang="en-US" sz="1000" dirty="0">
                          <a:latin typeface="Raleway" pitchFamily="2" charset="0"/>
                        </a:rPr>
                        <a:t>CSPC </a:t>
                      </a:r>
                      <a:r>
                        <a:rPr lang="en-US" sz="1000" dirty="0" err="1">
                          <a:latin typeface="Raleway" pitchFamily="2" charset="0"/>
                        </a:rPr>
                        <a:t>ZhongQi</a:t>
                      </a:r>
                      <a:r>
                        <a:rPr lang="en-US" sz="1000" dirty="0">
                          <a:latin typeface="Raleway" pitchFamily="2" charset="0"/>
                        </a:rPr>
                        <a:t> Pharmaceutical Technology</a:t>
                      </a:r>
                    </a:p>
                  </a:txBody>
                  <a:tcPr anchor="ctr"/>
                </a:tc>
                <a:tc>
                  <a:txBody>
                    <a:bodyPr/>
                    <a:lstStyle/>
                    <a:p>
                      <a:pPr algn="l" fontAlgn="ctr"/>
                      <a:r>
                        <a:rPr lang="en-US" sz="1000" b="0" i="0" u="none" strike="noStrike">
                          <a:solidFill>
                            <a:srgbClr val="000000"/>
                          </a:solidFill>
                          <a:effectLst/>
                          <a:latin typeface="Raleway" pitchFamily="2" charset="0"/>
                        </a:rPr>
                        <a:t>CSPC </a:t>
                      </a:r>
                      <a:r>
                        <a:rPr lang="en-US" sz="1000" b="0" i="0" u="none" strike="noStrike" err="1">
                          <a:solidFill>
                            <a:srgbClr val="000000"/>
                          </a:solidFill>
                          <a:effectLst/>
                          <a:latin typeface="Raleway" pitchFamily="2" charset="0"/>
                        </a:rPr>
                        <a:t>ZhongQi</a:t>
                      </a:r>
                      <a:r>
                        <a:rPr lang="en-US" sz="1000" b="0" i="0" u="none" strike="noStrike">
                          <a:solidFill>
                            <a:srgbClr val="000000"/>
                          </a:solidFill>
                          <a:effectLst/>
                          <a:latin typeface="Raleway" pitchFamily="2" charset="0"/>
                        </a:rPr>
                        <a:t> Pharmaceutical Technology</a:t>
                      </a:r>
                    </a:p>
                  </a:txBody>
                  <a:tcPr marL="0" marR="0" marT="0" marB="0" anchor="ctr"/>
                </a:tc>
                <a:tc>
                  <a:txBody>
                    <a:bodyPr/>
                    <a:lstStyle/>
                    <a:p>
                      <a:r>
                        <a:rPr lang="en-US" sz="900" dirty="0">
                          <a:latin typeface="Raleway" pitchFamily="2" charset="0"/>
                        </a:rPr>
                        <a:t>No update</a:t>
                      </a:r>
                    </a:p>
                  </a:txBody>
                  <a:tcPr anchor="ctr"/>
                </a:tc>
                <a:extLst>
                  <a:ext uri="{0D108BD9-81ED-4DB2-BD59-A6C34878D82A}">
                    <a16:rowId xmlns:a16="http://schemas.microsoft.com/office/drawing/2014/main" val="624606155"/>
                  </a:ext>
                </a:extLst>
              </a:tr>
              <a:tr h="511746">
                <a:tc>
                  <a:txBody>
                    <a:bodyPr/>
                    <a:lstStyle/>
                    <a:p>
                      <a:r>
                        <a:rPr lang="en-US" sz="1000" b="1" dirty="0">
                          <a:latin typeface="Raleway" pitchFamily="2" charset="0"/>
                        </a:rPr>
                        <a:t>China, </a:t>
                      </a:r>
                    </a:p>
                    <a:p>
                      <a:r>
                        <a:rPr lang="en-US" sz="1000" b="1" dirty="0">
                          <a:latin typeface="Raleway" pitchFamily="2" charset="0"/>
                        </a:rPr>
                        <a:t>Hong Kong</a:t>
                      </a:r>
                    </a:p>
                  </a:txBody>
                  <a:tcPr anchor="ctr"/>
                </a:tc>
                <a:tc>
                  <a:txBody>
                    <a:bodyPr/>
                    <a:lstStyle/>
                    <a:p>
                      <a:r>
                        <a:rPr lang="en-US" sz="1000" dirty="0">
                          <a:latin typeface="Raleway" pitchFamily="2" charset="0"/>
                        </a:rPr>
                        <a:t>CanSino</a:t>
                      </a:r>
                    </a:p>
                  </a:txBody>
                  <a:tcPr anchor="ctr"/>
                </a:tc>
                <a:tc>
                  <a:txBody>
                    <a:bodyPr/>
                    <a:lstStyle/>
                    <a:p>
                      <a:pPr algn="l" fontAlgn="ctr"/>
                      <a:r>
                        <a:rPr lang="en-US" sz="1000" b="0" i="0" u="none" strike="noStrike" dirty="0">
                          <a:solidFill>
                            <a:srgbClr val="000000"/>
                          </a:solidFill>
                          <a:effectLst/>
                          <a:latin typeface="Raleway" pitchFamily="2" charset="0"/>
                        </a:rPr>
                        <a:t>AstraZeneca</a:t>
                      </a:r>
                    </a:p>
                  </a:txBody>
                  <a:tcPr marL="0" marR="0" marT="0" marB="0" anchor="ctr"/>
                </a:tc>
                <a:tc>
                  <a:txBody>
                    <a:bodyPr/>
                    <a:lstStyle/>
                    <a:p>
                      <a:r>
                        <a:rPr lang="en-US" sz="1000" dirty="0">
                          <a:latin typeface="Raleway" pitchFamily="2" charset="0"/>
                        </a:rPr>
                        <a:t>A 10-year framework agreement in which CanSino will use its mRNA manufacturing platform to support AZ on the R&amp;D of certain vaccines. Further collaborate on R&amp;D &amp; </a:t>
                      </a:r>
                      <a:r>
                        <a:rPr lang="en-US" sz="1000" dirty="0" err="1">
                          <a:latin typeface="Raleway" pitchFamily="2" charset="0"/>
                        </a:rPr>
                        <a:t>commercialisation</a:t>
                      </a:r>
                      <a:r>
                        <a:rPr lang="en-US" sz="1000" dirty="0">
                          <a:latin typeface="Raleway" pitchFamily="2" charset="0"/>
                        </a:rPr>
                        <a:t> in future.</a:t>
                      </a:r>
                    </a:p>
                  </a:txBody>
                  <a:tcPr anchor="ctr"/>
                </a:tc>
                <a:extLst>
                  <a:ext uri="{0D108BD9-81ED-4DB2-BD59-A6C34878D82A}">
                    <a16:rowId xmlns:a16="http://schemas.microsoft.com/office/drawing/2014/main" val="1236495045"/>
                  </a:ext>
                </a:extLst>
              </a:tr>
            </a:tbl>
          </a:graphicData>
        </a:graphic>
      </p:graphicFrame>
      <p:grpSp>
        <p:nvGrpSpPr>
          <p:cNvPr id="24" name="Group 23">
            <a:extLst>
              <a:ext uri="{FF2B5EF4-FFF2-40B4-BE49-F238E27FC236}">
                <a16:creationId xmlns:a16="http://schemas.microsoft.com/office/drawing/2014/main" id="{9175607D-24CA-B03A-D52C-4E25722CE2F2}"/>
              </a:ext>
            </a:extLst>
          </p:cNvPr>
          <p:cNvGrpSpPr/>
          <p:nvPr/>
        </p:nvGrpSpPr>
        <p:grpSpPr>
          <a:xfrm>
            <a:off x="136982" y="1364848"/>
            <a:ext cx="4576837" cy="3449855"/>
            <a:chOff x="230195" y="1887815"/>
            <a:chExt cx="2881205" cy="2075898"/>
          </a:xfrm>
        </p:grpSpPr>
        <p:sp>
          <p:nvSpPr>
            <p:cNvPr id="227" name="Google Shape;227;p29"/>
            <p:cNvSpPr/>
            <p:nvPr/>
          </p:nvSpPr>
          <p:spPr>
            <a:xfrm>
              <a:off x="230195" y="1887815"/>
              <a:ext cx="2881205" cy="2056254"/>
            </a:xfrm>
            <a:custGeom>
              <a:avLst/>
              <a:gdLst/>
              <a:ahLst/>
              <a:cxnLst/>
              <a:rect l="l" t="t" r="r" b="b"/>
              <a:pathLst>
                <a:path w="93318" h="66669" extrusionOk="0">
                  <a:moveTo>
                    <a:pt x="76090" y="0"/>
                  </a:moveTo>
                  <a:lnTo>
                    <a:pt x="72490" y="239"/>
                  </a:lnTo>
                  <a:cubicBezTo>
                    <a:pt x="72171" y="279"/>
                    <a:pt x="71873" y="398"/>
                    <a:pt x="71654" y="597"/>
                  </a:cubicBezTo>
                  <a:lnTo>
                    <a:pt x="70779" y="1373"/>
                  </a:lnTo>
                  <a:cubicBezTo>
                    <a:pt x="70699" y="1433"/>
                    <a:pt x="70659" y="1532"/>
                    <a:pt x="70620" y="1631"/>
                  </a:cubicBezTo>
                  <a:lnTo>
                    <a:pt x="70620" y="1671"/>
                  </a:lnTo>
                  <a:cubicBezTo>
                    <a:pt x="70603" y="1755"/>
                    <a:pt x="70671" y="1839"/>
                    <a:pt x="70753" y="1839"/>
                  </a:cubicBezTo>
                  <a:cubicBezTo>
                    <a:pt x="70768" y="1839"/>
                    <a:pt x="70783" y="1837"/>
                    <a:pt x="70799" y="1830"/>
                  </a:cubicBezTo>
                  <a:lnTo>
                    <a:pt x="71435" y="1771"/>
                  </a:lnTo>
                  <a:cubicBezTo>
                    <a:pt x="71454" y="1766"/>
                    <a:pt x="71473" y="1764"/>
                    <a:pt x="71492" y="1764"/>
                  </a:cubicBezTo>
                  <a:cubicBezTo>
                    <a:pt x="71634" y="1764"/>
                    <a:pt x="71776" y="1889"/>
                    <a:pt x="71793" y="2029"/>
                  </a:cubicBezTo>
                  <a:lnTo>
                    <a:pt x="71933" y="2686"/>
                  </a:lnTo>
                  <a:cubicBezTo>
                    <a:pt x="71972" y="2905"/>
                    <a:pt x="71873" y="3104"/>
                    <a:pt x="71674" y="3203"/>
                  </a:cubicBezTo>
                  <a:lnTo>
                    <a:pt x="71296" y="3382"/>
                  </a:lnTo>
                  <a:cubicBezTo>
                    <a:pt x="71077" y="3481"/>
                    <a:pt x="70898" y="3661"/>
                    <a:pt x="70779" y="3859"/>
                  </a:cubicBezTo>
                  <a:lnTo>
                    <a:pt x="69585" y="5749"/>
                  </a:lnTo>
                  <a:cubicBezTo>
                    <a:pt x="69466" y="5908"/>
                    <a:pt x="69506" y="6147"/>
                    <a:pt x="69685" y="6266"/>
                  </a:cubicBezTo>
                  <a:cubicBezTo>
                    <a:pt x="69804" y="6366"/>
                    <a:pt x="69884" y="6505"/>
                    <a:pt x="69864" y="6664"/>
                  </a:cubicBezTo>
                  <a:lnTo>
                    <a:pt x="69864" y="6684"/>
                  </a:lnTo>
                  <a:cubicBezTo>
                    <a:pt x="69804" y="6863"/>
                    <a:pt x="69665" y="7003"/>
                    <a:pt x="69486" y="7003"/>
                  </a:cubicBezTo>
                  <a:lnTo>
                    <a:pt x="68849" y="7062"/>
                  </a:lnTo>
                  <a:cubicBezTo>
                    <a:pt x="68710" y="7062"/>
                    <a:pt x="68571" y="7102"/>
                    <a:pt x="68471" y="7182"/>
                  </a:cubicBezTo>
                  <a:lnTo>
                    <a:pt x="67676" y="7739"/>
                  </a:lnTo>
                  <a:cubicBezTo>
                    <a:pt x="67576" y="7801"/>
                    <a:pt x="67461" y="7832"/>
                    <a:pt x="67345" y="7832"/>
                  </a:cubicBezTo>
                  <a:cubicBezTo>
                    <a:pt x="67276" y="7832"/>
                    <a:pt x="67206" y="7821"/>
                    <a:pt x="67138" y="7798"/>
                  </a:cubicBezTo>
                  <a:lnTo>
                    <a:pt x="66323" y="7540"/>
                  </a:lnTo>
                  <a:cubicBezTo>
                    <a:pt x="66250" y="7517"/>
                    <a:pt x="66173" y="7505"/>
                    <a:pt x="66098" y="7505"/>
                  </a:cubicBezTo>
                  <a:cubicBezTo>
                    <a:pt x="65844" y="7505"/>
                    <a:pt x="65595" y="7633"/>
                    <a:pt x="65487" y="7878"/>
                  </a:cubicBezTo>
                  <a:lnTo>
                    <a:pt x="64035" y="10722"/>
                  </a:lnTo>
                  <a:cubicBezTo>
                    <a:pt x="63936" y="10882"/>
                    <a:pt x="63975" y="11140"/>
                    <a:pt x="64115" y="11279"/>
                  </a:cubicBezTo>
                  <a:lnTo>
                    <a:pt x="64393" y="11558"/>
                  </a:lnTo>
                  <a:cubicBezTo>
                    <a:pt x="64437" y="11611"/>
                    <a:pt x="64501" y="11636"/>
                    <a:pt x="64565" y="11636"/>
                  </a:cubicBezTo>
                  <a:cubicBezTo>
                    <a:pt x="64645" y="11636"/>
                    <a:pt x="64727" y="11596"/>
                    <a:pt x="64771" y="11518"/>
                  </a:cubicBezTo>
                  <a:lnTo>
                    <a:pt x="64831" y="11359"/>
                  </a:lnTo>
                  <a:cubicBezTo>
                    <a:pt x="64891" y="11240"/>
                    <a:pt x="65010" y="11140"/>
                    <a:pt x="65149" y="11140"/>
                  </a:cubicBezTo>
                  <a:lnTo>
                    <a:pt x="65786" y="11081"/>
                  </a:lnTo>
                  <a:cubicBezTo>
                    <a:pt x="65845" y="11081"/>
                    <a:pt x="65965" y="11120"/>
                    <a:pt x="66024" y="11160"/>
                  </a:cubicBezTo>
                  <a:lnTo>
                    <a:pt x="66402" y="11458"/>
                  </a:lnTo>
                  <a:cubicBezTo>
                    <a:pt x="66474" y="11530"/>
                    <a:pt x="66566" y="11564"/>
                    <a:pt x="66657" y="11564"/>
                  </a:cubicBezTo>
                  <a:cubicBezTo>
                    <a:pt x="66792" y="11564"/>
                    <a:pt x="66928" y="11490"/>
                    <a:pt x="66999" y="11359"/>
                  </a:cubicBezTo>
                  <a:lnTo>
                    <a:pt x="67119" y="11140"/>
                  </a:lnTo>
                  <a:cubicBezTo>
                    <a:pt x="67210" y="10976"/>
                    <a:pt x="67367" y="10879"/>
                    <a:pt x="67546" y="10879"/>
                  </a:cubicBezTo>
                  <a:cubicBezTo>
                    <a:pt x="67562" y="10879"/>
                    <a:pt x="67579" y="10880"/>
                    <a:pt x="67596" y="10882"/>
                  </a:cubicBezTo>
                  <a:lnTo>
                    <a:pt x="68034" y="10921"/>
                  </a:lnTo>
                  <a:cubicBezTo>
                    <a:pt x="68133" y="10941"/>
                    <a:pt x="68233" y="10961"/>
                    <a:pt x="68312" y="11021"/>
                  </a:cubicBezTo>
                  <a:lnTo>
                    <a:pt x="70281" y="12214"/>
                  </a:lnTo>
                  <a:cubicBezTo>
                    <a:pt x="70480" y="12334"/>
                    <a:pt x="70620" y="12533"/>
                    <a:pt x="70679" y="12771"/>
                  </a:cubicBezTo>
                  <a:lnTo>
                    <a:pt x="70719" y="13110"/>
                  </a:lnTo>
                  <a:cubicBezTo>
                    <a:pt x="70759" y="13328"/>
                    <a:pt x="70659" y="13567"/>
                    <a:pt x="70461" y="13706"/>
                  </a:cubicBezTo>
                  <a:lnTo>
                    <a:pt x="70202" y="13865"/>
                  </a:lnTo>
                  <a:cubicBezTo>
                    <a:pt x="70089" y="13928"/>
                    <a:pt x="69959" y="13968"/>
                    <a:pt x="69829" y="13968"/>
                  </a:cubicBezTo>
                  <a:cubicBezTo>
                    <a:pt x="69754" y="13968"/>
                    <a:pt x="69678" y="13954"/>
                    <a:pt x="69605" y="13925"/>
                  </a:cubicBezTo>
                  <a:lnTo>
                    <a:pt x="68610" y="13527"/>
                  </a:lnTo>
                  <a:cubicBezTo>
                    <a:pt x="68495" y="13475"/>
                    <a:pt x="68363" y="13450"/>
                    <a:pt x="68232" y="13450"/>
                  </a:cubicBezTo>
                  <a:cubicBezTo>
                    <a:pt x="68114" y="13450"/>
                    <a:pt x="67998" y="13470"/>
                    <a:pt x="67894" y="13507"/>
                  </a:cubicBezTo>
                  <a:lnTo>
                    <a:pt x="66044" y="14164"/>
                  </a:lnTo>
                  <a:cubicBezTo>
                    <a:pt x="65806" y="14263"/>
                    <a:pt x="65587" y="14422"/>
                    <a:pt x="65408" y="14641"/>
                  </a:cubicBezTo>
                  <a:lnTo>
                    <a:pt x="64353" y="15994"/>
                  </a:lnTo>
                  <a:cubicBezTo>
                    <a:pt x="64183" y="16199"/>
                    <a:pt x="63939" y="16301"/>
                    <a:pt x="63685" y="16301"/>
                  </a:cubicBezTo>
                  <a:cubicBezTo>
                    <a:pt x="63643" y="16301"/>
                    <a:pt x="63600" y="16298"/>
                    <a:pt x="63558" y="16292"/>
                  </a:cubicBezTo>
                  <a:lnTo>
                    <a:pt x="63100" y="16193"/>
                  </a:lnTo>
                  <a:cubicBezTo>
                    <a:pt x="63045" y="16179"/>
                    <a:pt x="62991" y="16173"/>
                    <a:pt x="62936" y="16173"/>
                  </a:cubicBezTo>
                  <a:cubicBezTo>
                    <a:pt x="62754" y="16173"/>
                    <a:pt x="62577" y="16245"/>
                    <a:pt x="62424" y="16352"/>
                  </a:cubicBezTo>
                  <a:lnTo>
                    <a:pt x="61151" y="17406"/>
                  </a:lnTo>
                  <a:cubicBezTo>
                    <a:pt x="61068" y="17490"/>
                    <a:pt x="60946" y="17524"/>
                    <a:pt x="60819" y="17524"/>
                  </a:cubicBezTo>
                  <a:cubicBezTo>
                    <a:pt x="60764" y="17524"/>
                    <a:pt x="60708" y="17518"/>
                    <a:pt x="60653" y="17506"/>
                  </a:cubicBezTo>
                  <a:lnTo>
                    <a:pt x="58684" y="16830"/>
                  </a:lnTo>
                  <a:cubicBezTo>
                    <a:pt x="58637" y="16811"/>
                    <a:pt x="58589" y="16802"/>
                    <a:pt x="58540" y="16802"/>
                  </a:cubicBezTo>
                  <a:cubicBezTo>
                    <a:pt x="58381" y="16802"/>
                    <a:pt x="58223" y="16896"/>
                    <a:pt x="58147" y="17048"/>
                  </a:cubicBezTo>
                  <a:lnTo>
                    <a:pt x="57689" y="17924"/>
                  </a:lnTo>
                  <a:cubicBezTo>
                    <a:pt x="57570" y="18142"/>
                    <a:pt x="57630" y="18441"/>
                    <a:pt x="57789" y="18620"/>
                  </a:cubicBezTo>
                  <a:lnTo>
                    <a:pt x="58227" y="19038"/>
                  </a:lnTo>
                  <a:cubicBezTo>
                    <a:pt x="58425" y="19276"/>
                    <a:pt x="58425" y="19595"/>
                    <a:pt x="58187" y="19794"/>
                  </a:cubicBezTo>
                  <a:lnTo>
                    <a:pt x="55859" y="21882"/>
                  </a:lnTo>
                  <a:cubicBezTo>
                    <a:pt x="55613" y="22094"/>
                    <a:pt x="55319" y="22227"/>
                    <a:pt x="54992" y="22227"/>
                  </a:cubicBezTo>
                  <a:cubicBezTo>
                    <a:pt x="54950" y="22227"/>
                    <a:pt x="54908" y="22225"/>
                    <a:pt x="54865" y="22220"/>
                  </a:cubicBezTo>
                  <a:lnTo>
                    <a:pt x="51881" y="22101"/>
                  </a:lnTo>
                  <a:cubicBezTo>
                    <a:pt x="51662" y="22101"/>
                    <a:pt x="51423" y="22161"/>
                    <a:pt x="51224" y="22260"/>
                  </a:cubicBezTo>
                  <a:lnTo>
                    <a:pt x="48121" y="23911"/>
                  </a:lnTo>
                  <a:cubicBezTo>
                    <a:pt x="48041" y="23964"/>
                    <a:pt x="47935" y="23991"/>
                    <a:pt x="47832" y="23991"/>
                  </a:cubicBezTo>
                  <a:cubicBezTo>
                    <a:pt x="47781" y="23991"/>
                    <a:pt x="47730" y="23984"/>
                    <a:pt x="47683" y="23971"/>
                  </a:cubicBezTo>
                  <a:cubicBezTo>
                    <a:pt x="47524" y="23951"/>
                    <a:pt x="47385" y="23891"/>
                    <a:pt x="47246" y="23872"/>
                  </a:cubicBezTo>
                  <a:cubicBezTo>
                    <a:pt x="47126" y="23852"/>
                    <a:pt x="47027" y="23712"/>
                    <a:pt x="47027" y="23593"/>
                  </a:cubicBezTo>
                  <a:cubicBezTo>
                    <a:pt x="47027" y="23454"/>
                    <a:pt x="46908" y="23295"/>
                    <a:pt x="46729" y="23275"/>
                  </a:cubicBezTo>
                  <a:lnTo>
                    <a:pt x="43745" y="22917"/>
                  </a:lnTo>
                  <a:cubicBezTo>
                    <a:pt x="43566" y="22917"/>
                    <a:pt x="43446" y="22817"/>
                    <a:pt x="43347" y="22678"/>
                  </a:cubicBezTo>
                  <a:lnTo>
                    <a:pt x="43128" y="22320"/>
                  </a:lnTo>
                  <a:cubicBezTo>
                    <a:pt x="43029" y="22161"/>
                    <a:pt x="42849" y="22061"/>
                    <a:pt x="42670" y="22061"/>
                  </a:cubicBezTo>
                  <a:lnTo>
                    <a:pt x="35071" y="21723"/>
                  </a:lnTo>
                  <a:cubicBezTo>
                    <a:pt x="34853" y="21723"/>
                    <a:pt x="34674" y="21604"/>
                    <a:pt x="34574" y="21405"/>
                  </a:cubicBezTo>
                  <a:lnTo>
                    <a:pt x="33321" y="18680"/>
                  </a:lnTo>
                  <a:cubicBezTo>
                    <a:pt x="33281" y="18540"/>
                    <a:pt x="33162" y="18441"/>
                    <a:pt x="33003" y="18441"/>
                  </a:cubicBezTo>
                  <a:lnTo>
                    <a:pt x="32565" y="18421"/>
                  </a:lnTo>
                  <a:cubicBezTo>
                    <a:pt x="32485" y="18421"/>
                    <a:pt x="32386" y="18401"/>
                    <a:pt x="32306" y="18341"/>
                  </a:cubicBezTo>
                  <a:lnTo>
                    <a:pt x="30277" y="17108"/>
                  </a:lnTo>
                  <a:cubicBezTo>
                    <a:pt x="30178" y="17048"/>
                    <a:pt x="30078" y="17009"/>
                    <a:pt x="29939" y="17009"/>
                  </a:cubicBezTo>
                  <a:lnTo>
                    <a:pt x="26697" y="16849"/>
                  </a:lnTo>
                  <a:cubicBezTo>
                    <a:pt x="26518" y="16849"/>
                    <a:pt x="26398" y="16750"/>
                    <a:pt x="26299" y="16631"/>
                  </a:cubicBezTo>
                  <a:lnTo>
                    <a:pt x="26040" y="16292"/>
                  </a:lnTo>
                  <a:cubicBezTo>
                    <a:pt x="25941" y="16153"/>
                    <a:pt x="25941" y="15994"/>
                    <a:pt x="26040" y="15855"/>
                  </a:cubicBezTo>
                  <a:lnTo>
                    <a:pt x="26498" y="15238"/>
                  </a:lnTo>
                  <a:cubicBezTo>
                    <a:pt x="26537" y="15159"/>
                    <a:pt x="26557" y="15059"/>
                    <a:pt x="26557" y="14960"/>
                  </a:cubicBezTo>
                  <a:lnTo>
                    <a:pt x="26438" y="13269"/>
                  </a:lnTo>
                  <a:cubicBezTo>
                    <a:pt x="26418" y="13149"/>
                    <a:pt x="26339" y="13070"/>
                    <a:pt x="26239" y="13070"/>
                  </a:cubicBezTo>
                  <a:cubicBezTo>
                    <a:pt x="26120" y="13070"/>
                    <a:pt x="26000" y="13010"/>
                    <a:pt x="25921" y="12911"/>
                  </a:cubicBezTo>
                  <a:lnTo>
                    <a:pt x="25105" y="11657"/>
                  </a:lnTo>
                  <a:cubicBezTo>
                    <a:pt x="25046" y="11558"/>
                    <a:pt x="24946" y="11518"/>
                    <a:pt x="24847" y="11478"/>
                  </a:cubicBezTo>
                  <a:lnTo>
                    <a:pt x="24727" y="11458"/>
                  </a:lnTo>
                  <a:cubicBezTo>
                    <a:pt x="24628" y="11439"/>
                    <a:pt x="24548" y="11379"/>
                    <a:pt x="24508" y="11319"/>
                  </a:cubicBezTo>
                  <a:lnTo>
                    <a:pt x="24429" y="11160"/>
                  </a:lnTo>
                  <a:cubicBezTo>
                    <a:pt x="24369" y="11081"/>
                    <a:pt x="24270" y="11041"/>
                    <a:pt x="24170" y="11041"/>
                  </a:cubicBezTo>
                  <a:lnTo>
                    <a:pt x="23494" y="11120"/>
                  </a:lnTo>
                  <a:cubicBezTo>
                    <a:pt x="23394" y="11120"/>
                    <a:pt x="23275" y="11081"/>
                    <a:pt x="23215" y="11021"/>
                  </a:cubicBezTo>
                  <a:lnTo>
                    <a:pt x="21584" y="9469"/>
                  </a:lnTo>
                  <a:cubicBezTo>
                    <a:pt x="21505" y="9390"/>
                    <a:pt x="21525" y="9270"/>
                    <a:pt x="21624" y="9230"/>
                  </a:cubicBezTo>
                  <a:lnTo>
                    <a:pt x="21644" y="9191"/>
                  </a:lnTo>
                  <a:cubicBezTo>
                    <a:pt x="21723" y="9151"/>
                    <a:pt x="21763" y="9051"/>
                    <a:pt x="21723" y="8952"/>
                  </a:cubicBezTo>
                  <a:lnTo>
                    <a:pt x="21684" y="8872"/>
                  </a:lnTo>
                  <a:cubicBezTo>
                    <a:pt x="21668" y="8795"/>
                    <a:pt x="21605" y="8766"/>
                    <a:pt x="21531" y="8766"/>
                  </a:cubicBezTo>
                  <a:cubicBezTo>
                    <a:pt x="21510" y="8766"/>
                    <a:pt x="21487" y="8768"/>
                    <a:pt x="21465" y="8773"/>
                  </a:cubicBezTo>
                  <a:lnTo>
                    <a:pt x="21087" y="8932"/>
                  </a:lnTo>
                  <a:cubicBezTo>
                    <a:pt x="21062" y="8949"/>
                    <a:pt x="21033" y="8955"/>
                    <a:pt x="21002" y="8955"/>
                  </a:cubicBezTo>
                  <a:cubicBezTo>
                    <a:pt x="20960" y="8955"/>
                    <a:pt x="20914" y="8944"/>
                    <a:pt x="20868" y="8932"/>
                  </a:cubicBezTo>
                  <a:lnTo>
                    <a:pt x="20649" y="8833"/>
                  </a:lnTo>
                  <a:cubicBezTo>
                    <a:pt x="20609" y="8803"/>
                    <a:pt x="20565" y="8788"/>
                    <a:pt x="20517" y="8788"/>
                  </a:cubicBezTo>
                  <a:cubicBezTo>
                    <a:pt x="20470" y="8788"/>
                    <a:pt x="20421" y="8803"/>
                    <a:pt x="20371" y="8833"/>
                  </a:cubicBezTo>
                  <a:lnTo>
                    <a:pt x="20033" y="8992"/>
                  </a:lnTo>
                  <a:cubicBezTo>
                    <a:pt x="19953" y="9051"/>
                    <a:pt x="19913" y="9171"/>
                    <a:pt x="19953" y="9270"/>
                  </a:cubicBezTo>
                  <a:lnTo>
                    <a:pt x="19973" y="9330"/>
                  </a:lnTo>
                  <a:cubicBezTo>
                    <a:pt x="20072" y="9549"/>
                    <a:pt x="19973" y="9728"/>
                    <a:pt x="19774" y="9887"/>
                  </a:cubicBezTo>
                  <a:lnTo>
                    <a:pt x="19615" y="10066"/>
                  </a:lnTo>
                  <a:cubicBezTo>
                    <a:pt x="19535" y="10146"/>
                    <a:pt x="19456" y="10165"/>
                    <a:pt x="19356" y="10165"/>
                  </a:cubicBezTo>
                  <a:lnTo>
                    <a:pt x="18958" y="10146"/>
                  </a:lnTo>
                  <a:cubicBezTo>
                    <a:pt x="18680" y="10146"/>
                    <a:pt x="18421" y="10325"/>
                    <a:pt x="18322" y="10583"/>
                  </a:cubicBezTo>
                  <a:lnTo>
                    <a:pt x="18183" y="10941"/>
                  </a:lnTo>
                  <a:cubicBezTo>
                    <a:pt x="18143" y="11061"/>
                    <a:pt x="18143" y="11180"/>
                    <a:pt x="18163" y="11319"/>
                  </a:cubicBezTo>
                  <a:lnTo>
                    <a:pt x="18342" y="12115"/>
                  </a:lnTo>
                  <a:cubicBezTo>
                    <a:pt x="18421" y="12374"/>
                    <a:pt x="18282" y="12652"/>
                    <a:pt x="18043" y="12811"/>
                  </a:cubicBezTo>
                  <a:lnTo>
                    <a:pt x="17327" y="13229"/>
                  </a:lnTo>
                  <a:cubicBezTo>
                    <a:pt x="17291" y="13247"/>
                    <a:pt x="17252" y="13257"/>
                    <a:pt x="17211" y="13257"/>
                  </a:cubicBezTo>
                  <a:cubicBezTo>
                    <a:pt x="17162" y="13257"/>
                    <a:pt x="17112" y="13242"/>
                    <a:pt x="17069" y="13209"/>
                  </a:cubicBezTo>
                  <a:cubicBezTo>
                    <a:pt x="16964" y="13087"/>
                    <a:pt x="16814" y="13026"/>
                    <a:pt x="16658" y="13026"/>
                  </a:cubicBezTo>
                  <a:cubicBezTo>
                    <a:pt x="16636" y="13026"/>
                    <a:pt x="16614" y="13028"/>
                    <a:pt x="16591" y="13030"/>
                  </a:cubicBezTo>
                  <a:lnTo>
                    <a:pt x="15795" y="13129"/>
                  </a:lnTo>
                  <a:lnTo>
                    <a:pt x="15000" y="12771"/>
                  </a:lnTo>
                  <a:cubicBezTo>
                    <a:pt x="14917" y="12735"/>
                    <a:pt x="14830" y="12718"/>
                    <a:pt x="14745" y="12718"/>
                  </a:cubicBezTo>
                  <a:cubicBezTo>
                    <a:pt x="14503" y="12718"/>
                    <a:pt x="14273" y="12859"/>
                    <a:pt x="14184" y="13110"/>
                  </a:cubicBezTo>
                  <a:cubicBezTo>
                    <a:pt x="13866" y="13865"/>
                    <a:pt x="13309" y="15218"/>
                    <a:pt x="13090" y="15716"/>
                  </a:cubicBezTo>
                  <a:cubicBezTo>
                    <a:pt x="13050" y="15835"/>
                    <a:pt x="13090" y="15954"/>
                    <a:pt x="13209" y="16014"/>
                  </a:cubicBezTo>
                  <a:cubicBezTo>
                    <a:pt x="13468" y="16133"/>
                    <a:pt x="13607" y="16412"/>
                    <a:pt x="13548" y="16690"/>
                  </a:cubicBezTo>
                  <a:lnTo>
                    <a:pt x="13508" y="16810"/>
                  </a:lnTo>
                  <a:cubicBezTo>
                    <a:pt x="13496" y="16858"/>
                    <a:pt x="13462" y="16884"/>
                    <a:pt x="13428" y="16884"/>
                  </a:cubicBezTo>
                  <a:cubicBezTo>
                    <a:pt x="13406" y="16884"/>
                    <a:pt x="13384" y="16873"/>
                    <a:pt x="13369" y="16849"/>
                  </a:cubicBezTo>
                  <a:cubicBezTo>
                    <a:pt x="13243" y="16738"/>
                    <a:pt x="13068" y="16675"/>
                    <a:pt x="12893" y="16675"/>
                  </a:cubicBezTo>
                  <a:cubicBezTo>
                    <a:pt x="12818" y="16675"/>
                    <a:pt x="12744" y="16686"/>
                    <a:pt x="12672" y="16710"/>
                  </a:cubicBezTo>
                  <a:lnTo>
                    <a:pt x="12633" y="16730"/>
                  </a:lnTo>
                  <a:lnTo>
                    <a:pt x="12613" y="16710"/>
                  </a:lnTo>
                  <a:cubicBezTo>
                    <a:pt x="12465" y="16563"/>
                    <a:pt x="12263" y="16481"/>
                    <a:pt x="12055" y="16481"/>
                  </a:cubicBezTo>
                  <a:cubicBezTo>
                    <a:pt x="11982" y="16481"/>
                    <a:pt x="11909" y="16491"/>
                    <a:pt x="11837" y="16511"/>
                  </a:cubicBezTo>
                  <a:lnTo>
                    <a:pt x="9649" y="17108"/>
                  </a:lnTo>
                  <a:cubicBezTo>
                    <a:pt x="9509" y="17128"/>
                    <a:pt x="9410" y="17307"/>
                    <a:pt x="9470" y="17446"/>
                  </a:cubicBezTo>
                  <a:lnTo>
                    <a:pt x="10464" y="17585"/>
                  </a:lnTo>
                  <a:cubicBezTo>
                    <a:pt x="10305" y="17725"/>
                    <a:pt x="10245" y="17944"/>
                    <a:pt x="10305" y="18142"/>
                  </a:cubicBezTo>
                  <a:lnTo>
                    <a:pt x="10902" y="20609"/>
                  </a:lnTo>
                  <a:cubicBezTo>
                    <a:pt x="10902" y="20689"/>
                    <a:pt x="10862" y="20728"/>
                    <a:pt x="10802" y="20728"/>
                  </a:cubicBezTo>
                  <a:cubicBezTo>
                    <a:pt x="10564" y="20728"/>
                    <a:pt x="10405" y="21027"/>
                    <a:pt x="10584" y="21206"/>
                  </a:cubicBezTo>
                  <a:lnTo>
                    <a:pt x="10603" y="21226"/>
                  </a:lnTo>
                  <a:cubicBezTo>
                    <a:pt x="10683" y="21266"/>
                    <a:pt x="10226" y="21365"/>
                    <a:pt x="10086" y="21385"/>
                  </a:cubicBezTo>
                  <a:lnTo>
                    <a:pt x="10007" y="21465"/>
                  </a:lnTo>
                  <a:cubicBezTo>
                    <a:pt x="9927" y="21604"/>
                    <a:pt x="9907" y="21803"/>
                    <a:pt x="9967" y="22061"/>
                  </a:cubicBezTo>
                  <a:lnTo>
                    <a:pt x="10086" y="22678"/>
                  </a:lnTo>
                  <a:cubicBezTo>
                    <a:pt x="10122" y="22858"/>
                    <a:pt x="9995" y="23022"/>
                    <a:pt x="9823" y="23022"/>
                  </a:cubicBezTo>
                  <a:cubicBezTo>
                    <a:pt x="9805" y="23022"/>
                    <a:pt x="9787" y="23020"/>
                    <a:pt x="9768" y="23016"/>
                  </a:cubicBezTo>
                  <a:cubicBezTo>
                    <a:pt x="9748" y="23014"/>
                    <a:pt x="9728" y="23013"/>
                    <a:pt x="9708" y="23013"/>
                  </a:cubicBezTo>
                  <a:cubicBezTo>
                    <a:pt x="9523" y="23013"/>
                    <a:pt x="9320" y="23096"/>
                    <a:pt x="9231" y="23275"/>
                  </a:cubicBezTo>
                  <a:lnTo>
                    <a:pt x="9211" y="23295"/>
                  </a:lnTo>
                  <a:cubicBezTo>
                    <a:pt x="9131" y="23454"/>
                    <a:pt x="9012" y="23573"/>
                    <a:pt x="8873" y="23613"/>
                  </a:cubicBezTo>
                  <a:cubicBezTo>
                    <a:pt x="8395" y="23812"/>
                    <a:pt x="7381" y="24210"/>
                    <a:pt x="7321" y="24250"/>
                  </a:cubicBezTo>
                  <a:cubicBezTo>
                    <a:pt x="7301" y="24269"/>
                    <a:pt x="7222" y="24369"/>
                    <a:pt x="7142" y="24508"/>
                  </a:cubicBezTo>
                  <a:cubicBezTo>
                    <a:pt x="7003" y="24806"/>
                    <a:pt x="6705" y="24986"/>
                    <a:pt x="6366" y="24986"/>
                  </a:cubicBezTo>
                  <a:lnTo>
                    <a:pt x="5471" y="24986"/>
                  </a:lnTo>
                  <a:cubicBezTo>
                    <a:pt x="5113" y="24986"/>
                    <a:pt x="4775" y="25204"/>
                    <a:pt x="4656" y="25543"/>
                  </a:cubicBezTo>
                  <a:lnTo>
                    <a:pt x="4516" y="25881"/>
                  </a:lnTo>
                  <a:cubicBezTo>
                    <a:pt x="4377" y="26179"/>
                    <a:pt x="4118" y="26378"/>
                    <a:pt x="3820" y="26438"/>
                  </a:cubicBezTo>
                  <a:lnTo>
                    <a:pt x="3223" y="26537"/>
                  </a:lnTo>
                  <a:cubicBezTo>
                    <a:pt x="3144" y="26537"/>
                    <a:pt x="3064" y="26477"/>
                    <a:pt x="3223" y="26398"/>
                  </a:cubicBezTo>
                  <a:cubicBezTo>
                    <a:pt x="3192" y="26160"/>
                    <a:pt x="2982" y="25985"/>
                    <a:pt x="2747" y="25985"/>
                  </a:cubicBezTo>
                  <a:cubicBezTo>
                    <a:pt x="2688" y="25985"/>
                    <a:pt x="2627" y="25996"/>
                    <a:pt x="2567" y="26020"/>
                  </a:cubicBezTo>
                  <a:lnTo>
                    <a:pt x="2030" y="26259"/>
                  </a:lnTo>
                  <a:cubicBezTo>
                    <a:pt x="1930" y="26298"/>
                    <a:pt x="1831" y="26358"/>
                    <a:pt x="1751" y="26458"/>
                  </a:cubicBezTo>
                  <a:lnTo>
                    <a:pt x="1672" y="26557"/>
                  </a:lnTo>
                  <a:cubicBezTo>
                    <a:pt x="1612" y="26676"/>
                    <a:pt x="1453" y="26716"/>
                    <a:pt x="1333" y="26756"/>
                  </a:cubicBezTo>
                  <a:lnTo>
                    <a:pt x="1035" y="26776"/>
                  </a:lnTo>
                  <a:cubicBezTo>
                    <a:pt x="677" y="26796"/>
                    <a:pt x="438" y="27114"/>
                    <a:pt x="498" y="27472"/>
                  </a:cubicBezTo>
                  <a:lnTo>
                    <a:pt x="578" y="27810"/>
                  </a:lnTo>
                  <a:cubicBezTo>
                    <a:pt x="637" y="27989"/>
                    <a:pt x="498" y="28168"/>
                    <a:pt x="339" y="28208"/>
                  </a:cubicBezTo>
                  <a:cubicBezTo>
                    <a:pt x="140" y="28288"/>
                    <a:pt x="1" y="28467"/>
                    <a:pt x="40" y="28666"/>
                  </a:cubicBezTo>
                  <a:lnTo>
                    <a:pt x="160" y="29660"/>
                  </a:lnTo>
                  <a:cubicBezTo>
                    <a:pt x="180" y="29740"/>
                    <a:pt x="239" y="29800"/>
                    <a:pt x="299" y="29859"/>
                  </a:cubicBezTo>
                  <a:lnTo>
                    <a:pt x="478" y="29959"/>
                  </a:lnTo>
                  <a:cubicBezTo>
                    <a:pt x="515" y="29983"/>
                    <a:pt x="557" y="29994"/>
                    <a:pt x="600" y="29994"/>
                  </a:cubicBezTo>
                  <a:cubicBezTo>
                    <a:pt x="698" y="29994"/>
                    <a:pt x="801" y="29936"/>
                    <a:pt x="856" y="29839"/>
                  </a:cubicBezTo>
                  <a:cubicBezTo>
                    <a:pt x="886" y="29734"/>
                    <a:pt x="996" y="29685"/>
                    <a:pt x="1100" y="29685"/>
                  </a:cubicBezTo>
                  <a:cubicBezTo>
                    <a:pt x="1133" y="29685"/>
                    <a:pt x="1165" y="29690"/>
                    <a:pt x="1194" y="29700"/>
                  </a:cubicBezTo>
                  <a:lnTo>
                    <a:pt x="1791" y="29979"/>
                  </a:lnTo>
                  <a:cubicBezTo>
                    <a:pt x="1871" y="29998"/>
                    <a:pt x="1930" y="30078"/>
                    <a:pt x="1950" y="30158"/>
                  </a:cubicBezTo>
                  <a:lnTo>
                    <a:pt x="2348" y="31451"/>
                  </a:lnTo>
                  <a:cubicBezTo>
                    <a:pt x="2477" y="31911"/>
                    <a:pt x="2128" y="32355"/>
                    <a:pt x="1681" y="32355"/>
                  </a:cubicBezTo>
                  <a:cubicBezTo>
                    <a:pt x="1645" y="32355"/>
                    <a:pt x="1609" y="32352"/>
                    <a:pt x="1572" y="32346"/>
                  </a:cubicBezTo>
                  <a:lnTo>
                    <a:pt x="1552" y="32346"/>
                  </a:lnTo>
                  <a:cubicBezTo>
                    <a:pt x="1537" y="32344"/>
                    <a:pt x="1522" y="32343"/>
                    <a:pt x="1508" y="32343"/>
                  </a:cubicBezTo>
                  <a:cubicBezTo>
                    <a:pt x="1350" y="32343"/>
                    <a:pt x="1231" y="32441"/>
                    <a:pt x="1194" y="32604"/>
                  </a:cubicBezTo>
                  <a:cubicBezTo>
                    <a:pt x="1174" y="32744"/>
                    <a:pt x="1254" y="32883"/>
                    <a:pt x="1393" y="32943"/>
                  </a:cubicBezTo>
                  <a:lnTo>
                    <a:pt x="3223" y="33559"/>
                  </a:lnTo>
                  <a:cubicBezTo>
                    <a:pt x="3482" y="33659"/>
                    <a:pt x="3681" y="33917"/>
                    <a:pt x="3681" y="34216"/>
                  </a:cubicBezTo>
                  <a:lnTo>
                    <a:pt x="3681" y="34554"/>
                  </a:lnTo>
                  <a:cubicBezTo>
                    <a:pt x="3681" y="35051"/>
                    <a:pt x="4039" y="35509"/>
                    <a:pt x="4536" y="35608"/>
                  </a:cubicBezTo>
                  <a:lnTo>
                    <a:pt x="6227" y="36006"/>
                  </a:lnTo>
                  <a:cubicBezTo>
                    <a:pt x="6545" y="36125"/>
                    <a:pt x="6744" y="36404"/>
                    <a:pt x="6804" y="36722"/>
                  </a:cubicBezTo>
                  <a:lnTo>
                    <a:pt x="6864" y="37299"/>
                  </a:lnTo>
                  <a:cubicBezTo>
                    <a:pt x="6903" y="37498"/>
                    <a:pt x="7023" y="37657"/>
                    <a:pt x="7222" y="37757"/>
                  </a:cubicBezTo>
                  <a:lnTo>
                    <a:pt x="8037" y="38155"/>
                  </a:lnTo>
                  <a:cubicBezTo>
                    <a:pt x="8216" y="38254"/>
                    <a:pt x="8256" y="38513"/>
                    <a:pt x="8117" y="38632"/>
                  </a:cubicBezTo>
                  <a:lnTo>
                    <a:pt x="8057" y="38692"/>
                  </a:lnTo>
                  <a:cubicBezTo>
                    <a:pt x="7838" y="38910"/>
                    <a:pt x="7739" y="39249"/>
                    <a:pt x="7818" y="39567"/>
                  </a:cubicBezTo>
                  <a:lnTo>
                    <a:pt x="8037" y="40422"/>
                  </a:lnTo>
                  <a:cubicBezTo>
                    <a:pt x="8097" y="40601"/>
                    <a:pt x="8236" y="40741"/>
                    <a:pt x="8435" y="40800"/>
                  </a:cubicBezTo>
                  <a:lnTo>
                    <a:pt x="8614" y="40860"/>
                  </a:lnTo>
                  <a:cubicBezTo>
                    <a:pt x="8793" y="40900"/>
                    <a:pt x="8913" y="41059"/>
                    <a:pt x="8952" y="41198"/>
                  </a:cubicBezTo>
                  <a:lnTo>
                    <a:pt x="9131" y="41636"/>
                  </a:lnTo>
                  <a:cubicBezTo>
                    <a:pt x="9191" y="41795"/>
                    <a:pt x="9112" y="41974"/>
                    <a:pt x="8952" y="42014"/>
                  </a:cubicBezTo>
                  <a:lnTo>
                    <a:pt x="8555" y="42173"/>
                  </a:lnTo>
                  <a:cubicBezTo>
                    <a:pt x="8488" y="42206"/>
                    <a:pt x="8420" y="42221"/>
                    <a:pt x="8353" y="42221"/>
                  </a:cubicBezTo>
                  <a:cubicBezTo>
                    <a:pt x="8219" y="42221"/>
                    <a:pt x="8090" y="42160"/>
                    <a:pt x="7998" y="42053"/>
                  </a:cubicBezTo>
                  <a:lnTo>
                    <a:pt x="7898" y="41954"/>
                  </a:lnTo>
                  <a:cubicBezTo>
                    <a:pt x="7830" y="41886"/>
                    <a:pt x="7745" y="41846"/>
                    <a:pt x="7659" y="41846"/>
                  </a:cubicBezTo>
                  <a:cubicBezTo>
                    <a:pt x="7619" y="41846"/>
                    <a:pt x="7578" y="41855"/>
                    <a:pt x="7540" y="41874"/>
                  </a:cubicBezTo>
                  <a:cubicBezTo>
                    <a:pt x="7361" y="41914"/>
                    <a:pt x="7301" y="42153"/>
                    <a:pt x="7401" y="42292"/>
                  </a:cubicBezTo>
                  <a:lnTo>
                    <a:pt x="7799" y="43008"/>
                  </a:lnTo>
                  <a:cubicBezTo>
                    <a:pt x="7838" y="43108"/>
                    <a:pt x="7858" y="43207"/>
                    <a:pt x="7838" y="43307"/>
                  </a:cubicBezTo>
                  <a:lnTo>
                    <a:pt x="7818" y="43486"/>
                  </a:lnTo>
                  <a:cubicBezTo>
                    <a:pt x="7799" y="43645"/>
                    <a:pt x="7838" y="43784"/>
                    <a:pt x="7958" y="43884"/>
                  </a:cubicBezTo>
                  <a:lnTo>
                    <a:pt x="11101" y="46688"/>
                  </a:lnTo>
                  <a:cubicBezTo>
                    <a:pt x="11196" y="46784"/>
                    <a:pt x="11317" y="46829"/>
                    <a:pt x="11438" y="46829"/>
                  </a:cubicBezTo>
                  <a:cubicBezTo>
                    <a:pt x="11620" y="46829"/>
                    <a:pt x="11801" y="46728"/>
                    <a:pt x="11896" y="46549"/>
                  </a:cubicBezTo>
                  <a:cubicBezTo>
                    <a:pt x="11990" y="46332"/>
                    <a:pt x="12205" y="46199"/>
                    <a:pt x="12437" y="46199"/>
                  </a:cubicBezTo>
                  <a:cubicBezTo>
                    <a:pt x="12501" y="46199"/>
                    <a:pt x="12567" y="46209"/>
                    <a:pt x="12633" y="46231"/>
                  </a:cubicBezTo>
                  <a:cubicBezTo>
                    <a:pt x="12732" y="46251"/>
                    <a:pt x="12812" y="46271"/>
                    <a:pt x="12891" y="46291"/>
                  </a:cubicBezTo>
                  <a:cubicBezTo>
                    <a:pt x="13030" y="46350"/>
                    <a:pt x="13130" y="46490"/>
                    <a:pt x="13110" y="46649"/>
                  </a:cubicBezTo>
                  <a:cubicBezTo>
                    <a:pt x="13090" y="46828"/>
                    <a:pt x="13190" y="46987"/>
                    <a:pt x="13329" y="47066"/>
                  </a:cubicBezTo>
                  <a:cubicBezTo>
                    <a:pt x="13727" y="47265"/>
                    <a:pt x="14562" y="47683"/>
                    <a:pt x="14920" y="47882"/>
                  </a:cubicBezTo>
                  <a:cubicBezTo>
                    <a:pt x="15059" y="47962"/>
                    <a:pt x="15119" y="48081"/>
                    <a:pt x="15159" y="48220"/>
                  </a:cubicBezTo>
                  <a:cubicBezTo>
                    <a:pt x="15173" y="48389"/>
                    <a:pt x="15337" y="48498"/>
                    <a:pt x="15501" y="48498"/>
                  </a:cubicBezTo>
                  <a:cubicBezTo>
                    <a:pt x="15570" y="48498"/>
                    <a:pt x="15638" y="48480"/>
                    <a:pt x="15696" y="48439"/>
                  </a:cubicBezTo>
                  <a:cubicBezTo>
                    <a:pt x="15749" y="48386"/>
                    <a:pt x="15811" y="48368"/>
                    <a:pt x="15876" y="48368"/>
                  </a:cubicBezTo>
                  <a:cubicBezTo>
                    <a:pt x="15908" y="48368"/>
                    <a:pt x="15941" y="48373"/>
                    <a:pt x="15974" y="48379"/>
                  </a:cubicBezTo>
                  <a:cubicBezTo>
                    <a:pt x="16074" y="48439"/>
                    <a:pt x="16154" y="48539"/>
                    <a:pt x="16154" y="48658"/>
                  </a:cubicBezTo>
                  <a:lnTo>
                    <a:pt x="16154" y="48956"/>
                  </a:lnTo>
                  <a:cubicBezTo>
                    <a:pt x="16154" y="49275"/>
                    <a:pt x="16293" y="49573"/>
                    <a:pt x="16571" y="49752"/>
                  </a:cubicBezTo>
                  <a:cubicBezTo>
                    <a:pt x="16671" y="49832"/>
                    <a:pt x="16770" y="49891"/>
                    <a:pt x="16870" y="49951"/>
                  </a:cubicBezTo>
                  <a:cubicBezTo>
                    <a:pt x="16939" y="49991"/>
                    <a:pt x="17019" y="50011"/>
                    <a:pt x="17096" y="50011"/>
                  </a:cubicBezTo>
                  <a:cubicBezTo>
                    <a:pt x="17173" y="50011"/>
                    <a:pt x="17248" y="49991"/>
                    <a:pt x="17307" y="49951"/>
                  </a:cubicBezTo>
                  <a:cubicBezTo>
                    <a:pt x="17341" y="49932"/>
                    <a:pt x="17376" y="49923"/>
                    <a:pt x="17409" y="49923"/>
                  </a:cubicBezTo>
                  <a:cubicBezTo>
                    <a:pt x="17513" y="49923"/>
                    <a:pt x="17601" y="50009"/>
                    <a:pt x="17586" y="50130"/>
                  </a:cubicBezTo>
                  <a:cubicBezTo>
                    <a:pt x="17568" y="50322"/>
                    <a:pt x="17719" y="50499"/>
                    <a:pt x="17905" y="50499"/>
                  </a:cubicBezTo>
                  <a:cubicBezTo>
                    <a:pt x="17930" y="50499"/>
                    <a:pt x="17957" y="50495"/>
                    <a:pt x="17984" y="50488"/>
                  </a:cubicBezTo>
                  <a:lnTo>
                    <a:pt x="18103" y="50468"/>
                  </a:lnTo>
                  <a:cubicBezTo>
                    <a:pt x="18130" y="50464"/>
                    <a:pt x="18158" y="50461"/>
                    <a:pt x="18184" y="50461"/>
                  </a:cubicBezTo>
                  <a:cubicBezTo>
                    <a:pt x="18390" y="50461"/>
                    <a:pt x="18565" y="50593"/>
                    <a:pt x="18600" y="50786"/>
                  </a:cubicBezTo>
                  <a:lnTo>
                    <a:pt x="18700" y="51244"/>
                  </a:lnTo>
                  <a:cubicBezTo>
                    <a:pt x="18740" y="51324"/>
                    <a:pt x="18779" y="51363"/>
                    <a:pt x="18839" y="51363"/>
                  </a:cubicBezTo>
                  <a:cubicBezTo>
                    <a:pt x="18899" y="51363"/>
                    <a:pt x="18998" y="51324"/>
                    <a:pt x="18998" y="51224"/>
                  </a:cubicBezTo>
                  <a:cubicBezTo>
                    <a:pt x="18998" y="51065"/>
                    <a:pt x="19058" y="50846"/>
                    <a:pt x="19177" y="50826"/>
                  </a:cubicBezTo>
                  <a:lnTo>
                    <a:pt x="19197" y="51065"/>
                  </a:lnTo>
                  <a:cubicBezTo>
                    <a:pt x="19237" y="51184"/>
                    <a:pt x="19297" y="51284"/>
                    <a:pt x="19436" y="51324"/>
                  </a:cubicBezTo>
                  <a:cubicBezTo>
                    <a:pt x="19449" y="51326"/>
                    <a:pt x="19462" y="51327"/>
                    <a:pt x="19475" y="51327"/>
                  </a:cubicBezTo>
                  <a:cubicBezTo>
                    <a:pt x="19565" y="51327"/>
                    <a:pt x="19660" y="51271"/>
                    <a:pt x="19694" y="51184"/>
                  </a:cubicBezTo>
                  <a:cubicBezTo>
                    <a:pt x="19754" y="51125"/>
                    <a:pt x="19834" y="51025"/>
                    <a:pt x="19893" y="50985"/>
                  </a:cubicBezTo>
                  <a:cubicBezTo>
                    <a:pt x="19896" y="50985"/>
                    <a:pt x="19899" y="50984"/>
                    <a:pt x="19902" y="50984"/>
                  </a:cubicBezTo>
                  <a:cubicBezTo>
                    <a:pt x="19992" y="50984"/>
                    <a:pt x="20278" y="51272"/>
                    <a:pt x="20490" y="51522"/>
                  </a:cubicBezTo>
                  <a:cubicBezTo>
                    <a:pt x="20620" y="51652"/>
                    <a:pt x="20792" y="51714"/>
                    <a:pt x="20967" y="51714"/>
                  </a:cubicBezTo>
                  <a:cubicBezTo>
                    <a:pt x="21061" y="51714"/>
                    <a:pt x="21156" y="51696"/>
                    <a:pt x="21246" y="51662"/>
                  </a:cubicBezTo>
                  <a:cubicBezTo>
                    <a:pt x="21723" y="51483"/>
                    <a:pt x="22440" y="51184"/>
                    <a:pt x="22837" y="51025"/>
                  </a:cubicBezTo>
                  <a:cubicBezTo>
                    <a:pt x="22883" y="51010"/>
                    <a:pt x="22930" y="51002"/>
                    <a:pt x="22976" y="51002"/>
                  </a:cubicBezTo>
                  <a:cubicBezTo>
                    <a:pt x="23109" y="51002"/>
                    <a:pt x="23231" y="51066"/>
                    <a:pt x="23275" y="51184"/>
                  </a:cubicBezTo>
                  <a:cubicBezTo>
                    <a:pt x="23335" y="51284"/>
                    <a:pt x="23335" y="51383"/>
                    <a:pt x="23315" y="51483"/>
                  </a:cubicBezTo>
                  <a:cubicBezTo>
                    <a:pt x="23235" y="51622"/>
                    <a:pt x="23156" y="51841"/>
                    <a:pt x="23116" y="52020"/>
                  </a:cubicBezTo>
                  <a:cubicBezTo>
                    <a:pt x="23036" y="52159"/>
                    <a:pt x="23076" y="52338"/>
                    <a:pt x="23176" y="52457"/>
                  </a:cubicBezTo>
                  <a:cubicBezTo>
                    <a:pt x="23233" y="52521"/>
                    <a:pt x="23300" y="52550"/>
                    <a:pt x="23363" y="52550"/>
                  </a:cubicBezTo>
                  <a:cubicBezTo>
                    <a:pt x="23475" y="52550"/>
                    <a:pt x="23573" y="52459"/>
                    <a:pt x="23573" y="52318"/>
                  </a:cubicBezTo>
                  <a:lnTo>
                    <a:pt x="23573" y="52239"/>
                  </a:lnTo>
                  <a:cubicBezTo>
                    <a:pt x="23573" y="52159"/>
                    <a:pt x="23573" y="52060"/>
                    <a:pt x="23633" y="51980"/>
                  </a:cubicBezTo>
                  <a:lnTo>
                    <a:pt x="24031" y="51224"/>
                  </a:lnTo>
                  <a:cubicBezTo>
                    <a:pt x="24071" y="51125"/>
                    <a:pt x="24170" y="51025"/>
                    <a:pt x="24270" y="50965"/>
                  </a:cubicBezTo>
                  <a:lnTo>
                    <a:pt x="24528" y="50826"/>
                  </a:lnTo>
                  <a:cubicBezTo>
                    <a:pt x="24611" y="50757"/>
                    <a:pt x="24722" y="50736"/>
                    <a:pt x="24828" y="50736"/>
                  </a:cubicBezTo>
                  <a:cubicBezTo>
                    <a:pt x="24876" y="50736"/>
                    <a:pt x="24923" y="50740"/>
                    <a:pt x="24966" y="50747"/>
                  </a:cubicBezTo>
                  <a:lnTo>
                    <a:pt x="26915" y="51184"/>
                  </a:lnTo>
                  <a:cubicBezTo>
                    <a:pt x="26995" y="51184"/>
                    <a:pt x="27035" y="51224"/>
                    <a:pt x="27094" y="51264"/>
                  </a:cubicBezTo>
                  <a:cubicBezTo>
                    <a:pt x="27246" y="51415"/>
                    <a:pt x="27741" y="51784"/>
                    <a:pt x="27822" y="51784"/>
                  </a:cubicBezTo>
                  <a:cubicBezTo>
                    <a:pt x="27826" y="51784"/>
                    <a:pt x="27829" y="51783"/>
                    <a:pt x="27831" y="51781"/>
                  </a:cubicBezTo>
                  <a:cubicBezTo>
                    <a:pt x="27910" y="51761"/>
                    <a:pt x="28885" y="51642"/>
                    <a:pt x="28885" y="51642"/>
                  </a:cubicBezTo>
                  <a:lnTo>
                    <a:pt x="29223" y="51343"/>
                  </a:lnTo>
                  <a:lnTo>
                    <a:pt x="29183" y="51224"/>
                  </a:lnTo>
                  <a:cubicBezTo>
                    <a:pt x="29044" y="51085"/>
                    <a:pt x="29084" y="50866"/>
                    <a:pt x="29243" y="50767"/>
                  </a:cubicBezTo>
                  <a:cubicBezTo>
                    <a:pt x="29243" y="50767"/>
                    <a:pt x="29521" y="50627"/>
                    <a:pt x="29700" y="50528"/>
                  </a:cubicBezTo>
                  <a:cubicBezTo>
                    <a:pt x="29800" y="50468"/>
                    <a:pt x="29840" y="50369"/>
                    <a:pt x="29879" y="50269"/>
                  </a:cubicBezTo>
                  <a:cubicBezTo>
                    <a:pt x="29899" y="50070"/>
                    <a:pt x="30039" y="49951"/>
                    <a:pt x="30218" y="49931"/>
                  </a:cubicBezTo>
                  <a:lnTo>
                    <a:pt x="30615" y="49871"/>
                  </a:lnTo>
                  <a:cubicBezTo>
                    <a:pt x="30874" y="49851"/>
                    <a:pt x="31073" y="49672"/>
                    <a:pt x="31133" y="49454"/>
                  </a:cubicBezTo>
                  <a:lnTo>
                    <a:pt x="31232" y="49135"/>
                  </a:lnTo>
                  <a:cubicBezTo>
                    <a:pt x="31292" y="49036"/>
                    <a:pt x="31332" y="48936"/>
                    <a:pt x="31431" y="48857"/>
                  </a:cubicBezTo>
                  <a:lnTo>
                    <a:pt x="31590" y="48737"/>
                  </a:lnTo>
                  <a:cubicBezTo>
                    <a:pt x="31697" y="48642"/>
                    <a:pt x="31825" y="48597"/>
                    <a:pt x="31953" y="48597"/>
                  </a:cubicBezTo>
                  <a:cubicBezTo>
                    <a:pt x="32040" y="48597"/>
                    <a:pt x="32127" y="48618"/>
                    <a:pt x="32207" y="48658"/>
                  </a:cubicBezTo>
                  <a:lnTo>
                    <a:pt x="32883" y="48996"/>
                  </a:lnTo>
                  <a:cubicBezTo>
                    <a:pt x="32931" y="49023"/>
                    <a:pt x="32983" y="49035"/>
                    <a:pt x="33036" y="49035"/>
                  </a:cubicBezTo>
                  <a:cubicBezTo>
                    <a:pt x="33179" y="49035"/>
                    <a:pt x="33322" y="48943"/>
                    <a:pt x="33381" y="48797"/>
                  </a:cubicBezTo>
                  <a:lnTo>
                    <a:pt x="33400" y="48757"/>
                  </a:lnTo>
                  <a:cubicBezTo>
                    <a:pt x="33420" y="48658"/>
                    <a:pt x="33500" y="48598"/>
                    <a:pt x="33580" y="48558"/>
                  </a:cubicBezTo>
                  <a:lnTo>
                    <a:pt x="34017" y="48359"/>
                  </a:lnTo>
                  <a:cubicBezTo>
                    <a:pt x="34066" y="48338"/>
                    <a:pt x="34117" y="48328"/>
                    <a:pt x="34166" y="48328"/>
                  </a:cubicBezTo>
                  <a:cubicBezTo>
                    <a:pt x="34296" y="48328"/>
                    <a:pt x="34417" y="48398"/>
                    <a:pt x="34475" y="48499"/>
                  </a:cubicBezTo>
                  <a:lnTo>
                    <a:pt x="34514" y="48578"/>
                  </a:lnTo>
                  <a:cubicBezTo>
                    <a:pt x="34574" y="48678"/>
                    <a:pt x="34554" y="48777"/>
                    <a:pt x="34475" y="48857"/>
                  </a:cubicBezTo>
                  <a:lnTo>
                    <a:pt x="34355" y="48956"/>
                  </a:lnTo>
                  <a:cubicBezTo>
                    <a:pt x="34276" y="48996"/>
                    <a:pt x="34256" y="49076"/>
                    <a:pt x="34216" y="49155"/>
                  </a:cubicBezTo>
                  <a:lnTo>
                    <a:pt x="34196" y="49255"/>
                  </a:lnTo>
                  <a:cubicBezTo>
                    <a:pt x="34182" y="49341"/>
                    <a:pt x="34240" y="49406"/>
                    <a:pt x="34311" y="49406"/>
                  </a:cubicBezTo>
                  <a:cubicBezTo>
                    <a:pt x="34338" y="49406"/>
                    <a:pt x="34367" y="49396"/>
                    <a:pt x="34395" y="49374"/>
                  </a:cubicBezTo>
                  <a:lnTo>
                    <a:pt x="34674" y="49155"/>
                  </a:lnTo>
                  <a:cubicBezTo>
                    <a:pt x="34704" y="49124"/>
                    <a:pt x="34743" y="49111"/>
                    <a:pt x="34782" y="49111"/>
                  </a:cubicBezTo>
                  <a:cubicBezTo>
                    <a:pt x="34869" y="49111"/>
                    <a:pt x="34958" y="49178"/>
                    <a:pt x="34972" y="49275"/>
                  </a:cubicBezTo>
                  <a:lnTo>
                    <a:pt x="34992" y="49454"/>
                  </a:lnTo>
                  <a:cubicBezTo>
                    <a:pt x="34992" y="49533"/>
                    <a:pt x="34992" y="49573"/>
                    <a:pt x="34952" y="49633"/>
                  </a:cubicBezTo>
                  <a:lnTo>
                    <a:pt x="34554" y="50090"/>
                  </a:lnTo>
                  <a:cubicBezTo>
                    <a:pt x="34475" y="50190"/>
                    <a:pt x="34475" y="50329"/>
                    <a:pt x="34574" y="50389"/>
                  </a:cubicBezTo>
                  <a:cubicBezTo>
                    <a:pt x="34614" y="50428"/>
                    <a:pt x="34664" y="50448"/>
                    <a:pt x="34713" y="50448"/>
                  </a:cubicBezTo>
                  <a:cubicBezTo>
                    <a:pt x="34763" y="50448"/>
                    <a:pt x="34813" y="50428"/>
                    <a:pt x="34853" y="50389"/>
                  </a:cubicBezTo>
                  <a:lnTo>
                    <a:pt x="34892" y="50349"/>
                  </a:lnTo>
                  <a:cubicBezTo>
                    <a:pt x="35002" y="50267"/>
                    <a:pt x="35130" y="50213"/>
                    <a:pt x="35250" y="50213"/>
                  </a:cubicBezTo>
                  <a:cubicBezTo>
                    <a:pt x="35306" y="50213"/>
                    <a:pt x="35360" y="50224"/>
                    <a:pt x="35410" y="50249"/>
                  </a:cubicBezTo>
                  <a:lnTo>
                    <a:pt x="36046" y="50488"/>
                  </a:lnTo>
                  <a:cubicBezTo>
                    <a:pt x="36074" y="50502"/>
                    <a:pt x="36102" y="50508"/>
                    <a:pt x="36129" y="50508"/>
                  </a:cubicBezTo>
                  <a:cubicBezTo>
                    <a:pt x="36216" y="50508"/>
                    <a:pt x="36290" y="50440"/>
                    <a:pt x="36305" y="50349"/>
                  </a:cubicBezTo>
                  <a:cubicBezTo>
                    <a:pt x="36346" y="50199"/>
                    <a:pt x="36471" y="50114"/>
                    <a:pt x="36603" y="50114"/>
                  </a:cubicBezTo>
                  <a:cubicBezTo>
                    <a:pt x="36664" y="50114"/>
                    <a:pt x="36726" y="50132"/>
                    <a:pt x="36782" y="50170"/>
                  </a:cubicBezTo>
                  <a:lnTo>
                    <a:pt x="37240" y="50528"/>
                  </a:lnTo>
                  <a:cubicBezTo>
                    <a:pt x="37299" y="50587"/>
                    <a:pt x="37359" y="50687"/>
                    <a:pt x="37379" y="50786"/>
                  </a:cubicBezTo>
                  <a:lnTo>
                    <a:pt x="37538" y="51781"/>
                  </a:lnTo>
                  <a:cubicBezTo>
                    <a:pt x="37550" y="51877"/>
                    <a:pt x="37621" y="51930"/>
                    <a:pt x="37696" y="51930"/>
                  </a:cubicBezTo>
                  <a:cubicBezTo>
                    <a:pt x="37746" y="51930"/>
                    <a:pt x="37797" y="51908"/>
                    <a:pt x="37837" y="51861"/>
                  </a:cubicBezTo>
                  <a:cubicBezTo>
                    <a:pt x="37870" y="51778"/>
                    <a:pt x="37958" y="51736"/>
                    <a:pt x="38044" y="51736"/>
                  </a:cubicBezTo>
                  <a:cubicBezTo>
                    <a:pt x="38061" y="51736"/>
                    <a:pt x="38079" y="51738"/>
                    <a:pt x="38095" y="51741"/>
                  </a:cubicBezTo>
                  <a:cubicBezTo>
                    <a:pt x="38234" y="51761"/>
                    <a:pt x="38294" y="51861"/>
                    <a:pt x="38294" y="51980"/>
                  </a:cubicBezTo>
                  <a:lnTo>
                    <a:pt x="38254" y="54924"/>
                  </a:lnTo>
                  <a:cubicBezTo>
                    <a:pt x="38254" y="55242"/>
                    <a:pt x="38095" y="55541"/>
                    <a:pt x="37876" y="55740"/>
                  </a:cubicBezTo>
                  <a:lnTo>
                    <a:pt x="37140" y="56396"/>
                  </a:lnTo>
                  <a:cubicBezTo>
                    <a:pt x="37041" y="56456"/>
                    <a:pt x="36961" y="56555"/>
                    <a:pt x="36902" y="56655"/>
                  </a:cubicBezTo>
                  <a:lnTo>
                    <a:pt x="36504" y="57311"/>
                  </a:lnTo>
                  <a:cubicBezTo>
                    <a:pt x="36404" y="57450"/>
                    <a:pt x="36404" y="57649"/>
                    <a:pt x="36484" y="57828"/>
                  </a:cubicBezTo>
                  <a:lnTo>
                    <a:pt x="36782" y="58525"/>
                  </a:lnTo>
                  <a:cubicBezTo>
                    <a:pt x="36842" y="58684"/>
                    <a:pt x="36802" y="58823"/>
                    <a:pt x="36683" y="58923"/>
                  </a:cubicBezTo>
                  <a:lnTo>
                    <a:pt x="36384" y="59141"/>
                  </a:lnTo>
                  <a:cubicBezTo>
                    <a:pt x="36285" y="59241"/>
                    <a:pt x="36305" y="59420"/>
                    <a:pt x="36444" y="59480"/>
                  </a:cubicBezTo>
                  <a:cubicBezTo>
                    <a:pt x="36477" y="59493"/>
                    <a:pt x="36513" y="59499"/>
                    <a:pt x="36548" y="59499"/>
                  </a:cubicBezTo>
                  <a:cubicBezTo>
                    <a:pt x="36619" y="59499"/>
                    <a:pt x="36689" y="59473"/>
                    <a:pt x="36742" y="59420"/>
                  </a:cubicBezTo>
                  <a:lnTo>
                    <a:pt x="37180" y="59022"/>
                  </a:lnTo>
                  <a:cubicBezTo>
                    <a:pt x="37280" y="58942"/>
                    <a:pt x="37379" y="58903"/>
                    <a:pt x="37498" y="58903"/>
                  </a:cubicBezTo>
                  <a:lnTo>
                    <a:pt x="38155" y="58883"/>
                  </a:lnTo>
                  <a:cubicBezTo>
                    <a:pt x="38294" y="58883"/>
                    <a:pt x="38394" y="59022"/>
                    <a:pt x="38294" y="59141"/>
                  </a:cubicBezTo>
                  <a:lnTo>
                    <a:pt x="38274" y="59181"/>
                  </a:lnTo>
                  <a:cubicBezTo>
                    <a:pt x="38175" y="59320"/>
                    <a:pt x="38155" y="59480"/>
                    <a:pt x="38175" y="59639"/>
                  </a:cubicBezTo>
                  <a:lnTo>
                    <a:pt x="38354" y="60474"/>
                  </a:lnTo>
                  <a:cubicBezTo>
                    <a:pt x="38394" y="60633"/>
                    <a:pt x="38533" y="60792"/>
                    <a:pt x="38692" y="60812"/>
                  </a:cubicBezTo>
                  <a:lnTo>
                    <a:pt x="39050" y="60892"/>
                  </a:lnTo>
                  <a:cubicBezTo>
                    <a:pt x="39249" y="60912"/>
                    <a:pt x="39388" y="61131"/>
                    <a:pt x="39328" y="61330"/>
                  </a:cubicBezTo>
                  <a:lnTo>
                    <a:pt x="39030" y="62284"/>
                  </a:lnTo>
                  <a:cubicBezTo>
                    <a:pt x="38931" y="62603"/>
                    <a:pt x="39130" y="62901"/>
                    <a:pt x="39448" y="62961"/>
                  </a:cubicBezTo>
                  <a:lnTo>
                    <a:pt x="39826" y="63001"/>
                  </a:lnTo>
                  <a:cubicBezTo>
                    <a:pt x="40025" y="63020"/>
                    <a:pt x="40164" y="63180"/>
                    <a:pt x="40224" y="63378"/>
                  </a:cubicBezTo>
                  <a:lnTo>
                    <a:pt x="40363" y="63995"/>
                  </a:lnTo>
                  <a:cubicBezTo>
                    <a:pt x="40404" y="64145"/>
                    <a:pt x="40529" y="64230"/>
                    <a:pt x="40661" y="64230"/>
                  </a:cubicBezTo>
                  <a:cubicBezTo>
                    <a:pt x="40722" y="64230"/>
                    <a:pt x="40784" y="64212"/>
                    <a:pt x="40840" y="64174"/>
                  </a:cubicBezTo>
                  <a:lnTo>
                    <a:pt x="41318" y="63816"/>
                  </a:lnTo>
                  <a:cubicBezTo>
                    <a:pt x="41385" y="63767"/>
                    <a:pt x="41461" y="63745"/>
                    <a:pt x="41537" y="63745"/>
                  </a:cubicBezTo>
                  <a:cubicBezTo>
                    <a:pt x="41709" y="63745"/>
                    <a:pt x="41879" y="63862"/>
                    <a:pt x="41934" y="64055"/>
                  </a:cubicBezTo>
                  <a:lnTo>
                    <a:pt x="42034" y="64453"/>
                  </a:lnTo>
                  <a:cubicBezTo>
                    <a:pt x="42074" y="64592"/>
                    <a:pt x="42213" y="64751"/>
                    <a:pt x="42372" y="64771"/>
                  </a:cubicBezTo>
                  <a:lnTo>
                    <a:pt x="42511" y="64791"/>
                  </a:lnTo>
                  <a:cubicBezTo>
                    <a:pt x="42543" y="64799"/>
                    <a:pt x="42574" y="64804"/>
                    <a:pt x="42604" y="64804"/>
                  </a:cubicBezTo>
                  <a:cubicBezTo>
                    <a:pt x="42783" y="64804"/>
                    <a:pt x="42929" y="64660"/>
                    <a:pt x="42929" y="64473"/>
                  </a:cubicBezTo>
                  <a:lnTo>
                    <a:pt x="42949" y="63657"/>
                  </a:lnTo>
                  <a:cubicBezTo>
                    <a:pt x="42949" y="63577"/>
                    <a:pt x="42929" y="63498"/>
                    <a:pt x="42909" y="63418"/>
                  </a:cubicBezTo>
                  <a:lnTo>
                    <a:pt x="42571" y="62861"/>
                  </a:lnTo>
                  <a:cubicBezTo>
                    <a:pt x="42511" y="62722"/>
                    <a:pt x="42511" y="62583"/>
                    <a:pt x="42571" y="62463"/>
                  </a:cubicBezTo>
                  <a:lnTo>
                    <a:pt x="42611" y="62404"/>
                  </a:lnTo>
                  <a:cubicBezTo>
                    <a:pt x="42664" y="62279"/>
                    <a:pt x="42798" y="62202"/>
                    <a:pt x="42926" y="62202"/>
                  </a:cubicBezTo>
                  <a:cubicBezTo>
                    <a:pt x="42940" y="62202"/>
                    <a:pt x="42955" y="62203"/>
                    <a:pt x="42969" y="62205"/>
                  </a:cubicBezTo>
                  <a:lnTo>
                    <a:pt x="43168" y="62225"/>
                  </a:lnTo>
                  <a:cubicBezTo>
                    <a:pt x="43198" y="62231"/>
                    <a:pt x="43228" y="62235"/>
                    <a:pt x="43258" y="62235"/>
                  </a:cubicBezTo>
                  <a:cubicBezTo>
                    <a:pt x="43404" y="62235"/>
                    <a:pt x="43539" y="62155"/>
                    <a:pt x="43605" y="62006"/>
                  </a:cubicBezTo>
                  <a:lnTo>
                    <a:pt x="43645" y="61926"/>
                  </a:lnTo>
                  <a:cubicBezTo>
                    <a:pt x="43709" y="61786"/>
                    <a:pt x="43846" y="61703"/>
                    <a:pt x="43988" y="61703"/>
                  </a:cubicBezTo>
                  <a:cubicBezTo>
                    <a:pt x="44068" y="61703"/>
                    <a:pt x="44150" y="61730"/>
                    <a:pt x="44222" y="61787"/>
                  </a:cubicBezTo>
                  <a:lnTo>
                    <a:pt x="44361" y="61887"/>
                  </a:lnTo>
                  <a:cubicBezTo>
                    <a:pt x="44440" y="61942"/>
                    <a:pt x="44532" y="61969"/>
                    <a:pt x="44621" y="61969"/>
                  </a:cubicBezTo>
                  <a:cubicBezTo>
                    <a:pt x="44757" y="61969"/>
                    <a:pt x="44886" y="61907"/>
                    <a:pt x="44958" y="61787"/>
                  </a:cubicBezTo>
                  <a:lnTo>
                    <a:pt x="44958" y="61767"/>
                  </a:lnTo>
                  <a:cubicBezTo>
                    <a:pt x="45000" y="61700"/>
                    <a:pt x="45059" y="61672"/>
                    <a:pt x="45118" y="61672"/>
                  </a:cubicBezTo>
                  <a:cubicBezTo>
                    <a:pt x="45200" y="61672"/>
                    <a:pt x="45282" y="61726"/>
                    <a:pt x="45316" y="61807"/>
                  </a:cubicBezTo>
                  <a:lnTo>
                    <a:pt x="45396" y="62105"/>
                  </a:lnTo>
                  <a:lnTo>
                    <a:pt x="45455" y="61767"/>
                  </a:lnTo>
                  <a:cubicBezTo>
                    <a:pt x="45501" y="61676"/>
                    <a:pt x="45585" y="61631"/>
                    <a:pt x="45668" y="61631"/>
                  </a:cubicBezTo>
                  <a:cubicBezTo>
                    <a:pt x="45730" y="61631"/>
                    <a:pt x="45791" y="61656"/>
                    <a:pt x="45833" y="61708"/>
                  </a:cubicBezTo>
                  <a:lnTo>
                    <a:pt x="45913" y="61807"/>
                  </a:lnTo>
                  <a:cubicBezTo>
                    <a:pt x="45950" y="61867"/>
                    <a:pt x="46007" y="61893"/>
                    <a:pt x="46063" y="61893"/>
                  </a:cubicBezTo>
                  <a:cubicBezTo>
                    <a:pt x="46158" y="61893"/>
                    <a:pt x="46251" y="61820"/>
                    <a:pt x="46251" y="61708"/>
                  </a:cubicBezTo>
                  <a:lnTo>
                    <a:pt x="46251" y="61668"/>
                  </a:lnTo>
                  <a:cubicBezTo>
                    <a:pt x="46251" y="61608"/>
                    <a:pt x="46291" y="61568"/>
                    <a:pt x="46331" y="61509"/>
                  </a:cubicBezTo>
                  <a:lnTo>
                    <a:pt x="46351" y="61489"/>
                  </a:lnTo>
                  <a:cubicBezTo>
                    <a:pt x="46392" y="61455"/>
                    <a:pt x="46441" y="61440"/>
                    <a:pt x="46487" y="61440"/>
                  </a:cubicBezTo>
                  <a:cubicBezTo>
                    <a:pt x="46552" y="61440"/>
                    <a:pt x="46614" y="61471"/>
                    <a:pt x="46649" y="61528"/>
                  </a:cubicBezTo>
                  <a:cubicBezTo>
                    <a:pt x="46709" y="61634"/>
                    <a:pt x="46827" y="61682"/>
                    <a:pt x="46932" y="61682"/>
                  </a:cubicBezTo>
                  <a:cubicBezTo>
                    <a:pt x="46966" y="61682"/>
                    <a:pt x="46998" y="61677"/>
                    <a:pt x="47027" y="61668"/>
                  </a:cubicBezTo>
                  <a:lnTo>
                    <a:pt x="47385" y="61509"/>
                  </a:lnTo>
                  <a:cubicBezTo>
                    <a:pt x="47484" y="61469"/>
                    <a:pt x="47544" y="61369"/>
                    <a:pt x="47544" y="61230"/>
                  </a:cubicBezTo>
                  <a:lnTo>
                    <a:pt x="47544" y="61031"/>
                  </a:lnTo>
                  <a:cubicBezTo>
                    <a:pt x="47544" y="60832"/>
                    <a:pt x="47624" y="60633"/>
                    <a:pt x="47803" y="60534"/>
                  </a:cubicBezTo>
                  <a:lnTo>
                    <a:pt x="48002" y="60395"/>
                  </a:lnTo>
                  <a:cubicBezTo>
                    <a:pt x="48039" y="60370"/>
                    <a:pt x="48082" y="60358"/>
                    <a:pt x="48127" y="60358"/>
                  </a:cubicBezTo>
                  <a:cubicBezTo>
                    <a:pt x="48224" y="60358"/>
                    <a:pt x="48325" y="60412"/>
                    <a:pt x="48380" y="60494"/>
                  </a:cubicBezTo>
                  <a:lnTo>
                    <a:pt x="48519" y="60733"/>
                  </a:lnTo>
                  <a:cubicBezTo>
                    <a:pt x="48539" y="60792"/>
                    <a:pt x="48598" y="60832"/>
                    <a:pt x="48638" y="60892"/>
                  </a:cubicBezTo>
                  <a:lnTo>
                    <a:pt x="48837" y="61071"/>
                  </a:lnTo>
                  <a:cubicBezTo>
                    <a:pt x="48958" y="61158"/>
                    <a:pt x="49080" y="61214"/>
                    <a:pt x="49227" y="61214"/>
                  </a:cubicBezTo>
                  <a:cubicBezTo>
                    <a:pt x="49249" y="61214"/>
                    <a:pt x="49272" y="61213"/>
                    <a:pt x="49295" y="61210"/>
                  </a:cubicBezTo>
                  <a:lnTo>
                    <a:pt x="49971" y="61170"/>
                  </a:lnTo>
                  <a:cubicBezTo>
                    <a:pt x="49993" y="61162"/>
                    <a:pt x="50016" y="61158"/>
                    <a:pt x="50039" y="61158"/>
                  </a:cubicBezTo>
                  <a:cubicBezTo>
                    <a:pt x="50121" y="61158"/>
                    <a:pt x="50207" y="61208"/>
                    <a:pt x="50269" y="61270"/>
                  </a:cubicBezTo>
                  <a:lnTo>
                    <a:pt x="50389" y="61389"/>
                  </a:lnTo>
                  <a:cubicBezTo>
                    <a:pt x="50488" y="61489"/>
                    <a:pt x="50488" y="61668"/>
                    <a:pt x="50369" y="61727"/>
                  </a:cubicBezTo>
                  <a:lnTo>
                    <a:pt x="50170" y="61887"/>
                  </a:lnTo>
                  <a:cubicBezTo>
                    <a:pt x="50170" y="61887"/>
                    <a:pt x="50130" y="61966"/>
                    <a:pt x="50110" y="62066"/>
                  </a:cubicBezTo>
                  <a:cubicBezTo>
                    <a:pt x="50090" y="62185"/>
                    <a:pt x="50110" y="62304"/>
                    <a:pt x="50210" y="62384"/>
                  </a:cubicBezTo>
                  <a:cubicBezTo>
                    <a:pt x="50329" y="62483"/>
                    <a:pt x="50389" y="62623"/>
                    <a:pt x="50369" y="62782"/>
                  </a:cubicBezTo>
                  <a:lnTo>
                    <a:pt x="50329" y="62901"/>
                  </a:lnTo>
                  <a:cubicBezTo>
                    <a:pt x="50329" y="63020"/>
                    <a:pt x="50409" y="63160"/>
                    <a:pt x="50508" y="63219"/>
                  </a:cubicBezTo>
                  <a:lnTo>
                    <a:pt x="51403" y="63856"/>
                  </a:lnTo>
                  <a:cubicBezTo>
                    <a:pt x="51459" y="63912"/>
                    <a:pt x="51534" y="63936"/>
                    <a:pt x="51611" y="63936"/>
                  </a:cubicBezTo>
                  <a:cubicBezTo>
                    <a:pt x="51670" y="63936"/>
                    <a:pt x="51729" y="63922"/>
                    <a:pt x="51781" y="63896"/>
                  </a:cubicBezTo>
                  <a:lnTo>
                    <a:pt x="51861" y="63876"/>
                  </a:lnTo>
                  <a:cubicBezTo>
                    <a:pt x="51916" y="63848"/>
                    <a:pt x="51976" y="63833"/>
                    <a:pt x="52038" y="63833"/>
                  </a:cubicBezTo>
                  <a:cubicBezTo>
                    <a:pt x="52109" y="63833"/>
                    <a:pt x="52184" y="63853"/>
                    <a:pt x="52259" y="63896"/>
                  </a:cubicBezTo>
                  <a:lnTo>
                    <a:pt x="52378" y="63975"/>
                  </a:lnTo>
                  <a:cubicBezTo>
                    <a:pt x="52434" y="64007"/>
                    <a:pt x="52493" y="64020"/>
                    <a:pt x="52551" y="64020"/>
                  </a:cubicBezTo>
                  <a:cubicBezTo>
                    <a:pt x="52638" y="64020"/>
                    <a:pt x="52724" y="63991"/>
                    <a:pt x="52796" y="63955"/>
                  </a:cubicBezTo>
                  <a:lnTo>
                    <a:pt x="53015" y="63796"/>
                  </a:lnTo>
                  <a:cubicBezTo>
                    <a:pt x="53089" y="63755"/>
                    <a:pt x="53167" y="63734"/>
                    <a:pt x="53242" y="63734"/>
                  </a:cubicBezTo>
                  <a:cubicBezTo>
                    <a:pt x="53346" y="63734"/>
                    <a:pt x="53442" y="63775"/>
                    <a:pt x="53512" y="63856"/>
                  </a:cubicBezTo>
                  <a:lnTo>
                    <a:pt x="53691" y="64015"/>
                  </a:lnTo>
                  <a:cubicBezTo>
                    <a:pt x="53818" y="64128"/>
                    <a:pt x="53995" y="64181"/>
                    <a:pt x="54165" y="64181"/>
                  </a:cubicBezTo>
                  <a:cubicBezTo>
                    <a:pt x="54235" y="64181"/>
                    <a:pt x="54304" y="64172"/>
                    <a:pt x="54367" y="64154"/>
                  </a:cubicBezTo>
                  <a:lnTo>
                    <a:pt x="54706" y="64015"/>
                  </a:lnTo>
                  <a:cubicBezTo>
                    <a:pt x="54775" y="64005"/>
                    <a:pt x="54840" y="64000"/>
                    <a:pt x="54899" y="64000"/>
                  </a:cubicBezTo>
                  <a:cubicBezTo>
                    <a:pt x="54959" y="64000"/>
                    <a:pt x="55014" y="64005"/>
                    <a:pt x="55064" y="64015"/>
                  </a:cubicBezTo>
                  <a:lnTo>
                    <a:pt x="55083" y="64015"/>
                  </a:lnTo>
                  <a:cubicBezTo>
                    <a:pt x="55243" y="64095"/>
                    <a:pt x="55203" y="64274"/>
                    <a:pt x="55143" y="64453"/>
                  </a:cubicBezTo>
                  <a:lnTo>
                    <a:pt x="54944" y="64851"/>
                  </a:lnTo>
                  <a:cubicBezTo>
                    <a:pt x="54865" y="64950"/>
                    <a:pt x="54865" y="65069"/>
                    <a:pt x="54885" y="65189"/>
                  </a:cubicBezTo>
                  <a:lnTo>
                    <a:pt x="55203" y="66382"/>
                  </a:lnTo>
                  <a:cubicBezTo>
                    <a:pt x="55255" y="66556"/>
                    <a:pt x="55412" y="66668"/>
                    <a:pt x="55584" y="66668"/>
                  </a:cubicBezTo>
                  <a:cubicBezTo>
                    <a:pt x="55609" y="66668"/>
                    <a:pt x="55635" y="66666"/>
                    <a:pt x="55660" y="66661"/>
                  </a:cubicBezTo>
                  <a:lnTo>
                    <a:pt x="55800" y="66641"/>
                  </a:lnTo>
                  <a:cubicBezTo>
                    <a:pt x="55939" y="66601"/>
                    <a:pt x="56058" y="66502"/>
                    <a:pt x="56098" y="66382"/>
                  </a:cubicBezTo>
                  <a:lnTo>
                    <a:pt x="56138" y="66303"/>
                  </a:lnTo>
                  <a:cubicBezTo>
                    <a:pt x="56197" y="66163"/>
                    <a:pt x="56178" y="65965"/>
                    <a:pt x="56058" y="65845"/>
                  </a:cubicBezTo>
                  <a:lnTo>
                    <a:pt x="55800" y="65567"/>
                  </a:lnTo>
                  <a:cubicBezTo>
                    <a:pt x="55700" y="65467"/>
                    <a:pt x="55780" y="65288"/>
                    <a:pt x="55939" y="65288"/>
                  </a:cubicBezTo>
                  <a:cubicBezTo>
                    <a:pt x="56138" y="65288"/>
                    <a:pt x="56297" y="65149"/>
                    <a:pt x="56337" y="64950"/>
                  </a:cubicBezTo>
                  <a:lnTo>
                    <a:pt x="56376" y="64711"/>
                  </a:lnTo>
                  <a:cubicBezTo>
                    <a:pt x="56436" y="64492"/>
                    <a:pt x="56635" y="64294"/>
                    <a:pt x="56874" y="64274"/>
                  </a:cubicBezTo>
                  <a:lnTo>
                    <a:pt x="57630" y="64194"/>
                  </a:lnTo>
                  <a:lnTo>
                    <a:pt x="60077" y="63458"/>
                  </a:lnTo>
                  <a:cubicBezTo>
                    <a:pt x="60236" y="63398"/>
                    <a:pt x="60395" y="63299"/>
                    <a:pt x="60494" y="63180"/>
                  </a:cubicBezTo>
                  <a:lnTo>
                    <a:pt x="60852" y="62722"/>
                  </a:lnTo>
                  <a:cubicBezTo>
                    <a:pt x="60932" y="62623"/>
                    <a:pt x="60992" y="62483"/>
                    <a:pt x="60952" y="62364"/>
                  </a:cubicBezTo>
                  <a:lnTo>
                    <a:pt x="60912" y="62006"/>
                  </a:lnTo>
                  <a:cubicBezTo>
                    <a:pt x="60885" y="61910"/>
                    <a:pt x="60970" y="61833"/>
                    <a:pt x="61058" y="61833"/>
                  </a:cubicBezTo>
                  <a:cubicBezTo>
                    <a:pt x="61099" y="61833"/>
                    <a:pt x="61140" y="61849"/>
                    <a:pt x="61171" y="61887"/>
                  </a:cubicBezTo>
                  <a:lnTo>
                    <a:pt x="61230" y="61926"/>
                  </a:lnTo>
                  <a:cubicBezTo>
                    <a:pt x="61323" y="62008"/>
                    <a:pt x="61423" y="62048"/>
                    <a:pt x="61525" y="62048"/>
                  </a:cubicBezTo>
                  <a:cubicBezTo>
                    <a:pt x="61598" y="62048"/>
                    <a:pt x="61673" y="62027"/>
                    <a:pt x="61748" y="61986"/>
                  </a:cubicBezTo>
                  <a:lnTo>
                    <a:pt x="62285" y="61668"/>
                  </a:lnTo>
                  <a:cubicBezTo>
                    <a:pt x="62334" y="61632"/>
                    <a:pt x="62394" y="61614"/>
                    <a:pt x="62454" y="61614"/>
                  </a:cubicBezTo>
                  <a:cubicBezTo>
                    <a:pt x="62562" y="61614"/>
                    <a:pt x="62671" y="61672"/>
                    <a:pt x="62722" y="61787"/>
                  </a:cubicBezTo>
                  <a:cubicBezTo>
                    <a:pt x="62753" y="61849"/>
                    <a:pt x="62806" y="61879"/>
                    <a:pt x="62861" y="61879"/>
                  </a:cubicBezTo>
                  <a:cubicBezTo>
                    <a:pt x="62911" y="61879"/>
                    <a:pt x="62963" y="61854"/>
                    <a:pt x="63001" y="61807"/>
                  </a:cubicBezTo>
                  <a:lnTo>
                    <a:pt x="63060" y="61708"/>
                  </a:lnTo>
                  <a:cubicBezTo>
                    <a:pt x="63138" y="61630"/>
                    <a:pt x="63232" y="61578"/>
                    <a:pt x="63332" y="61578"/>
                  </a:cubicBezTo>
                  <a:cubicBezTo>
                    <a:pt x="63386" y="61578"/>
                    <a:pt x="63442" y="61593"/>
                    <a:pt x="63498" y="61628"/>
                  </a:cubicBezTo>
                  <a:lnTo>
                    <a:pt x="63558" y="61688"/>
                  </a:lnTo>
                  <a:cubicBezTo>
                    <a:pt x="63600" y="61712"/>
                    <a:pt x="63645" y="61723"/>
                    <a:pt x="63688" y="61723"/>
                  </a:cubicBezTo>
                  <a:cubicBezTo>
                    <a:pt x="63785" y="61723"/>
                    <a:pt x="63874" y="61665"/>
                    <a:pt x="63916" y="61568"/>
                  </a:cubicBezTo>
                  <a:cubicBezTo>
                    <a:pt x="63959" y="61482"/>
                    <a:pt x="64033" y="61417"/>
                    <a:pt x="64116" y="61417"/>
                  </a:cubicBezTo>
                  <a:cubicBezTo>
                    <a:pt x="64148" y="61417"/>
                    <a:pt x="64181" y="61427"/>
                    <a:pt x="64214" y="61449"/>
                  </a:cubicBezTo>
                  <a:cubicBezTo>
                    <a:pt x="64292" y="61488"/>
                    <a:pt x="64395" y="61518"/>
                    <a:pt x="64496" y="61518"/>
                  </a:cubicBezTo>
                  <a:cubicBezTo>
                    <a:pt x="64550" y="61518"/>
                    <a:pt x="64603" y="61509"/>
                    <a:pt x="64652" y="61489"/>
                  </a:cubicBezTo>
                  <a:lnTo>
                    <a:pt x="65288" y="61270"/>
                  </a:lnTo>
                  <a:cubicBezTo>
                    <a:pt x="65388" y="61210"/>
                    <a:pt x="65467" y="61111"/>
                    <a:pt x="65428" y="61011"/>
                  </a:cubicBezTo>
                  <a:cubicBezTo>
                    <a:pt x="65408" y="60872"/>
                    <a:pt x="65428" y="60753"/>
                    <a:pt x="65527" y="60613"/>
                  </a:cubicBezTo>
                  <a:cubicBezTo>
                    <a:pt x="65646" y="60474"/>
                    <a:pt x="65826" y="60275"/>
                    <a:pt x="65965" y="60096"/>
                  </a:cubicBezTo>
                  <a:cubicBezTo>
                    <a:pt x="66084" y="59957"/>
                    <a:pt x="66243" y="59857"/>
                    <a:pt x="66422" y="59818"/>
                  </a:cubicBezTo>
                  <a:cubicBezTo>
                    <a:pt x="66601" y="59798"/>
                    <a:pt x="66760" y="59718"/>
                    <a:pt x="66860" y="59599"/>
                  </a:cubicBezTo>
                  <a:lnTo>
                    <a:pt x="70162" y="56118"/>
                  </a:lnTo>
                  <a:cubicBezTo>
                    <a:pt x="70202" y="56078"/>
                    <a:pt x="70202" y="55998"/>
                    <a:pt x="70182" y="55939"/>
                  </a:cubicBezTo>
                  <a:cubicBezTo>
                    <a:pt x="70063" y="55779"/>
                    <a:pt x="70063" y="55541"/>
                    <a:pt x="70162" y="55382"/>
                  </a:cubicBezTo>
                  <a:lnTo>
                    <a:pt x="70202" y="55302"/>
                  </a:lnTo>
                  <a:lnTo>
                    <a:pt x="70162" y="55242"/>
                  </a:lnTo>
                  <a:cubicBezTo>
                    <a:pt x="70003" y="55083"/>
                    <a:pt x="70003" y="54805"/>
                    <a:pt x="70162" y="54626"/>
                  </a:cubicBezTo>
                  <a:lnTo>
                    <a:pt x="70580" y="54089"/>
                  </a:lnTo>
                  <a:cubicBezTo>
                    <a:pt x="70659" y="53989"/>
                    <a:pt x="70679" y="53890"/>
                    <a:pt x="70679" y="53750"/>
                  </a:cubicBezTo>
                  <a:lnTo>
                    <a:pt x="70679" y="53452"/>
                  </a:lnTo>
                  <a:cubicBezTo>
                    <a:pt x="70679" y="53253"/>
                    <a:pt x="70799" y="53094"/>
                    <a:pt x="70978" y="53014"/>
                  </a:cubicBezTo>
                  <a:lnTo>
                    <a:pt x="71276" y="52895"/>
                  </a:lnTo>
                  <a:lnTo>
                    <a:pt x="72131" y="50846"/>
                  </a:lnTo>
                  <a:lnTo>
                    <a:pt x="72350" y="50727"/>
                  </a:lnTo>
                  <a:cubicBezTo>
                    <a:pt x="72408" y="50794"/>
                    <a:pt x="72498" y="50829"/>
                    <a:pt x="72587" y="50829"/>
                  </a:cubicBezTo>
                  <a:cubicBezTo>
                    <a:pt x="72682" y="50829"/>
                    <a:pt x="72776" y="50789"/>
                    <a:pt x="72828" y="50707"/>
                  </a:cubicBezTo>
                  <a:lnTo>
                    <a:pt x="73265" y="49971"/>
                  </a:lnTo>
                  <a:cubicBezTo>
                    <a:pt x="73345" y="49851"/>
                    <a:pt x="73365" y="49672"/>
                    <a:pt x="73325" y="49533"/>
                  </a:cubicBezTo>
                  <a:lnTo>
                    <a:pt x="73186" y="49135"/>
                  </a:lnTo>
                  <a:cubicBezTo>
                    <a:pt x="73146" y="49036"/>
                    <a:pt x="73226" y="48916"/>
                    <a:pt x="73345" y="48877"/>
                  </a:cubicBezTo>
                  <a:cubicBezTo>
                    <a:pt x="73623" y="48837"/>
                    <a:pt x="73822" y="48618"/>
                    <a:pt x="73822" y="48340"/>
                  </a:cubicBezTo>
                  <a:lnTo>
                    <a:pt x="73822" y="48121"/>
                  </a:lnTo>
                  <a:lnTo>
                    <a:pt x="73663" y="48061"/>
                  </a:lnTo>
                  <a:cubicBezTo>
                    <a:pt x="73484" y="48021"/>
                    <a:pt x="73464" y="47763"/>
                    <a:pt x="73643" y="47683"/>
                  </a:cubicBezTo>
                  <a:lnTo>
                    <a:pt x="73683" y="47663"/>
                  </a:lnTo>
                  <a:cubicBezTo>
                    <a:pt x="73882" y="47564"/>
                    <a:pt x="73862" y="47285"/>
                    <a:pt x="73663" y="47245"/>
                  </a:cubicBezTo>
                  <a:lnTo>
                    <a:pt x="73166" y="47086"/>
                  </a:lnTo>
                  <a:lnTo>
                    <a:pt x="72947" y="46669"/>
                  </a:lnTo>
                  <a:cubicBezTo>
                    <a:pt x="72882" y="46538"/>
                    <a:pt x="72749" y="46459"/>
                    <a:pt x="72608" y="46459"/>
                  </a:cubicBezTo>
                  <a:cubicBezTo>
                    <a:pt x="72535" y="46459"/>
                    <a:pt x="72459" y="46481"/>
                    <a:pt x="72390" y="46529"/>
                  </a:cubicBezTo>
                  <a:lnTo>
                    <a:pt x="72052" y="46748"/>
                  </a:lnTo>
                  <a:lnTo>
                    <a:pt x="71933" y="46708"/>
                  </a:lnTo>
                  <a:cubicBezTo>
                    <a:pt x="71754" y="46688"/>
                    <a:pt x="71674" y="46450"/>
                    <a:pt x="71793" y="46311"/>
                  </a:cubicBezTo>
                  <a:lnTo>
                    <a:pt x="72748" y="45395"/>
                  </a:lnTo>
                  <a:cubicBezTo>
                    <a:pt x="72830" y="45314"/>
                    <a:pt x="72938" y="45246"/>
                    <a:pt x="73062" y="45246"/>
                  </a:cubicBezTo>
                  <a:cubicBezTo>
                    <a:pt x="73089" y="45246"/>
                    <a:pt x="73117" y="45249"/>
                    <a:pt x="73146" y="45256"/>
                  </a:cubicBezTo>
                  <a:lnTo>
                    <a:pt x="73186" y="45256"/>
                  </a:lnTo>
                  <a:cubicBezTo>
                    <a:pt x="73193" y="45257"/>
                    <a:pt x="73200" y="45257"/>
                    <a:pt x="73207" y="45257"/>
                  </a:cubicBezTo>
                  <a:cubicBezTo>
                    <a:pt x="73395" y="45257"/>
                    <a:pt x="73519" y="45012"/>
                    <a:pt x="73385" y="44878"/>
                  </a:cubicBezTo>
                  <a:lnTo>
                    <a:pt x="72589" y="43923"/>
                  </a:lnTo>
                  <a:cubicBezTo>
                    <a:pt x="72538" y="43839"/>
                    <a:pt x="72617" y="43711"/>
                    <a:pt x="72715" y="43711"/>
                  </a:cubicBezTo>
                  <a:cubicBezTo>
                    <a:pt x="72732" y="43711"/>
                    <a:pt x="72750" y="43715"/>
                    <a:pt x="72768" y="43724"/>
                  </a:cubicBezTo>
                  <a:lnTo>
                    <a:pt x="73126" y="43904"/>
                  </a:lnTo>
                  <a:cubicBezTo>
                    <a:pt x="73180" y="43935"/>
                    <a:pt x="73236" y="43949"/>
                    <a:pt x="73289" y="43949"/>
                  </a:cubicBezTo>
                  <a:cubicBezTo>
                    <a:pt x="73473" y="43949"/>
                    <a:pt x="73630" y="43781"/>
                    <a:pt x="73584" y="43565"/>
                  </a:cubicBezTo>
                  <a:lnTo>
                    <a:pt x="73544" y="43307"/>
                  </a:lnTo>
                  <a:cubicBezTo>
                    <a:pt x="73524" y="43207"/>
                    <a:pt x="73444" y="43088"/>
                    <a:pt x="73345" y="43048"/>
                  </a:cubicBezTo>
                  <a:lnTo>
                    <a:pt x="72728" y="42690"/>
                  </a:lnTo>
                  <a:cubicBezTo>
                    <a:pt x="72788" y="42471"/>
                    <a:pt x="72728" y="42193"/>
                    <a:pt x="72490" y="42073"/>
                  </a:cubicBezTo>
                  <a:cubicBezTo>
                    <a:pt x="72430" y="41994"/>
                    <a:pt x="72330" y="41954"/>
                    <a:pt x="72231" y="41894"/>
                  </a:cubicBezTo>
                  <a:cubicBezTo>
                    <a:pt x="72052" y="41795"/>
                    <a:pt x="71972" y="41616"/>
                    <a:pt x="71992" y="41417"/>
                  </a:cubicBezTo>
                  <a:cubicBezTo>
                    <a:pt x="72032" y="41238"/>
                    <a:pt x="72032" y="41079"/>
                    <a:pt x="71952" y="40900"/>
                  </a:cubicBezTo>
                  <a:lnTo>
                    <a:pt x="71157" y="38811"/>
                  </a:lnTo>
                  <a:cubicBezTo>
                    <a:pt x="71077" y="38592"/>
                    <a:pt x="70938" y="38393"/>
                    <a:pt x="70739" y="38254"/>
                  </a:cubicBezTo>
                  <a:lnTo>
                    <a:pt x="70102" y="37816"/>
                  </a:lnTo>
                  <a:cubicBezTo>
                    <a:pt x="69665" y="37518"/>
                    <a:pt x="69565" y="36901"/>
                    <a:pt x="69884" y="36484"/>
                  </a:cubicBezTo>
                  <a:lnTo>
                    <a:pt x="70759" y="35290"/>
                  </a:lnTo>
                  <a:cubicBezTo>
                    <a:pt x="70858" y="35131"/>
                    <a:pt x="71037" y="35031"/>
                    <a:pt x="71197" y="34992"/>
                  </a:cubicBezTo>
                  <a:cubicBezTo>
                    <a:pt x="71276" y="34992"/>
                    <a:pt x="71376" y="34952"/>
                    <a:pt x="71455" y="34932"/>
                  </a:cubicBezTo>
                  <a:cubicBezTo>
                    <a:pt x="71674" y="34892"/>
                    <a:pt x="71833" y="34693"/>
                    <a:pt x="71833" y="34454"/>
                  </a:cubicBezTo>
                  <a:cubicBezTo>
                    <a:pt x="71793" y="34156"/>
                    <a:pt x="71972" y="33897"/>
                    <a:pt x="72251" y="33758"/>
                  </a:cubicBezTo>
                  <a:lnTo>
                    <a:pt x="73365" y="33221"/>
                  </a:lnTo>
                  <a:cubicBezTo>
                    <a:pt x="73486" y="33160"/>
                    <a:pt x="73596" y="33134"/>
                    <a:pt x="73712" y="33134"/>
                  </a:cubicBezTo>
                  <a:cubicBezTo>
                    <a:pt x="73748" y="33134"/>
                    <a:pt x="73785" y="33137"/>
                    <a:pt x="73822" y="33142"/>
                  </a:cubicBezTo>
                  <a:lnTo>
                    <a:pt x="74061" y="33201"/>
                  </a:lnTo>
                  <a:cubicBezTo>
                    <a:pt x="74092" y="33206"/>
                    <a:pt x="74124" y="33208"/>
                    <a:pt x="74155" y="33208"/>
                  </a:cubicBezTo>
                  <a:cubicBezTo>
                    <a:pt x="74399" y="33208"/>
                    <a:pt x="74625" y="33070"/>
                    <a:pt x="74678" y="32823"/>
                  </a:cubicBezTo>
                  <a:lnTo>
                    <a:pt x="74718" y="32704"/>
                  </a:lnTo>
                  <a:cubicBezTo>
                    <a:pt x="74777" y="32465"/>
                    <a:pt x="74638" y="32226"/>
                    <a:pt x="74379" y="32207"/>
                  </a:cubicBezTo>
                  <a:lnTo>
                    <a:pt x="73245" y="32107"/>
                  </a:lnTo>
                  <a:cubicBezTo>
                    <a:pt x="73066" y="32107"/>
                    <a:pt x="72868" y="32008"/>
                    <a:pt x="72748" y="31868"/>
                  </a:cubicBezTo>
                  <a:lnTo>
                    <a:pt x="72569" y="31709"/>
                  </a:lnTo>
                  <a:cubicBezTo>
                    <a:pt x="72443" y="31572"/>
                    <a:pt x="72271" y="31502"/>
                    <a:pt x="72097" y="31502"/>
                  </a:cubicBezTo>
                  <a:cubicBezTo>
                    <a:pt x="71942" y="31502"/>
                    <a:pt x="71785" y="31557"/>
                    <a:pt x="71654" y="31669"/>
                  </a:cubicBezTo>
                  <a:lnTo>
                    <a:pt x="70640" y="32604"/>
                  </a:lnTo>
                  <a:cubicBezTo>
                    <a:pt x="70580" y="32644"/>
                    <a:pt x="70500" y="32704"/>
                    <a:pt x="70441" y="32724"/>
                  </a:cubicBezTo>
                  <a:cubicBezTo>
                    <a:pt x="70361" y="32764"/>
                    <a:pt x="70242" y="32823"/>
                    <a:pt x="70142" y="32863"/>
                  </a:cubicBezTo>
                  <a:cubicBezTo>
                    <a:pt x="70028" y="32925"/>
                    <a:pt x="69909" y="32951"/>
                    <a:pt x="69792" y="32951"/>
                  </a:cubicBezTo>
                  <a:cubicBezTo>
                    <a:pt x="69644" y="32951"/>
                    <a:pt x="69499" y="32910"/>
                    <a:pt x="69366" y="32843"/>
                  </a:cubicBezTo>
                  <a:cubicBezTo>
                    <a:pt x="69108" y="32724"/>
                    <a:pt x="68969" y="32465"/>
                    <a:pt x="68949" y="32207"/>
                  </a:cubicBezTo>
                  <a:lnTo>
                    <a:pt x="68909" y="31829"/>
                  </a:lnTo>
                  <a:cubicBezTo>
                    <a:pt x="68909" y="31829"/>
                    <a:pt x="68909" y="31809"/>
                    <a:pt x="68949" y="31809"/>
                  </a:cubicBezTo>
                  <a:cubicBezTo>
                    <a:pt x="69307" y="31749"/>
                    <a:pt x="69486" y="31331"/>
                    <a:pt x="69287" y="31033"/>
                  </a:cubicBezTo>
                  <a:cubicBezTo>
                    <a:pt x="69207" y="30914"/>
                    <a:pt x="69068" y="30814"/>
                    <a:pt x="68909" y="30814"/>
                  </a:cubicBezTo>
                  <a:lnTo>
                    <a:pt x="68193" y="30754"/>
                  </a:lnTo>
                  <a:cubicBezTo>
                    <a:pt x="67656" y="30735"/>
                    <a:pt x="67258" y="30277"/>
                    <a:pt x="67258" y="29760"/>
                  </a:cubicBezTo>
                  <a:lnTo>
                    <a:pt x="67258" y="29442"/>
                  </a:lnTo>
                  <a:cubicBezTo>
                    <a:pt x="67258" y="28990"/>
                    <a:pt x="67614" y="28663"/>
                    <a:pt x="68023" y="28663"/>
                  </a:cubicBezTo>
                  <a:cubicBezTo>
                    <a:pt x="68047" y="28663"/>
                    <a:pt x="68070" y="28664"/>
                    <a:pt x="68093" y="28666"/>
                  </a:cubicBezTo>
                  <a:lnTo>
                    <a:pt x="68511" y="28725"/>
                  </a:lnTo>
                  <a:cubicBezTo>
                    <a:pt x="68541" y="28729"/>
                    <a:pt x="68572" y="28730"/>
                    <a:pt x="68602" y="28730"/>
                  </a:cubicBezTo>
                  <a:cubicBezTo>
                    <a:pt x="68925" y="28730"/>
                    <a:pt x="69219" y="28538"/>
                    <a:pt x="69347" y="28228"/>
                  </a:cubicBezTo>
                  <a:lnTo>
                    <a:pt x="69506" y="27751"/>
                  </a:lnTo>
                  <a:cubicBezTo>
                    <a:pt x="69605" y="27492"/>
                    <a:pt x="69804" y="27293"/>
                    <a:pt x="70063" y="27174"/>
                  </a:cubicBezTo>
                  <a:lnTo>
                    <a:pt x="71177" y="26676"/>
                  </a:lnTo>
                  <a:cubicBezTo>
                    <a:pt x="71336" y="26597"/>
                    <a:pt x="71455" y="26497"/>
                    <a:pt x="71535" y="26378"/>
                  </a:cubicBezTo>
                  <a:cubicBezTo>
                    <a:pt x="71754" y="26000"/>
                    <a:pt x="72271" y="25264"/>
                    <a:pt x="72330" y="25244"/>
                  </a:cubicBezTo>
                  <a:cubicBezTo>
                    <a:pt x="72688" y="25145"/>
                    <a:pt x="72788" y="25184"/>
                    <a:pt x="73146" y="25165"/>
                  </a:cubicBezTo>
                  <a:cubicBezTo>
                    <a:pt x="73168" y="25162"/>
                    <a:pt x="73190" y="25161"/>
                    <a:pt x="73212" y="25161"/>
                  </a:cubicBezTo>
                  <a:cubicBezTo>
                    <a:pt x="73365" y="25161"/>
                    <a:pt x="73502" y="25222"/>
                    <a:pt x="73623" y="25344"/>
                  </a:cubicBezTo>
                  <a:lnTo>
                    <a:pt x="73922" y="25642"/>
                  </a:lnTo>
                  <a:cubicBezTo>
                    <a:pt x="74081" y="25801"/>
                    <a:pt x="74121" y="26080"/>
                    <a:pt x="73942" y="26259"/>
                  </a:cubicBezTo>
                  <a:lnTo>
                    <a:pt x="72887" y="27393"/>
                  </a:lnTo>
                  <a:cubicBezTo>
                    <a:pt x="72728" y="27591"/>
                    <a:pt x="72748" y="27890"/>
                    <a:pt x="72927" y="28069"/>
                  </a:cubicBezTo>
                  <a:lnTo>
                    <a:pt x="72967" y="28129"/>
                  </a:lnTo>
                  <a:cubicBezTo>
                    <a:pt x="73146" y="28288"/>
                    <a:pt x="73126" y="28546"/>
                    <a:pt x="72947" y="28686"/>
                  </a:cubicBezTo>
                  <a:lnTo>
                    <a:pt x="72251" y="29243"/>
                  </a:lnTo>
                  <a:lnTo>
                    <a:pt x="72231" y="29322"/>
                  </a:lnTo>
                  <a:cubicBezTo>
                    <a:pt x="72198" y="29456"/>
                    <a:pt x="72304" y="29575"/>
                    <a:pt x="72445" y="29575"/>
                  </a:cubicBezTo>
                  <a:cubicBezTo>
                    <a:pt x="72472" y="29575"/>
                    <a:pt x="72500" y="29571"/>
                    <a:pt x="72529" y="29561"/>
                  </a:cubicBezTo>
                  <a:lnTo>
                    <a:pt x="73166" y="29322"/>
                  </a:lnTo>
                  <a:lnTo>
                    <a:pt x="73245" y="28944"/>
                  </a:lnTo>
                  <a:cubicBezTo>
                    <a:pt x="73300" y="28999"/>
                    <a:pt x="73372" y="29024"/>
                    <a:pt x="73443" y="29024"/>
                  </a:cubicBezTo>
                  <a:cubicBezTo>
                    <a:pt x="73526" y="29024"/>
                    <a:pt x="73609" y="28989"/>
                    <a:pt x="73663" y="28924"/>
                  </a:cubicBezTo>
                  <a:lnTo>
                    <a:pt x="74121" y="28347"/>
                  </a:lnTo>
                  <a:cubicBezTo>
                    <a:pt x="74240" y="28188"/>
                    <a:pt x="74379" y="28069"/>
                    <a:pt x="74558" y="27989"/>
                  </a:cubicBezTo>
                  <a:lnTo>
                    <a:pt x="75732" y="27492"/>
                  </a:lnTo>
                  <a:cubicBezTo>
                    <a:pt x="75871" y="27452"/>
                    <a:pt x="76050" y="27432"/>
                    <a:pt x="76229" y="27432"/>
                  </a:cubicBezTo>
                  <a:lnTo>
                    <a:pt x="76667" y="27452"/>
                  </a:lnTo>
                  <a:cubicBezTo>
                    <a:pt x="76707" y="27452"/>
                    <a:pt x="76727" y="27452"/>
                    <a:pt x="76747" y="27432"/>
                  </a:cubicBezTo>
                  <a:lnTo>
                    <a:pt x="77204" y="27194"/>
                  </a:lnTo>
                  <a:cubicBezTo>
                    <a:pt x="77224" y="26895"/>
                    <a:pt x="77403" y="26637"/>
                    <a:pt x="77662" y="26477"/>
                  </a:cubicBezTo>
                  <a:lnTo>
                    <a:pt x="79551" y="25403"/>
                  </a:lnTo>
                  <a:cubicBezTo>
                    <a:pt x="79711" y="25344"/>
                    <a:pt x="79810" y="25204"/>
                    <a:pt x="79890" y="25085"/>
                  </a:cubicBezTo>
                  <a:lnTo>
                    <a:pt x="80646" y="23693"/>
                  </a:lnTo>
                  <a:cubicBezTo>
                    <a:pt x="80705" y="23613"/>
                    <a:pt x="80785" y="23553"/>
                    <a:pt x="80884" y="23494"/>
                  </a:cubicBezTo>
                  <a:cubicBezTo>
                    <a:pt x="80924" y="23494"/>
                    <a:pt x="80944" y="23474"/>
                    <a:pt x="81004" y="23454"/>
                  </a:cubicBezTo>
                  <a:cubicBezTo>
                    <a:pt x="81050" y="23435"/>
                    <a:pt x="81098" y="23426"/>
                    <a:pt x="81145" y="23426"/>
                  </a:cubicBezTo>
                  <a:cubicBezTo>
                    <a:pt x="81297" y="23426"/>
                    <a:pt x="81440" y="23520"/>
                    <a:pt x="81501" y="23673"/>
                  </a:cubicBezTo>
                  <a:cubicBezTo>
                    <a:pt x="81581" y="23872"/>
                    <a:pt x="81740" y="24011"/>
                    <a:pt x="81939" y="24051"/>
                  </a:cubicBezTo>
                  <a:lnTo>
                    <a:pt x="82913" y="24210"/>
                  </a:lnTo>
                  <a:cubicBezTo>
                    <a:pt x="82947" y="24218"/>
                    <a:pt x="82979" y="24222"/>
                    <a:pt x="83010" y="24222"/>
                  </a:cubicBezTo>
                  <a:cubicBezTo>
                    <a:pt x="83128" y="24222"/>
                    <a:pt x="83228" y="24165"/>
                    <a:pt x="83291" y="24070"/>
                  </a:cubicBezTo>
                  <a:cubicBezTo>
                    <a:pt x="83391" y="23911"/>
                    <a:pt x="83371" y="23712"/>
                    <a:pt x="83192" y="23613"/>
                  </a:cubicBezTo>
                  <a:lnTo>
                    <a:pt x="83172" y="23613"/>
                  </a:lnTo>
                  <a:cubicBezTo>
                    <a:pt x="83072" y="23573"/>
                    <a:pt x="82993" y="23474"/>
                    <a:pt x="82993" y="23354"/>
                  </a:cubicBezTo>
                  <a:cubicBezTo>
                    <a:pt x="82973" y="23155"/>
                    <a:pt x="83112" y="22976"/>
                    <a:pt x="83311" y="22976"/>
                  </a:cubicBezTo>
                  <a:lnTo>
                    <a:pt x="84007" y="22956"/>
                  </a:lnTo>
                  <a:cubicBezTo>
                    <a:pt x="84226" y="22956"/>
                    <a:pt x="84425" y="22817"/>
                    <a:pt x="84564" y="22658"/>
                  </a:cubicBezTo>
                  <a:lnTo>
                    <a:pt x="84903" y="22101"/>
                  </a:lnTo>
                  <a:lnTo>
                    <a:pt x="85062" y="22161"/>
                  </a:lnTo>
                  <a:cubicBezTo>
                    <a:pt x="85099" y="22170"/>
                    <a:pt x="85136" y="22174"/>
                    <a:pt x="85173" y="22174"/>
                  </a:cubicBezTo>
                  <a:cubicBezTo>
                    <a:pt x="85375" y="22174"/>
                    <a:pt x="85565" y="22041"/>
                    <a:pt x="85599" y="21823"/>
                  </a:cubicBezTo>
                  <a:cubicBezTo>
                    <a:pt x="85658" y="21624"/>
                    <a:pt x="85698" y="21405"/>
                    <a:pt x="85718" y="21226"/>
                  </a:cubicBezTo>
                  <a:cubicBezTo>
                    <a:pt x="85750" y="21098"/>
                    <a:pt x="85884" y="21009"/>
                    <a:pt x="86017" y="21009"/>
                  </a:cubicBezTo>
                  <a:cubicBezTo>
                    <a:pt x="86051" y="21009"/>
                    <a:pt x="86084" y="21015"/>
                    <a:pt x="86116" y="21027"/>
                  </a:cubicBezTo>
                  <a:cubicBezTo>
                    <a:pt x="86255" y="21087"/>
                    <a:pt x="86315" y="21186"/>
                    <a:pt x="86375" y="21305"/>
                  </a:cubicBezTo>
                  <a:lnTo>
                    <a:pt x="86613" y="22081"/>
                  </a:lnTo>
                  <a:cubicBezTo>
                    <a:pt x="86646" y="22163"/>
                    <a:pt x="86719" y="22231"/>
                    <a:pt x="86799" y="22231"/>
                  </a:cubicBezTo>
                  <a:cubicBezTo>
                    <a:pt x="86816" y="22231"/>
                    <a:pt x="86834" y="22228"/>
                    <a:pt x="86852" y="22220"/>
                  </a:cubicBezTo>
                  <a:cubicBezTo>
                    <a:pt x="86971" y="22220"/>
                    <a:pt x="87051" y="22121"/>
                    <a:pt x="87011" y="22002"/>
                  </a:cubicBezTo>
                  <a:lnTo>
                    <a:pt x="86971" y="21723"/>
                  </a:lnTo>
                  <a:cubicBezTo>
                    <a:pt x="86912" y="21504"/>
                    <a:pt x="87091" y="21305"/>
                    <a:pt x="87310" y="21285"/>
                  </a:cubicBezTo>
                  <a:lnTo>
                    <a:pt x="87389" y="21285"/>
                  </a:lnTo>
                  <a:cubicBezTo>
                    <a:pt x="87588" y="21266"/>
                    <a:pt x="87747" y="21126"/>
                    <a:pt x="87807" y="20967"/>
                  </a:cubicBezTo>
                  <a:lnTo>
                    <a:pt x="88046" y="20311"/>
                  </a:lnTo>
                  <a:cubicBezTo>
                    <a:pt x="88046" y="20231"/>
                    <a:pt x="88006" y="20171"/>
                    <a:pt x="87966" y="20132"/>
                  </a:cubicBezTo>
                  <a:cubicBezTo>
                    <a:pt x="87847" y="20072"/>
                    <a:pt x="87767" y="19893"/>
                    <a:pt x="87787" y="19734"/>
                  </a:cubicBezTo>
                  <a:lnTo>
                    <a:pt x="87906" y="19097"/>
                  </a:lnTo>
                  <a:cubicBezTo>
                    <a:pt x="87946" y="18918"/>
                    <a:pt x="87946" y="18739"/>
                    <a:pt x="87867" y="18600"/>
                  </a:cubicBezTo>
                  <a:lnTo>
                    <a:pt x="87568" y="17844"/>
                  </a:lnTo>
                  <a:cubicBezTo>
                    <a:pt x="87449" y="17546"/>
                    <a:pt x="87648" y="17207"/>
                    <a:pt x="87966" y="17128"/>
                  </a:cubicBezTo>
                  <a:lnTo>
                    <a:pt x="88066" y="17108"/>
                  </a:lnTo>
                  <a:cubicBezTo>
                    <a:pt x="88205" y="17088"/>
                    <a:pt x="88364" y="16989"/>
                    <a:pt x="88443" y="16830"/>
                  </a:cubicBezTo>
                  <a:lnTo>
                    <a:pt x="88543" y="16650"/>
                  </a:lnTo>
                  <a:cubicBezTo>
                    <a:pt x="88603" y="16551"/>
                    <a:pt x="88702" y="16501"/>
                    <a:pt x="88802" y="16501"/>
                  </a:cubicBezTo>
                  <a:cubicBezTo>
                    <a:pt x="88901" y="16501"/>
                    <a:pt x="89000" y="16551"/>
                    <a:pt x="89060" y="16650"/>
                  </a:cubicBezTo>
                  <a:lnTo>
                    <a:pt x="89239" y="16929"/>
                  </a:lnTo>
                  <a:cubicBezTo>
                    <a:pt x="89279" y="17028"/>
                    <a:pt x="89299" y="17188"/>
                    <a:pt x="89259" y="17287"/>
                  </a:cubicBezTo>
                  <a:lnTo>
                    <a:pt x="89239" y="17347"/>
                  </a:lnTo>
                  <a:cubicBezTo>
                    <a:pt x="89160" y="17585"/>
                    <a:pt x="89259" y="17824"/>
                    <a:pt x="89478" y="17924"/>
                  </a:cubicBezTo>
                  <a:lnTo>
                    <a:pt x="89498" y="17924"/>
                  </a:lnTo>
                  <a:cubicBezTo>
                    <a:pt x="89551" y="17950"/>
                    <a:pt x="89607" y="17963"/>
                    <a:pt x="89663" y="17963"/>
                  </a:cubicBezTo>
                  <a:cubicBezTo>
                    <a:pt x="89815" y="17963"/>
                    <a:pt x="89962" y="17870"/>
                    <a:pt x="90035" y="17725"/>
                  </a:cubicBezTo>
                  <a:lnTo>
                    <a:pt x="90254" y="17287"/>
                  </a:lnTo>
                  <a:cubicBezTo>
                    <a:pt x="90293" y="17148"/>
                    <a:pt x="90373" y="17088"/>
                    <a:pt x="90473" y="17028"/>
                  </a:cubicBezTo>
                  <a:lnTo>
                    <a:pt x="90572" y="16989"/>
                  </a:lnTo>
                  <a:cubicBezTo>
                    <a:pt x="90771" y="16889"/>
                    <a:pt x="90870" y="16650"/>
                    <a:pt x="90850" y="16432"/>
                  </a:cubicBezTo>
                  <a:cubicBezTo>
                    <a:pt x="90831" y="16253"/>
                    <a:pt x="90870" y="16093"/>
                    <a:pt x="90970" y="15954"/>
                  </a:cubicBezTo>
                  <a:lnTo>
                    <a:pt x="91825" y="14840"/>
                  </a:lnTo>
                  <a:cubicBezTo>
                    <a:pt x="91865" y="14761"/>
                    <a:pt x="91925" y="14661"/>
                    <a:pt x="91945" y="14562"/>
                  </a:cubicBezTo>
                  <a:lnTo>
                    <a:pt x="92382" y="12572"/>
                  </a:lnTo>
                  <a:cubicBezTo>
                    <a:pt x="92442" y="12314"/>
                    <a:pt x="92621" y="12075"/>
                    <a:pt x="92840" y="11956"/>
                  </a:cubicBezTo>
                  <a:lnTo>
                    <a:pt x="92939" y="11916"/>
                  </a:lnTo>
                  <a:cubicBezTo>
                    <a:pt x="93158" y="11757"/>
                    <a:pt x="93317" y="11478"/>
                    <a:pt x="93277" y="11220"/>
                  </a:cubicBezTo>
                  <a:lnTo>
                    <a:pt x="93238" y="10822"/>
                  </a:lnTo>
                  <a:cubicBezTo>
                    <a:pt x="93191" y="10558"/>
                    <a:pt x="92975" y="10379"/>
                    <a:pt x="92741" y="10379"/>
                  </a:cubicBezTo>
                  <a:cubicBezTo>
                    <a:pt x="92675" y="10379"/>
                    <a:pt x="92607" y="10393"/>
                    <a:pt x="92541" y="10424"/>
                  </a:cubicBezTo>
                  <a:lnTo>
                    <a:pt x="89896" y="11558"/>
                  </a:lnTo>
                  <a:cubicBezTo>
                    <a:pt x="89796" y="11618"/>
                    <a:pt x="89697" y="11638"/>
                    <a:pt x="89597" y="11638"/>
                  </a:cubicBezTo>
                  <a:lnTo>
                    <a:pt x="87926" y="11737"/>
                  </a:lnTo>
                  <a:cubicBezTo>
                    <a:pt x="87911" y="11738"/>
                    <a:pt x="87895" y="11738"/>
                    <a:pt x="87880" y="11738"/>
                  </a:cubicBezTo>
                  <a:cubicBezTo>
                    <a:pt x="87556" y="11738"/>
                    <a:pt x="87224" y="11543"/>
                    <a:pt x="87091" y="11240"/>
                  </a:cubicBezTo>
                  <a:lnTo>
                    <a:pt x="87071" y="11220"/>
                  </a:lnTo>
                  <a:cubicBezTo>
                    <a:pt x="86971" y="10961"/>
                    <a:pt x="86971" y="10683"/>
                    <a:pt x="87071" y="10464"/>
                  </a:cubicBezTo>
                  <a:cubicBezTo>
                    <a:pt x="87111" y="10364"/>
                    <a:pt x="87091" y="10245"/>
                    <a:pt x="86991" y="10165"/>
                  </a:cubicBezTo>
                  <a:cubicBezTo>
                    <a:pt x="86872" y="10066"/>
                    <a:pt x="86812" y="9887"/>
                    <a:pt x="86872" y="9728"/>
                  </a:cubicBezTo>
                  <a:lnTo>
                    <a:pt x="86872" y="9688"/>
                  </a:lnTo>
                  <a:cubicBezTo>
                    <a:pt x="86910" y="9479"/>
                    <a:pt x="86749" y="9289"/>
                    <a:pt x="86544" y="9289"/>
                  </a:cubicBezTo>
                  <a:cubicBezTo>
                    <a:pt x="86534" y="9289"/>
                    <a:pt x="86524" y="9289"/>
                    <a:pt x="86514" y="9290"/>
                  </a:cubicBezTo>
                  <a:lnTo>
                    <a:pt x="86494" y="9290"/>
                  </a:lnTo>
                  <a:cubicBezTo>
                    <a:pt x="86463" y="9297"/>
                    <a:pt x="86432" y="9300"/>
                    <a:pt x="86401" y="9300"/>
                  </a:cubicBezTo>
                  <a:cubicBezTo>
                    <a:pt x="86249" y="9300"/>
                    <a:pt x="86096" y="9223"/>
                    <a:pt x="85997" y="9091"/>
                  </a:cubicBezTo>
                  <a:lnTo>
                    <a:pt x="85499" y="8475"/>
                  </a:lnTo>
                  <a:cubicBezTo>
                    <a:pt x="85340" y="8276"/>
                    <a:pt x="85102" y="8156"/>
                    <a:pt x="84843" y="8136"/>
                  </a:cubicBezTo>
                  <a:lnTo>
                    <a:pt x="83351" y="8037"/>
                  </a:lnTo>
                  <a:lnTo>
                    <a:pt x="83013" y="7977"/>
                  </a:lnTo>
                  <a:cubicBezTo>
                    <a:pt x="82694" y="7937"/>
                    <a:pt x="82436" y="7699"/>
                    <a:pt x="82336" y="7400"/>
                  </a:cubicBezTo>
                  <a:lnTo>
                    <a:pt x="82237" y="7082"/>
                  </a:lnTo>
                  <a:cubicBezTo>
                    <a:pt x="82217" y="6963"/>
                    <a:pt x="82217" y="6843"/>
                    <a:pt x="82237" y="6704"/>
                  </a:cubicBezTo>
                  <a:lnTo>
                    <a:pt x="82317" y="6446"/>
                  </a:lnTo>
                  <a:cubicBezTo>
                    <a:pt x="82317" y="6446"/>
                    <a:pt x="82317" y="6406"/>
                    <a:pt x="82297" y="6406"/>
                  </a:cubicBezTo>
                  <a:cubicBezTo>
                    <a:pt x="82018" y="6386"/>
                    <a:pt x="81799" y="6247"/>
                    <a:pt x="81700" y="5988"/>
                  </a:cubicBezTo>
                  <a:lnTo>
                    <a:pt x="79850" y="1631"/>
                  </a:lnTo>
                  <a:cubicBezTo>
                    <a:pt x="79711" y="1273"/>
                    <a:pt x="79372" y="975"/>
                    <a:pt x="78975" y="836"/>
                  </a:cubicBezTo>
                  <a:lnTo>
                    <a:pt x="76548" y="40"/>
                  </a:lnTo>
                  <a:cubicBezTo>
                    <a:pt x="76408" y="0"/>
                    <a:pt x="76249" y="0"/>
                    <a:pt x="76090" y="0"/>
                  </a:cubicBezTo>
                  <a:close/>
                </a:path>
              </a:pathLst>
            </a:custGeom>
            <a:solidFill>
              <a:schemeClr val="bg1"/>
            </a:solidFill>
            <a:ln w="19050">
              <a:solidFill>
                <a:schemeClr val="tx1"/>
              </a:solidFill>
            </a:ln>
          </p:spPr>
          <p:txBody>
            <a:bodyPr spcFirstLastPara="1" wrap="square" lIns="121900" tIns="121900" rIns="121900" bIns="121900" anchor="ctr" anchorCtr="0">
              <a:noAutofit/>
            </a:bodyPr>
            <a:lstStyle/>
            <a:p>
              <a:endParaRPr sz="1100">
                <a:latin typeface="Raleway" pitchFamily="2" charset="0"/>
              </a:endParaRPr>
            </a:p>
          </p:txBody>
        </p:sp>
        <p:sp>
          <p:nvSpPr>
            <p:cNvPr id="23" name="Google Shape;228;p29">
              <a:extLst>
                <a:ext uri="{FF2B5EF4-FFF2-40B4-BE49-F238E27FC236}">
                  <a16:creationId xmlns:a16="http://schemas.microsoft.com/office/drawing/2014/main" id="{47A4E49C-E460-44D4-3399-6B40C8495278}"/>
                </a:ext>
              </a:extLst>
            </p:cNvPr>
            <p:cNvSpPr/>
            <p:nvPr/>
          </p:nvSpPr>
          <p:spPr>
            <a:xfrm>
              <a:off x="2102192" y="3860804"/>
              <a:ext cx="157758" cy="102909"/>
            </a:xfrm>
            <a:custGeom>
              <a:avLst/>
              <a:gdLst/>
              <a:ahLst/>
              <a:cxnLst/>
              <a:rect l="l" t="t" r="r" b="b"/>
              <a:pathLst>
                <a:path w="3483" h="2667" extrusionOk="0">
                  <a:moveTo>
                    <a:pt x="2945" y="1"/>
                  </a:moveTo>
                  <a:cubicBezTo>
                    <a:pt x="2885" y="60"/>
                    <a:pt x="2627" y="199"/>
                    <a:pt x="2328" y="239"/>
                  </a:cubicBezTo>
                  <a:cubicBezTo>
                    <a:pt x="2179" y="249"/>
                    <a:pt x="1990" y="254"/>
                    <a:pt x="1834" y="254"/>
                  </a:cubicBezTo>
                  <a:cubicBezTo>
                    <a:pt x="1677" y="254"/>
                    <a:pt x="1553" y="249"/>
                    <a:pt x="1533" y="239"/>
                  </a:cubicBezTo>
                  <a:cubicBezTo>
                    <a:pt x="1499" y="217"/>
                    <a:pt x="1361" y="189"/>
                    <a:pt x="1224" y="189"/>
                  </a:cubicBezTo>
                  <a:cubicBezTo>
                    <a:pt x="1116" y="189"/>
                    <a:pt x="1008" y="206"/>
                    <a:pt x="956" y="259"/>
                  </a:cubicBezTo>
                  <a:cubicBezTo>
                    <a:pt x="836" y="379"/>
                    <a:pt x="558" y="756"/>
                    <a:pt x="478" y="856"/>
                  </a:cubicBezTo>
                  <a:cubicBezTo>
                    <a:pt x="379" y="955"/>
                    <a:pt x="80" y="1055"/>
                    <a:pt x="61" y="1095"/>
                  </a:cubicBezTo>
                  <a:cubicBezTo>
                    <a:pt x="61" y="1174"/>
                    <a:pt x="1" y="1691"/>
                    <a:pt x="61" y="1851"/>
                  </a:cubicBezTo>
                  <a:cubicBezTo>
                    <a:pt x="100" y="1990"/>
                    <a:pt x="439" y="2288"/>
                    <a:pt x="478" y="2348"/>
                  </a:cubicBezTo>
                  <a:cubicBezTo>
                    <a:pt x="518" y="2388"/>
                    <a:pt x="836" y="2368"/>
                    <a:pt x="936" y="2408"/>
                  </a:cubicBezTo>
                  <a:cubicBezTo>
                    <a:pt x="1035" y="2467"/>
                    <a:pt x="1453" y="2666"/>
                    <a:pt x="1453" y="2666"/>
                  </a:cubicBezTo>
                  <a:cubicBezTo>
                    <a:pt x="1453" y="2666"/>
                    <a:pt x="1672" y="2507"/>
                    <a:pt x="1692" y="2467"/>
                  </a:cubicBezTo>
                  <a:cubicBezTo>
                    <a:pt x="1732" y="2408"/>
                    <a:pt x="1931" y="2328"/>
                    <a:pt x="2050" y="2268"/>
                  </a:cubicBezTo>
                  <a:cubicBezTo>
                    <a:pt x="2189" y="2229"/>
                    <a:pt x="2647" y="1970"/>
                    <a:pt x="2667" y="1890"/>
                  </a:cubicBezTo>
                  <a:cubicBezTo>
                    <a:pt x="2686" y="1831"/>
                    <a:pt x="2726" y="1572"/>
                    <a:pt x="2766" y="1433"/>
                  </a:cubicBezTo>
                  <a:cubicBezTo>
                    <a:pt x="2846" y="1274"/>
                    <a:pt x="3064" y="1035"/>
                    <a:pt x="3184" y="896"/>
                  </a:cubicBezTo>
                  <a:cubicBezTo>
                    <a:pt x="3323" y="796"/>
                    <a:pt x="3482" y="697"/>
                    <a:pt x="3462" y="478"/>
                  </a:cubicBezTo>
                  <a:cubicBezTo>
                    <a:pt x="3442" y="279"/>
                    <a:pt x="3243" y="40"/>
                    <a:pt x="3243" y="40"/>
                  </a:cubicBezTo>
                  <a:lnTo>
                    <a:pt x="2945" y="40"/>
                  </a:lnTo>
                  <a:lnTo>
                    <a:pt x="2945" y="1"/>
                  </a:lnTo>
                  <a:close/>
                </a:path>
              </a:pathLst>
            </a:custGeom>
            <a:solidFill>
              <a:schemeClr val="bg1"/>
            </a:solidFill>
            <a:ln w="19050">
              <a:solidFill>
                <a:schemeClr val="tx1"/>
              </a:solidFill>
            </a:ln>
          </p:spPr>
          <p:txBody>
            <a:bodyPr spcFirstLastPara="1" wrap="square" lIns="121900" tIns="121900" rIns="121900" bIns="121900" anchor="ctr" anchorCtr="0">
              <a:noAutofit/>
            </a:bodyPr>
            <a:lstStyle/>
            <a:p>
              <a:endParaRPr sz="1100">
                <a:latin typeface="Raleway" pitchFamily="2" charset="0"/>
              </a:endParaRPr>
            </a:p>
          </p:txBody>
        </p:sp>
      </p:grpSp>
      <p:sp>
        <p:nvSpPr>
          <p:cNvPr id="25" name="Triangle isocèle 94">
            <a:extLst>
              <a:ext uri="{FF2B5EF4-FFF2-40B4-BE49-F238E27FC236}">
                <a16:creationId xmlns:a16="http://schemas.microsoft.com/office/drawing/2014/main" id="{F65C737B-8CF7-10EC-E0E3-37857533E90F}"/>
              </a:ext>
            </a:extLst>
          </p:cNvPr>
          <p:cNvSpPr/>
          <p:nvPr/>
        </p:nvSpPr>
        <p:spPr>
          <a:xfrm flipH="1">
            <a:off x="3470464" y="3227355"/>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b="1">
              <a:solidFill>
                <a:schemeClr val="bg1"/>
              </a:solidFill>
              <a:latin typeface="Raleway" pitchFamily="2" charset="0"/>
            </a:endParaRPr>
          </a:p>
        </p:txBody>
      </p:sp>
      <p:sp>
        <p:nvSpPr>
          <p:cNvPr id="26" name="Triangle isocèle 94">
            <a:extLst>
              <a:ext uri="{FF2B5EF4-FFF2-40B4-BE49-F238E27FC236}">
                <a16:creationId xmlns:a16="http://schemas.microsoft.com/office/drawing/2014/main" id="{CC71A389-5E7F-63BD-6B65-E6D47A82199F}"/>
              </a:ext>
            </a:extLst>
          </p:cNvPr>
          <p:cNvSpPr/>
          <p:nvPr/>
        </p:nvSpPr>
        <p:spPr>
          <a:xfrm flipH="1">
            <a:off x="3372489" y="2846354"/>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b="1">
              <a:solidFill>
                <a:schemeClr val="bg1"/>
              </a:solidFill>
              <a:latin typeface="Raleway" pitchFamily="2" charset="0"/>
            </a:endParaRPr>
          </a:p>
        </p:txBody>
      </p:sp>
      <p:sp>
        <p:nvSpPr>
          <p:cNvPr id="27" name="Triangle isocèle 94">
            <a:extLst>
              <a:ext uri="{FF2B5EF4-FFF2-40B4-BE49-F238E27FC236}">
                <a16:creationId xmlns:a16="http://schemas.microsoft.com/office/drawing/2014/main" id="{C5806D1D-EB8A-9ACD-FB25-54CDF2CED9A4}"/>
              </a:ext>
            </a:extLst>
          </p:cNvPr>
          <p:cNvSpPr/>
          <p:nvPr/>
        </p:nvSpPr>
        <p:spPr>
          <a:xfrm flipH="1">
            <a:off x="2632269" y="3477727"/>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b="1">
              <a:solidFill>
                <a:schemeClr val="bg1"/>
              </a:solidFill>
              <a:latin typeface="Raleway" pitchFamily="2" charset="0"/>
            </a:endParaRPr>
          </a:p>
        </p:txBody>
      </p:sp>
      <p:sp>
        <p:nvSpPr>
          <p:cNvPr id="28" name="Triangle isocèle 94">
            <a:extLst>
              <a:ext uri="{FF2B5EF4-FFF2-40B4-BE49-F238E27FC236}">
                <a16:creationId xmlns:a16="http://schemas.microsoft.com/office/drawing/2014/main" id="{FF708B03-4211-3407-C1F3-87622C9FE0F4}"/>
              </a:ext>
            </a:extLst>
          </p:cNvPr>
          <p:cNvSpPr/>
          <p:nvPr/>
        </p:nvSpPr>
        <p:spPr>
          <a:xfrm flipH="1">
            <a:off x="3405150" y="3564812"/>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b="1">
              <a:solidFill>
                <a:schemeClr val="bg1"/>
              </a:solidFill>
              <a:latin typeface="Raleway" pitchFamily="2" charset="0"/>
            </a:endParaRPr>
          </a:p>
        </p:txBody>
      </p:sp>
      <p:sp>
        <p:nvSpPr>
          <p:cNvPr id="29" name="Triangle isocèle 94">
            <a:extLst>
              <a:ext uri="{FF2B5EF4-FFF2-40B4-BE49-F238E27FC236}">
                <a16:creationId xmlns:a16="http://schemas.microsoft.com/office/drawing/2014/main" id="{F2E7849C-9228-69C3-994E-781D8BA8DB00}"/>
              </a:ext>
            </a:extLst>
          </p:cNvPr>
          <p:cNvSpPr/>
          <p:nvPr/>
        </p:nvSpPr>
        <p:spPr>
          <a:xfrm flipH="1">
            <a:off x="3535794" y="3553928"/>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b="1">
              <a:solidFill>
                <a:schemeClr val="bg1"/>
              </a:solidFill>
              <a:latin typeface="Raleway" pitchFamily="2" charset="0"/>
            </a:endParaRPr>
          </a:p>
        </p:txBody>
      </p:sp>
      <p:sp>
        <p:nvSpPr>
          <p:cNvPr id="30" name="Triangle isocèle 94">
            <a:extLst>
              <a:ext uri="{FF2B5EF4-FFF2-40B4-BE49-F238E27FC236}">
                <a16:creationId xmlns:a16="http://schemas.microsoft.com/office/drawing/2014/main" id="{9638C339-FB65-610D-C083-81F69F10DD6B}"/>
              </a:ext>
            </a:extLst>
          </p:cNvPr>
          <p:cNvSpPr/>
          <p:nvPr/>
        </p:nvSpPr>
        <p:spPr>
          <a:xfrm flipH="1">
            <a:off x="3677296" y="3553925"/>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b="1">
              <a:solidFill>
                <a:schemeClr val="bg1"/>
              </a:solidFill>
              <a:latin typeface="Raleway" pitchFamily="2" charset="0"/>
            </a:endParaRPr>
          </a:p>
        </p:txBody>
      </p:sp>
      <p:sp>
        <p:nvSpPr>
          <p:cNvPr id="31" name="Triangle isocèle 94">
            <a:extLst>
              <a:ext uri="{FF2B5EF4-FFF2-40B4-BE49-F238E27FC236}">
                <a16:creationId xmlns:a16="http://schemas.microsoft.com/office/drawing/2014/main" id="{97BF7981-EEA0-6610-EC37-656F64F39A98}"/>
              </a:ext>
            </a:extLst>
          </p:cNvPr>
          <p:cNvSpPr/>
          <p:nvPr/>
        </p:nvSpPr>
        <p:spPr>
          <a:xfrm flipH="1">
            <a:off x="3067700" y="4413899"/>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b="1">
              <a:solidFill>
                <a:schemeClr val="bg1"/>
              </a:solidFill>
              <a:latin typeface="Raleway" pitchFamily="2" charset="0"/>
            </a:endParaRPr>
          </a:p>
        </p:txBody>
      </p:sp>
      <p:sp>
        <p:nvSpPr>
          <p:cNvPr id="32" name="Triangle isocèle 94">
            <a:extLst>
              <a:ext uri="{FF2B5EF4-FFF2-40B4-BE49-F238E27FC236}">
                <a16:creationId xmlns:a16="http://schemas.microsoft.com/office/drawing/2014/main" id="{5875E1F8-3E95-0A45-3DF0-16FEED68F964}"/>
              </a:ext>
            </a:extLst>
          </p:cNvPr>
          <p:cNvSpPr/>
          <p:nvPr/>
        </p:nvSpPr>
        <p:spPr>
          <a:xfrm flipH="1">
            <a:off x="3209209" y="4403014"/>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b="1">
              <a:solidFill>
                <a:schemeClr val="bg1"/>
              </a:solidFill>
              <a:latin typeface="Raleway" pitchFamily="2" charset="0"/>
            </a:endParaRPr>
          </a:p>
        </p:txBody>
      </p:sp>
      <p:sp>
        <p:nvSpPr>
          <p:cNvPr id="33" name="Triangle isocèle 94">
            <a:extLst>
              <a:ext uri="{FF2B5EF4-FFF2-40B4-BE49-F238E27FC236}">
                <a16:creationId xmlns:a16="http://schemas.microsoft.com/office/drawing/2014/main" id="{1A33526E-FC55-07C8-92C5-8C245C19422F}"/>
              </a:ext>
            </a:extLst>
          </p:cNvPr>
          <p:cNvSpPr/>
          <p:nvPr/>
        </p:nvSpPr>
        <p:spPr>
          <a:xfrm flipH="1">
            <a:off x="3492242" y="2574217"/>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b="1">
              <a:solidFill>
                <a:schemeClr val="bg1"/>
              </a:solidFill>
              <a:latin typeface="Raleway" pitchFamily="2" charset="0"/>
            </a:endParaRPr>
          </a:p>
        </p:txBody>
      </p:sp>
      <p:sp>
        <p:nvSpPr>
          <p:cNvPr id="34" name="Triangle isocèle 94">
            <a:extLst>
              <a:ext uri="{FF2B5EF4-FFF2-40B4-BE49-F238E27FC236}">
                <a16:creationId xmlns:a16="http://schemas.microsoft.com/office/drawing/2014/main" id="{FDB89243-AF83-641B-FDB0-4833DC7195D6}"/>
              </a:ext>
            </a:extLst>
          </p:cNvPr>
          <p:cNvSpPr/>
          <p:nvPr/>
        </p:nvSpPr>
        <p:spPr>
          <a:xfrm flipH="1">
            <a:off x="3361608" y="2541554"/>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b="1">
              <a:solidFill>
                <a:schemeClr val="bg1"/>
              </a:solidFill>
              <a:latin typeface="Raleway" pitchFamily="2" charset="0"/>
            </a:endParaRPr>
          </a:p>
        </p:txBody>
      </p:sp>
      <p:sp>
        <p:nvSpPr>
          <p:cNvPr id="35" name="ZoneTexte 65">
            <a:extLst>
              <a:ext uri="{FF2B5EF4-FFF2-40B4-BE49-F238E27FC236}">
                <a16:creationId xmlns:a16="http://schemas.microsoft.com/office/drawing/2014/main" id="{3B0FB703-ED6C-A291-A2F7-810E6A23520C}"/>
              </a:ext>
            </a:extLst>
          </p:cNvPr>
          <p:cNvSpPr txBox="1"/>
          <p:nvPr/>
        </p:nvSpPr>
        <p:spPr>
          <a:xfrm>
            <a:off x="2471623" y="2519466"/>
            <a:ext cx="882652" cy="166088"/>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b="1">
                <a:latin typeface="Raleway" pitchFamily="2" charset="0"/>
              </a:rPr>
              <a:t>Sinopharm    </a:t>
            </a:r>
          </a:p>
        </p:txBody>
      </p:sp>
      <p:sp>
        <p:nvSpPr>
          <p:cNvPr id="37" name="ZoneTexte 65">
            <a:extLst>
              <a:ext uri="{FF2B5EF4-FFF2-40B4-BE49-F238E27FC236}">
                <a16:creationId xmlns:a16="http://schemas.microsoft.com/office/drawing/2014/main" id="{620303EC-B397-A730-35D4-62FD968AB03B}"/>
              </a:ext>
            </a:extLst>
          </p:cNvPr>
          <p:cNvSpPr txBox="1"/>
          <p:nvPr/>
        </p:nvSpPr>
        <p:spPr>
          <a:xfrm>
            <a:off x="3582873" y="2379249"/>
            <a:ext cx="919124" cy="22851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b="1">
                <a:latin typeface="Raleway" pitchFamily="2" charset="0"/>
              </a:rPr>
              <a:t>AIM vaccine</a:t>
            </a:r>
          </a:p>
        </p:txBody>
      </p:sp>
      <p:sp>
        <p:nvSpPr>
          <p:cNvPr id="38" name="ZoneTexte 65">
            <a:extLst>
              <a:ext uri="{FF2B5EF4-FFF2-40B4-BE49-F238E27FC236}">
                <a16:creationId xmlns:a16="http://schemas.microsoft.com/office/drawing/2014/main" id="{7137989D-9326-D91F-8888-7FAA83449DF7}"/>
              </a:ext>
            </a:extLst>
          </p:cNvPr>
          <p:cNvSpPr txBox="1"/>
          <p:nvPr/>
        </p:nvSpPr>
        <p:spPr>
          <a:xfrm>
            <a:off x="3763054" y="3769527"/>
            <a:ext cx="1110343" cy="22851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b="1" dirty="0">
                <a:latin typeface="Raleway" pitchFamily="2" charset="0"/>
              </a:rPr>
              <a:t>Everest medicine  </a:t>
            </a:r>
          </a:p>
        </p:txBody>
      </p:sp>
      <p:sp>
        <p:nvSpPr>
          <p:cNvPr id="39" name="ZoneTexte 65">
            <a:extLst>
              <a:ext uri="{FF2B5EF4-FFF2-40B4-BE49-F238E27FC236}">
                <a16:creationId xmlns:a16="http://schemas.microsoft.com/office/drawing/2014/main" id="{F0A9FB65-04D4-CBFB-0652-3737A460C1F0}"/>
              </a:ext>
            </a:extLst>
          </p:cNvPr>
          <p:cNvSpPr txBox="1"/>
          <p:nvPr/>
        </p:nvSpPr>
        <p:spPr>
          <a:xfrm>
            <a:off x="2029852" y="4103488"/>
            <a:ext cx="1179358" cy="266658"/>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b="1" dirty="0">
                <a:latin typeface="Raleway" pitchFamily="2" charset="0"/>
              </a:rPr>
              <a:t>China Resources Pharmaceuticals </a:t>
            </a:r>
          </a:p>
        </p:txBody>
      </p:sp>
      <p:sp>
        <p:nvSpPr>
          <p:cNvPr id="40" name="ZoneTexte 65">
            <a:extLst>
              <a:ext uri="{FF2B5EF4-FFF2-40B4-BE49-F238E27FC236}">
                <a16:creationId xmlns:a16="http://schemas.microsoft.com/office/drawing/2014/main" id="{09C9717A-9B1B-09CE-BB87-633A1A17D11D}"/>
              </a:ext>
            </a:extLst>
          </p:cNvPr>
          <p:cNvSpPr txBox="1"/>
          <p:nvPr/>
        </p:nvSpPr>
        <p:spPr>
          <a:xfrm>
            <a:off x="3361034" y="4461718"/>
            <a:ext cx="1015657" cy="26051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b="1" dirty="0">
                <a:latin typeface="Raleway" pitchFamily="2" charset="0"/>
              </a:rPr>
              <a:t>CSPC Zhong Qi </a:t>
            </a:r>
          </a:p>
        </p:txBody>
      </p:sp>
      <p:sp>
        <p:nvSpPr>
          <p:cNvPr id="41" name="ZoneTexte 65">
            <a:extLst>
              <a:ext uri="{FF2B5EF4-FFF2-40B4-BE49-F238E27FC236}">
                <a16:creationId xmlns:a16="http://schemas.microsoft.com/office/drawing/2014/main" id="{3A9DF9C2-1054-8C66-C202-D145743E2AD2}"/>
              </a:ext>
            </a:extLst>
          </p:cNvPr>
          <p:cNvSpPr txBox="1"/>
          <p:nvPr/>
        </p:nvSpPr>
        <p:spPr>
          <a:xfrm>
            <a:off x="3811438" y="3494222"/>
            <a:ext cx="783763" cy="22851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b="1" dirty="0" err="1">
                <a:latin typeface="Raleway" pitchFamily="2" charset="0"/>
              </a:rPr>
              <a:t>Stermina</a:t>
            </a:r>
            <a:r>
              <a:rPr lang="en-US" sz="1100" b="1" dirty="0">
                <a:latin typeface="Raleway" pitchFamily="2" charset="0"/>
              </a:rPr>
              <a:t>  </a:t>
            </a:r>
          </a:p>
        </p:txBody>
      </p:sp>
      <p:sp>
        <p:nvSpPr>
          <p:cNvPr id="42" name="ZoneTexte 65">
            <a:extLst>
              <a:ext uri="{FF2B5EF4-FFF2-40B4-BE49-F238E27FC236}">
                <a16:creationId xmlns:a16="http://schemas.microsoft.com/office/drawing/2014/main" id="{B2601C4A-29F0-45A6-3DC6-02071FDEFF9E}"/>
              </a:ext>
            </a:extLst>
          </p:cNvPr>
          <p:cNvSpPr txBox="1"/>
          <p:nvPr/>
        </p:nvSpPr>
        <p:spPr>
          <a:xfrm>
            <a:off x="2392743" y="3780708"/>
            <a:ext cx="1110343" cy="22851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b="1">
                <a:latin typeface="Raleway" pitchFamily="2" charset="0"/>
              </a:rPr>
              <a:t>Shanghai Fosun </a:t>
            </a:r>
          </a:p>
        </p:txBody>
      </p:sp>
      <p:sp>
        <p:nvSpPr>
          <p:cNvPr id="43" name="ZoneTexte 65">
            <a:extLst>
              <a:ext uri="{FF2B5EF4-FFF2-40B4-BE49-F238E27FC236}">
                <a16:creationId xmlns:a16="http://schemas.microsoft.com/office/drawing/2014/main" id="{CEA926F9-9C14-7C7A-D1EA-02F171E40B85}"/>
              </a:ext>
            </a:extLst>
          </p:cNvPr>
          <p:cNvSpPr txBox="1"/>
          <p:nvPr/>
        </p:nvSpPr>
        <p:spPr>
          <a:xfrm>
            <a:off x="1975698" y="3372037"/>
            <a:ext cx="1110343" cy="22851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b="1" dirty="0">
                <a:latin typeface="Raleway" pitchFamily="2" charset="0"/>
              </a:rPr>
              <a:t>Wuhan </a:t>
            </a:r>
            <a:r>
              <a:rPr lang="en-US" sz="1100" b="1" dirty="0" err="1">
                <a:latin typeface="Raleway" pitchFamily="2" charset="0"/>
              </a:rPr>
              <a:t>Recogen</a:t>
            </a:r>
            <a:r>
              <a:rPr lang="en-US" sz="1100" b="1" dirty="0">
                <a:latin typeface="Raleway" pitchFamily="2" charset="0"/>
              </a:rPr>
              <a:t>  </a:t>
            </a:r>
          </a:p>
        </p:txBody>
      </p:sp>
      <p:sp>
        <p:nvSpPr>
          <p:cNvPr id="44" name="ZoneTexte 65">
            <a:extLst>
              <a:ext uri="{FF2B5EF4-FFF2-40B4-BE49-F238E27FC236}">
                <a16:creationId xmlns:a16="http://schemas.microsoft.com/office/drawing/2014/main" id="{024E5BC7-6A5D-B374-8A63-5061FA47D19C}"/>
              </a:ext>
            </a:extLst>
          </p:cNvPr>
          <p:cNvSpPr txBox="1"/>
          <p:nvPr/>
        </p:nvSpPr>
        <p:spPr>
          <a:xfrm>
            <a:off x="2716138" y="2822616"/>
            <a:ext cx="919124" cy="25885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b="1" dirty="0">
                <a:latin typeface="Raleway" pitchFamily="2" charset="0"/>
              </a:rPr>
              <a:t>CanSino</a:t>
            </a:r>
            <a:r>
              <a:rPr lang="en-US" sz="1100" dirty="0">
                <a:latin typeface="Raleway" pitchFamily="2" charset="0"/>
              </a:rPr>
              <a:t>  </a:t>
            </a:r>
          </a:p>
        </p:txBody>
      </p:sp>
      <p:sp>
        <p:nvSpPr>
          <p:cNvPr id="45" name="ZoneTexte 65">
            <a:extLst>
              <a:ext uri="{FF2B5EF4-FFF2-40B4-BE49-F238E27FC236}">
                <a16:creationId xmlns:a16="http://schemas.microsoft.com/office/drawing/2014/main" id="{FEEBF7FE-6013-761B-753A-620C38533698}"/>
              </a:ext>
            </a:extLst>
          </p:cNvPr>
          <p:cNvSpPr txBox="1"/>
          <p:nvPr/>
        </p:nvSpPr>
        <p:spPr>
          <a:xfrm>
            <a:off x="2970049" y="3151948"/>
            <a:ext cx="623894" cy="22851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100" b="1" dirty="0" err="1">
                <a:latin typeface="Raleway" pitchFamily="2" charset="0"/>
              </a:rPr>
              <a:t>Walvax</a:t>
            </a:r>
            <a:endParaRPr lang="en-US" sz="1100" b="1" dirty="0">
              <a:latin typeface="Raleway" pitchFamily="2" charset="0"/>
            </a:endParaRPr>
          </a:p>
        </p:txBody>
      </p:sp>
      <p:sp>
        <p:nvSpPr>
          <p:cNvPr id="19" name="Triangle isocèle 203">
            <a:extLst>
              <a:ext uri="{FF2B5EF4-FFF2-40B4-BE49-F238E27FC236}">
                <a16:creationId xmlns:a16="http://schemas.microsoft.com/office/drawing/2014/main" id="{19E8F246-AD36-A097-DAE4-868A701E4FCC}"/>
              </a:ext>
            </a:extLst>
          </p:cNvPr>
          <p:cNvSpPr/>
          <p:nvPr/>
        </p:nvSpPr>
        <p:spPr>
          <a:xfrm flipH="1">
            <a:off x="1982798" y="5596253"/>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20" name="ZoneTexte 161">
            <a:extLst>
              <a:ext uri="{FF2B5EF4-FFF2-40B4-BE49-F238E27FC236}">
                <a16:creationId xmlns:a16="http://schemas.microsoft.com/office/drawing/2014/main" id="{C7AB2D60-8C8E-A0CC-1FD9-8A03AC21A0D4}"/>
              </a:ext>
            </a:extLst>
          </p:cNvPr>
          <p:cNvSpPr txBox="1"/>
          <p:nvPr/>
        </p:nvSpPr>
        <p:spPr>
          <a:xfrm>
            <a:off x="2166800" y="5611764"/>
            <a:ext cx="1373378"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End-to-End</a:t>
            </a:r>
          </a:p>
        </p:txBody>
      </p:sp>
      <p:sp>
        <p:nvSpPr>
          <p:cNvPr id="2" name="Slide Number Placeholder 1">
            <a:extLst>
              <a:ext uri="{FF2B5EF4-FFF2-40B4-BE49-F238E27FC236}">
                <a16:creationId xmlns:a16="http://schemas.microsoft.com/office/drawing/2014/main" id="{14E0BFE6-FB80-AA04-BFF1-140B5AE6A6C4}"/>
              </a:ext>
            </a:extLst>
          </p:cNvPr>
          <p:cNvSpPr>
            <a:spLocks noGrp="1"/>
          </p:cNvSpPr>
          <p:nvPr>
            <p:ph type="sldNum" sz="quarter" idx="12"/>
          </p:nvPr>
        </p:nvSpPr>
        <p:spPr/>
        <p:txBody>
          <a:bodyPr/>
          <a:lstStyle/>
          <a:p>
            <a:fld id="{1D1C8182-8BBE-B542-ADE5-8820B104469B}" type="slidenum">
              <a:rPr lang="en-RO" smtClean="0"/>
              <a:pPr/>
              <a:t>6</a:t>
            </a:fld>
            <a:endParaRPr lang="en-RO"/>
          </a:p>
        </p:txBody>
      </p:sp>
      <p:sp>
        <p:nvSpPr>
          <p:cNvPr id="3" name="ZoneTexte 65">
            <a:extLst>
              <a:ext uri="{FF2B5EF4-FFF2-40B4-BE49-F238E27FC236}">
                <a16:creationId xmlns:a16="http://schemas.microsoft.com/office/drawing/2014/main" id="{9E8A42BB-606E-A5CC-8832-FC0A3BCE8D2B}"/>
              </a:ext>
            </a:extLst>
          </p:cNvPr>
          <p:cNvSpPr txBox="1"/>
          <p:nvPr/>
        </p:nvSpPr>
        <p:spPr>
          <a:xfrm>
            <a:off x="2230490" y="4814925"/>
            <a:ext cx="1015657" cy="260519"/>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100" b="1" dirty="0">
                <a:latin typeface="Raleway" pitchFamily="2" charset="0"/>
              </a:rPr>
              <a:t>CanSino</a:t>
            </a:r>
          </a:p>
        </p:txBody>
      </p:sp>
      <p:sp>
        <p:nvSpPr>
          <p:cNvPr id="4" name="Triangle isocèle 203">
            <a:extLst>
              <a:ext uri="{FF2B5EF4-FFF2-40B4-BE49-F238E27FC236}">
                <a16:creationId xmlns:a16="http://schemas.microsoft.com/office/drawing/2014/main" id="{8725C6A7-A953-6B40-676E-F692B1E51E9F}"/>
              </a:ext>
            </a:extLst>
          </p:cNvPr>
          <p:cNvSpPr/>
          <p:nvPr/>
        </p:nvSpPr>
        <p:spPr>
          <a:xfrm flipH="1">
            <a:off x="2943068" y="4496895"/>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Tree>
    <p:extLst>
      <p:ext uri="{BB962C8B-B14F-4D97-AF65-F5344CB8AC3E}">
        <p14:creationId xmlns:p14="http://schemas.microsoft.com/office/powerpoint/2010/main" val="6499132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Office Theme">
  <a:themeElements>
    <a:clrScheme name="mRNA">
      <a:dk1>
        <a:srgbClr val="000000"/>
      </a:dk1>
      <a:lt1>
        <a:srgbClr val="FFFFFF"/>
      </a:lt1>
      <a:dk2>
        <a:srgbClr val="44546A"/>
      </a:dk2>
      <a:lt2>
        <a:srgbClr val="E7E6E6"/>
      </a:lt2>
      <a:accent1>
        <a:srgbClr val="0080C5"/>
      </a:accent1>
      <a:accent2>
        <a:srgbClr val="EE6A23"/>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f781067-5a25-44d5-8ad4-a8fc44c1d2b2">
      <Terms xmlns="http://schemas.microsoft.com/office/infopath/2007/PartnerControls"/>
    </lcf76f155ced4ddcb4097134ff3c332f>
    <TaxCatchAll xmlns="a0f33744-efa7-4fff-a529-24b23e961ca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A741F0669A24144BB1136854C99AA59" ma:contentTypeVersion="16" ma:contentTypeDescription="Create a new document." ma:contentTypeScope="" ma:versionID="d80e616700ad1dd21c92ce85abd2518e">
  <xsd:schema xmlns:xsd="http://www.w3.org/2001/XMLSchema" xmlns:xs="http://www.w3.org/2001/XMLSchema" xmlns:p="http://schemas.microsoft.com/office/2006/metadata/properties" xmlns:ns2="cf781067-5a25-44d5-8ad4-a8fc44c1d2b2" xmlns:ns3="a0f33744-efa7-4fff-a529-24b23e961cad" targetNamespace="http://schemas.microsoft.com/office/2006/metadata/properties" ma:root="true" ma:fieldsID="fec11de92ba9519b68cd7c82c5b48759" ns2:_="" ns3:_="">
    <xsd:import namespace="cf781067-5a25-44d5-8ad4-a8fc44c1d2b2"/>
    <xsd:import namespace="a0f33744-efa7-4fff-a529-24b23e961ca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CR"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781067-5a25-44d5-8ad4-a8fc44c1d2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ca306238-438f-4344-a2ab-f9b4ae47fa0e" ma:termSetId="09814cd3-568e-fe90-9814-8d621ff8fb84" ma:anchorId="fba54fb3-c3e1-fe81-a776-ca4b69148c4d" ma:open="true" ma:isKeyword="false">
      <xsd:complexType>
        <xsd:sequence>
          <xsd:element ref="pc:Terms" minOccurs="0" maxOccurs="1"/>
        </xsd:sequence>
      </xsd:complexType>
    </xsd:element>
    <xsd:element name="MediaServiceOCR" ma:index="22" nillable="true" ma:displayName="Extracted Text" ma:internalName="MediaServiceOCR" ma:readOnly="true">
      <xsd:simpleType>
        <xsd:restriction base="dms:Note">
          <xsd:maxLength value="255"/>
        </xsd:restriction>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0f33744-efa7-4fff-a529-24b23e961cad"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c9ded65a-05e9-4702-aa91-693494f96c4f}" ma:internalName="TaxCatchAll" ma:showField="CatchAllData" ma:web="a0f33744-efa7-4fff-a529-24b23e961ca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44C2896-3B4C-47B6-9F74-880CC1B52E4D}">
  <ds:schemaRefs>
    <ds:schemaRef ds:uri="http://purl.org/dc/elements/1.1/"/>
    <ds:schemaRef ds:uri="http://schemas.microsoft.com/office/2006/documentManagement/types"/>
    <ds:schemaRef ds:uri="cf781067-5a25-44d5-8ad4-a8fc44c1d2b2"/>
    <ds:schemaRef ds:uri="http://schemas.openxmlformats.org/package/2006/metadata/core-properties"/>
    <ds:schemaRef ds:uri="http://purl.org/dc/terms/"/>
    <ds:schemaRef ds:uri="http://purl.org/dc/dcmitype/"/>
    <ds:schemaRef ds:uri="http://schemas.microsoft.com/office/2006/metadata/properties"/>
    <ds:schemaRef ds:uri="http://schemas.microsoft.com/office/infopath/2007/PartnerControls"/>
    <ds:schemaRef ds:uri="a0f33744-efa7-4fff-a529-24b23e961cad"/>
    <ds:schemaRef ds:uri="http://www.w3.org/XML/1998/namespace"/>
  </ds:schemaRefs>
</ds:datastoreItem>
</file>

<file path=customXml/itemProps2.xml><?xml version="1.0" encoding="utf-8"?>
<ds:datastoreItem xmlns:ds="http://schemas.openxmlformats.org/officeDocument/2006/customXml" ds:itemID="{1D8AFB61-E5A8-49FD-9EA6-7D1A9DC66AE6}">
  <ds:schemaRefs>
    <ds:schemaRef ds:uri="http://schemas.microsoft.com/sharepoint/v3/contenttype/forms"/>
  </ds:schemaRefs>
</ds:datastoreItem>
</file>

<file path=customXml/itemProps3.xml><?xml version="1.0" encoding="utf-8"?>
<ds:datastoreItem xmlns:ds="http://schemas.openxmlformats.org/officeDocument/2006/customXml" ds:itemID="{ED5D4038-70B8-4439-A94F-EA758093ED91}">
  <ds:schemaRefs>
    <ds:schemaRef ds:uri="a0f33744-efa7-4fff-a529-24b23e961cad"/>
    <ds:schemaRef ds:uri="cf781067-5a25-44d5-8ad4-a8fc44c1d2b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916</TotalTime>
  <Words>933</Words>
  <Application>Microsoft Office PowerPoint</Application>
  <PresentationFormat>Widescreen</PresentationFormat>
  <Paragraphs>225</Paragraphs>
  <Slides>6</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2" baseType="lpstr">
      <vt:lpstr>Arial</vt:lpstr>
      <vt:lpstr>Calibri</vt:lpstr>
      <vt:lpstr>Calibri Light</vt:lpstr>
      <vt:lpstr>Raleway</vt:lpstr>
      <vt:lpstr>Office Theme</vt:lpstr>
      <vt:lpstr>think-cell Slide</vt:lpstr>
      <vt:lpstr>PowerPoint Presentation</vt:lpstr>
      <vt:lpstr>Africa</vt:lpstr>
      <vt:lpstr>Latin America</vt:lpstr>
      <vt:lpstr>South-East Asia and Western Pacific</vt:lpstr>
      <vt:lpstr>India</vt:lpstr>
      <vt:lpstr>Chin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ra Leonida</dc:creator>
  <cp:lastModifiedBy>Thidar PYONE</cp:lastModifiedBy>
  <cp:revision>4</cp:revision>
  <cp:lastPrinted>2022-08-25T09:34:22Z</cp:lastPrinted>
  <dcterms:created xsi:type="dcterms:W3CDTF">2022-05-04T07:07:51Z</dcterms:created>
  <dcterms:modified xsi:type="dcterms:W3CDTF">2023-08-15T10:3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741F0669A24144BB1136854C99AA59</vt:lpwstr>
  </property>
  <property fmtid="{D5CDD505-2E9C-101B-9397-08002B2CF9AE}" pid="3" name="MediaServiceImageTags">
    <vt:lpwstr/>
  </property>
</Properties>
</file>